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2.xml" ContentType="application/vnd.openxmlformats-officedocument.theme+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3.xml" ContentType="application/vnd.openxmlformats-officedocument.theme+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4.xml" ContentType="application/vnd.openxmlformats-officedocument.theme+xml"/>
  <Override PartName="/ppt/tags/tag263.xml" ContentType="application/vnd.openxmlformats-officedocument.presentationml.tags+xml"/>
  <Override PartName="/ppt/theme/theme5.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xml" ContentType="application/vnd.openxmlformats-officedocument.presentationml.notesSlid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1.xml" ContentType="application/vnd.openxmlformats-officedocument.themeOverrid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2.xml" ContentType="application/vnd.openxmlformats-officedocument.themeOverride+xml"/>
  <Override PartName="/ppt/notesSlides/notesSlide2.xml" ContentType="application/vnd.openxmlformats-officedocument.presentationml.notesSlid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3.xml" ContentType="application/vnd.openxmlformats-officedocument.themeOverrid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4.xml" ContentType="application/vnd.openxmlformats-officedocument.themeOverride+xml"/>
  <Override PartName="/ppt/notesSlides/notesSlide3.xml" ContentType="application/vnd.openxmlformats-officedocument.presentationml.notesSlid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5.xml" ContentType="application/vnd.openxmlformats-officedocument.themeOverride+xml"/>
  <Override PartName="/ppt/charts/chart11.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6.xml" ContentType="application/vnd.openxmlformats-officedocument.themeOverr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4507" r:id="rId5"/>
    <p:sldMasterId id="2147484662" r:id="rId6"/>
    <p:sldMasterId id="2147484748" r:id="rId7"/>
  </p:sldMasterIdLst>
  <p:notesMasterIdLst>
    <p:notesMasterId r:id="rId42"/>
  </p:notesMasterIdLst>
  <p:sldIdLst>
    <p:sldId id="503" r:id="rId8"/>
    <p:sldId id="2147483632" r:id="rId9"/>
    <p:sldId id="2147483251" r:id="rId10"/>
    <p:sldId id="2147483322" r:id="rId11"/>
    <p:sldId id="2147483309" r:id="rId12"/>
    <p:sldId id="2147483299" r:id="rId13"/>
    <p:sldId id="2147483284" r:id="rId14"/>
    <p:sldId id="2147483285" r:id="rId15"/>
    <p:sldId id="2147483301" r:id="rId16"/>
    <p:sldId id="2147483302" r:id="rId17"/>
    <p:sldId id="2147483303" r:id="rId18"/>
    <p:sldId id="2147483329" r:id="rId19"/>
    <p:sldId id="2147483323" r:id="rId20"/>
    <p:sldId id="2147483612" r:id="rId21"/>
    <p:sldId id="2147483613" r:id="rId22"/>
    <p:sldId id="2147483614" r:id="rId23"/>
    <p:sldId id="2147483615" r:id="rId24"/>
    <p:sldId id="2147483616" r:id="rId25"/>
    <p:sldId id="2147483617" r:id="rId26"/>
    <p:sldId id="2147483630" r:id="rId27"/>
    <p:sldId id="1885" r:id="rId28"/>
    <p:sldId id="2147483631" r:id="rId29"/>
    <p:sldId id="256" r:id="rId30"/>
    <p:sldId id="257" r:id="rId31"/>
    <p:sldId id="258" r:id="rId32"/>
    <p:sldId id="2147483618" r:id="rId33"/>
    <p:sldId id="1837" r:id="rId34"/>
    <p:sldId id="2147483621" r:id="rId35"/>
    <p:sldId id="2147483627" r:id="rId36"/>
    <p:sldId id="2147483619" r:id="rId37"/>
    <p:sldId id="2145706863" r:id="rId38"/>
    <p:sldId id="2147483368" r:id="rId39"/>
    <p:sldId id="2147483628" r:id="rId40"/>
    <p:sldId id="2147483629" r:id="rId41"/>
  </p:sldIdLst>
  <p:sldSz cx="12192000" cy="6858000"/>
  <p:notesSz cx="6858000" cy="9144000"/>
  <p:defaultTextStyle>
    <a:defPPr>
      <a:defRPr lang="pl-P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EXECUTIVE SUMMARY" id="{B14CE909-BAA9-4944-B9DE-7AFD024A2BD0}">
          <p14:sldIdLst>
            <p14:sldId id="503"/>
            <p14:sldId id="2147483632"/>
            <p14:sldId id="2147483251"/>
            <p14:sldId id="2147483322"/>
            <p14:sldId id="2147483309"/>
            <p14:sldId id="2147483299"/>
            <p14:sldId id="2147483284"/>
            <p14:sldId id="2147483285"/>
            <p14:sldId id="2147483301"/>
            <p14:sldId id="2147483302"/>
            <p14:sldId id="2147483303"/>
            <p14:sldId id="2147483329"/>
            <p14:sldId id="2147483323"/>
            <p14:sldId id="2147483612"/>
            <p14:sldId id="2147483613"/>
            <p14:sldId id="2147483614"/>
            <p14:sldId id="2147483615"/>
            <p14:sldId id="2147483616"/>
            <p14:sldId id="2147483617"/>
            <p14:sldId id="2147483630"/>
            <p14:sldId id="1885"/>
            <p14:sldId id="2147483631"/>
            <p14:sldId id="256"/>
            <p14:sldId id="257"/>
            <p14:sldId id="258"/>
            <p14:sldId id="2147483618"/>
            <p14:sldId id="1837"/>
            <p14:sldId id="2147483621"/>
            <p14:sldId id="2147483627"/>
            <p14:sldId id="2147483619"/>
            <p14:sldId id="2145706863"/>
            <p14:sldId id="2147483368"/>
            <p14:sldId id="2147483628"/>
            <p14:sldId id="2147483629"/>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8080"/>
    <a:srgbClr val="00CC00"/>
    <a:srgbClr val="5FE31D"/>
    <a:srgbClr val="339966"/>
    <a:srgbClr val="FF3399"/>
    <a:srgbClr val="3399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 pośredni 2 — Ak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660B408-B3CF-4A94-85FC-2B1E0A45F4A2}" styleName="Styl ciemny 2 - Akcent 1/Ak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435" autoAdjust="0"/>
    <p:restoredTop sz="94660"/>
  </p:normalViewPr>
  <p:slideViewPr>
    <p:cSldViewPr snapToGrid="0">
      <p:cViewPr varScale="1">
        <p:scale>
          <a:sx n="85" d="100"/>
          <a:sy n="85" d="100"/>
        </p:scale>
        <p:origin x="54" y="120"/>
      </p:cViewPr>
      <p:guideLst/>
    </p:cSldViewPr>
  </p:slideViewPr>
  <p:notesTextViewPr>
    <p:cViewPr>
      <p:scale>
        <a:sx n="1" d="1"/>
        <a:sy n="1" d="1"/>
      </p:scale>
      <p:origin x="0" y="0"/>
    </p:cViewPr>
  </p:notesTextViewPr>
  <p:sorterViewPr>
    <p:cViewPr>
      <p:scale>
        <a:sx n="70" d="100"/>
        <a:sy n="70" d="100"/>
      </p:scale>
      <p:origin x="0" y="-197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notesMaster" Target="notesMasters/notesMaster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presProps" Target="presProps.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tableStyles" Target="tableStyles.xml"/><Relationship Id="rId20" Type="http://schemas.openxmlformats.org/officeDocument/2006/relationships/slide" Target="slides/slide13.xml"/><Relationship Id="rId41" Type="http://schemas.openxmlformats.org/officeDocument/2006/relationships/slide" Target="slides/slide34.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package" Target="../embeddings/Microsoft_Excel_Worksheet10.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Arkusz1!$B$1</c:f>
              <c:strCache>
                <c:ptCount val="1"/>
                <c:pt idx="0">
                  <c:v>Seria 1</c:v>
                </c:pt>
              </c:strCache>
            </c:strRef>
          </c:tx>
          <c:spPr>
            <a:solidFill>
              <a:schemeClr val="accent1"/>
            </a:solidFill>
            <a:ln>
              <a:noFill/>
            </a:ln>
            <a:effectLst/>
          </c:spPr>
          <c:invertIfNegative val="0"/>
          <c:dPt>
            <c:idx val="0"/>
            <c:invertIfNegative val="0"/>
            <c:bubble3D val="0"/>
            <c:spPr>
              <a:solidFill>
                <a:schemeClr val="bg1">
                  <a:lumMod val="65000"/>
                </a:schemeClr>
              </a:solidFill>
              <a:ln>
                <a:solidFill>
                  <a:schemeClr val="bg1">
                    <a:lumMod val="65000"/>
                  </a:schemeClr>
                </a:solidFill>
              </a:ln>
              <a:effectLst/>
            </c:spPr>
            <c:extLst>
              <c:ext xmlns:c16="http://schemas.microsoft.com/office/drawing/2014/chart" uri="{C3380CC4-5D6E-409C-BE32-E72D297353CC}">
                <c16:uniqueId val="{00000001-DF9D-4F30-8460-D0EAD9305DDB}"/>
              </c:ext>
            </c:extLst>
          </c:dPt>
          <c:dPt>
            <c:idx val="1"/>
            <c:invertIfNegative val="0"/>
            <c:bubble3D val="0"/>
            <c:spPr>
              <a:solidFill>
                <a:schemeClr val="bg1">
                  <a:lumMod val="65000"/>
                </a:schemeClr>
              </a:solidFill>
              <a:ln>
                <a:noFill/>
              </a:ln>
              <a:effectLst/>
            </c:spPr>
            <c:extLst>
              <c:ext xmlns:c16="http://schemas.microsoft.com/office/drawing/2014/chart" uri="{C3380CC4-5D6E-409C-BE32-E72D297353CC}">
                <c16:uniqueId val="{00000004-9F67-4242-B995-0D67123794E0}"/>
              </c:ext>
            </c:extLst>
          </c:dPt>
          <c:dLbls>
            <c:spPr>
              <a:solidFill>
                <a:schemeClr val="lt1"/>
              </a:solidFill>
              <a:ln>
                <a:solidFill>
                  <a:schemeClr val="dk1">
                    <a:lumMod val="25000"/>
                    <a:lumOff val="75000"/>
                  </a:schemeClr>
                </a:solidFill>
              </a:ln>
              <a:effectLst/>
            </c:spPr>
            <c:txPr>
              <a:bodyPr rot="0" spcFirstLastPara="1" vertOverflow="clip" horzOverflow="clip" vert="horz" wrap="square" lIns="36576" tIns="18288" rIns="36576" bIns="18288" anchor="ctr" anchorCtr="1">
                <a:spAutoFit/>
              </a:bodyPr>
              <a:lstStyle/>
              <a:p>
                <a:pPr>
                  <a:defRPr sz="1400" b="0" i="0" u="none" strike="noStrike" kern="1200" baseline="0">
                    <a:ln>
                      <a:solidFill>
                        <a:schemeClr val="accent1"/>
                      </a:solidFill>
                    </a:ln>
                    <a:solidFill>
                      <a:schemeClr val="dk1">
                        <a:lumMod val="65000"/>
                        <a:lumOff val="35000"/>
                      </a:schemeClr>
                    </a:solidFill>
                    <a:latin typeface="+mn-lt"/>
                    <a:ea typeface="+mn-ea"/>
                    <a:cs typeface="+mn-cs"/>
                  </a:defRPr>
                </a:pPr>
                <a:endParaRPr lang="pl-PL"/>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ound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numRef>
              <c:f>Arkusz1!$A$2:$A$4</c:f>
              <c:numCache>
                <c:formatCode>General</c:formatCode>
                <c:ptCount val="3"/>
                <c:pt idx="0">
                  <c:v>2023</c:v>
                </c:pt>
                <c:pt idx="1">
                  <c:v>2024</c:v>
                </c:pt>
                <c:pt idx="2">
                  <c:v>2025</c:v>
                </c:pt>
              </c:numCache>
            </c:numRef>
          </c:cat>
          <c:val>
            <c:numRef>
              <c:f>Arkusz1!$B$2:$B$4</c:f>
              <c:numCache>
                <c:formatCode>General</c:formatCode>
                <c:ptCount val="3"/>
                <c:pt idx="0">
                  <c:v>54</c:v>
                </c:pt>
                <c:pt idx="1">
                  <c:v>54</c:v>
                </c:pt>
                <c:pt idx="2">
                  <c:v>65</c:v>
                </c:pt>
              </c:numCache>
            </c:numRef>
          </c:val>
          <c:extLst>
            <c:ext xmlns:c16="http://schemas.microsoft.com/office/drawing/2014/chart" uri="{C3380CC4-5D6E-409C-BE32-E72D297353CC}">
              <c16:uniqueId val="{00000000-4E47-4DC3-8BCA-0174CCEE3F23}"/>
            </c:ext>
          </c:extLst>
        </c:ser>
        <c:dLbls>
          <c:showLegendKey val="0"/>
          <c:showVal val="0"/>
          <c:showCatName val="0"/>
          <c:showSerName val="0"/>
          <c:showPercent val="0"/>
          <c:showBubbleSize val="0"/>
        </c:dLbls>
        <c:gapWidth val="219"/>
        <c:overlap val="-27"/>
        <c:axId val="1666056592"/>
        <c:axId val="1666047952"/>
      </c:barChart>
      <c:catAx>
        <c:axId val="1666056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pl-PL"/>
          </a:p>
        </c:txPr>
        <c:crossAx val="1666047952"/>
        <c:crosses val="autoZero"/>
        <c:auto val="1"/>
        <c:lblAlgn val="ctr"/>
        <c:lblOffset val="100"/>
        <c:noMultiLvlLbl val="0"/>
      </c:catAx>
      <c:valAx>
        <c:axId val="1666047952"/>
        <c:scaling>
          <c:orientation val="minMax"/>
          <c:min val="4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pl-PL"/>
          </a:p>
        </c:txPr>
        <c:crossAx val="1666056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l-PL"/>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pl-PL" dirty="0"/>
              <a:t>Sales</a:t>
            </a:r>
            <a:r>
              <a:rPr lang="pl-PL" baseline="0" dirty="0"/>
              <a:t> channel „</a:t>
            </a:r>
            <a:r>
              <a:rPr lang="pl-PL" baseline="0" dirty="0" err="1"/>
              <a:t>size</a:t>
            </a:r>
            <a:r>
              <a:rPr lang="pl-PL" baseline="0" dirty="0"/>
              <a:t>”:</a:t>
            </a:r>
            <a:r>
              <a:rPr lang="pl-PL" dirty="0"/>
              <a:t> FTE/</a:t>
            </a:r>
            <a:r>
              <a:rPr lang="pl-PL" dirty="0" err="1"/>
              <a:t>Branch</a:t>
            </a:r>
            <a:endParaRPr lang="pl-PL" dirty="0"/>
          </a:p>
        </c:rich>
      </c:tx>
      <c:layout>
        <c:manualLayout>
          <c:xMode val="edge"/>
          <c:yMode val="edge"/>
          <c:x val="0.16937082431378794"/>
          <c:y val="2.0808687872958864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pl-PL"/>
        </a:p>
      </c:txPr>
    </c:title>
    <c:autoTitleDeleted val="0"/>
    <c:plotArea>
      <c:layout>
        <c:manualLayout>
          <c:layoutTarget val="inner"/>
          <c:xMode val="edge"/>
          <c:yMode val="edge"/>
          <c:x val="0.31674851754641781"/>
          <c:y val="0.24410270316324825"/>
          <c:w val="0.31753829278802836"/>
          <c:h val="0.46321691945018573"/>
        </c:manualLayout>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7D65-4D01-A40E-FE485BDCB0A1}"/>
              </c:ext>
            </c:extLst>
          </c:dPt>
          <c:dPt>
            <c:idx val="1"/>
            <c:bubble3D val="0"/>
            <c:explosion val="59"/>
            <c:spPr>
              <a:solidFill>
                <a:schemeClr val="accent2"/>
              </a:solidFill>
              <a:ln w="19050">
                <a:solidFill>
                  <a:schemeClr val="lt1"/>
                </a:solidFill>
              </a:ln>
              <a:effectLst/>
            </c:spPr>
            <c:extLst>
              <c:ext xmlns:c16="http://schemas.microsoft.com/office/drawing/2014/chart" uri="{C3380CC4-5D6E-409C-BE32-E72D297353CC}">
                <c16:uniqueId val="{00000003-7D65-4D01-A40E-FE485BDCB0A1}"/>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7D65-4D01-A40E-FE485BDCB0A1}"/>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7D65-4D01-A40E-FE485BDCB0A1}"/>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7D65-4D01-A40E-FE485BDCB0A1}"/>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7D65-4D01-A40E-FE485BDCB0A1}"/>
              </c:ext>
            </c:extLst>
          </c:dPt>
          <c:dLbls>
            <c:dLbl>
              <c:idx val="0"/>
              <c:layout>
                <c:manualLayout>
                  <c:x val="8.0459146987945721E-2"/>
                  <c:y val="-4.6437372403419837E-2"/>
                </c:manualLayout>
              </c:layout>
              <c:tx>
                <c:rich>
                  <a:bodyPr/>
                  <a:lstStyle/>
                  <a:p>
                    <a:r>
                      <a:rPr lang="en-US"/>
                      <a:t> 65</a:t>
                    </a:r>
                    <a:r>
                      <a:rPr lang="en-US" baseline="0"/>
                      <a:t> (15%)</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D65-4D01-A40E-FE485BDCB0A1}"/>
                </c:ext>
              </c:extLst>
            </c:dLbl>
            <c:dLbl>
              <c:idx val="1"/>
              <c:layout>
                <c:manualLayout>
                  <c:x val="1.0323709536307962E-2"/>
                  <c:y val="-7.6074596688305521E-3"/>
                </c:manualLayout>
              </c:layout>
              <c:tx>
                <c:rich>
                  <a:bodyPr/>
                  <a:lstStyle/>
                  <a:p>
                    <a:fld id="{5F4B4731-0591-433A-BA03-BDB42BA59916}" type="VALUE">
                      <a:rPr lang="en-US" b="1" smtClean="0"/>
                      <a:pPr/>
                      <a:t>[WARTOŚĆ]</a:t>
                    </a:fld>
                    <a:r>
                      <a:rPr lang="en-US" b="1" dirty="0"/>
                      <a:t> (2%)</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7D65-4D01-A40E-FE485BDCB0A1}"/>
                </c:ext>
              </c:extLst>
            </c:dLbl>
            <c:dLbl>
              <c:idx val="2"/>
              <c:tx>
                <c:rich>
                  <a:bodyPr/>
                  <a:lstStyle/>
                  <a:p>
                    <a:fld id="{7821DE2C-9DDD-4791-AC94-2CBEE607D4F8}" type="VALUE">
                      <a:rPr lang="en-US" smtClean="0"/>
                      <a:pPr/>
                      <a:t>[WARTOŚĆ]</a:t>
                    </a:fld>
                    <a:r>
                      <a:rPr lang="en-US"/>
                      <a:t> (47%)</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7D65-4D01-A40E-FE485BDCB0A1}"/>
                </c:ext>
              </c:extLst>
            </c:dLbl>
            <c:dLbl>
              <c:idx val="3"/>
              <c:layout>
                <c:manualLayout>
                  <c:x val="-8.7537420845985967E-2"/>
                  <c:y val="-0.15979065149216315"/>
                </c:manualLayout>
              </c:layout>
              <c:tx>
                <c:rich>
                  <a:bodyPr/>
                  <a:lstStyle/>
                  <a:p>
                    <a:fld id="{C0380CB7-103A-4FFA-8311-7738FE0F6C08}" type="VALUE">
                      <a:rPr lang="en-US" smtClean="0"/>
                      <a:pPr/>
                      <a:t>[WARTOŚĆ]</a:t>
                    </a:fld>
                    <a:r>
                      <a:rPr lang="en-US"/>
                      <a:t> (33%)</a:t>
                    </a:r>
                  </a:p>
                  <a:p>
                    <a:endParaRPr lang="pl-PL"/>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7D65-4D01-A40E-FE485BDCB0A1}"/>
                </c:ext>
              </c:extLst>
            </c:dLbl>
            <c:dLbl>
              <c:idx val="4"/>
              <c:layout>
                <c:manualLayout>
                  <c:x val="6.2022627527842121E-2"/>
                  <c:y val="-6.4345542189205143E-2"/>
                </c:manualLayout>
              </c:layout>
              <c:tx>
                <c:rich>
                  <a:bodyPr/>
                  <a:lstStyle/>
                  <a:p>
                    <a:fld id="{B4392676-35DD-4085-9DF7-5CECF866F5E4}" type="VALUE">
                      <a:rPr lang="en-US" smtClean="0"/>
                      <a:pPr/>
                      <a:t>[WARTOŚĆ]</a:t>
                    </a:fld>
                    <a:endParaRPr lang="en-US" dirty="0"/>
                  </a:p>
                  <a:p>
                    <a:r>
                      <a:rPr lang="en-US" dirty="0"/>
                      <a:t> (3%)</a:t>
                    </a:r>
                  </a:p>
                  <a:p>
                    <a:endParaRPr lang="pl-PL"/>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7D65-4D01-A40E-FE485BDCB0A1}"/>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pl-PL"/>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udzial akwizycji'!$R$6:$R$11</c:f>
              <c:strCache>
                <c:ptCount val="5"/>
                <c:pt idx="0">
                  <c:v>SME Advisors</c:v>
                </c:pt>
                <c:pt idx="1">
                  <c:v>Remote Advisors</c:v>
                </c:pt>
                <c:pt idx="2">
                  <c:v>Branch</c:v>
                </c:pt>
                <c:pt idx="3">
                  <c:v>Partners Branch</c:v>
                </c:pt>
                <c:pt idx="4">
                  <c:v>Contact Center</c:v>
                </c:pt>
              </c:strCache>
            </c:strRef>
          </c:cat>
          <c:val>
            <c:numRef>
              <c:f>'udzial akwizycji'!$S$6:$S$11</c:f>
              <c:numCache>
                <c:formatCode>General</c:formatCode>
                <c:ptCount val="6"/>
                <c:pt idx="0">
                  <c:v>65</c:v>
                </c:pt>
                <c:pt idx="1">
                  <c:v>8</c:v>
                </c:pt>
                <c:pt idx="2">
                  <c:v>209</c:v>
                </c:pt>
                <c:pt idx="3">
                  <c:v>148</c:v>
                </c:pt>
                <c:pt idx="4">
                  <c:v>13</c:v>
                </c:pt>
              </c:numCache>
            </c:numRef>
          </c:val>
          <c:extLst>
            <c:ext xmlns:c16="http://schemas.microsoft.com/office/drawing/2014/chart" uri="{C3380CC4-5D6E-409C-BE32-E72D297353CC}">
              <c16:uniqueId val="{0000000C-7D65-4D01-A40E-FE485BDCB0A1}"/>
            </c:ext>
          </c:extLst>
        </c:ser>
        <c:dLbls>
          <c:showLegendKey val="0"/>
          <c:showVal val="0"/>
          <c:showCatName val="0"/>
          <c:showSerName val="0"/>
          <c:showPercent val="0"/>
          <c:showBubbleSize val="0"/>
          <c:showLeaderLines val="1"/>
        </c:dLbls>
        <c:firstSliceAng val="217"/>
      </c:pieChart>
      <c:spPr>
        <a:noFill/>
        <a:ln>
          <a:noFill/>
        </a:ln>
        <a:effectLst/>
      </c:spPr>
    </c:plotArea>
    <c:legend>
      <c:legendPos val="b"/>
      <c:legendEntry>
        <c:idx val="1"/>
        <c:txPr>
          <a:bodyPr rot="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pl-PL"/>
          </a:p>
        </c:txPr>
      </c:legendEntry>
      <c:legendEntry>
        <c:idx val="5"/>
        <c:delete val="1"/>
      </c:legendEntry>
      <c:layout>
        <c:manualLayout>
          <c:xMode val="edge"/>
          <c:yMode val="edge"/>
          <c:x val="9.8146301765240362E-2"/>
          <c:y val="0.82281525162127545"/>
          <c:w val="0.88259515225498097"/>
          <c:h val="0.1624073583858035"/>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pl-PL"/>
        </a:p>
      </c:txPr>
    </c:legend>
    <c:plotVisOnly val="1"/>
    <c:dispBlanksAs val="gap"/>
    <c:showDLblsOverMax val="0"/>
  </c:chart>
  <c:spPr>
    <a:noFill/>
    <a:ln>
      <a:solidFill>
        <a:srgbClr val="008080"/>
      </a:solidFill>
    </a:ln>
    <a:effectLst/>
  </c:spPr>
  <c:txPr>
    <a:bodyPr/>
    <a:lstStyle/>
    <a:p>
      <a:pPr>
        <a:defRPr/>
      </a:pPr>
      <a:endParaRPr lang="pl-PL"/>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pl-PL" sz="1400" b="0" i="0" baseline="0" dirty="0" err="1">
                <a:effectLst/>
              </a:rPr>
              <a:t>Share</a:t>
            </a:r>
            <a:r>
              <a:rPr lang="pl-PL" sz="1400" b="0" i="0" baseline="0" dirty="0">
                <a:effectLst/>
              </a:rPr>
              <a:t> of </a:t>
            </a:r>
            <a:r>
              <a:rPr lang="pl-PL" sz="1400" b="0" i="0" baseline="0" dirty="0" err="1">
                <a:effectLst/>
              </a:rPr>
              <a:t>sales</a:t>
            </a:r>
            <a:r>
              <a:rPr lang="pl-PL" sz="1400" b="0" i="0" baseline="0" dirty="0">
                <a:effectLst/>
              </a:rPr>
              <a:t> 2025</a:t>
            </a:r>
            <a:endParaRPr lang="pl-PL" sz="1100" dirty="0">
              <a:effectLst/>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pl-PL"/>
        </a:p>
      </c:txPr>
    </c:title>
    <c:autoTitleDeleted val="0"/>
    <c:plotArea>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562-40CC-A909-D85382CB76D6}"/>
              </c:ext>
            </c:extLst>
          </c:dPt>
          <c:dPt>
            <c:idx val="1"/>
            <c:bubble3D val="0"/>
            <c:explosion val="32"/>
            <c:spPr>
              <a:solidFill>
                <a:schemeClr val="accent2"/>
              </a:solidFill>
              <a:ln w="19050">
                <a:solidFill>
                  <a:schemeClr val="lt1"/>
                </a:solidFill>
              </a:ln>
              <a:effectLst/>
            </c:spPr>
            <c:extLst>
              <c:ext xmlns:c16="http://schemas.microsoft.com/office/drawing/2014/chart" uri="{C3380CC4-5D6E-409C-BE32-E72D297353CC}">
                <c16:uniqueId val="{00000003-4562-40CC-A909-D85382CB76D6}"/>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562-40CC-A909-D85382CB76D6}"/>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4562-40CC-A909-D85382CB76D6}"/>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4562-40CC-A909-D85382CB76D6}"/>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4562-40CC-A909-D85382CB76D6}"/>
              </c:ext>
            </c:extLst>
          </c:dPt>
          <c:dLbls>
            <c:dLbl>
              <c:idx val="0"/>
              <c:tx>
                <c:rich>
                  <a:bodyPr/>
                  <a:lstStyle/>
                  <a:p>
                    <a:fld id="{6D2C744E-BD3E-4D83-8ABF-93A4C84AD6E3}" type="VALUE">
                      <a:rPr lang="en-US"/>
                      <a:pPr/>
                      <a:t>[WARTOŚĆ]</a:t>
                    </a:fld>
                    <a:r>
                      <a:rPr lang="en-US"/>
                      <a:t> (29%)</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4562-40CC-A909-D85382CB76D6}"/>
                </c:ext>
              </c:extLst>
            </c:dLbl>
            <c:dLbl>
              <c:idx val="1"/>
              <c:tx>
                <c:rich>
                  <a:bodyPr/>
                  <a:lstStyle/>
                  <a:p>
                    <a:fld id="{49D5FE8C-79DE-414F-AB06-49608991B650}" type="VALUE">
                      <a:rPr lang="en-US" b="1"/>
                      <a:pPr/>
                      <a:t>[WARTOŚĆ]</a:t>
                    </a:fld>
                    <a:r>
                      <a:rPr lang="en-US" b="1"/>
                      <a:t> (8%)</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4562-40CC-A909-D85382CB76D6}"/>
                </c:ext>
              </c:extLst>
            </c:dLbl>
            <c:dLbl>
              <c:idx val="2"/>
              <c:tx>
                <c:rich>
                  <a:bodyPr/>
                  <a:lstStyle/>
                  <a:p>
                    <a:fld id="{9E28DF6F-B7A2-45B2-8A78-377E67854884}" type="VALUE">
                      <a:rPr lang="en-US"/>
                      <a:pPr/>
                      <a:t>[WARTOŚĆ]</a:t>
                    </a:fld>
                    <a:r>
                      <a:rPr lang="en-US"/>
                      <a:t> (38%)</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4562-40CC-A909-D85382CB76D6}"/>
                </c:ext>
              </c:extLst>
            </c:dLbl>
            <c:dLbl>
              <c:idx val="3"/>
              <c:layout>
                <c:manualLayout>
                  <c:x val="-6.7524006749460824E-2"/>
                  <c:y val="9.0235154557758036E-3"/>
                </c:manualLayout>
              </c:layout>
              <c:tx>
                <c:rich>
                  <a:bodyPr/>
                  <a:lstStyle/>
                  <a:p>
                    <a:fld id="{3BD1996C-80F1-4FDE-B91C-936B30846927}" type="VALUE">
                      <a:rPr lang="en-US"/>
                      <a:pPr/>
                      <a:t>[WARTOŚĆ]</a:t>
                    </a:fld>
                    <a:r>
                      <a:rPr lang="en-US"/>
                      <a:t> (11%)</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4562-40CC-A909-D85382CB76D6}"/>
                </c:ext>
              </c:extLst>
            </c:dLbl>
            <c:dLbl>
              <c:idx val="4"/>
              <c:layout>
                <c:manualLayout>
                  <c:x val="-7.160039370078751E-2"/>
                  <c:y val="-3.4674467774861474E-2"/>
                </c:manualLayout>
              </c:layout>
              <c:tx>
                <c:rich>
                  <a:bodyPr/>
                  <a:lstStyle/>
                  <a:p>
                    <a:r>
                      <a:rPr lang="en-US"/>
                      <a:t> 86 (6%)</a:t>
                    </a:r>
                  </a:p>
                  <a:p>
                    <a:endParaRPr lang="en-US"/>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4562-40CC-A909-D85382CB76D6}"/>
                </c:ext>
              </c:extLst>
            </c:dLbl>
            <c:dLbl>
              <c:idx val="5"/>
              <c:layout>
                <c:manualLayout>
                  <c:x val="-4.7253937007874121E-2"/>
                  <c:y val="-5.9542505103528723E-2"/>
                </c:manualLayout>
              </c:layout>
              <c:tx>
                <c:rich>
                  <a:bodyPr/>
                  <a:lstStyle/>
                  <a:p>
                    <a:fld id="{C390A995-11E8-47ED-9C07-FB6270DAB4CC}" type="VALUE">
                      <a:rPr lang="en-US"/>
                      <a:pPr/>
                      <a:t>[WARTOŚĆ]</a:t>
                    </a:fld>
                    <a:r>
                      <a:rPr lang="en-US"/>
                      <a:t> (7%)</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4562-40CC-A909-D85382CB76D6}"/>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pl-PL"/>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udzial akwizycji'!$C$40:$C$45</c:f>
              <c:strCache>
                <c:ptCount val="6"/>
                <c:pt idx="0">
                  <c:v>SME Advisors</c:v>
                </c:pt>
                <c:pt idx="1">
                  <c:v>Remote Advisors</c:v>
                </c:pt>
                <c:pt idx="2">
                  <c:v>Branch</c:v>
                </c:pt>
                <c:pt idx="3">
                  <c:v>Partners Branch</c:v>
                </c:pt>
                <c:pt idx="4">
                  <c:v>Contact Center</c:v>
                </c:pt>
                <c:pt idx="5">
                  <c:v>other</c:v>
                </c:pt>
              </c:strCache>
            </c:strRef>
          </c:cat>
          <c:val>
            <c:numRef>
              <c:f>'udzial akwizycji'!$D$40:$D$45</c:f>
              <c:numCache>
                <c:formatCode>General</c:formatCode>
                <c:ptCount val="6"/>
                <c:pt idx="0">
                  <c:v>403</c:v>
                </c:pt>
                <c:pt idx="1">
                  <c:v>110</c:v>
                </c:pt>
                <c:pt idx="2">
                  <c:v>532</c:v>
                </c:pt>
                <c:pt idx="3">
                  <c:v>155</c:v>
                </c:pt>
                <c:pt idx="4">
                  <c:v>86</c:v>
                </c:pt>
                <c:pt idx="5">
                  <c:v>97</c:v>
                </c:pt>
              </c:numCache>
            </c:numRef>
          </c:val>
          <c:extLst>
            <c:ext xmlns:c16="http://schemas.microsoft.com/office/drawing/2014/chart" uri="{C3380CC4-5D6E-409C-BE32-E72D297353CC}">
              <c16:uniqueId val="{0000000C-4562-40CC-A909-D85382CB76D6}"/>
            </c:ext>
          </c:extLst>
        </c:ser>
        <c:ser>
          <c:idx val="1"/>
          <c:order val="1"/>
          <c:dPt>
            <c:idx val="0"/>
            <c:bubble3D val="0"/>
            <c:spPr>
              <a:solidFill>
                <a:schemeClr val="accent1"/>
              </a:solidFill>
              <a:ln w="19050">
                <a:solidFill>
                  <a:schemeClr val="lt1"/>
                </a:solidFill>
              </a:ln>
              <a:effectLst/>
            </c:spPr>
            <c:extLst>
              <c:ext xmlns:c16="http://schemas.microsoft.com/office/drawing/2014/chart" uri="{C3380CC4-5D6E-409C-BE32-E72D297353CC}">
                <c16:uniqueId val="{0000000E-4562-40CC-A909-D85382CB76D6}"/>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10-4562-40CC-A909-D85382CB76D6}"/>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12-4562-40CC-A909-D85382CB76D6}"/>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14-4562-40CC-A909-D85382CB76D6}"/>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16-4562-40CC-A909-D85382CB76D6}"/>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18-4562-40CC-A909-D85382CB76D6}"/>
              </c:ext>
            </c:extLst>
          </c:dPt>
          <c:cat>
            <c:strRef>
              <c:f>'udzial akwizycji'!$C$40:$C$45</c:f>
              <c:strCache>
                <c:ptCount val="6"/>
                <c:pt idx="0">
                  <c:v>SME Advisors</c:v>
                </c:pt>
                <c:pt idx="1">
                  <c:v>Remote Advisors</c:v>
                </c:pt>
                <c:pt idx="2">
                  <c:v>Branch</c:v>
                </c:pt>
                <c:pt idx="3">
                  <c:v>Partners Branch</c:v>
                </c:pt>
                <c:pt idx="4">
                  <c:v>Contact Center</c:v>
                </c:pt>
                <c:pt idx="5">
                  <c:v>other</c:v>
                </c:pt>
              </c:strCache>
            </c:strRef>
          </c:cat>
          <c:val>
            <c:numRef>
              <c:f>'udzial akwizycji'!$E$40:$E$45</c:f>
              <c:numCache>
                <c:formatCode>0%</c:formatCode>
                <c:ptCount val="6"/>
                <c:pt idx="0">
                  <c:v>0.2913955169920463</c:v>
                </c:pt>
                <c:pt idx="1">
                  <c:v>7.953723788864786E-2</c:v>
                </c:pt>
                <c:pt idx="2">
                  <c:v>0.38467100506146057</c:v>
                </c:pt>
                <c:pt idx="3">
                  <c:v>0.11207519884309472</c:v>
                </c:pt>
                <c:pt idx="4">
                  <c:v>6.2183658712942881E-2</c:v>
                </c:pt>
                <c:pt idx="5">
                  <c:v>7.0137382501807663E-2</c:v>
                </c:pt>
              </c:numCache>
            </c:numRef>
          </c:val>
          <c:extLst>
            <c:ext xmlns:c16="http://schemas.microsoft.com/office/drawing/2014/chart" uri="{C3380CC4-5D6E-409C-BE32-E72D297353CC}">
              <c16:uniqueId val="{00000019-4562-40CC-A909-D85382CB76D6}"/>
            </c:ext>
          </c:extLst>
        </c:ser>
        <c:dLbls>
          <c:showLegendKey val="0"/>
          <c:showVal val="0"/>
          <c:showCatName val="0"/>
          <c:showSerName val="0"/>
          <c:showPercent val="0"/>
          <c:showBubbleSize val="0"/>
          <c:showLeaderLines val="1"/>
        </c:dLbls>
        <c:firstSliceAng val="152"/>
      </c:pieChart>
      <c:spPr>
        <a:noFill/>
        <a:ln>
          <a:noFill/>
        </a:ln>
        <a:effectLst/>
      </c:spPr>
    </c:plotArea>
    <c:legend>
      <c:legendPos val="b"/>
      <c:legendEntry>
        <c:idx val="1"/>
        <c:txPr>
          <a:bodyPr rot="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pl-PL"/>
          </a:p>
        </c:txPr>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pl-PL"/>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rgbClr val="009597"/>
      </a:solidFill>
    </a:ln>
    <a:effectLst/>
  </c:spPr>
  <c:txPr>
    <a:bodyPr/>
    <a:lstStyle/>
    <a:p>
      <a:pPr>
        <a:defRPr/>
      </a:pPr>
      <a:endParaRPr lang="pl-PL"/>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Arkusz1!$B$1</c:f>
              <c:strCache>
                <c:ptCount val="1"/>
                <c:pt idx="0">
                  <c:v>Sprzedaż</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EAAC-4CD2-9FE6-ADF7668D4FC9}"/>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EAAC-4CD2-9FE6-ADF7668D4FC9}"/>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EAAC-4CD2-9FE6-ADF7668D4FC9}"/>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EAAC-4CD2-9FE6-ADF7668D4FC9}"/>
              </c:ext>
            </c:extLst>
          </c:dPt>
          <c:dLbls>
            <c:spPr>
              <a:solidFill>
                <a:schemeClr val="bg1"/>
              </a:solidFill>
              <a:ln>
                <a:solidFill>
                  <a:srgbClr val="008080"/>
                </a:solid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pl-PL"/>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Arkusz1!$A$2:$A$5</c:f>
              <c:strCache>
                <c:ptCount val="4"/>
                <c:pt idx="0">
                  <c:v>Business zone - 826</c:v>
                </c:pt>
                <c:pt idx="1">
                  <c:v>Sales of Business Accounts - 3282</c:v>
                </c:pt>
                <c:pt idx="2">
                  <c:v>click to call - 15308</c:v>
                </c:pt>
                <c:pt idx="3">
                  <c:v>Service and offer - 28896</c:v>
                </c:pt>
              </c:strCache>
            </c:strRef>
          </c:cat>
          <c:val>
            <c:numRef>
              <c:f>Arkusz1!$B$2:$B$5</c:f>
              <c:numCache>
                <c:formatCode>0%</c:formatCode>
                <c:ptCount val="4"/>
                <c:pt idx="0">
                  <c:v>0.01</c:v>
                </c:pt>
                <c:pt idx="1">
                  <c:v>7.0000000000000007E-2</c:v>
                </c:pt>
                <c:pt idx="2">
                  <c:v>0.31</c:v>
                </c:pt>
                <c:pt idx="3">
                  <c:v>0.6</c:v>
                </c:pt>
              </c:numCache>
            </c:numRef>
          </c:val>
          <c:extLst>
            <c:ext xmlns:c16="http://schemas.microsoft.com/office/drawing/2014/chart" uri="{C3380CC4-5D6E-409C-BE32-E72D297353CC}">
              <c16:uniqueId val="{00000000-2E63-4539-B057-7B6F9292139C}"/>
            </c:ext>
          </c:extLst>
        </c:ser>
        <c:dLbls>
          <c:showLegendKey val="0"/>
          <c:showVal val="0"/>
          <c:showCatName val="0"/>
          <c:showSerName val="0"/>
          <c:showPercent val="0"/>
          <c:showBubbleSize val="0"/>
          <c:showLeaderLines val="1"/>
        </c:dLbls>
        <c:firstSliceAng val="0"/>
        <c:holeSize val="75"/>
      </c:doughnutChart>
      <c:spPr>
        <a:noFill/>
        <a:ln>
          <a:noFill/>
        </a:ln>
        <a:effectLst/>
      </c:spPr>
    </c:plotArea>
    <c:legend>
      <c:legendPos val="b"/>
      <c:layout>
        <c:manualLayout>
          <c:xMode val="edge"/>
          <c:yMode val="edge"/>
          <c:x val="5.784485728346455E-2"/>
          <c:y val="0.89928260954216233"/>
          <c:w val="0.89837278543307086"/>
          <c:h val="8.6654891322902841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pl-PL"/>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l-PL"/>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363133072587695"/>
          <c:y val="0"/>
          <c:w val="0.74394069935606422"/>
          <c:h val="0.93745182666980353"/>
        </c:manualLayout>
      </c:layout>
      <c:doughnut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0FF4-4CE4-9A57-A8CDA9B49382}"/>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0FF4-4CE4-9A57-A8CDA9B49382}"/>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0FF4-4CE4-9A57-A8CDA9B49382}"/>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0FF4-4CE4-9A57-A8CDA9B49382}"/>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0FF4-4CE4-9A57-A8CDA9B49382}"/>
              </c:ext>
            </c:extLst>
          </c:dPt>
          <c:dLbls>
            <c:spPr>
              <a:solidFill>
                <a:schemeClr val="bg1"/>
              </a:solidFill>
              <a:ln>
                <a:solidFill>
                  <a:srgbClr val="008080"/>
                </a:solid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pl-PL"/>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CZAT!$B$2:$B$6</c:f>
              <c:strCache>
                <c:ptCount val="5"/>
                <c:pt idx="0">
                  <c:v>e-mail</c:v>
                </c:pt>
                <c:pt idx="1">
                  <c:v>chat www</c:v>
                </c:pt>
                <c:pt idx="2">
                  <c:v>chat eBank</c:v>
                </c:pt>
                <c:pt idx="3">
                  <c:v>chat mobile</c:v>
                </c:pt>
                <c:pt idx="4">
                  <c:v>chat Business Zone</c:v>
                </c:pt>
              </c:strCache>
            </c:strRef>
          </c:cat>
          <c:val>
            <c:numRef>
              <c:f>CZAT!$C$2:$C$6</c:f>
              <c:numCache>
                <c:formatCode>0%</c:formatCode>
                <c:ptCount val="5"/>
                <c:pt idx="0">
                  <c:v>0.11</c:v>
                </c:pt>
                <c:pt idx="1">
                  <c:v>0.01</c:v>
                </c:pt>
                <c:pt idx="2">
                  <c:v>0.14000000000000001</c:v>
                </c:pt>
                <c:pt idx="3">
                  <c:v>0.69</c:v>
                </c:pt>
                <c:pt idx="4">
                  <c:v>0.05</c:v>
                </c:pt>
              </c:numCache>
            </c:numRef>
          </c:val>
          <c:extLst>
            <c:ext xmlns:c16="http://schemas.microsoft.com/office/drawing/2014/chart" uri="{C3380CC4-5D6E-409C-BE32-E72D297353CC}">
              <c16:uniqueId val="{0000000A-0FF4-4CE4-9A57-A8CDA9B49382}"/>
            </c:ext>
          </c:extLst>
        </c:ser>
        <c:dLbls>
          <c:showLegendKey val="0"/>
          <c:showVal val="0"/>
          <c:showCatName val="0"/>
          <c:showSerName val="0"/>
          <c:showPercent val="0"/>
          <c:showBubbleSize val="0"/>
          <c:showLeaderLines val="1"/>
        </c:dLbls>
        <c:firstSliceAng val="232"/>
        <c:holeSize val="50"/>
      </c:doughnutChart>
      <c:spPr>
        <a:noFill/>
        <a:ln>
          <a:noFill/>
        </a:ln>
        <a:effectLst/>
      </c:spPr>
    </c:plotArea>
    <c:plotVisOnly val="1"/>
    <c:dispBlanksAs val="gap"/>
    <c:showDLblsOverMax val="0"/>
  </c:chart>
  <c:spPr>
    <a:noFill/>
    <a:ln>
      <a:noFill/>
    </a:ln>
    <a:effectLst/>
  </c:spPr>
  <c:txPr>
    <a:bodyPr/>
    <a:lstStyle/>
    <a:p>
      <a:pPr>
        <a:defRPr/>
      </a:pPr>
      <a:endParaRPr lang="pl-PL"/>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408922506422184"/>
          <c:y val="0.10528393954325389"/>
          <c:w val="0.47339319672983193"/>
          <c:h val="0.70861116577500938"/>
        </c:manualLayout>
      </c:layout>
      <c:pieChart>
        <c:varyColors val="1"/>
        <c:dLbls>
          <c:showLegendKey val="0"/>
          <c:showVal val="0"/>
          <c:showCatName val="0"/>
          <c:showSerName val="0"/>
          <c:showPercent val="0"/>
          <c:showBubbleSize val="0"/>
          <c:showLeaderLines val="0"/>
        </c:dLbls>
        <c:firstSliceAng val="301"/>
      </c:pieChart>
      <c:spPr>
        <a:noFill/>
        <a:ln>
          <a:noFill/>
        </a:ln>
        <a:effectLst/>
      </c:spPr>
    </c:plotArea>
    <c:plotVisOnly val="1"/>
    <c:dispBlanksAs val="gap"/>
    <c:showDLblsOverMax val="0"/>
  </c:chart>
  <c:spPr>
    <a:noFill/>
    <a:ln>
      <a:noFill/>
    </a:ln>
    <a:effectLst/>
  </c:spPr>
  <c:txPr>
    <a:bodyPr/>
    <a:lstStyle/>
    <a:p>
      <a:pPr>
        <a:defRPr/>
      </a:pPr>
      <a:endParaRPr lang="pl-PL"/>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701224846894139"/>
          <c:y val="9.8884104417374784E-3"/>
          <c:w val="0.65833333333333333"/>
          <c:h val="0.94907407407407407"/>
        </c:manualLayout>
      </c:layout>
      <c:doughnut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935D-4C65-81EB-E79C61D7A34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935D-4C65-81EB-E79C61D7A343}"/>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935D-4C65-81EB-E79C61D7A343}"/>
              </c:ext>
            </c:extLst>
          </c:dPt>
          <c:dLbls>
            <c:spPr>
              <a:solidFill>
                <a:schemeClr val="bg1"/>
              </a:solidFill>
              <a:ln>
                <a:solidFill>
                  <a:srgbClr val="008080"/>
                </a:solid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pl-PL"/>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wychodzące!$C$3:$C$5</c:f>
              <c:strCache>
                <c:ptCount val="3"/>
                <c:pt idx="0">
                  <c:v>Retencja Konta Biznes</c:v>
                </c:pt>
                <c:pt idx="1">
                  <c:v>Ankiety CX - głos klienta </c:v>
                </c:pt>
                <c:pt idx="2">
                  <c:v>Wsparcie sprzedazy  oferty biznes</c:v>
                </c:pt>
              </c:strCache>
            </c:strRef>
          </c:cat>
          <c:val>
            <c:numRef>
              <c:f>wychodzące!$D$3:$D$5</c:f>
              <c:numCache>
                <c:formatCode>0%</c:formatCode>
                <c:ptCount val="3"/>
                <c:pt idx="0">
                  <c:v>0.3</c:v>
                </c:pt>
                <c:pt idx="1">
                  <c:v>0.16</c:v>
                </c:pt>
                <c:pt idx="2">
                  <c:v>0.54</c:v>
                </c:pt>
              </c:numCache>
            </c:numRef>
          </c:val>
          <c:extLst>
            <c:ext xmlns:c16="http://schemas.microsoft.com/office/drawing/2014/chart" uri="{C3380CC4-5D6E-409C-BE32-E72D297353CC}">
              <c16:uniqueId val="{00000006-935D-4C65-81EB-E79C61D7A343}"/>
            </c:ext>
          </c:extLst>
        </c:ser>
        <c:dLbls>
          <c:showLegendKey val="0"/>
          <c:showVal val="0"/>
          <c:showCatName val="0"/>
          <c:showSerName val="0"/>
          <c:showPercent val="0"/>
          <c:showBubbleSize val="0"/>
          <c:showLeaderLines val="1"/>
        </c:dLbls>
        <c:firstSliceAng val="217"/>
        <c:holeSize val="50"/>
      </c:doughnutChart>
      <c:spPr>
        <a:noFill/>
        <a:ln>
          <a:noFill/>
        </a:ln>
        <a:effectLst/>
      </c:spPr>
    </c:plotArea>
    <c:plotVisOnly val="1"/>
    <c:dispBlanksAs val="gap"/>
    <c:showDLblsOverMax val="0"/>
  </c:chart>
  <c:spPr>
    <a:noFill/>
    <a:ln>
      <a:noFill/>
    </a:ln>
    <a:effectLst/>
  </c:spPr>
  <c:txPr>
    <a:bodyPr/>
    <a:lstStyle/>
    <a:p>
      <a:pPr>
        <a:defRPr/>
      </a:pPr>
      <a:endParaRPr lang="pl-PL"/>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pl-PL" dirty="0" err="1"/>
              <a:t>Share</a:t>
            </a:r>
            <a:r>
              <a:rPr lang="pl-PL" baseline="0" dirty="0"/>
              <a:t> of </a:t>
            </a:r>
            <a:r>
              <a:rPr lang="pl-PL" baseline="0" dirty="0" err="1"/>
              <a:t>sales</a:t>
            </a:r>
            <a:r>
              <a:rPr lang="pl-PL" baseline="0" dirty="0"/>
              <a:t> 2025</a:t>
            </a:r>
            <a:endParaRPr lang="en-US"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7F13-46B6-BA9E-C0350532BE3F}"/>
              </c:ext>
            </c:extLst>
          </c:dPt>
          <c:dPt>
            <c:idx val="1"/>
            <c:bubble3D val="0"/>
            <c:explosion val="28"/>
            <c:spPr>
              <a:solidFill>
                <a:schemeClr val="accent2"/>
              </a:solidFill>
              <a:ln w="19050">
                <a:solidFill>
                  <a:schemeClr val="lt1"/>
                </a:solidFill>
              </a:ln>
              <a:effectLst/>
            </c:spPr>
            <c:extLst>
              <c:ext xmlns:c16="http://schemas.microsoft.com/office/drawing/2014/chart" uri="{C3380CC4-5D6E-409C-BE32-E72D297353CC}">
                <c16:uniqueId val="{00000003-7F13-46B6-BA9E-C0350532BE3F}"/>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7F13-46B6-BA9E-C0350532BE3F}"/>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7F13-46B6-BA9E-C0350532BE3F}"/>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7F13-46B6-BA9E-C0350532BE3F}"/>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7F13-46B6-BA9E-C0350532BE3F}"/>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D-7F13-46B6-BA9E-C0350532BE3F}"/>
              </c:ext>
            </c:extLst>
          </c:dPt>
          <c:dPt>
            <c:idx val="7"/>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F-7F13-46B6-BA9E-C0350532BE3F}"/>
              </c:ext>
            </c:extLst>
          </c:dPt>
          <c:dLbls>
            <c:dLbl>
              <c:idx val="0"/>
              <c:layout>
                <c:manualLayout>
                  <c:x val="4.4030286067819578E-2"/>
                  <c:y val="-7.2034925826039375E-2"/>
                </c:manualLayout>
              </c:layout>
              <c:tx>
                <c:rich>
                  <a:bodyPr/>
                  <a:lstStyle/>
                  <a:p>
                    <a:fld id="{909DD7E7-3BC2-4F39-AE7C-745BF3171DB5}" type="VALUE">
                      <a:rPr lang="en-US" smtClean="0"/>
                      <a:pPr/>
                      <a:t>[WARTOŚĆ]</a:t>
                    </a:fld>
                    <a:r>
                      <a:rPr lang="en-US" dirty="0"/>
                      <a:t> </a:t>
                    </a:r>
                  </a:p>
                  <a:p>
                    <a:r>
                      <a:rPr lang="en-US" dirty="0"/>
                      <a:t>(13%)</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7F13-46B6-BA9E-C0350532BE3F}"/>
                </c:ext>
              </c:extLst>
            </c:dLbl>
            <c:dLbl>
              <c:idx val="1"/>
              <c:tx>
                <c:rich>
                  <a:bodyPr/>
                  <a:lstStyle/>
                  <a:p>
                    <a:r>
                      <a:rPr lang="en-US" b="1" dirty="0"/>
                      <a:t> 1117 (10%)</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F13-46B6-BA9E-C0350532BE3F}"/>
                </c:ext>
              </c:extLst>
            </c:dLbl>
            <c:dLbl>
              <c:idx val="2"/>
              <c:layout>
                <c:manualLayout>
                  <c:x val="-3.5589075803553069E-2"/>
                  <c:y val="0.17006350745999652"/>
                </c:manualLayout>
              </c:layout>
              <c:tx>
                <c:rich>
                  <a:bodyPr/>
                  <a:lstStyle/>
                  <a:p>
                    <a:fld id="{301ACA03-4269-4951-B660-7B8377412279}" type="VALUE">
                      <a:rPr lang="en-US" smtClean="0"/>
                      <a:pPr/>
                      <a:t>[WARTOŚĆ]</a:t>
                    </a:fld>
                    <a:r>
                      <a:rPr lang="en-US" dirty="0"/>
                      <a:t> (45%)</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7F13-46B6-BA9E-C0350532BE3F}"/>
                </c:ext>
              </c:extLst>
            </c:dLbl>
            <c:dLbl>
              <c:idx val="3"/>
              <c:layout>
                <c:manualLayout>
                  <c:x val="-8.7063606634652208E-2"/>
                  <c:y val="-4.5906505090755369E-2"/>
                </c:manualLayout>
              </c:layout>
              <c:tx>
                <c:rich>
                  <a:bodyPr/>
                  <a:lstStyle/>
                  <a:p>
                    <a:fld id="{63CD169A-FCF6-447C-BA1A-C0A52F197669}" type="VALUE">
                      <a:rPr lang="en-US" smtClean="0"/>
                      <a:pPr/>
                      <a:t>[WARTOŚĆ]</a:t>
                    </a:fld>
                    <a:r>
                      <a:rPr lang="en-US"/>
                      <a:t> (13%)</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7F13-46B6-BA9E-C0350532BE3F}"/>
                </c:ext>
              </c:extLst>
            </c:dLbl>
            <c:dLbl>
              <c:idx val="4"/>
              <c:layout>
                <c:manualLayout>
                  <c:x val="-4.0427068909642636E-2"/>
                  <c:y val="-8.0185951022574975E-2"/>
                </c:manualLayout>
              </c:layout>
              <c:tx>
                <c:rich>
                  <a:bodyPr/>
                  <a:lstStyle/>
                  <a:p>
                    <a:fld id="{00DBAF7D-0ECA-4A17-B6A7-9ED3DC8E8F02}" type="VALUE">
                      <a:rPr lang="en-US" smtClean="0"/>
                      <a:pPr/>
                      <a:t>[WARTOŚĆ]</a:t>
                    </a:fld>
                    <a:r>
                      <a:rPr lang="en-US" baseline="0"/>
                      <a:t> (12%)</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7F13-46B6-BA9E-C0350532BE3F}"/>
                </c:ext>
              </c:extLst>
            </c:dLbl>
            <c:dLbl>
              <c:idx val="5"/>
              <c:layout>
                <c:manualLayout>
                  <c:x val="1.8292984409579317E-2"/>
                  <c:y val="-8.6643688680539635E-2"/>
                </c:manualLayout>
              </c:layout>
              <c:tx>
                <c:rich>
                  <a:bodyPr/>
                  <a:lstStyle/>
                  <a:p>
                    <a:r>
                      <a:rPr lang="en-US" dirty="0"/>
                      <a:t> 682 </a:t>
                    </a:r>
                  </a:p>
                  <a:p>
                    <a:r>
                      <a:rPr lang="en-US" dirty="0"/>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F13-46B6-BA9E-C0350532BE3F}"/>
                </c:ext>
              </c:extLst>
            </c:dLbl>
            <c:dLbl>
              <c:idx val="6"/>
              <c:delete val="1"/>
              <c:extLst>
                <c:ext xmlns:c15="http://schemas.microsoft.com/office/drawing/2012/chart" uri="{CE6537A1-D6FC-4f65-9D91-7224C49458BB}"/>
                <c:ext xmlns:c16="http://schemas.microsoft.com/office/drawing/2014/chart" uri="{C3380CC4-5D6E-409C-BE32-E72D297353CC}">
                  <c16:uniqueId val="{0000000D-7F13-46B6-BA9E-C0350532BE3F}"/>
                </c:ext>
              </c:extLst>
            </c:dLbl>
            <c:dLbl>
              <c:idx val="7"/>
              <c:delete val="1"/>
              <c:extLst>
                <c:ext xmlns:c15="http://schemas.microsoft.com/office/drawing/2012/chart" uri="{CE6537A1-D6FC-4f65-9D91-7224C49458BB}"/>
                <c:ext xmlns:c16="http://schemas.microsoft.com/office/drawing/2014/chart" uri="{C3380CC4-5D6E-409C-BE32-E72D297353CC}">
                  <c16:uniqueId val="{0000000F-7F13-46B6-BA9E-C0350532BE3F}"/>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pl-PL"/>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udzial akwizycji'!$C$5:$C$12</c:f>
              <c:strCache>
                <c:ptCount val="8"/>
                <c:pt idx="0">
                  <c:v>SME Advisors</c:v>
                </c:pt>
                <c:pt idx="1">
                  <c:v>Remote Advisors</c:v>
                </c:pt>
                <c:pt idx="2">
                  <c:v>Branch</c:v>
                </c:pt>
                <c:pt idx="3">
                  <c:v>Partners Branch</c:v>
                </c:pt>
                <c:pt idx="4">
                  <c:v>Pure Digital</c:v>
                </c:pt>
                <c:pt idx="5">
                  <c:v>Contact Center</c:v>
                </c:pt>
                <c:pt idx="6">
                  <c:v>EFL</c:v>
                </c:pt>
                <c:pt idx="7">
                  <c:v>other</c:v>
                </c:pt>
              </c:strCache>
            </c:strRef>
          </c:cat>
          <c:val>
            <c:numRef>
              <c:f>'udzial akwizycji'!$D$5:$D$12</c:f>
              <c:numCache>
                <c:formatCode>General</c:formatCode>
                <c:ptCount val="8"/>
                <c:pt idx="0">
                  <c:v>1420</c:v>
                </c:pt>
                <c:pt idx="1">
                  <c:v>1117</c:v>
                </c:pt>
                <c:pt idx="2">
                  <c:v>4921</c:v>
                </c:pt>
                <c:pt idx="3">
                  <c:v>1457</c:v>
                </c:pt>
                <c:pt idx="4">
                  <c:v>1266</c:v>
                </c:pt>
                <c:pt idx="5">
                  <c:v>682</c:v>
                </c:pt>
                <c:pt idx="6">
                  <c:v>58</c:v>
                </c:pt>
                <c:pt idx="7">
                  <c:v>85</c:v>
                </c:pt>
              </c:numCache>
            </c:numRef>
          </c:val>
          <c:extLst>
            <c:ext xmlns:c16="http://schemas.microsoft.com/office/drawing/2014/chart" uri="{C3380CC4-5D6E-409C-BE32-E72D297353CC}">
              <c16:uniqueId val="{00000010-7F13-46B6-BA9E-C0350532BE3F}"/>
            </c:ext>
          </c:extLst>
        </c:ser>
        <c:dLbls>
          <c:showLegendKey val="0"/>
          <c:showVal val="0"/>
          <c:showCatName val="0"/>
          <c:showSerName val="0"/>
          <c:showPercent val="0"/>
          <c:showBubbleSize val="0"/>
          <c:showLeaderLines val="1"/>
        </c:dLbls>
        <c:firstSliceAng val="205"/>
      </c:pieChart>
      <c:spPr>
        <a:noFill/>
        <a:ln>
          <a:noFill/>
        </a:ln>
        <a:effectLst/>
      </c:spPr>
    </c:plotArea>
    <c:legend>
      <c:legendPos val="b"/>
      <c:legendEntry>
        <c:idx val="1"/>
        <c:txPr>
          <a:bodyPr rot="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pl-PL"/>
          </a:p>
        </c:txPr>
      </c:legendEntry>
      <c:layout>
        <c:manualLayout>
          <c:xMode val="edge"/>
          <c:yMode val="edge"/>
          <c:x val="2.3823272090988626E-2"/>
          <c:y val="0.82291557305336838"/>
          <c:w val="0.95790901137357831"/>
          <c:h val="0.14930664916885389"/>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pl-PL"/>
        </a:p>
      </c:txPr>
    </c:legend>
    <c:plotVisOnly val="1"/>
    <c:dispBlanksAs val="gap"/>
    <c:showDLblsOverMax val="0"/>
  </c:chart>
  <c:spPr>
    <a:noFill/>
    <a:ln w="9525">
      <a:solidFill>
        <a:srgbClr val="009597"/>
      </a:solidFill>
    </a:ln>
    <a:effectLst/>
  </c:spPr>
  <c:txPr>
    <a:bodyPr/>
    <a:lstStyle/>
    <a:p>
      <a:pPr>
        <a:defRPr/>
      </a:pPr>
      <a:endParaRPr lang="pl-PL"/>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pl-PL" dirty="0"/>
              <a:t>Sales</a:t>
            </a:r>
            <a:r>
              <a:rPr lang="pl-PL" baseline="0" dirty="0"/>
              <a:t> channel „</a:t>
            </a:r>
            <a:r>
              <a:rPr lang="pl-PL" baseline="0" dirty="0" err="1"/>
              <a:t>size</a:t>
            </a:r>
            <a:r>
              <a:rPr lang="pl-PL" baseline="0" dirty="0"/>
              <a:t>”:</a:t>
            </a:r>
            <a:r>
              <a:rPr lang="pl-PL" dirty="0"/>
              <a:t> FTE/</a:t>
            </a:r>
            <a:r>
              <a:rPr lang="pl-PL" dirty="0" err="1"/>
              <a:t>Branch</a:t>
            </a:r>
            <a:endParaRPr lang="pl-PL" dirty="0"/>
          </a:p>
        </c:rich>
      </c:tx>
      <c:layout>
        <c:manualLayout>
          <c:xMode val="edge"/>
          <c:yMode val="edge"/>
          <c:x val="0.16937082431378794"/>
          <c:y val="2.0808687872958864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pl-PL"/>
        </a:p>
      </c:txPr>
    </c:title>
    <c:autoTitleDeleted val="0"/>
    <c:plotArea>
      <c:layout>
        <c:manualLayout>
          <c:layoutTarget val="inner"/>
          <c:xMode val="edge"/>
          <c:yMode val="edge"/>
          <c:x val="0.31674851754641781"/>
          <c:y val="0.24410270316324825"/>
          <c:w val="0.31753829278802836"/>
          <c:h val="0.46321691945018573"/>
        </c:manualLayout>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7D65-4D01-A40E-FE485BDCB0A1}"/>
              </c:ext>
            </c:extLst>
          </c:dPt>
          <c:dPt>
            <c:idx val="1"/>
            <c:bubble3D val="0"/>
            <c:explosion val="59"/>
            <c:spPr>
              <a:solidFill>
                <a:schemeClr val="accent2"/>
              </a:solidFill>
              <a:ln w="19050">
                <a:solidFill>
                  <a:schemeClr val="lt1"/>
                </a:solidFill>
              </a:ln>
              <a:effectLst/>
            </c:spPr>
            <c:extLst>
              <c:ext xmlns:c16="http://schemas.microsoft.com/office/drawing/2014/chart" uri="{C3380CC4-5D6E-409C-BE32-E72D297353CC}">
                <c16:uniqueId val="{00000003-7D65-4D01-A40E-FE485BDCB0A1}"/>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7D65-4D01-A40E-FE485BDCB0A1}"/>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7D65-4D01-A40E-FE485BDCB0A1}"/>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7D65-4D01-A40E-FE485BDCB0A1}"/>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7D65-4D01-A40E-FE485BDCB0A1}"/>
              </c:ext>
            </c:extLst>
          </c:dPt>
          <c:dLbls>
            <c:dLbl>
              <c:idx val="0"/>
              <c:layout>
                <c:manualLayout>
                  <c:x val="8.0459146987945721E-2"/>
                  <c:y val="-4.6437372403419837E-2"/>
                </c:manualLayout>
              </c:layout>
              <c:tx>
                <c:rich>
                  <a:bodyPr/>
                  <a:lstStyle/>
                  <a:p>
                    <a:r>
                      <a:rPr lang="en-US"/>
                      <a:t> 65</a:t>
                    </a:r>
                    <a:r>
                      <a:rPr lang="en-US" baseline="0"/>
                      <a:t> (15%)</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D65-4D01-A40E-FE485BDCB0A1}"/>
                </c:ext>
              </c:extLst>
            </c:dLbl>
            <c:dLbl>
              <c:idx val="1"/>
              <c:layout>
                <c:manualLayout>
                  <c:x val="1.0323709536307962E-2"/>
                  <c:y val="-7.6074596688305521E-3"/>
                </c:manualLayout>
              </c:layout>
              <c:tx>
                <c:rich>
                  <a:bodyPr/>
                  <a:lstStyle/>
                  <a:p>
                    <a:fld id="{5F4B4731-0591-433A-BA03-BDB42BA59916}" type="VALUE">
                      <a:rPr lang="en-US" b="1" smtClean="0"/>
                      <a:pPr/>
                      <a:t>[WARTOŚĆ]</a:t>
                    </a:fld>
                    <a:r>
                      <a:rPr lang="en-US" b="1" dirty="0"/>
                      <a:t> (2%)</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7D65-4D01-A40E-FE485BDCB0A1}"/>
                </c:ext>
              </c:extLst>
            </c:dLbl>
            <c:dLbl>
              <c:idx val="2"/>
              <c:tx>
                <c:rich>
                  <a:bodyPr/>
                  <a:lstStyle/>
                  <a:p>
                    <a:fld id="{7821DE2C-9DDD-4791-AC94-2CBEE607D4F8}" type="VALUE">
                      <a:rPr lang="en-US" smtClean="0"/>
                      <a:pPr/>
                      <a:t>[WARTOŚĆ]</a:t>
                    </a:fld>
                    <a:r>
                      <a:rPr lang="en-US"/>
                      <a:t> (47%)</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7D65-4D01-A40E-FE485BDCB0A1}"/>
                </c:ext>
              </c:extLst>
            </c:dLbl>
            <c:dLbl>
              <c:idx val="3"/>
              <c:layout>
                <c:manualLayout>
                  <c:x val="-8.7537420845985967E-2"/>
                  <c:y val="-0.15979065149216315"/>
                </c:manualLayout>
              </c:layout>
              <c:tx>
                <c:rich>
                  <a:bodyPr/>
                  <a:lstStyle/>
                  <a:p>
                    <a:fld id="{C0380CB7-103A-4FFA-8311-7738FE0F6C08}" type="VALUE">
                      <a:rPr lang="en-US" smtClean="0"/>
                      <a:pPr/>
                      <a:t>[WARTOŚĆ]</a:t>
                    </a:fld>
                    <a:r>
                      <a:rPr lang="en-US"/>
                      <a:t> (33%)</a:t>
                    </a:r>
                  </a:p>
                  <a:p>
                    <a:endParaRPr lang="pl-PL"/>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7D65-4D01-A40E-FE485BDCB0A1}"/>
                </c:ext>
              </c:extLst>
            </c:dLbl>
            <c:dLbl>
              <c:idx val="4"/>
              <c:layout>
                <c:manualLayout>
                  <c:x val="6.2022627527842121E-2"/>
                  <c:y val="-6.4345542189205143E-2"/>
                </c:manualLayout>
              </c:layout>
              <c:tx>
                <c:rich>
                  <a:bodyPr/>
                  <a:lstStyle/>
                  <a:p>
                    <a:fld id="{B4392676-35DD-4085-9DF7-5CECF866F5E4}" type="VALUE">
                      <a:rPr lang="en-US" smtClean="0"/>
                      <a:pPr/>
                      <a:t>[WARTOŚĆ]</a:t>
                    </a:fld>
                    <a:endParaRPr lang="en-US" dirty="0"/>
                  </a:p>
                  <a:p>
                    <a:r>
                      <a:rPr lang="en-US" dirty="0"/>
                      <a:t> (3%)</a:t>
                    </a:r>
                  </a:p>
                  <a:p>
                    <a:endParaRPr lang="pl-PL"/>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7D65-4D01-A40E-FE485BDCB0A1}"/>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pl-PL"/>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udzial akwizycji'!$R$6:$R$11</c:f>
              <c:strCache>
                <c:ptCount val="5"/>
                <c:pt idx="0">
                  <c:v>SME Advisors</c:v>
                </c:pt>
                <c:pt idx="1">
                  <c:v>Remote Advisors</c:v>
                </c:pt>
                <c:pt idx="2">
                  <c:v>Branch</c:v>
                </c:pt>
                <c:pt idx="3">
                  <c:v>Partners Branch</c:v>
                </c:pt>
                <c:pt idx="4">
                  <c:v>Contact Center</c:v>
                </c:pt>
              </c:strCache>
            </c:strRef>
          </c:cat>
          <c:val>
            <c:numRef>
              <c:f>'udzial akwizycji'!$S$6:$S$11</c:f>
              <c:numCache>
                <c:formatCode>General</c:formatCode>
                <c:ptCount val="6"/>
                <c:pt idx="0">
                  <c:v>65</c:v>
                </c:pt>
                <c:pt idx="1">
                  <c:v>8</c:v>
                </c:pt>
                <c:pt idx="2">
                  <c:v>209</c:v>
                </c:pt>
                <c:pt idx="3">
                  <c:v>148</c:v>
                </c:pt>
                <c:pt idx="4">
                  <c:v>13</c:v>
                </c:pt>
              </c:numCache>
            </c:numRef>
          </c:val>
          <c:extLst>
            <c:ext xmlns:c16="http://schemas.microsoft.com/office/drawing/2014/chart" uri="{C3380CC4-5D6E-409C-BE32-E72D297353CC}">
              <c16:uniqueId val="{0000000C-7D65-4D01-A40E-FE485BDCB0A1}"/>
            </c:ext>
          </c:extLst>
        </c:ser>
        <c:dLbls>
          <c:showLegendKey val="0"/>
          <c:showVal val="0"/>
          <c:showCatName val="0"/>
          <c:showSerName val="0"/>
          <c:showPercent val="0"/>
          <c:showBubbleSize val="0"/>
          <c:showLeaderLines val="1"/>
        </c:dLbls>
        <c:firstSliceAng val="217"/>
      </c:pieChart>
      <c:spPr>
        <a:noFill/>
        <a:ln>
          <a:noFill/>
        </a:ln>
        <a:effectLst/>
      </c:spPr>
    </c:plotArea>
    <c:legend>
      <c:legendPos val="b"/>
      <c:legendEntry>
        <c:idx val="1"/>
        <c:txPr>
          <a:bodyPr rot="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pl-PL"/>
          </a:p>
        </c:txPr>
      </c:legendEntry>
      <c:legendEntry>
        <c:idx val="5"/>
        <c:delete val="1"/>
      </c:legendEntry>
      <c:layout>
        <c:manualLayout>
          <c:xMode val="edge"/>
          <c:yMode val="edge"/>
          <c:x val="9.8146301765240362E-2"/>
          <c:y val="0.82281525162127545"/>
          <c:w val="0.88259515225498097"/>
          <c:h val="0.1624073583858035"/>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pl-PL"/>
        </a:p>
      </c:txPr>
    </c:legend>
    <c:plotVisOnly val="1"/>
    <c:dispBlanksAs val="gap"/>
    <c:showDLblsOverMax val="0"/>
  </c:chart>
  <c:spPr>
    <a:noFill/>
    <a:ln>
      <a:solidFill>
        <a:srgbClr val="008080"/>
      </a:solidFill>
    </a:ln>
    <a:effectLst/>
  </c:spPr>
  <c:txPr>
    <a:bodyPr/>
    <a:lstStyle/>
    <a:p>
      <a:pPr>
        <a:defRPr/>
      </a:pPr>
      <a:endParaRPr lang="pl-PL"/>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pl-PL" sz="1400" b="0" i="0" baseline="0" dirty="0" err="1">
                <a:effectLst/>
              </a:rPr>
              <a:t>Share</a:t>
            </a:r>
            <a:r>
              <a:rPr lang="pl-PL" sz="1400" b="0" i="0" baseline="0" dirty="0">
                <a:effectLst/>
              </a:rPr>
              <a:t> of </a:t>
            </a:r>
            <a:r>
              <a:rPr lang="pl-PL" sz="1400" b="0" i="0" baseline="0" dirty="0" err="1">
                <a:effectLst/>
              </a:rPr>
              <a:t>sales</a:t>
            </a:r>
            <a:r>
              <a:rPr lang="pl-PL" sz="1400" b="0" i="0" baseline="0" dirty="0">
                <a:effectLst/>
              </a:rPr>
              <a:t> 2025</a:t>
            </a:r>
            <a:endParaRPr lang="pl-PL" sz="1100" dirty="0">
              <a:effectLst/>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pl-PL"/>
        </a:p>
      </c:txPr>
    </c:title>
    <c:autoTitleDeleted val="0"/>
    <c:plotArea>
      <c:layout/>
      <c:pieChart>
        <c:varyColors val="1"/>
        <c:ser>
          <c:idx val="0"/>
          <c:order val="0"/>
          <c:dPt>
            <c:idx val="0"/>
            <c:bubble3D val="0"/>
            <c:explosion val="35"/>
            <c:spPr>
              <a:solidFill>
                <a:schemeClr val="accent1"/>
              </a:solidFill>
              <a:ln w="19050">
                <a:solidFill>
                  <a:schemeClr val="lt1"/>
                </a:solidFill>
              </a:ln>
              <a:effectLst/>
            </c:spPr>
            <c:extLst>
              <c:ext xmlns:c16="http://schemas.microsoft.com/office/drawing/2014/chart" uri="{C3380CC4-5D6E-409C-BE32-E72D297353CC}">
                <c16:uniqueId val="{00000001-8E7D-4FD8-A239-5F137ECB0435}"/>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8E7D-4FD8-A239-5F137ECB0435}"/>
              </c:ext>
            </c:extLst>
          </c:dPt>
          <c:dLbls>
            <c:dLbl>
              <c:idx val="0"/>
              <c:tx>
                <c:rich>
                  <a:bodyPr/>
                  <a:lstStyle/>
                  <a:p>
                    <a:r>
                      <a:rPr lang="en-US"/>
                      <a:t> 937</a:t>
                    </a:r>
                    <a:r>
                      <a:rPr lang="en-US" baseline="0"/>
                      <a:t> (92%)</a:t>
                    </a:r>
                    <a:endParaRPr lang="en-US"/>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E7D-4FD8-A239-5F137ECB0435}"/>
                </c:ext>
              </c:extLst>
            </c:dLbl>
            <c:dLbl>
              <c:idx val="1"/>
              <c:tx>
                <c:rich>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fld id="{AF3573D5-C2F1-484B-AA87-921C746CF8C8}" type="VALUE">
                      <a:rPr lang="en-US" b="1" i="0" baseline="0"/>
                      <a:pPr>
                        <a:defRPr b="1"/>
                      </a:pPr>
                      <a:t>[WARTOŚĆ]</a:t>
                    </a:fld>
                    <a:r>
                      <a:rPr lang="en-US" b="1" i="0" baseline="0"/>
                      <a:t> (8%)</a:t>
                    </a:r>
                  </a:p>
                </c:rich>
              </c:tx>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pl-PL"/>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8E7D-4FD8-A239-5F137ECB0435}"/>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pl-PL"/>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udzial akwizycji'!$C$61:$C$62</c:f>
              <c:strCache>
                <c:ptCount val="2"/>
                <c:pt idx="0">
                  <c:v>SME Advisors</c:v>
                </c:pt>
                <c:pt idx="1">
                  <c:v>Remote Advisors</c:v>
                </c:pt>
              </c:strCache>
            </c:strRef>
          </c:cat>
          <c:val>
            <c:numRef>
              <c:f>'udzial akwizycji'!$D$61:$D$62</c:f>
              <c:numCache>
                <c:formatCode>General</c:formatCode>
                <c:ptCount val="2"/>
                <c:pt idx="0">
                  <c:v>937</c:v>
                </c:pt>
                <c:pt idx="1">
                  <c:v>82</c:v>
                </c:pt>
              </c:numCache>
            </c:numRef>
          </c:val>
          <c:extLst>
            <c:ext xmlns:c16="http://schemas.microsoft.com/office/drawing/2014/chart" uri="{C3380CC4-5D6E-409C-BE32-E72D297353CC}">
              <c16:uniqueId val="{00000004-8E7D-4FD8-A239-5F137ECB0435}"/>
            </c:ext>
          </c:extLst>
        </c:ser>
        <c:dLbls>
          <c:showLegendKey val="0"/>
          <c:showVal val="0"/>
          <c:showCatName val="0"/>
          <c:showSerName val="0"/>
          <c:showPercent val="0"/>
          <c:showBubbleSize val="0"/>
          <c:showLeaderLines val="1"/>
        </c:dLbls>
        <c:firstSliceAng val="280"/>
      </c:pieChart>
      <c:spPr>
        <a:noFill/>
        <a:ln>
          <a:noFill/>
        </a:ln>
        <a:effectLst/>
      </c:spPr>
    </c:plotArea>
    <c:legend>
      <c:legendPos val="b"/>
      <c:legendEntry>
        <c:idx val="1"/>
        <c:txPr>
          <a:bodyPr rot="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pl-PL"/>
          </a:p>
        </c:txPr>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pl-PL"/>
        </a:p>
      </c:txPr>
    </c:legend>
    <c:plotVisOnly val="1"/>
    <c:dispBlanksAs val="gap"/>
    <c:showDLblsOverMax val="0"/>
  </c:chart>
  <c:spPr>
    <a:solidFill>
      <a:schemeClr val="bg1"/>
    </a:solidFill>
    <a:ln w="9525" cap="flat" cmpd="sng" algn="ctr">
      <a:solidFill>
        <a:srgbClr val="009999"/>
      </a:solidFill>
      <a:round/>
    </a:ln>
    <a:effectLst/>
  </c:spPr>
  <c:txPr>
    <a:bodyPr/>
    <a:lstStyle/>
    <a:p>
      <a:pPr>
        <a:defRPr/>
      </a:pPr>
      <a:endParaRPr lang="pl-PL"/>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pl-PL" sz="1400" b="0" i="0" u="none" strike="noStrike" baseline="0" dirty="0">
                <a:effectLst/>
              </a:rPr>
              <a:t>Sales channel „</a:t>
            </a:r>
            <a:r>
              <a:rPr lang="pl-PL" sz="1400" b="0" i="0" u="none" strike="noStrike" baseline="0" dirty="0" err="1">
                <a:effectLst/>
              </a:rPr>
              <a:t>size</a:t>
            </a:r>
            <a:r>
              <a:rPr lang="pl-PL" sz="1400" b="0" i="0" u="none" strike="noStrike" baseline="0" dirty="0">
                <a:effectLst/>
              </a:rPr>
              <a:t>”: FTE</a:t>
            </a:r>
            <a:endParaRPr lang="pl-PL"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pl-PL"/>
        </a:p>
      </c:txPr>
    </c:title>
    <c:autoTitleDeleted val="0"/>
    <c:plotArea>
      <c:layout/>
      <c:pieChart>
        <c:varyColors val="1"/>
        <c:ser>
          <c:idx val="0"/>
          <c:order val="0"/>
          <c:explosion val="34"/>
          <c:dPt>
            <c:idx val="0"/>
            <c:bubble3D val="0"/>
            <c:spPr>
              <a:solidFill>
                <a:schemeClr val="accent1"/>
              </a:solidFill>
              <a:ln w="19050">
                <a:solidFill>
                  <a:schemeClr val="lt1"/>
                </a:solidFill>
              </a:ln>
              <a:effectLst/>
            </c:spPr>
            <c:extLst>
              <c:ext xmlns:c16="http://schemas.microsoft.com/office/drawing/2014/chart" uri="{C3380CC4-5D6E-409C-BE32-E72D297353CC}">
                <c16:uniqueId val="{00000001-6F44-4E6C-87A4-B3F590452040}"/>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6F44-4E6C-87A4-B3F590452040}"/>
              </c:ext>
            </c:extLst>
          </c:dPt>
          <c:dLbls>
            <c:dLbl>
              <c:idx val="0"/>
              <c:layout>
                <c:manualLayout>
                  <c:x val="-0.18705688737288401"/>
                  <c:y val="-7.9929119382883135E-2"/>
                </c:manualLayout>
              </c:layout>
              <c:tx>
                <c:rich>
                  <a:bodyPr/>
                  <a:lstStyle/>
                  <a:p>
                    <a:r>
                      <a:rPr lang="en-US"/>
                      <a:t> 65 (89%)</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6F44-4E6C-87A4-B3F590452040}"/>
                </c:ext>
              </c:extLst>
            </c:dLbl>
            <c:dLbl>
              <c:idx val="1"/>
              <c:tx>
                <c:rich>
                  <a:bodyPr/>
                  <a:lstStyle/>
                  <a:p>
                    <a:fld id="{6ACA63F8-0444-4DB4-BD37-9188623E2353}" type="VALUE">
                      <a:rPr lang="en-US" b="1" smtClean="0"/>
                      <a:pPr/>
                      <a:t>[WARTOŚĆ]</a:t>
                    </a:fld>
                    <a:r>
                      <a:rPr lang="en-US" b="1" dirty="0"/>
                      <a:t> (11%)</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6F44-4E6C-87A4-B3F590452040}"/>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pl-PL"/>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udzial akwizycji'!$C$68:$C$69</c:f>
              <c:strCache>
                <c:ptCount val="2"/>
                <c:pt idx="0">
                  <c:v>SME Advisors</c:v>
                </c:pt>
                <c:pt idx="1">
                  <c:v>Remote Advisors</c:v>
                </c:pt>
              </c:strCache>
            </c:strRef>
          </c:cat>
          <c:val>
            <c:numRef>
              <c:f>'udzial akwizycji'!$D$68:$D$69</c:f>
              <c:numCache>
                <c:formatCode>General</c:formatCode>
                <c:ptCount val="2"/>
                <c:pt idx="0">
                  <c:v>65</c:v>
                </c:pt>
                <c:pt idx="1">
                  <c:v>8</c:v>
                </c:pt>
              </c:numCache>
            </c:numRef>
          </c:val>
          <c:extLst>
            <c:ext xmlns:c16="http://schemas.microsoft.com/office/drawing/2014/chart" uri="{C3380CC4-5D6E-409C-BE32-E72D297353CC}">
              <c16:uniqueId val="{00000004-6F44-4E6C-87A4-B3F590452040}"/>
            </c:ext>
          </c:extLst>
        </c:ser>
        <c:dLbls>
          <c:showLegendKey val="0"/>
          <c:showVal val="0"/>
          <c:showCatName val="0"/>
          <c:showSerName val="0"/>
          <c:showPercent val="0"/>
          <c:showBubbleSize val="0"/>
          <c:showLeaderLines val="1"/>
        </c:dLbls>
        <c:firstSliceAng val="287"/>
      </c:pieChart>
      <c:spPr>
        <a:noFill/>
        <a:ln>
          <a:noFill/>
        </a:ln>
        <a:effectLst/>
      </c:spPr>
    </c:plotArea>
    <c:legend>
      <c:legendPos val="b"/>
      <c:legendEntry>
        <c:idx val="1"/>
        <c:txPr>
          <a:bodyPr rot="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pl-PL"/>
          </a:p>
        </c:txPr>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pl-PL"/>
        </a:p>
      </c:txPr>
    </c:legend>
    <c:plotVisOnly val="1"/>
    <c:dispBlanksAs val="gap"/>
    <c:showDLblsOverMax val="0"/>
  </c:chart>
  <c:spPr>
    <a:solidFill>
      <a:schemeClr val="bg1"/>
    </a:solidFill>
    <a:ln w="9525" cap="flat" cmpd="sng" algn="ctr">
      <a:solidFill>
        <a:srgbClr val="009999"/>
      </a:solidFill>
      <a:round/>
    </a:ln>
    <a:effectLst/>
  </c:spPr>
  <c:txPr>
    <a:bodyPr/>
    <a:lstStyle/>
    <a:p>
      <a:pPr>
        <a:defRPr/>
      </a:pPr>
      <a:endParaRPr lang="pl-PL"/>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ymbol zastępczy nagłówka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l-PL"/>
          </a:p>
        </p:txBody>
      </p:sp>
      <p:sp>
        <p:nvSpPr>
          <p:cNvPr id="3" name="Symbol zastępczy daty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9D17631-758A-42EC-9CCD-01188729079C}" type="datetimeFigureOut">
              <a:rPr lang="pl-PL" smtClean="0"/>
              <a:t>09.03.2026</a:t>
            </a:fld>
            <a:endParaRPr lang="pl-PL"/>
          </a:p>
        </p:txBody>
      </p:sp>
      <p:sp>
        <p:nvSpPr>
          <p:cNvPr id="4" name="Symbol zastępczy obrazu slajdu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l-PL"/>
          </a:p>
        </p:txBody>
      </p:sp>
      <p:sp>
        <p:nvSpPr>
          <p:cNvPr id="5" name="Symbol zastępczy notatek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
        <p:nvSpPr>
          <p:cNvPr id="6" name="Symbol zastępczy stopki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l-PL"/>
          </a:p>
        </p:txBody>
      </p:sp>
      <p:sp>
        <p:nvSpPr>
          <p:cNvPr id="7" name="Symbol zastępczy numeru slajdu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27D1D63-1A80-4233-97CF-7C033D35AE8D}" type="slidenum">
              <a:rPr lang="pl-PL" smtClean="0"/>
              <a:t>‹#›</a:t>
            </a:fld>
            <a:endParaRPr lang="pl-PL"/>
          </a:p>
        </p:txBody>
      </p:sp>
    </p:spTree>
    <p:extLst>
      <p:ext uri="{BB962C8B-B14F-4D97-AF65-F5344CB8AC3E}">
        <p14:creationId xmlns:p14="http://schemas.microsoft.com/office/powerpoint/2010/main" val="23612270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pl-PL" dirty="0"/>
              <a:t>Robert</a:t>
            </a:r>
          </a:p>
        </p:txBody>
      </p:sp>
      <p:sp>
        <p:nvSpPr>
          <p:cNvPr id="4" name="Symbol zastępczy numeru slajdu 3"/>
          <p:cNvSpPr>
            <a:spLocks noGrp="1"/>
          </p:cNvSpPr>
          <p:nvPr>
            <p:ph type="sldNum" sz="quarter" idx="10"/>
          </p:nvPr>
        </p:nvSpPr>
        <p:spPr/>
        <p:txBody>
          <a:bodyPr/>
          <a:lstStyle/>
          <a:p>
            <a:pPr marL="0" marR="0" lvl="0" indent="0" algn="r" defTabSz="350663" rtl="0" eaLnBrk="1" fontAlgn="auto" latinLnBrk="0" hangingPunct="1">
              <a:lnSpc>
                <a:spcPct val="100000"/>
              </a:lnSpc>
              <a:spcBef>
                <a:spcPts val="0"/>
              </a:spcBef>
              <a:spcAft>
                <a:spcPts val="0"/>
              </a:spcAft>
              <a:buClrTx/>
              <a:buSzTx/>
              <a:buFontTx/>
              <a:buNone/>
              <a:tabLst/>
              <a:defRPr/>
            </a:pPr>
            <a:fld id="{FC2E7C31-7687-4939-8BE1-3CC3DF306400}" type="slidenum">
              <a:rPr kumimoji="0" lang="pl-PL"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350663" rtl="0" eaLnBrk="1" fontAlgn="auto" latinLnBrk="0" hangingPunct="1">
                <a:lnSpc>
                  <a:spcPct val="100000"/>
                </a:lnSpc>
                <a:spcBef>
                  <a:spcPts val="0"/>
                </a:spcBef>
                <a:spcAft>
                  <a:spcPts val="0"/>
                </a:spcAft>
                <a:buClrTx/>
                <a:buSzTx/>
                <a:buFontTx/>
                <a:buNone/>
                <a:tabLst/>
                <a:defRPr/>
              </a:pPr>
              <a:t>23</a:t>
            </a:fld>
            <a:endParaRPr kumimoji="0" lang="pl-PL"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134172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pl-PL" dirty="0"/>
              <a:t>Robert</a:t>
            </a:r>
          </a:p>
        </p:txBody>
      </p:sp>
      <p:sp>
        <p:nvSpPr>
          <p:cNvPr id="4" name="Symbol zastępczy numeru slajdu 3"/>
          <p:cNvSpPr>
            <a:spLocks noGrp="1"/>
          </p:cNvSpPr>
          <p:nvPr>
            <p:ph type="sldNum" sz="quarter" idx="10"/>
          </p:nvPr>
        </p:nvSpPr>
        <p:spPr/>
        <p:txBody>
          <a:bodyPr/>
          <a:lstStyle/>
          <a:p>
            <a:pPr marL="0" marR="0" lvl="0" indent="0" algn="r" defTabSz="350663" rtl="0" eaLnBrk="1" fontAlgn="auto" latinLnBrk="0" hangingPunct="1">
              <a:lnSpc>
                <a:spcPct val="100000"/>
              </a:lnSpc>
              <a:spcBef>
                <a:spcPts val="0"/>
              </a:spcBef>
              <a:spcAft>
                <a:spcPts val="0"/>
              </a:spcAft>
              <a:buClrTx/>
              <a:buSzTx/>
              <a:buFontTx/>
              <a:buNone/>
              <a:tabLst/>
              <a:defRPr/>
            </a:pPr>
            <a:fld id="{FC2E7C31-7687-4939-8BE1-3CC3DF306400}" type="slidenum">
              <a:rPr kumimoji="0" lang="pl-PL"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350663" rtl="0" eaLnBrk="1" fontAlgn="auto" latinLnBrk="0" hangingPunct="1">
                <a:lnSpc>
                  <a:spcPct val="100000"/>
                </a:lnSpc>
                <a:spcBef>
                  <a:spcPts val="0"/>
                </a:spcBef>
                <a:spcAft>
                  <a:spcPts val="0"/>
                </a:spcAft>
                <a:buClrTx/>
                <a:buSzTx/>
                <a:buFontTx/>
                <a:buNone/>
                <a:tabLst/>
                <a:defRPr/>
              </a:pPr>
              <a:t>24</a:t>
            </a:fld>
            <a:endParaRPr kumimoji="0" lang="pl-PL"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604129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pl-PL" dirty="0"/>
              <a:t>Robert</a:t>
            </a:r>
          </a:p>
        </p:txBody>
      </p:sp>
      <p:sp>
        <p:nvSpPr>
          <p:cNvPr id="4" name="Symbol zastępczy numeru slajdu 3"/>
          <p:cNvSpPr>
            <a:spLocks noGrp="1"/>
          </p:cNvSpPr>
          <p:nvPr>
            <p:ph type="sldNum" sz="quarter" idx="10"/>
          </p:nvPr>
        </p:nvSpPr>
        <p:spPr/>
        <p:txBody>
          <a:bodyPr/>
          <a:lstStyle/>
          <a:p>
            <a:pPr marL="0" marR="0" lvl="0" indent="0" algn="r" defTabSz="350663" rtl="0" eaLnBrk="1" fontAlgn="auto" latinLnBrk="0" hangingPunct="1">
              <a:lnSpc>
                <a:spcPct val="100000"/>
              </a:lnSpc>
              <a:spcBef>
                <a:spcPts val="0"/>
              </a:spcBef>
              <a:spcAft>
                <a:spcPts val="0"/>
              </a:spcAft>
              <a:buClrTx/>
              <a:buSzTx/>
              <a:buFontTx/>
              <a:buNone/>
              <a:tabLst/>
              <a:defRPr/>
            </a:pPr>
            <a:fld id="{FC2E7C31-7687-4939-8BE1-3CC3DF306400}" type="slidenum">
              <a:rPr kumimoji="0" lang="pl-PL"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350663" rtl="0" eaLnBrk="1" fontAlgn="auto" latinLnBrk="0" hangingPunct="1">
                <a:lnSpc>
                  <a:spcPct val="100000"/>
                </a:lnSpc>
                <a:spcBef>
                  <a:spcPts val="0"/>
                </a:spcBef>
                <a:spcAft>
                  <a:spcPts val="0"/>
                </a:spcAft>
                <a:buClrTx/>
                <a:buSzTx/>
                <a:buFontTx/>
                <a:buNone/>
                <a:tabLst/>
                <a:defRPr/>
              </a:pPr>
              <a:t>25</a:t>
            </a:fld>
            <a:endParaRPr kumimoji="0" lang="pl-PL"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148269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5"/>
          </p:nvPr>
        </p:nvSpPr>
        <p:spPr/>
        <p:txBody>
          <a:bodyPr/>
          <a:lstStyle/>
          <a:p>
            <a:pPr marL="0" marR="0" lvl="0" indent="0" algn="r" defTabSz="350663" rtl="0" eaLnBrk="1" fontAlgn="auto" latinLnBrk="0" hangingPunct="1">
              <a:lnSpc>
                <a:spcPct val="100000"/>
              </a:lnSpc>
              <a:spcBef>
                <a:spcPts val="0"/>
              </a:spcBef>
              <a:spcAft>
                <a:spcPts val="0"/>
              </a:spcAft>
              <a:buClrTx/>
              <a:buSzTx/>
              <a:buFontTx/>
              <a:buNone/>
              <a:tabLst/>
              <a:defRPr/>
            </a:pPr>
            <a:fld id="{FC2E7C31-7687-4939-8BE1-3CC3DF306400}" type="slidenum">
              <a:rPr kumimoji="0" lang="pl-PL"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350663" rtl="0" eaLnBrk="1" fontAlgn="auto" latinLnBrk="0" hangingPunct="1">
                <a:lnSpc>
                  <a:spcPct val="100000"/>
                </a:lnSpc>
                <a:spcBef>
                  <a:spcPts val="0"/>
                </a:spcBef>
                <a:spcAft>
                  <a:spcPts val="0"/>
                </a:spcAft>
                <a:buClrTx/>
                <a:buSzTx/>
                <a:buFontTx/>
                <a:buNone/>
                <a:tabLst/>
                <a:defRPr/>
              </a:pPr>
              <a:t>31</a:t>
            </a:fld>
            <a:endParaRPr kumimoji="0" lang="pl-PL"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643320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a:p>
        </p:txBody>
      </p:sp>
      <p:sp>
        <p:nvSpPr>
          <p:cNvPr id="4" name="Symbol zastępczy nagłówka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ymbol zastępczy stopki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ymbol zastępczy numeru slajdu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ACCBC6-8F29-41F5-8DD7-743A3B568DA5}" type="slidenum">
              <a:rPr kumimoji="0" lang="pl-P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pl-P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69133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88C9C0-FD0D-2F40-7FFD-0F16C80C6713}"/>
            </a:ext>
          </a:extLst>
        </p:cNvPr>
        <p:cNvGrpSpPr/>
        <p:nvPr/>
      </p:nvGrpSpPr>
      <p:grpSpPr>
        <a:xfrm>
          <a:off x="0" y="0"/>
          <a:ext cx="0" cy="0"/>
          <a:chOff x="0" y="0"/>
          <a:chExt cx="0" cy="0"/>
        </a:xfrm>
      </p:grpSpPr>
      <p:sp>
        <p:nvSpPr>
          <p:cNvPr id="2" name="Symbol zastępczy obrazu slajdu 1">
            <a:extLst>
              <a:ext uri="{FF2B5EF4-FFF2-40B4-BE49-F238E27FC236}">
                <a16:creationId xmlns:a16="http://schemas.microsoft.com/office/drawing/2014/main" id="{7C165A60-1815-D174-2B90-4E0C73229F24}"/>
              </a:ext>
            </a:extLst>
          </p:cNvPr>
          <p:cNvSpPr>
            <a:spLocks noGrp="1" noRot="1" noChangeAspect="1"/>
          </p:cNvSpPr>
          <p:nvPr>
            <p:ph type="sldImg"/>
          </p:nvPr>
        </p:nvSpPr>
        <p:spPr/>
      </p:sp>
      <p:sp>
        <p:nvSpPr>
          <p:cNvPr id="3" name="Symbol zastępczy notatek 2">
            <a:extLst>
              <a:ext uri="{FF2B5EF4-FFF2-40B4-BE49-F238E27FC236}">
                <a16:creationId xmlns:a16="http://schemas.microsoft.com/office/drawing/2014/main" id="{F09898C1-4904-9806-5434-4EF7122FD6ED}"/>
              </a:ext>
            </a:extLst>
          </p:cNvPr>
          <p:cNvSpPr>
            <a:spLocks noGrp="1"/>
          </p:cNvSpPr>
          <p:nvPr>
            <p:ph type="body" idx="1"/>
          </p:nvPr>
        </p:nvSpPr>
        <p:spPr/>
        <p:txBody>
          <a:bodyPr/>
          <a:lstStyle/>
          <a:p>
            <a:endParaRPr lang="pl-PL" dirty="0"/>
          </a:p>
        </p:txBody>
      </p:sp>
      <p:sp>
        <p:nvSpPr>
          <p:cNvPr id="4" name="Symbol zastępczy numeru slajdu 3">
            <a:extLst>
              <a:ext uri="{FF2B5EF4-FFF2-40B4-BE49-F238E27FC236}">
                <a16:creationId xmlns:a16="http://schemas.microsoft.com/office/drawing/2014/main" id="{E42F3331-7E6D-E9BA-02DA-934177B32D8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31C8C9-9192-43D2-9010-6D08A367F0FE}" type="slidenum">
              <a:rPr kumimoji="0" lang="pl-P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pl-P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62745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31C8C9-9192-43D2-9010-6D08A367F0FE}" type="slidenum">
              <a:rPr kumimoji="0" lang="pl-P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pl-P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957664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4.xml"/><Relationship Id="rId7" Type="http://schemas.openxmlformats.org/officeDocument/2006/relationships/image" Target="../media/image2.emf"/><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5.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3.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16.jpeg"/><Relationship Id="rId5" Type="http://schemas.openxmlformats.org/officeDocument/2006/relationships/image" Target="../media/image17.emf"/><Relationship Id="rId4"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4.xml"/><Relationship Id="rId1" Type="http://schemas.openxmlformats.org/officeDocument/2006/relationships/tags" Target="../tags/tag193.xml"/><Relationship Id="rId6" Type="http://schemas.openxmlformats.org/officeDocument/2006/relationships/image" Target="../media/image42.jpeg"/><Relationship Id="rId5" Type="http://schemas.openxmlformats.org/officeDocument/2006/relationships/image" Target="../media/image41.emf"/><Relationship Id="rId4" Type="http://schemas.openxmlformats.org/officeDocument/2006/relationships/oleObject" Target="../embeddings/oleObject32.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6.xml"/><Relationship Id="rId1" Type="http://schemas.openxmlformats.org/officeDocument/2006/relationships/tags" Target="../tags/tag195.xml"/><Relationship Id="rId6" Type="http://schemas.openxmlformats.org/officeDocument/2006/relationships/image" Target="../media/image42.jpeg"/><Relationship Id="rId5" Type="http://schemas.openxmlformats.org/officeDocument/2006/relationships/image" Target="../media/image43.emf"/><Relationship Id="rId4" Type="http://schemas.openxmlformats.org/officeDocument/2006/relationships/oleObject" Target="../embeddings/oleObject33.bin"/></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2.xml"/><Relationship Id="rId1" Type="http://schemas.openxmlformats.org/officeDocument/2006/relationships/tags" Target="../tags/tag197.xml"/><Relationship Id="rId4" Type="http://schemas.openxmlformats.org/officeDocument/2006/relationships/image" Target="../media/image38.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2.xml"/><Relationship Id="rId1" Type="http://schemas.openxmlformats.org/officeDocument/2006/relationships/tags" Target="../tags/tag198.xml"/><Relationship Id="rId4" Type="http://schemas.openxmlformats.org/officeDocument/2006/relationships/image" Target="../media/image7.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2.xml"/><Relationship Id="rId1" Type="http://schemas.openxmlformats.org/officeDocument/2006/relationships/tags" Target="../tags/tag199.xml"/><Relationship Id="rId4" Type="http://schemas.openxmlformats.org/officeDocument/2006/relationships/image" Target="../media/image38.emf"/></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3.png"/><Relationship Id="rId2" Type="http://schemas.openxmlformats.org/officeDocument/2006/relationships/tags" Target="../tags/tag201.xml"/><Relationship Id="rId1" Type="http://schemas.openxmlformats.org/officeDocument/2006/relationships/tags" Target="../tags/tag200.xml"/><Relationship Id="rId6" Type="http://schemas.openxmlformats.org/officeDocument/2006/relationships/image" Target="../media/image12.jpeg"/><Relationship Id="rId5" Type="http://schemas.openxmlformats.org/officeDocument/2006/relationships/image" Target="../media/image44.emf"/><Relationship Id="rId4" Type="http://schemas.openxmlformats.org/officeDocument/2006/relationships/oleObject" Target="../embeddings/oleObject37.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3.png"/><Relationship Id="rId2" Type="http://schemas.openxmlformats.org/officeDocument/2006/relationships/tags" Target="../tags/tag203.xml"/><Relationship Id="rId1" Type="http://schemas.openxmlformats.org/officeDocument/2006/relationships/tags" Target="../tags/tag202.xml"/><Relationship Id="rId6" Type="http://schemas.openxmlformats.org/officeDocument/2006/relationships/image" Target="../media/image12.jpeg"/><Relationship Id="rId5" Type="http://schemas.openxmlformats.org/officeDocument/2006/relationships/image" Target="../media/image45.emf"/><Relationship Id="rId4" Type="http://schemas.openxmlformats.org/officeDocument/2006/relationships/oleObject" Target="../embeddings/oleObject38.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3.png"/><Relationship Id="rId2" Type="http://schemas.openxmlformats.org/officeDocument/2006/relationships/tags" Target="../tags/tag205.xml"/><Relationship Id="rId1" Type="http://schemas.openxmlformats.org/officeDocument/2006/relationships/tags" Target="../tags/tag204.xml"/><Relationship Id="rId6" Type="http://schemas.openxmlformats.org/officeDocument/2006/relationships/image" Target="../media/image12.jpeg"/><Relationship Id="rId5" Type="http://schemas.openxmlformats.org/officeDocument/2006/relationships/image" Target="../media/image46.emf"/><Relationship Id="rId4" Type="http://schemas.openxmlformats.org/officeDocument/2006/relationships/oleObject" Target="../embeddings/oleObject39.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3.png"/><Relationship Id="rId2" Type="http://schemas.openxmlformats.org/officeDocument/2006/relationships/tags" Target="../tags/tag207.xml"/><Relationship Id="rId1" Type="http://schemas.openxmlformats.org/officeDocument/2006/relationships/tags" Target="../tags/tag206.xml"/><Relationship Id="rId6" Type="http://schemas.openxmlformats.org/officeDocument/2006/relationships/image" Target="../media/image48.jpeg"/><Relationship Id="rId5" Type="http://schemas.openxmlformats.org/officeDocument/2006/relationships/image" Target="../media/image47.emf"/><Relationship Id="rId4" Type="http://schemas.openxmlformats.org/officeDocument/2006/relationships/oleObject" Target="../embeddings/oleObject40.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3.png"/><Relationship Id="rId2" Type="http://schemas.openxmlformats.org/officeDocument/2006/relationships/tags" Target="../tags/tag209.xml"/><Relationship Id="rId1" Type="http://schemas.openxmlformats.org/officeDocument/2006/relationships/tags" Target="../tags/tag208.xml"/><Relationship Id="rId6" Type="http://schemas.openxmlformats.org/officeDocument/2006/relationships/image" Target="../media/image48.jpeg"/><Relationship Id="rId5" Type="http://schemas.openxmlformats.org/officeDocument/2006/relationships/image" Target="../media/image49.emf"/><Relationship Id="rId4" Type="http://schemas.openxmlformats.org/officeDocument/2006/relationships/oleObject" Target="../embeddings/oleObject4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3.pn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6.jpeg"/><Relationship Id="rId5" Type="http://schemas.openxmlformats.org/officeDocument/2006/relationships/image" Target="../media/image17.emf"/><Relationship Id="rId4" Type="http://schemas.openxmlformats.org/officeDocument/2006/relationships/oleObject" Target="../embeddings/oleObject12.bin"/></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3.png"/><Relationship Id="rId2" Type="http://schemas.openxmlformats.org/officeDocument/2006/relationships/tags" Target="../tags/tag211.xml"/><Relationship Id="rId1" Type="http://schemas.openxmlformats.org/officeDocument/2006/relationships/tags" Target="../tags/tag210.xml"/><Relationship Id="rId6" Type="http://schemas.openxmlformats.org/officeDocument/2006/relationships/image" Target="../media/image16.jpeg"/><Relationship Id="rId5" Type="http://schemas.openxmlformats.org/officeDocument/2006/relationships/image" Target="../media/image50.emf"/><Relationship Id="rId4" Type="http://schemas.openxmlformats.org/officeDocument/2006/relationships/oleObject" Target="../embeddings/oleObject42.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0.png"/><Relationship Id="rId2" Type="http://schemas.openxmlformats.org/officeDocument/2006/relationships/tags" Target="../tags/tag213.xml"/><Relationship Id="rId1" Type="http://schemas.openxmlformats.org/officeDocument/2006/relationships/tags" Target="../tags/tag212.xml"/><Relationship Id="rId6" Type="http://schemas.openxmlformats.org/officeDocument/2006/relationships/image" Target="../media/image12.jpeg"/><Relationship Id="rId5" Type="http://schemas.openxmlformats.org/officeDocument/2006/relationships/image" Target="../media/image24.emf"/><Relationship Id="rId4" Type="http://schemas.openxmlformats.org/officeDocument/2006/relationships/oleObject" Target="../embeddings/oleObject43.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3.png"/><Relationship Id="rId2" Type="http://schemas.openxmlformats.org/officeDocument/2006/relationships/tags" Target="../tags/tag215.xml"/><Relationship Id="rId1" Type="http://schemas.openxmlformats.org/officeDocument/2006/relationships/tags" Target="../tags/tag214.xml"/><Relationship Id="rId6" Type="http://schemas.openxmlformats.org/officeDocument/2006/relationships/image" Target="../media/image22.jpeg"/><Relationship Id="rId5" Type="http://schemas.openxmlformats.org/officeDocument/2006/relationships/image" Target="../media/image51.emf"/><Relationship Id="rId4" Type="http://schemas.openxmlformats.org/officeDocument/2006/relationships/oleObject" Target="../embeddings/oleObject44.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5.png"/><Relationship Id="rId2" Type="http://schemas.openxmlformats.org/officeDocument/2006/relationships/tags" Target="../tags/tag217.xml"/><Relationship Id="rId1" Type="http://schemas.openxmlformats.org/officeDocument/2006/relationships/tags" Target="../tags/tag216.xml"/><Relationship Id="rId6" Type="http://schemas.openxmlformats.org/officeDocument/2006/relationships/image" Target="../media/image12.jpeg"/><Relationship Id="rId5" Type="http://schemas.openxmlformats.org/officeDocument/2006/relationships/image" Target="../media/image52.emf"/><Relationship Id="rId4" Type="http://schemas.openxmlformats.org/officeDocument/2006/relationships/oleObject" Target="../embeddings/oleObject45.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8.png"/><Relationship Id="rId2" Type="http://schemas.openxmlformats.org/officeDocument/2006/relationships/tags" Target="../tags/tag219.xml"/><Relationship Id="rId1" Type="http://schemas.openxmlformats.org/officeDocument/2006/relationships/tags" Target="../tags/tag218.xml"/><Relationship Id="rId6" Type="http://schemas.openxmlformats.org/officeDocument/2006/relationships/image" Target="../media/image27.jpeg"/><Relationship Id="rId5" Type="http://schemas.openxmlformats.org/officeDocument/2006/relationships/image" Target="../media/image53.emf"/><Relationship Id="rId4" Type="http://schemas.openxmlformats.org/officeDocument/2006/relationships/oleObject" Target="../embeddings/oleObject46.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0.png"/><Relationship Id="rId2" Type="http://schemas.openxmlformats.org/officeDocument/2006/relationships/tags" Target="../tags/tag221.xml"/><Relationship Id="rId1" Type="http://schemas.openxmlformats.org/officeDocument/2006/relationships/tags" Target="../tags/tag220.xml"/><Relationship Id="rId6" Type="http://schemas.openxmlformats.org/officeDocument/2006/relationships/image" Target="../media/image12.jpeg"/><Relationship Id="rId5" Type="http://schemas.openxmlformats.org/officeDocument/2006/relationships/image" Target="../media/image54.emf"/><Relationship Id="rId4" Type="http://schemas.openxmlformats.org/officeDocument/2006/relationships/oleObject" Target="../embeddings/oleObject47.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2.png"/><Relationship Id="rId2" Type="http://schemas.openxmlformats.org/officeDocument/2006/relationships/tags" Target="../tags/tag223.xml"/><Relationship Id="rId1" Type="http://schemas.openxmlformats.org/officeDocument/2006/relationships/tags" Target="../tags/tag222.xml"/><Relationship Id="rId6" Type="http://schemas.openxmlformats.org/officeDocument/2006/relationships/image" Target="../media/image31.jpeg"/><Relationship Id="rId5" Type="http://schemas.openxmlformats.org/officeDocument/2006/relationships/image" Target="../media/image55.emf"/><Relationship Id="rId4" Type="http://schemas.openxmlformats.org/officeDocument/2006/relationships/oleObject" Target="../embeddings/oleObject48.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0.png"/><Relationship Id="rId2" Type="http://schemas.openxmlformats.org/officeDocument/2006/relationships/tags" Target="../tags/tag225.xml"/><Relationship Id="rId1" Type="http://schemas.openxmlformats.org/officeDocument/2006/relationships/tags" Target="../tags/tag224.xml"/><Relationship Id="rId6" Type="http://schemas.openxmlformats.org/officeDocument/2006/relationships/image" Target="../media/image12.jpeg"/><Relationship Id="rId5" Type="http://schemas.openxmlformats.org/officeDocument/2006/relationships/image" Target="../media/image56.emf"/><Relationship Id="rId4" Type="http://schemas.openxmlformats.org/officeDocument/2006/relationships/oleObject" Target="../embeddings/oleObject49.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2.png"/><Relationship Id="rId2" Type="http://schemas.openxmlformats.org/officeDocument/2006/relationships/tags" Target="../tags/tag227.xml"/><Relationship Id="rId1" Type="http://schemas.openxmlformats.org/officeDocument/2006/relationships/tags" Target="../tags/tag226.xml"/><Relationship Id="rId6" Type="http://schemas.openxmlformats.org/officeDocument/2006/relationships/image" Target="../media/image35.jpeg"/><Relationship Id="rId5" Type="http://schemas.openxmlformats.org/officeDocument/2006/relationships/image" Target="../media/image57.emf"/><Relationship Id="rId4" Type="http://schemas.openxmlformats.org/officeDocument/2006/relationships/oleObject" Target="../embeddings/oleObject50.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9.xml"/><Relationship Id="rId1" Type="http://schemas.openxmlformats.org/officeDocument/2006/relationships/tags" Target="../tags/tag228.xml"/><Relationship Id="rId6" Type="http://schemas.openxmlformats.org/officeDocument/2006/relationships/image" Target="../media/image9.jpeg"/><Relationship Id="rId5" Type="http://schemas.openxmlformats.org/officeDocument/2006/relationships/image" Target="../media/image58.emf"/><Relationship Id="rId4" Type="http://schemas.openxmlformats.org/officeDocument/2006/relationships/oleObject" Target="../embeddings/oleObject51.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3.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16.jpeg"/><Relationship Id="rId5" Type="http://schemas.openxmlformats.org/officeDocument/2006/relationships/image" Target="../media/image18.emf"/><Relationship Id="rId4" Type="http://schemas.openxmlformats.org/officeDocument/2006/relationships/oleObject" Target="../embeddings/oleObject13.bin"/></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1.xml"/><Relationship Id="rId1" Type="http://schemas.openxmlformats.org/officeDocument/2006/relationships/tags" Target="../tags/tag230.xml"/><Relationship Id="rId6" Type="http://schemas.openxmlformats.org/officeDocument/2006/relationships/image" Target="../media/image9.jpeg"/><Relationship Id="rId5" Type="http://schemas.openxmlformats.org/officeDocument/2006/relationships/image" Target="../media/image59.emf"/><Relationship Id="rId4" Type="http://schemas.openxmlformats.org/officeDocument/2006/relationships/oleObject" Target="../embeddings/oleObject52.bin"/></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2.xml"/><Relationship Id="rId1" Type="http://schemas.openxmlformats.org/officeDocument/2006/relationships/tags" Target="../tags/tag232.xml"/><Relationship Id="rId5" Type="http://schemas.openxmlformats.org/officeDocument/2006/relationships/image" Target="../media/image37.png"/><Relationship Id="rId4" Type="http://schemas.openxmlformats.org/officeDocument/2006/relationships/image" Target="../media/image2.emf"/></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2.xml"/><Relationship Id="rId1" Type="http://schemas.openxmlformats.org/officeDocument/2006/relationships/tags" Target="../tags/tag233.xml"/><Relationship Id="rId4" Type="http://schemas.openxmlformats.org/officeDocument/2006/relationships/image" Target="../media/image38.emf"/></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0.png"/><Relationship Id="rId2" Type="http://schemas.openxmlformats.org/officeDocument/2006/relationships/tags" Target="../tags/tag235.xml"/><Relationship Id="rId1" Type="http://schemas.openxmlformats.org/officeDocument/2006/relationships/tags" Target="../tags/tag234.xml"/><Relationship Id="rId6" Type="http://schemas.openxmlformats.org/officeDocument/2006/relationships/image" Target="../media/image12.jpeg"/><Relationship Id="rId5" Type="http://schemas.openxmlformats.org/officeDocument/2006/relationships/image" Target="../media/image60.emf"/><Relationship Id="rId4" Type="http://schemas.openxmlformats.org/officeDocument/2006/relationships/oleObject" Target="../embeddings/oleObject55.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7.xml"/><Relationship Id="rId1" Type="http://schemas.openxmlformats.org/officeDocument/2006/relationships/tags" Target="../tags/tag236.xml"/><Relationship Id="rId6" Type="http://schemas.openxmlformats.org/officeDocument/2006/relationships/image" Target="../media/image9.jpeg"/><Relationship Id="rId5" Type="http://schemas.openxmlformats.org/officeDocument/2006/relationships/image" Target="../media/image61.emf"/><Relationship Id="rId4" Type="http://schemas.openxmlformats.org/officeDocument/2006/relationships/oleObject" Target="../embeddings/oleObject56.bin"/></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2.xml"/><Relationship Id="rId1" Type="http://schemas.openxmlformats.org/officeDocument/2006/relationships/tags" Target="../tags/tag238.xml"/><Relationship Id="rId4" Type="http://schemas.openxmlformats.org/officeDocument/2006/relationships/image" Target="../media/image38.emf"/></Relationships>
</file>

<file path=ppt/slideLayouts/_rels/slideLayout126.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2.xml"/><Relationship Id="rId1" Type="http://schemas.openxmlformats.org/officeDocument/2006/relationships/tags" Target="../tags/tag239.xml"/><Relationship Id="rId4" Type="http://schemas.openxmlformats.org/officeDocument/2006/relationships/image" Target="../media/image38.emf"/></Relationships>
</file>

<file path=ppt/slideLayouts/_rels/slideLayout127.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42.xml"/><Relationship Id="rId7" Type="http://schemas.openxmlformats.org/officeDocument/2006/relationships/oleObject" Target="../embeddings/oleObject59.bin"/><Relationship Id="rId2" Type="http://schemas.openxmlformats.org/officeDocument/2006/relationships/tags" Target="../tags/tag241.xml"/><Relationship Id="rId1" Type="http://schemas.openxmlformats.org/officeDocument/2006/relationships/tags" Target="../tags/tag240.xml"/><Relationship Id="rId6" Type="http://schemas.openxmlformats.org/officeDocument/2006/relationships/slideMaster" Target="../slideMasters/slideMaster2.xml"/><Relationship Id="rId5" Type="http://schemas.openxmlformats.org/officeDocument/2006/relationships/tags" Target="../tags/tag244.xml"/><Relationship Id="rId10" Type="http://schemas.openxmlformats.org/officeDocument/2006/relationships/image" Target="../media/image40.jpeg"/><Relationship Id="rId4" Type="http://schemas.openxmlformats.org/officeDocument/2006/relationships/tags" Target="../tags/tag243.xml"/><Relationship Id="rId9" Type="http://schemas.openxmlformats.org/officeDocument/2006/relationships/image" Target="../media/image3.png"/></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245.xml"/><Relationship Id="rId4" Type="http://schemas.openxmlformats.org/officeDocument/2006/relationships/image" Target="../media/image38.emf"/></Relationships>
</file>

<file path=ppt/slideLayouts/_rels/slideLayout129.xml.rels><?xml version="1.0" encoding="UTF-8" standalone="yes"?>
<Relationships xmlns="http://schemas.openxmlformats.org/package/2006/relationships"><Relationship Id="rId3" Type="http://schemas.openxmlformats.org/officeDocument/2006/relationships/tags" Target="../tags/tag248.xml"/><Relationship Id="rId7" Type="http://schemas.openxmlformats.org/officeDocument/2006/relationships/image" Target="../media/image9.jpeg"/><Relationship Id="rId2" Type="http://schemas.openxmlformats.org/officeDocument/2006/relationships/tags" Target="../tags/tag247.xml"/><Relationship Id="rId1" Type="http://schemas.openxmlformats.org/officeDocument/2006/relationships/tags" Target="../tags/tag246.xml"/><Relationship Id="rId6" Type="http://schemas.openxmlformats.org/officeDocument/2006/relationships/image" Target="../media/image1.emf"/><Relationship Id="rId5" Type="http://schemas.openxmlformats.org/officeDocument/2006/relationships/oleObject" Target="../embeddings/oleObject61.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0.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12.jpeg"/><Relationship Id="rId5" Type="http://schemas.openxmlformats.org/officeDocument/2006/relationships/image" Target="../media/image19.emf"/><Relationship Id="rId4" Type="http://schemas.openxmlformats.org/officeDocument/2006/relationships/oleObject" Target="../embeddings/oleObject14.bin"/></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0.xml"/><Relationship Id="rId1" Type="http://schemas.openxmlformats.org/officeDocument/2006/relationships/tags" Target="../tags/tag249.x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2.xml"/><Relationship Id="rId1" Type="http://schemas.openxmlformats.org/officeDocument/2006/relationships/tags" Target="../tags/tag251.x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3.png"/><Relationship Id="rId2" Type="http://schemas.openxmlformats.org/officeDocument/2006/relationships/tags" Target="../tags/tag254.xml"/><Relationship Id="rId1" Type="http://schemas.openxmlformats.org/officeDocument/2006/relationships/tags" Target="../tags/tag253.x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6.xml"/><Relationship Id="rId1" Type="http://schemas.openxmlformats.org/officeDocument/2006/relationships/tags" Target="../tags/tag255.x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2.xml"/><Relationship Id="rId1" Type="http://schemas.openxmlformats.org/officeDocument/2006/relationships/tags" Target="../tags/tag257.xml"/><Relationship Id="rId4" Type="http://schemas.openxmlformats.org/officeDocument/2006/relationships/image" Target="../media/image1.emf"/></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2.xml"/><Relationship Id="rId1" Type="http://schemas.openxmlformats.org/officeDocument/2006/relationships/tags" Target="../tags/tag258.xml"/><Relationship Id="rId4" Type="http://schemas.openxmlformats.org/officeDocument/2006/relationships/image" Target="../media/image1.emf"/></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3.png"/><Relationship Id="rId2" Type="http://schemas.openxmlformats.org/officeDocument/2006/relationships/tags" Target="../tags/tag260.xml"/><Relationship Id="rId1" Type="http://schemas.openxmlformats.org/officeDocument/2006/relationships/tags" Target="../tags/tag259.x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0.png"/><Relationship Id="rId2" Type="http://schemas.openxmlformats.org/officeDocument/2006/relationships/tags" Target="../tags/tag262.xml"/><Relationship Id="rId1" Type="http://schemas.openxmlformats.org/officeDocument/2006/relationships/tags" Target="../tags/tag261.x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3.png"/><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22.jpeg"/><Relationship Id="rId5" Type="http://schemas.openxmlformats.org/officeDocument/2006/relationships/image" Target="../media/image21.emf"/><Relationship Id="rId4" Type="http://schemas.openxmlformats.org/officeDocument/2006/relationships/oleObject" Target="../embeddings/oleObject15.bin"/></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5.pn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2.jpeg"/><Relationship Id="rId5" Type="http://schemas.openxmlformats.org/officeDocument/2006/relationships/image" Target="../media/image24.emf"/><Relationship Id="rId4" Type="http://schemas.openxmlformats.org/officeDocument/2006/relationships/oleObject" Target="../embeddings/oleObject16.bin"/></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jpg"/><Relationship Id="rId1" Type="http://schemas.openxmlformats.org/officeDocument/2006/relationships/slideMaster" Target="../slideMasters/slideMaster3.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8.pn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27.jpeg"/><Relationship Id="rId5" Type="http://schemas.openxmlformats.org/officeDocument/2006/relationships/image" Target="../media/image26.emf"/><Relationship Id="rId4" Type="http://schemas.openxmlformats.org/officeDocument/2006/relationships/oleObject" Target="../embeddings/oleObject17.bin"/></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0.png"/><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12.jpeg"/><Relationship Id="rId5" Type="http://schemas.openxmlformats.org/officeDocument/2006/relationships/image" Target="../media/image29.emf"/><Relationship Id="rId4" Type="http://schemas.openxmlformats.org/officeDocument/2006/relationships/oleObject" Target="../embeddings/oleObject18.bin"/></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2.pn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31.jpeg"/><Relationship Id="rId5" Type="http://schemas.openxmlformats.org/officeDocument/2006/relationships/image" Target="../media/image30.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0.png"/><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12.jpeg"/><Relationship Id="rId5" Type="http://schemas.openxmlformats.org/officeDocument/2006/relationships/image" Target="../media/image33.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5.jpe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2.png"/><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35.jpeg"/><Relationship Id="rId5" Type="http://schemas.openxmlformats.org/officeDocument/2006/relationships/image" Target="../media/image34.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9.jpeg"/><Relationship Id="rId5" Type="http://schemas.openxmlformats.org/officeDocument/2006/relationships/image" Target="../media/image36.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46.xml"/><Relationship Id="rId5" Type="http://schemas.openxmlformats.org/officeDocument/2006/relationships/image" Target="../media/image37.png"/><Relationship Id="rId4" Type="http://schemas.openxmlformats.org/officeDocument/2006/relationships/image" Target="../media/image24.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47.xml"/><Relationship Id="rId4" Type="http://schemas.openxmlformats.org/officeDocument/2006/relationships/image" Target="../media/image38.emf"/></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9.jpeg"/><Relationship Id="rId5" Type="http://schemas.openxmlformats.org/officeDocument/2006/relationships/image" Target="../media/image39.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50.xml"/><Relationship Id="rId4" Type="http://schemas.openxmlformats.org/officeDocument/2006/relationships/image" Target="../media/image38.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51.xml"/><Relationship Id="rId4" Type="http://schemas.openxmlformats.org/officeDocument/2006/relationships/image" Target="../media/image38.emf"/></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54.xml"/><Relationship Id="rId7" Type="http://schemas.openxmlformats.org/officeDocument/2006/relationships/oleObject" Target="../embeddings/oleObject29.bin"/><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slideMaster" Target="../slideMasters/slideMaster1.xml"/><Relationship Id="rId5" Type="http://schemas.openxmlformats.org/officeDocument/2006/relationships/tags" Target="../tags/tag56.xml"/><Relationship Id="rId10" Type="http://schemas.openxmlformats.org/officeDocument/2006/relationships/image" Target="../media/image40.jpeg"/><Relationship Id="rId4" Type="http://schemas.openxmlformats.org/officeDocument/2006/relationships/tags" Target="../tags/tag55.xml"/><Relationship Id="rId9" Type="http://schemas.openxmlformats.org/officeDocument/2006/relationships/image" Target="../media/image3.png"/></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57.xml"/><Relationship Id="rId4" Type="http://schemas.openxmlformats.org/officeDocument/2006/relationships/image" Target="../media/image38.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5.jpeg"/><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60.xml"/><Relationship Id="rId7" Type="http://schemas.openxmlformats.org/officeDocument/2006/relationships/image" Target="../media/image2.emf"/><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oleObject" Target="../embeddings/oleObject31.bin"/><Relationship Id="rId5" Type="http://schemas.openxmlformats.org/officeDocument/2006/relationships/slideMaster" Target="../slideMasters/slideMaster1.xml"/><Relationship Id="rId4" Type="http://schemas.openxmlformats.org/officeDocument/2006/relationships/tags" Target="../tags/tag61.xml"/><Relationship Id="rId9" Type="http://schemas.openxmlformats.org/officeDocument/2006/relationships/image" Target="../media/image40.jpeg"/></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42.jpeg"/><Relationship Id="rId5" Type="http://schemas.openxmlformats.org/officeDocument/2006/relationships/image" Target="../media/image41.emf"/><Relationship Id="rId4" Type="http://schemas.openxmlformats.org/officeDocument/2006/relationships/oleObject" Target="../embeddings/oleObject32.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42.jpeg"/><Relationship Id="rId5" Type="http://schemas.openxmlformats.org/officeDocument/2006/relationships/image" Target="../media/image43.emf"/><Relationship Id="rId4" Type="http://schemas.openxmlformats.org/officeDocument/2006/relationships/oleObject" Target="../embeddings/oleObject33.bin"/></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66.xml"/><Relationship Id="rId4" Type="http://schemas.openxmlformats.org/officeDocument/2006/relationships/image" Target="../media/image38.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67.xml"/><Relationship Id="rId4" Type="http://schemas.openxmlformats.org/officeDocument/2006/relationships/image" Target="../media/image7.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68.xml"/><Relationship Id="rId4" Type="http://schemas.openxmlformats.org/officeDocument/2006/relationships/image" Target="../media/image38.emf"/></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3.png"/><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12.jpeg"/><Relationship Id="rId5" Type="http://schemas.openxmlformats.org/officeDocument/2006/relationships/image" Target="../media/image44.emf"/><Relationship Id="rId4" Type="http://schemas.openxmlformats.org/officeDocument/2006/relationships/oleObject" Target="../embeddings/oleObject37.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3.png"/><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12.jpeg"/><Relationship Id="rId5" Type="http://schemas.openxmlformats.org/officeDocument/2006/relationships/image" Target="../media/image45.emf"/><Relationship Id="rId4" Type="http://schemas.openxmlformats.org/officeDocument/2006/relationships/oleObject" Target="../embeddings/oleObject38.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3.png"/><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12.jpeg"/><Relationship Id="rId5" Type="http://schemas.openxmlformats.org/officeDocument/2006/relationships/image" Target="../media/image46.emf"/><Relationship Id="rId4" Type="http://schemas.openxmlformats.org/officeDocument/2006/relationships/oleObject" Target="../embeddings/oleObject39.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3.pn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48.jpeg"/><Relationship Id="rId5" Type="http://schemas.openxmlformats.org/officeDocument/2006/relationships/image" Target="../media/image47.emf"/><Relationship Id="rId4" Type="http://schemas.openxmlformats.org/officeDocument/2006/relationships/oleObject" Target="../embeddings/oleObject40.bin"/></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7.emf"/></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3.png"/><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48.jpeg"/><Relationship Id="rId5" Type="http://schemas.openxmlformats.org/officeDocument/2006/relationships/image" Target="../media/image49.emf"/><Relationship Id="rId4" Type="http://schemas.openxmlformats.org/officeDocument/2006/relationships/oleObject" Target="../embeddings/oleObject41.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3.png"/><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16.jpeg"/><Relationship Id="rId5" Type="http://schemas.openxmlformats.org/officeDocument/2006/relationships/image" Target="../media/image50.emf"/><Relationship Id="rId4" Type="http://schemas.openxmlformats.org/officeDocument/2006/relationships/oleObject" Target="../embeddings/oleObject42.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0.png"/><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12.jpeg"/><Relationship Id="rId5" Type="http://schemas.openxmlformats.org/officeDocument/2006/relationships/image" Target="../media/image24.emf"/><Relationship Id="rId4" Type="http://schemas.openxmlformats.org/officeDocument/2006/relationships/oleObject" Target="../embeddings/oleObject43.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3.png"/><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22.jpeg"/><Relationship Id="rId5" Type="http://schemas.openxmlformats.org/officeDocument/2006/relationships/image" Target="../media/image51.emf"/><Relationship Id="rId4" Type="http://schemas.openxmlformats.org/officeDocument/2006/relationships/oleObject" Target="../embeddings/oleObject44.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5.png"/><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12.jpeg"/><Relationship Id="rId5" Type="http://schemas.openxmlformats.org/officeDocument/2006/relationships/image" Target="../media/image52.emf"/><Relationship Id="rId4" Type="http://schemas.openxmlformats.org/officeDocument/2006/relationships/oleObject" Target="../embeddings/oleObject45.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8.png"/><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27.jpeg"/><Relationship Id="rId5" Type="http://schemas.openxmlformats.org/officeDocument/2006/relationships/image" Target="../media/image53.emf"/><Relationship Id="rId4" Type="http://schemas.openxmlformats.org/officeDocument/2006/relationships/oleObject" Target="../embeddings/oleObject46.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0.png"/><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12.jpeg"/><Relationship Id="rId5" Type="http://schemas.openxmlformats.org/officeDocument/2006/relationships/image" Target="../media/image54.emf"/><Relationship Id="rId4" Type="http://schemas.openxmlformats.org/officeDocument/2006/relationships/oleObject" Target="../embeddings/oleObject47.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2.png"/><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image" Target="../media/image31.jpeg"/><Relationship Id="rId5" Type="http://schemas.openxmlformats.org/officeDocument/2006/relationships/image" Target="../media/image55.emf"/><Relationship Id="rId4" Type="http://schemas.openxmlformats.org/officeDocument/2006/relationships/oleObject" Target="../embeddings/oleObject48.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0.png"/><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image" Target="../media/image12.jpeg"/><Relationship Id="rId5" Type="http://schemas.openxmlformats.org/officeDocument/2006/relationships/image" Target="../media/image56.emf"/><Relationship Id="rId4" Type="http://schemas.openxmlformats.org/officeDocument/2006/relationships/oleObject" Target="../embeddings/oleObject49.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2.png"/><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image" Target="../media/image35.jpeg"/><Relationship Id="rId5" Type="http://schemas.openxmlformats.org/officeDocument/2006/relationships/image" Target="../media/image57.emf"/><Relationship Id="rId4" Type="http://schemas.openxmlformats.org/officeDocument/2006/relationships/oleObject" Target="../embeddings/oleObject50.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9.jpeg"/><Relationship Id="rId5" Type="http://schemas.openxmlformats.org/officeDocument/2006/relationships/image" Target="../media/image8.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image" Target="../media/image9.jpeg"/><Relationship Id="rId5" Type="http://schemas.openxmlformats.org/officeDocument/2006/relationships/image" Target="../media/image58.emf"/><Relationship Id="rId4" Type="http://schemas.openxmlformats.org/officeDocument/2006/relationships/oleObject" Target="../embeddings/oleObject51.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image" Target="../media/image9.jpeg"/><Relationship Id="rId5" Type="http://schemas.openxmlformats.org/officeDocument/2006/relationships/image" Target="../media/image59.emf"/><Relationship Id="rId4" Type="http://schemas.openxmlformats.org/officeDocument/2006/relationships/oleObject" Target="../embeddings/oleObject52.bin"/></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1.xml"/><Relationship Id="rId1" Type="http://schemas.openxmlformats.org/officeDocument/2006/relationships/tags" Target="../tags/tag101.xml"/><Relationship Id="rId5" Type="http://schemas.openxmlformats.org/officeDocument/2006/relationships/image" Target="../media/image37.png"/><Relationship Id="rId4" Type="http://schemas.openxmlformats.org/officeDocument/2006/relationships/image" Target="../media/image2.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1.xml"/><Relationship Id="rId1" Type="http://schemas.openxmlformats.org/officeDocument/2006/relationships/tags" Target="../tags/tag102.xml"/><Relationship Id="rId4" Type="http://schemas.openxmlformats.org/officeDocument/2006/relationships/image" Target="../media/image38.emf"/></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0.png"/><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image" Target="../media/image12.jpeg"/><Relationship Id="rId5" Type="http://schemas.openxmlformats.org/officeDocument/2006/relationships/image" Target="../media/image60.emf"/><Relationship Id="rId4" Type="http://schemas.openxmlformats.org/officeDocument/2006/relationships/oleObject" Target="../embeddings/oleObject55.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image" Target="../media/image9.jpeg"/><Relationship Id="rId5" Type="http://schemas.openxmlformats.org/officeDocument/2006/relationships/image" Target="../media/image61.emf"/><Relationship Id="rId4" Type="http://schemas.openxmlformats.org/officeDocument/2006/relationships/oleObject" Target="../embeddings/oleObject56.bin"/></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1.xml"/><Relationship Id="rId1" Type="http://schemas.openxmlformats.org/officeDocument/2006/relationships/tags" Target="../tags/tag107.xml"/><Relationship Id="rId4" Type="http://schemas.openxmlformats.org/officeDocument/2006/relationships/image" Target="../media/image38.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1.xml"/><Relationship Id="rId1" Type="http://schemas.openxmlformats.org/officeDocument/2006/relationships/tags" Target="../tags/tag108.xml"/><Relationship Id="rId4" Type="http://schemas.openxmlformats.org/officeDocument/2006/relationships/image" Target="../media/image38.emf"/></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11.xml"/><Relationship Id="rId7" Type="http://schemas.openxmlformats.org/officeDocument/2006/relationships/oleObject" Target="../embeddings/oleObject59.bin"/><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slideMaster" Target="../slideMasters/slideMaster1.xml"/><Relationship Id="rId5" Type="http://schemas.openxmlformats.org/officeDocument/2006/relationships/tags" Target="../tags/tag113.xml"/><Relationship Id="rId10" Type="http://schemas.openxmlformats.org/officeDocument/2006/relationships/image" Target="../media/image40.jpeg"/><Relationship Id="rId4" Type="http://schemas.openxmlformats.org/officeDocument/2006/relationships/tags" Target="../tags/tag112.xml"/><Relationship Id="rId9" Type="http://schemas.openxmlformats.org/officeDocument/2006/relationships/image" Target="../media/image3.png"/></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1.xml"/><Relationship Id="rId1" Type="http://schemas.openxmlformats.org/officeDocument/2006/relationships/tags" Target="../tags/tag114.xml"/><Relationship Id="rId4" Type="http://schemas.openxmlformats.org/officeDocument/2006/relationships/image" Target="../media/image38.emf"/></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9.jpeg"/><Relationship Id="rId5" Type="http://schemas.openxmlformats.org/officeDocument/2006/relationships/image" Target="../media/image10.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117.xml"/><Relationship Id="rId7" Type="http://schemas.openxmlformats.org/officeDocument/2006/relationships/image" Target="../media/image9.jpeg"/><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image" Target="../media/image1.emf"/><Relationship Id="rId5" Type="http://schemas.openxmlformats.org/officeDocument/2006/relationships/oleObject" Target="../embeddings/oleObject61.bin"/><Relationship Id="rId4"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3.png"/><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5.xml"/><Relationship Id="rId1" Type="http://schemas.openxmlformats.org/officeDocument/2006/relationships/tags" Target="../tags/tag124.x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1.xml"/><Relationship Id="rId1" Type="http://schemas.openxmlformats.org/officeDocument/2006/relationships/tags" Target="../tags/tag126.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1.xml"/><Relationship Id="rId1" Type="http://schemas.openxmlformats.org/officeDocument/2006/relationships/tags" Target="../tags/tag127.xml"/><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3.png"/><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0.png"/><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3.pn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2.jpeg"/><Relationship Id="rId5" Type="http://schemas.openxmlformats.org/officeDocument/2006/relationships/image" Target="../media/image1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35.xml"/><Relationship Id="rId7" Type="http://schemas.openxmlformats.org/officeDocument/2006/relationships/image" Target="../media/image2.emf"/><Relationship Id="rId2" Type="http://schemas.openxmlformats.org/officeDocument/2006/relationships/tags" Target="../tags/tag134.xml"/><Relationship Id="rId1" Type="http://schemas.openxmlformats.org/officeDocument/2006/relationships/tags" Target="../tags/tag133.xml"/><Relationship Id="rId6" Type="http://schemas.openxmlformats.org/officeDocument/2006/relationships/oleObject" Target="../embeddings/oleObject2.bin"/><Relationship Id="rId5" Type="http://schemas.openxmlformats.org/officeDocument/2006/relationships/slideMaster" Target="../slideMasters/slideMaster2.xml"/><Relationship Id="rId4" Type="http://schemas.openxmlformats.org/officeDocument/2006/relationships/tags" Target="../tags/tag136.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image" Target="../media/image5.jpe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0.xml"/><Relationship Id="rId1" Type="http://schemas.openxmlformats.org/officeDocument/2006/relationships/tags" Target="../tags/tag139.xml"/><Relationship Id="rId6" Type="http://schemas.openxmlformats.org/officeDocument/2006/relationships/image" Target="../media/image5.jpeg"/><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141.xml"/><Relationship Id="rId4" Type="http://schemas.openxmlformats.org/officeDocument/2006/relationships/image" Target="../media/image7.emf"/></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image" Target="../media/image9.jpeg"/><Relationship Id="rId5" Type="http://schemas.openxmlformats.org/officeDocument/2006/relationships/image" Target="../media/image8.emf"/><Relationship Id="rId4" Type="http://schemas.openxmlformats.org/officeDocument/2006/relationships/oleObject" Target="../embeddings/oleObject6.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image" Target="../media/image9.jpeg"/><Relationship Id="rId5" Type="http://schemas.openxmlformats.org/officeDocument/2006/relationships/image" Target="../media/image10.emf"/><Relationship Id="rId4" Type="http://schemas.openxmlformats.org/officeDocument/2006/relationships/oleObject" Target="../embeddings/oleObject7.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3.png"/><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image" Target="../media/image12.jpeg"/><Relationship Id="rId5" Type="http://schemas.openxmlformats.org/officeDocument/2006/relationships/image" Target="../media/image11.emf"/><Relationship Id="rId4" Type="http://schemas.openxmlformats.org/officeDocument/2006/relationships/oleObject" Target="../embeddings/oleObject8.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3.png"/><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image" Target="../media/image12.jpeg"/><Relationship Id="rId5" Type="http://schemas.openxmlformats.org/officeDocument/2006/relationships/image" Target="../media/image14.emf"/><Relationship Id="rId4" Type="http://schemas.openxmlformats.org/officeDocument/2006/relationships/oleObject" Target="../embeddings/oleObject9.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3.png"/><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image" Target="../media/image16.jpeg"/><Relationship Id="rId5" Type="http://schemas.openxmlformats.org/officeDocument/2006/relationships/image" Target="../media/image15.emf"/><Relationship Id="rId4" Type="http://schemas.openxmlformats.org/officeDocument/2006/relationships/oleObject" Target="../embeddings/oleObject10.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3.png"/><Relationship Id="rId2" Type="http://schemas.openxmlformats.org/officeDocument/2006/relationships/tags" Target="../tags/tag153.xml"/><Relationship Id="rId1" Type="http://schemas.openxmlformats.org/officeDocument/2006/relationships/tags" Target="../tags/tag152.xml"/><Relationship Id="rId6" Type="http://schemas.openxmlformats.org/officeDocument/2006/relationships/image" Target="../media/image16.jpeg"/><Relationship Id="rId5" Type="http://schemas.openxmlformats.org/officeDocument/2006/relationships/image" Target="../media/image17.emf"/><Relationship Id="rId4" Type="http://schemas.openxmlformats.org/officeDocument/2006/relationships/oleObject" Target="../embeddings/oleObject11.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3.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2.jpeg"/><Relationship Id="rId5" Type="http://schemas.openxmlformats.org/officeDocument/2006/relationships/image" Target="../media/image14.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3.png"/><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image" Target="../media/image16.jpeg"/><Relationship Id="rId5" Type="http://schemas.openxmlformats.org/officeDocument/2006/relationships/image" Target="../media/image17.emf"/><Relationship Id="rId4" Type="http://schemas.openxmlformats.org/officeDocument/2006/relationships/oleObject" Target="../embeddings/oleObject12.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3.png"/><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image" Target="../media/image16.jpeg"/><Relationship Id="rId5" Type="http://schemas.openxmlformats.org/officeDocument/2006/relationships/image" Target="../media/image18.emf"/><Relationship Id="rId4" Type="http://schemas.openxmlformats.org/officeDocument/2006/relationships/oleObject" Target="../embeddings/oleObject13.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0.png"/><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image" Target="../media/image12.jpeg"/><Relationship Id="rId5" Type="http://schemas.openxmlformats.org/officeDocument/2006/relationships/image" Target="../media/image19.emf"/><Relationship Id="rId4" Type="http://schemas.openxmlformats.org/officeDocument/2006/relationships/oleObject" Target="../embeddings/oleObject14.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3.png"/><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image" Target="../media/image22.jpeg"/><Relationship Id="rId5" Type="http://schemas.openxmlformats.org/officeDocument/2006/relationships/image" Target="../media/image21.emf"/><Relationship Id="rId4" Type="http://schemas.openxmlformats.org/officeDocument/2006/relationships/oleObject" Target="../embeddings/oleObject15.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5.png"/><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image" Target="../media/image12.jpeg"/><Relationship Id="rId5" Type="http://schemas.openxmlformats.org/officeDocument/2006/relationships/image" Target="../media/image24.emf"/><Relationship Id="rId4" Type="http://schemas.openxmlformats.org/officeDocument/2006/relationships/oleObject" Target="../embeddings/oleObject16.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8.png"/><Relationship Id="rId2" Type="http://schemas.openxmlformats.org/officeDocument/2006/relationships/tags" Target="../tags/tag165.xml"/><Relationship Id="rId1" Type="http://schemas.openxmlformats.org/officeDocument/2006/relationships/tags" Target="../tags/tag164.xml"/><Relationship Id="rId6" Type="http://schemas.openxmlformats.org/officeDocument/2006/relationships/image" Target="../media/image27.jpeg"/><Relationship Id="rId5" Type="http://schemas.openxmlformats.org/officeDocument/2006/relationships/image" Target="../media/image26.emf"/><Relationship Id="rId4" Type="http://schemas.openxmlformats.org/officeDocument/2006/relationships/oleObject" Target="../embeddings/oleObject17.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0.png"/><Relationship Id="rId2" Type="http://schemas.openxmlformats.org/officeDocument/2006/relationships/tags" Target="../tags/tag167.xml"/><Relationship Id="rId1" Type="http://schemas.openxmlformats.org/officeDocument/2006/relationships/tags" Target="../tags/tag166.xml"/><Relationship Id="rId6" Type="http://schemas.openxmlformats.org/officeDocument/2006/relationships/image" Target="../media/image12.jpeg"/><Relationship Id="rId5" Type="http://schemas.openxmlformats.org/officeDocument/2006/relationships/image" Target="../media/image29.emf"/><Relationship Id="rId4" Type="http://schemas.openxmlformats.org/officeDocument/2006/relationships/oleObject" Target="../embeddings/oleObject18.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2.png"/><Relationship Id="rId2" Type="http://schemas.openxmlformats.org/officeDocument/2006/relationships/tags" Target="../tags/tag169.xml"/><Relationship Id="rId1" Type="http://schemas.openxmlformats.org/officeDocument/2006/relationships/tags" Target="../tags/tag168.xml"/><Relationship Id="rId6" Type="http://schemas.openxmlformats.org/officeDocument/2006/relationships/image" Target="../media/image31.jpeg"/><Relationship Id="rId5" Type="http://schemas.openxmlformats.org/officeDocument/2006/relationships/image" Target="../media/image30.emf"/><Relationship Id="rId4" Type="http://schemas.openxmlformats.org/officeDocument/2006/relationships/oleObject" Target="../embeddings/oleObject19.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0.png"/><Relationship Id="rId2" Type="http://schemas.openxmlformats.org/officeDocument/2006/relationships/tags" Target="../tags/tag171.xml"/><Relationship Id="rId1" Type="http://schemas.openxmlformats.org/officeDocument/2006/relationships/tags" Target="../tags/tag170.xml"/><Relationship Id="rId6" Type="http://schemas.openxmlformats.org/officeDocument/2006/relationships/image" Target="../media/image12.jpeg"/><Relationship Id="rId5" Type="http://schemas.openxmlformats.org/officeDocument/2006/relationships/image" Target="../media/image33.emf"/><Relationship Id="rId4" Type="http://schemas.openxmlformats.org/officeDocument/2006/relationships/oleObject" Target="../embeddings/oleObject20.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2.png"/><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image" Target="../media/image35.jpeg"/><Relationship Id="rId5" Type="http://schemas.openxmlformats.org/officeDocument/2006/relationships/image" Target="../media/image34.emf"/><Relationship Id="rId4" Type="http://schemas.openxmlformats.org/officeDocument/2006/relationships/oleObject" Target="../embeddings/oleObject21.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3.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6.jpeg"/><Relationship Id="rId5" Type="http://schemas.openxmlformats.org/officeDocument/2006/relationships/image" Target="../media/image15.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image" Target="../media/image9.jpeg"/><Relationship Id="rId5" Type="http://schemas.openxmlformats.org/officeDocument/2006/relationships/image" Target="../media/image36.emf"/><Relationship Id="rId4" Type="http://schemas.openxmlformats.org/officeDocument/2006/relationships/oleObject" Target="../embeddings/oleObject22.bin"/></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176.xml"/><Relationship Id="rId4" Type="http://schemas.openxmlformats.org/officeDocument/2006/relationships/image" Target="../media/image7.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177.xml"/><Relationship Id="rId5" Type="http://schemas.openxmlformats.org/officeDocument/2006/relationships/image" Target="../media/image37.png"/><Relationship Id="rId4" Type="http://schemas.openxmlformats.org/officeDocument/2006/relationships/image" Target="../media/image24.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178.xml"/><Relationship Id="rId4" Type="http://schemas.openxmlformats.org/officeDocument/2006/relationships/image" Target="../media/image38.emf"/></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0.xml"/><Relationship Id="rId1" Type="http://schemas.openxmlformats.org/officeDocument/2006/relationships/tags" Target="../tags/tag179.xml"/><Relationship Id="rId6" Type="http://schemas.openxmlformats.org/officeDocument/2006/relationships/image" Target="../media/image9.jpeg"/><Relationship Id="rId5" Type="http://schemas.openxmlformats.org/officeDocument/2006/relationships/image" Target="../media/image39.emf"/><Relationship Id="rId4" Type="http://schemas.openxmlformats.org/officeDocument/2006/relationships/oleObject" Target="../embeddings/oleObject26.bin"/></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2.xml"/><Relationship Id="rId1" Type="http://schemas.openxmlformats.org/officeDocument/2006/relationships/tags" Target="../tags/tag181.xml"/><Relationship Id="rId4" Type="http://schemas.openxmlformats.org/officeDocument/2006/relationships/image" Target="../media/image38.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182.xml"/><Relationship Id="rId4" Type="http://schemas.openxmlformats.org/officeDocument/2006/relationships/image" Target="../media/image38.emf"/></Relationships>
</file>

<file path=ppt/slideLayouts/_rels/slideLayout97.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85.xml"/><Relationship Id="rId7" Type="http://schemas.openxmlformats.org/officeDocument/2006/relationships/oleObject" Target="../embeddings/oleObject29.bin"/><Relationship Id="rId2" Type="http://schemas.openxmlformats.org/officeDocument/2006/relationships/tags" Target="../tags/tag184.xml"/><Relationship Id="rId1" Type="http://schemas.openxmlformats.org/officeDocument/2006/relationships/tags" Target="../tags/tag183.xml"/><Relationship Id="rId6" Type="http://schemas.openxmlformats.org/officeDocument/2006/relationships/slideMaster" Target="../slideMasters/slideMaster2.xml"/><Relationship Id="rId5" Type="http://schemas.openxmlformats.org/officeDocument/2006/relationships/tags" Target="../tags/tag187.xml"/><Relationship Id="rId10" Type="http://schemas.openxmlformats.org/officeDocument/2006/relationships/image" Target="../media/image40.jpeg"/><Relationship Id="rId4" Type="http://schemas.openxmlformats.org/officeDocument/2006/relationships/tags" Target="../tags/tag186.xml"/><Relationship Id="rId9" Type="http://schemas.openxmlformats.org/officeDocument/2006/relationships/image" Target="../media/image3.png"/></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188.xml"/><Relationship Id="rId4" Type="http://schemas.openxmlformats.org/officeDocument/2006/relationships/image" Target="../media/image38.emf"/></Relationships>
</file>

<file path=ppt/slideLayouts/_rels/slideLayout9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91.xml"/><Relationship Id="rId7" Type="http://schemas.openxmlformats.org/officeDocument/2006/relationships/image" Target="../media/image2.emf"/><Relationship Id="rId2" Type="http://schemas.openxmlformats.org/officeDocument/2006/relationships/tags" Target="../tags/tag190.xml"/><Relationship Id="rId1" Type="http://schemas.openxmlformats.org/officeDocument/2006/relationships/tags" Target="../tags/tag189.xml"/><Relationship Id="rId6" Type="http://schemas.openxmlformats.org/officeDocument/2006/relationships/oleObject" Target="../embeddings/oleObject31.bin"/><Relationship Id="rId5" Type="http://schemas.openxmlformats.org/officeDocument/2006/relationships/slideMaster" Target="../slideMasters/slideMaster2.xml"/><Relationship Id="rId4" Type="http://schemas.openxmlformats.org/officeDocument/2006/relationships/tags" Target="../tags/tag192.xml"/><Relationship Id="rId9" Type="http://schemas.openxmlformats.org/officeDocument/2006/relationships/image" Target="../media/image40.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186998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rtl="0">
              <a:lnSpc>
                <a:spcPct val="93000"/>
              </a:lnSpc>
              <a:spcBef>
                <a:spcPct val="0"/>
              </a:spcBef>
              <a:spcAft>
                <a:spcPct val="0"/>
              </a:spcAft>
            </a:pPr>
            <a:endParaRPr lang="en-US" sz="5400" dirty="0">
              <a:solidFill>
                <a:srgbClr val="FFFFFF"/>
              </a:solidFill>
              <a:cs typeface="+mn-cs"/>
              <a:sym typeface="Trebuchet MS" panose="020B0603020202020204" pitchFamily="34" charset="0"/>
            </a:endParaRPr>
          </a:p>
        </p:txBody>
      </p:sp>
      <p:sp>
        <p:nvSpPr>
          <p:cNvPr id="147" name="Rectangle 146">
            <a:extLst>
              <a:ext uri="{FF2B5EF4-FFF2-40B4-BE49-F238E27FC236}">
                <a16:creationId xmlns:a16="http://schemas.microsoft.com/office/drawing/2014/main" id="{1B95F6CD-8F9F-4082-8323-C892A599AAD7}"/>
              </a:ext>
            </a:extLst>
          </p:cNvPr>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US" sz="1200" dirty="0">
              <a:solidFill>
                <a:prstClr val="white"/>
              </a:solidFill>
              <a:cs typeface="+mn-cs"/>
              <a:sym typeface="Trebuchet MS" panose="020B0603020202020204" pitchFamily="34" charset="0"/>
            </a:endParaRPr>
          </a:p>
        </p:txBody>
      </p:sp>
      <p:pic>
        <p:nvPicPr>
          <p:cNvPr id="148" name="Picture 147">
            <a:extLst>
              <a:ext uri="{FF2B5EF4-FFF2-40B4-BE49-F238E27FC236}">
                <a16:creationId xmlns:a16="http://schemas.microsoft.com/office/drawing/2014/main" id="{FE68C084-FBDA-49E9-8F03-C9A87AC32BE3}"/>
              </a:ext>
            </a:extLst>
          </p:cNvPr>
          <p:cNvPicPr>
            <a:picLocks noChangeAspect="1"/>
          </p:cNvPicPr>
          <p:nvPr userDrawn="1"/>
        </p:nvPicPr>
        <p:blipFill rotWithShape="1">
          <a:blip r:embed="rId8" cstate="hqprint">
            <a:extLst>
              <a:ext uri="{28A0092B-C50C-407E-A947-70E740481C1C}">
                <a14:useLocalDpi xmlns:a14="http://schemas.microsoft.com/office/drawing/2010/main"/>
              </a:ext>
            </a:extLst>
          </a:blip>
          <a:srcRect r="-234"/>
          <a:stretch/>
        </p:blipFill>
        <p:spPr>
          <a:xfrm rot="16200000" flipH="1">
            <a:off x="8471925" y="2172355"/>
            <a:ext cx="580573" cy="6858000"/>
          </a:xfrm>
          <a:prstGeom prst="rect">
            <a:avLst/>
          </a:prstGeom>
        </p:spPr>
      </p:pic>
      <p:sp>
        <p:nvSpPr>
          <p:cNvPr id="150" name="Overlay">
            <a:extLst>
              <a:ext uri="{FF2B5EF4-FFF2-40B4-BE49-F238E27FC236}">
                <a16:creationId xmlns:a16="http://schemas.microsoft.com/office/drawing/2014/main" id="{FC493958-9948-440E-ABF1-0CF51D143960}"/>
              </a:ext>
            </a:extLst>
          </p:cNvPr>
          <p:cNvSpPr/>
          <p:nvPr userDrawn="1">
            <p:custDataLst>
              <p:tags r:id="rId3"/>
            </p:custDataLst>
          </p:nvPr>
        </p:nvSpPr>
        <p:spPr>
          <a:xfrm>
            <a:off x="630936" y="0"/>
            <a:ext cx="8112082" cy="1147011"/>
          </a:xfrm>
          <a:prstGeom prst="round2SameRect">
            <a:avLst>
              <a:gd name="adj1" fmla="val 0"/>
              <a:gd name="adj2" fmla="val 12079"/>
            </a:avLst>
          </a:prstGeom>
          <a:gradFill>
            <a:gsLst>
              <a:gs pos="0">
                <a:srgbClr val="009B9D">
                  <a:alpha val="21000"/>
                </a:srgbClr>
              </a:gs>
              <a:gs pos="100000">
                <a:srgbClr val="006F4E">
                  <a:alpha val="8897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cs typeface="+mn-cs"/>
            </a:endParaRPr>
          </a:p>
        </p:txBody>
      </p:sp>
      <p:sp>
        <p:nvSpPr>
          <p:cNvPr id="166" name="Round Same-side Corner of Rectangle 38">
            <a:extLst>
              <a:ext uri="{FF2B5EF4-FFF2-40B4-BE49-F238E27FC236}">
                <a16:creationId xmlns:a16="http://schemas.microsoft.com/office/drawing/2014/main" id="{0BB06A8D-4EEB-41B8-B316-205BCCEA026D}"/>
              </a:ext>
            </a:extLst>
          </p:cNvPr>
          <p:cNvSpPr/>
          <p:nvPr userDrawn="1"/>
        </p:nvSpPr>
        <p:spPr bwMode="black">
          <a:xfrm>
            <a:off x="630936" y="2393157"/>
            <a:ext cx="8125200" cy="4464844"/>
          </a:xfrm>
          <a:prstGeom prst="round2SameRect">
            <a:avLst>
              <a:gd name="adj1" fmla="val 4277"/>
              <a:gd name="adj2" fmla="val 0"/>
            </a:avLst>
          </a:prstGeom>
          <a:solidFill>
            <a:schemeClr val="bg1">
              <a:alpha val="92969"/>
            </a:schemeClr>
          </a:solidFill>
          <a:ln>
            <a:noFill/>
          </a:ln>
          <a:effectLst>
            <a:outerShdw blurRad="381000" algn="ctr" rotWithShape="0">
              <a:schemeClr val="bg2">
                <a:lumMod val="10000"/>
                <a:alpha val="29973"/>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lnSpc>
                <a:spcPct val="95000"/>
              </a:lnSpc>
            </a:pPr>
            <a:endParaRPr lang="en-US" sz="2000" dirty="0">
              <a:solidFill>
                <a:prstClr val="white"/>
              </a:solidFill>
              <a:cs typeface="+mn-cs"/>
              <a:sym typeface="Trebuchet MS" panose="020B0603020202020204" pitchFamily="34" charset="0"/>
            </a:endParaRPr>
          </a:p>
        </p:txBody>
      </p:sp>
      <p:sp>
        <p:nvSpPr>
          <p:cNvPr id="167" name="Round Same-side Corner of Rectangle 43">
            <a:extLst>
              <a:ext uri="{FF2B5EF4-FFF2-40B4-BE49-F238E27FC236}">
                <a16:creationId xmlns:a16="http://schemas.microsoft.com/office/drawing/2014/main" id="{D94E366D-49A5-4FEC-98F2-949071C795F6}"/>
              </a:ext>
            </a:extLst>
          </p:cNvPr>
          <p:cNvSpPr/>
          <p:nvPr userDrawn="1"/>
        </p:nvSpPr>
        <p:spPr bwMode="black">
          <a:xfrm>
            <a:off x="414328" y="2393157"/>
            <a:ext cx="8125200" cy="4464844"/>
          </a:xfrm>
          <a:prstGeom prst="round2SameRect">
            <a:avLst>
              <a:gd name="adj1" fmla="val 4277"/>
              <a:gd name="adj2" fmla="val 0"/>
            </a:avLst>
          </a:prstGeom>
          <a:gradFill flip="none" rotWithShape="1">
            <a:gsLst>
              <a:gs pos="0">
                <a:srgbClr val="006F4E">
                  <a:alpha val="10000"/>
                </a:srgbClr>
              </a:gs>
              <a:gs pos="100000">
                <a:srgbClr val="009B9D">
                  <a:alpha val="4937"/>
                </a:srgb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lnSpc>
                <a:spcPct val="95000"/>
              </a:lnSpc>
            </a:pPr>
            <a:endParaRPr lang="en-US" sz="2000" dirty="0">
              <a:solidFill>
                <a:prstClr val="white"/>
              </a:solidFill>
              <a:cs typeface="+mn-cs"/>
              <a:sym typeface="Trebuchet MS" panose="020B0603020202020204" pitchFamily="34" charset="0"/>
            </a:endParaRPr>
          </a:p>
        </p:txBody>
      </p:sp>
      <p:sp>
        <p:nvSpPr>
          <p:cNvPr id="168" name="Round Same-side Corner of Rectangle 44">
            <a:extLst>
              <a:ext uri="{FF2B5EF4-FFF2-40B4-BE49-F238E27FC236}">
                <a16:creationId xmlns:a16="http://schemas.microsoft.com/office/drawing/2014/main" id="{32EAFF0F-8CE1-43DE-858F-5D33BDE722FD}"/>
              </a:ext>
            </a:extLst>
          </p:cNvPr>
          <p:cNvSpPr/>
          <p:nvPr userDrawn="1"/>
        </p:nvSpPr>
        <p:spPr bwMode="black">
          <a:xfrm>
            <a:off x="9340638" y="5084617"/>
            <a:ext cx="2242259" cy="1773383"/>
          </a:xfrm>
          <a:prstGeom prst="round2SameRect">
            <a:avLst>
              <a:gd name="adj1" fmla="val 8183"/>
              <a:gd name="adj2" fmla="val 0"/>
            </a:avLst>
          </a:prstGeom>
          <a:solidFill>
            <a:schemeClr val="bg1">
              <a:alpha val="92969"/>
            </a:schemeClr>
          </a:solidFill>
          <a:ln>
            <a:noFill/>
          </a:ln>
          <a:effectLst>
            <a:outerShdw blurRad="381000" algn="ctr" rotWithShape="0">
              <a:schemeClr val="bg2">
                <a:lumMod val="10000"/>
                <a:alpha val="29973"/>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lnSpc>
                <a:spcPct val="95000"/>
              </a:lnSpc>
            </a:pPr>
            <a:endParaRPr lang="en-US" sz="2000" dirty="0">
              <a:solidFill>
                <a:prstClr val="white"/>
              </a:solidFill>
              <a:cs typeface="+mn-cs"/>
              <a:sym typeface="Trebuchet MS" panose="020B0603020202020204" pitchFamily="34" charset="0"/>
            </a:endParaRPr>
          </a:p>
        </p:txBody>
      </p:sp>
      <p:sp>
        <p:nvSpPr>
          <p:cNvPr id="169" name="Picture Placeholder 8">
            <a:extLst>
              <a:ext uri="{FF2B5EF4-FFF2-40B4-BE49-F238E27FC236}">
                <a16:creationId xmlns:a16="http://schemas.microsoft.com/office/drawing/2014/main" id="{A5FC138B-5DCA-4D48-A2BB-4F073318B1BD}"/>
              </a:ext>
            </a:extLst>
          </p:cNvPr>
          <p:cNvSpPr>
            <a:spLocks noGrp="1"/>
          </p:cNvSpPr>
          <p:nvPr>
            <p:ph type="pic" sz="quarter" idx="13" hasCustomPrompt="1"/>
          </p:nvPr>
        </p:nvSpPr>
        <p:spPr>
          <a:xfrm>
            <a:off x="9527801" y="5570642"/>
            <a:ext cx="1867935" cy="896833"/>
          </a:xfrm>
          <a:prstGeom prst="rect">
            <a:avLst/>
          </a:prstGeom>
        </p:spPr>
        <p:txBody>
          <a:bodyPr anchor="b"/>
          <a:lstStyle>
            <a:lvl1pPr algn="ctr" rtl="0">
              <a:defRPr sz="1600">
                <a:solidFill>
                  <a:schemeClr val="tx1"/>
                </a:solidFill>
                <a:latin typeface="Trebuchet MS" panose="020B0603020202020204" pitchFamily="34" charset="0"/>
                <a:cs typeface="+mn-cs"/>
                <a:sym typeface="Trebuchet MS" panose="020B0603020202020204" pitchFamily="34" charset="0"/>
              </a:defRPr>
            </a:lvl1pPr>
          </a:lstStyle>
          <a:p>
            <a:r>
              <a:rPr lang="en-US" dirty="0"/>
              <a:t>Logo</a:t>
            </a:r>
          </a:p>
        </p:txBody>
      </p:sp>
      <p:sp>
        <p:nvSpPr>
          <p:cNvPr id="170" name="Overlay">
            <a:extLst>
              <a:ext uri="{FF2B5EF4-FFF2-40B4-BE49-F238E27FC236}">
                <a16:creationId xmlns:a16="http://schemas.microsoft.com/office/drawing/2014/main" id="{D59D2AB0-BF17-4D20-8B18-D79CFFC920E2}"/>
              </a:ext>
            </a:extLst>
          </p:cNvPr>
          <p:cNvSpPr/>
          <p:nvPr userDrawn="1">
            <p:custDataLst>
              <p:tags r:id="rId4"/>
            </p:custDataLst>
          </p:nvPr>
        </p:nvSpPr>
        <p:spPr>
          <a:xfrm>
            <a:off x="9340639" y="0"/>
            <a:ext cx="2242259" cy="2081213"/>
          </a:xfrm>
          <a:prstGeom prst="round2SameRect">
            <a:avLst>
              <a:gd name="adj1" fmla="val 0"/>
              <a:gd name="adj2" fmla="val 12079"/>
            </a:avLst>
          </a:prstGeom>
          <a:gradFill>
            <a:gsLst>
              <a:gs pos="0">
                <a:srgbClr val="009B9D">
                  <a:alpha val="21000"/>
                </a:srgbClr>
              </a:gs>
              <a:gs pos="100000">
                <a:srgbClr val="006F4E">
                  <a:alpha val="8897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cs typeface="+mn-cs"/>
            </a:endParaRPr>
          </a:p>
        </p:txBody>
      </p:sp>
      <p:sp>
        <p:nvSpPr>
          <p:cNvPr id="171" name="Text Placeholder 6">
            <a:extLst>
              <a:ext uri="{FF2B5EF4-FFF2-40B4-BE49-F238E27FC236}">
                <a16:creationId xmlns:a16="http://schemas.microsoft.com/office/drawing/2014/main" id="{4B56CB1E-605A-40E4-A6A6-1933723BFA28}"/>
              </a:ext>
            </a:extLst>
          </p:cNvPr>
          <p:cNvSpPr>
            <a:spLocks noGrp="1"/>
          </p:cNvSpPr>
          <p:nvPr>
            <p:ph type="body" sz="quarter" idx="12" hasCustomPrompt="1"/>
          </p:nvPr>
        </p:nvSpPr>
        <p:spPr bwMode="black">
          <a:xfrm>
            <a:off x="1117415" y="6207842"/>
            <a:ext cx="6868800" cy="327148"/>
          </a:xfrm>
          <a:prstGeom prst="rect">
            <a:avLst/>
          </a:prstGeom>
          <a:noFill/>
        </p:spPr>
        <p:txBody>
          <a:bodyPr anchor="ctr"/>
          <a:lstStyle>
            <a:lvl1pPr algn="l" rtl="0">
              <a:lnSpc>
                <a:spcPct val="110000"/>
              </a:lnSpc>
              <a:buNone/>
              <a:defRPr sz="1000" b="1" cap="all" baseline="0">
                <a:solidFill>
                  <a:srgbClr val="7F7F7F"/>
                </a:solidFill>
                <a:latin typeface="+mn-lt"/>
                <a:cs typeface="+mn-cs"/>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172" name="Subtitle 2">
            <a:extLst>
              <a:ext uri="{FF2B5EF4-FFF2-40B4-BE49-F238E27FC236}">
                <a16:creationId xmlns:a16="http://schemas.microsoft.com/office/drawing/2014/main" id="{3DECE5BD-7A3B-4952-B91C-321B02780566}"/>
              </a:ext>
            </a:extLst>
          </p:cNvPr>
          <p:cNvSpPr>
            <a:spLocks noGrp="1"/>
          </p:cNvSpPr>
          <p:nvPr>
            <p:ph type="subTitle" idx="1" hasCustomPrompt="1"/>
          </p:nvPr>
        </p:nvSpPr>
        <p:spPr bwMode="white">
          <a:xfrm>
            <a:off x="1117415" y="5607063"/>
            <a:ext cx="6868800" cy="436195"/>
          </a:xfrm>
          <a:prstGeom prst="rect">
            <a:avLst/>
          </a:prstGeom>
        </p:spPr>
        <p:txBody>
          <a:bodyPr anchor="ctr"/>
          <a:lstStyle>
            <a:lvl1pPr marL="0" indent="0" algn="l" rtl="0">
              <a:lnSpc>
                <a:spcPct val="110000"/>
              </a:lnSpc>
              <a:buNone/>
              <a:defRPr sz="1400" baseline="0">
                <a:solidFill>
                  <a:srgbClr val="03522D"/>
                </a:solidFill>
                <a:latin typeface="+mn-lt"/>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173" name="Title 1">
            <a:extLst>
              <a:ext uri="{FF2B5EF4-FFF2-40B4-BE49-F238E27FC236}">
                <a16:creationId xmlns:a16="http://schemas.microsoft.com/office/drawing/2014/main" id="{2B2B5798-95C2-42D2-9999-26B2D08B33AE}"/>
              </a:ext>
            </a:extLst>
          </p:cNvPr>
          <p:cNvSpPr>
            <a:spLocks noGrp="1"/>
          </p:cNvSpPr>
          <p:nvPr>
            <p:ph type="ctrTitle" hasCustomPrompt="1"/>
          </p:nvPr>
        </p:nvSpPr>
        <p:spPr bwMode="ltGray">
          <a:xfrm>
            <a:off x="1117415" y="2242851"/>
            <a:ext cx="6868800" cy="3138423"/>
          </a:xfrm>
          <a:prstGeom prst="rect">
            <a:avLst/>
          </a:prstGeom>
        </p:spPr>
        <p:txBody>
          <a:bodyPr vert="horz" anchor="b">
            <a:normAutofit/>
          </a:bodyPr>
          <a:lstStyle>
            <a:lvl1pPr algn="l" rtl="0">
              <a:lnSpc>
                <a:spcPct val="93000"/>
              </a:lnSpc>
              <a:defRPr sz="4800" baseline="0">
                <a:solidFill>
                  <a:srgbClr val="03522D"/>
                </a:solidFill>
                <a:latin typeface="+mj-lt"/>
                <a:cs typeface="+mj-cs"/>
                <a:sym typeface="Trebuchet MS" panose="020B0603020202020204" pitchFamily="34" charset="0"/>
              </a:defRPr>
            </a:lvl1pPr>
          </a:lstStyle>
          <a:p>
            <a:r>
              <a:rPr lang="en-US" dirty="0"/>
              <a:t>Title in Title Case</a:t>
            </a:r>
          </a:p>
        </p:txBody>
      </p:sp>
      <p:sp>
        <p:nvSpPr>
          <p:cNvPr id="174" name="Freeform 42">
            <a:extLst>
              <a:ext uri="{FF2B5EF4-FFF2-40B4-BE49-F238E27FC236}">
                <a16:creationId xmlns:a16="http://schemas.microsoft.com/office/drawing/2014/main" id="{C81ACB0D-CC9A-4CE2-B87C-56EB4A7F5A65}"/>
              </a:ext>
            </a:extLst>
          </p:cNvPr>
          <p:cNvSpPr>
            <a:spLocks noChangeAspect="1"/>
          </p:cNvSpPr>
          <p:nvPr userDrawn="1"/>
        </p:nvSpPr>
        <p:spPr bwMode="auto">
          <a:xfrm>
            <a:off x="1115178" y="2752927"/>
            <a:ext cx="2049190" cy="428282"/>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177B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dirty="0">
              <a:cs typeface="+mn-cs"/>
            </a:endParaRPr>
          </a:p>
        </p:txBody>
      </p:sp>
    </p:spTree>
    <p:extLst>
      <p:ext uri="{BB962C8B-B14F-4D97-AF65-F5344CB8AC3E}">
        <p14:creationId xmlns:p14="http://schemas.microsoft.com/office/powerpoint/2010/main" val="42783654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E76EE36-F23C-EEF2-5790-313FF93BC2E1}"/>
              </a:ext>
            </a:extLst>
          </p:cNvPr>
          <p:cNvGraphicFramePr>
            <a:graphicFrameLocks noChangeAspect="1"/>
          </p:cNvGraphicFramePr>
          <p:nvPr userDrawn="1">
            <p:custDataLst>
              <p:tags r:id="rId1"/>
            </p:custDataLst>
            <p:extLst>
              <p:ext uri="{D42A27DB-BD31-4B8C-83A1-F6EECF244321}">
                <p14:modId xmlns:p14="http://schemas.microsoft.com/office/powerpoint/2010/main" val="13579360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1E76EE36-F23C-EEF2-5790-313FF93BC2E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857E72C9-1CA8-FC1B-0DE1-7A3E9C856E3A}"/>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7811122" cy="6858000"/>
          </a:xfrm>
          <a:prstGeom prst="rect">
            <a:avLst/>
          </a:prstGeom>
          <a:gradFill>
            <a:gsLst>
              <a:gs pos="0">
                <a:schemeClr val="tx2"/>
              </a:gs>
              <a:gs pos="100000">
                <a:schemeClr val="accent2"/>
              </a:gs>
            </a:gsLst>
            <a:lin ang="8100000" scaled="1"/>
          </a:gradFill>
        </p:spPr>
      </p:pic>
      <p:sp>
        <p:nvSpPr>
          <p:cNvPr id="3" name="Overlay">
            <a:extLst>
              <a:ext uri="{FF2B5EF4-FFF2-40B4-BE49-F238E27FC236}">
                <a16:creationId xmlns:a16="http://schemas.microsoft.com/office/drawing/2014/main" id="{99F7C9CB-E67D-EC5D-D659-1DB5248C6824}"/>
              </a:ext>
            </a:extLst>
          </p:cNvPr>
          <p:cNvSpPr/>
          <p:nvPr userDrawn="1">
            <p:custDataLst>
              <p:tags r:id="rId2"/>
            </p:custDataLst>
          </p:nvPr>
        </p:nvSpPr>
        <p:spPr>
          <a:xfrm>
            <a:off x="-1" y="0"/>
            <a:ext cx="7835221" cy="6858000"/>
          </a:xfrm>
          <a:prstGeom prst="rect">
            <a:avLst/>
          </a:prstGeom>
          <a:gradFill>
            <a:gsLst>
              <a:gs pos="0">
                <a:srgbClr val="009B9D">
                  <a:alpha val="21000"/>
                </a:srgbClr>
              </a:gs>
              <a:gs pos="100000">
                <a:srgbClr val="006F4E">
                  <a:alpha val="8897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cs typeface="+mn-cs"/>
            </a:endParaRPr>
          </a:p>
        </p:txBody>
      </p:sp>
      <p:pic>
        <p:nvPicPr>
          <p:cNvPr id="11" name="Picture 10"/>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2" name="Rectangle 11"/>
          <p:cNvSpPr/>
          <p:nvPr/>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latin typeface="+mn-lt"/>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rtl="0">
              <a:defRPr sz="1800" baseline="0">
                <a:latin typeface="Trebuchet MS" panose="020B0603020202020204" pitchFamily="34" charset="0"/>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rtl="0">
              <a:defRPr sz="4400">
                <a:solidFill>
                  <a:schemeClr val="bg1"/>
                </a:solidFill>
                <a:latin typeface="+mj-lt"/>
                <a:cs typeface="+mj-cs"/>
                <a:sym typeface="Trebuchet MS" panose="020B0603020202020204" pitchFamily="34" charset="0"/>
              </a:defRPr>
            </a:lvl1pPr>
          </a:lstStyle>
          <a:p>
            <a:r>
              <a:rPr lang="en-US" dirty="0"/>
              <a:t>Click to add title</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rtl="0">
              <a:defRPr>
                <a:solidFill>
                  <a:schemeClr val="bg1">
                    <a:lumMod val="50000"/>
                  </a:schemeClr>
                </a:solidFill>
                <a:latin typeface="+mn-lt"/>
                <a:cs typeface="+mn-cs"/>
                <a:sym typeface="Trebuchet MS" panose="020B0603020202020204" pitchFamily="34" charset="0"/>
              </a:defRPr>
            </a:lvl1pPr>
          </a:lstStyle>
          <a:p>
            <a:endParaRPr lang="en-US" dirty="0"/>
          </a:p>
        </p:txBody>
      </p:sp>
      <p:sp>
        <p:nvSpPr>
          <p:cNvPr id="21"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cs typeface="+mn-cs"/>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17872992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D. Title Only">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D9A30557-EC7F-4173-080C-1AAA90A57264}"/>
              </a:ext>
            </a:extLst>
          </p:cNvPr>
          <p:cNvGraphicFramePr>
            <a:graphicFrameLocks noChangeAspect="1"/>
          </p:cNvGraphicFramePr>
          <p:nvPr userDrawn="1">
            <p:custDataLst>
              <p:tags r:id="rId1"/>
            </p:custDataLst>
            <p:extLst>
              <p:ext uri="{D42A27DB-BD31-4B8C-83A1-F6EECF244321}">
                <p14:modId xmlns:p14="http://schemas.microsoft.com/office/powerpoint/2010/main" val="314914144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1" name="think-cell data - do not delete" hidden="1">
                        <a:extLst>
                          <a:ext uri="{FF2B5EF4-FFF2-40B4-BE49-F238E27FC236}">
                            <a16:creationId xmlns:a16="http://schemas.microsoft.com/office/drawing/2014/main" id="{D9A30557-EC7F-4173-080C-1AAA90A5726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3207BAE6-483E-A5B6-2144-6227595737AB}"/>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 y="0"/>
            <a:ext cx="12192001" cy="1756247"/>
          </a:xfrm>
          <a:prstGeom prst="round2SameRect">
            <a:avLst>
              <a:gd name="adj1" fmla="val 0"/>
              <a:gd name="adj2" fmla="val 11274"/>
            </a:avLst>
          </a:prstGeom>
          <a:gradFill>
            <a:gsLst>
              <a:gs pos="0">
                <a:schemeClr val="tx2"/>
              </a:gs>
              <a:gs pos="100000">
                <a:schemeClr val="accent2"/>
              </a:gs>
            </a:gsLst>
            <a:lin ang="8100000" scaled="1"/>
          </a:gradFill>
          <a:effectLst>
            <a:outerShdw blurRad="254000" algn="ctr" rotWithShape="0">
              <a:prstClr val="black">
                <a:alpha val="27000"/>
              </a:prstClr>
            </a:outerShdw>
          </a:effectLst>
        </p:spPr>
      </p:pic>
      <p:sp>
        <p:nvSpPr>
          <p:cNvPr id="13" name="Overlay">
            <a:extLst>
              <a:ext uri="{FF2B5EF4-FFF2-40B4-BE49-F238E27FC236}">
                <a16:creationId xmlns:a16="http://schemas.microsoft.com/office/drawing/2014/main" id="{F3680353-6F3E-B798-2BE2-7BA3F0FC83DA}"/>
              </a:ext>
            </a:extLst>
          </p:cNvPr>
          <p:cNvSpPr/>
          <p:nvPr userDrawn="1">
            <p:custDataLst>
              <p:tags r:id="rId2"/>
            </p:custDataLst>
          </p:nvPr>
        </p:nvSpPr>
        <p:spPr>
          <a:xfrm>
            <a:off x="-1" y="0"/>
            <a:ext cx="12192001" cy="1756247"/>
          </a:xfrm>
          <a:prstGeom prst="round2SameRect">
            <a:avLst>
              <a:gd name="adj1" fmla="val 0"/>
              <a:gd name="adj2" fmla="val 11274"/>
            </a:avLst>
          </a:prstGeom>
          <a:gradFill>
            <a:gsLst>
              <a:gs pos="0">
                <a:srgbClr val="009B9D">
                  <a:alpha val="21000"/>
                </a:srgbClr>
              </a:gs>
              <a:gs pos="100000">
                <a:srgbClr val="006F4E">
                  <a:alpha val="8897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cs typeface="+mn-cs"/>
            </a:endParaRPr>
          </a:p>
        </p:txBody>
      </p:sp>
      <p:sp>
        <p:nvSpPr>
          <p:cNvPr id="57" name="Date Placeholder 56"/>
          <p:cNvSpPr>
            <a:spLocks noGrp="1"/>
          </p:cNvSpPr>
          <p:nvPr>
            <p:ph type="dt" sz="half" idx="14"/>
          </p:nvPr>
        </p:nvSpPr>
        <p:spPr/>
        <p:txBody>
          <a:bodyPr/>
          <a:lstStyle>
            <a:lvl1pPr rtl="0">
              <a:defRPr>
                <a:solidFill>
                  <a:schemeClr val="bg1">
                    <a:lumMod val="50000"/>
                  </a:schemeClr>
                </a:solidFill>
                <a:latin typeface="+mn-lt"/>
                <a:cs typeface="+mn-cs"/>
                <a:sym typeface="Trebuchet MS" panose="020B0603020202020204" pitchFamily="34" charset="0"/>
              </a:defRPr>
            </a:lvl1pPr>
          </a:lstStyle>
          <a:p>
            <a:endParaRPr lang="en-US" dirty="0"/>
          </a:p>
        </p:txBody>
      </p:sp>
      <p:sp>
        <p:nvSpPr>
          <p:cNvPr id="7"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cs typeface="+mn-cs"/>
                <a:sym typeface="Trebuchet MS" panose="020B0603020202020204" pitchFamily="34" charset="0"/>
              </a:rPr>
              <a:t>Copyright © 2024 by Boston Consulting Group. All rights reserved.</a:t>
            </a:r>
          </a:p>
        </p:txBody>
      </p:sp>
      <p:sp>
        <p:nvSpPr>
          <p:cNvPr id="8" name="Title 7"/>
          <p:cNvSpPr>
            <a:spLocks noGrp="1"/>
          </p:cNvSpPr>
          <p:nvPr>
            <p:ph type="title" hasCustomPrompt="1"/>
          </p:nvPr>
        </p:nvSpPr>
        <p:spPr>
          <a:xfrm>
            <a:off x="630000" y="622800"/>
            <a:ext cx="10933350" cy="332399"/>
          </a:xfrm>
        </p:spPr>
        <p:txBody>
          <a:bodyPr vert="horz"/>
          <a:lstStyle>
            <a:lvl1pPr rtl="0">
              <a:defRPr>
                <a:solidFill>
                  <a:schemeClr val="bg1"/>
                </a:solidFill>
                <a:latin typeface="+mj-lt"/>
                <a:cs typeface="+mj-cs"/>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4431414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15">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D.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39D6D5D8-E017-8676-9928-E5B3D1692479}"/>
              </a:ext>
            </a:extLst>
          </p:cNvPr>
          <p:cNvGraphicFramePr>
            <a:graphicFrameLocks noChangeAspect="1"/>
          </p:cNvGraphicFramePr>
          <p:nvPr userDrawn="1">
            <p:custDataLst>
              <p:tags r:id="rId1"/>
            </p:custDataLst>
            <p:extLst>
              <p:ext uri="{D42A27DB-BD31-4B8C-83A1-F6EECF244321}">
                <p14:modId xmlns:p14="http://schemas.microsoft.com/office/powerpoint/2010/main" val="26606443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think-cell data - do not delete" hidden="1">
                        <a:extLst>
                          <a:ext uri="{FF2B5EF4-FFF2-40B4-BE49-F238E27FC236}">
                            <a16:creationId xmlns:a16="http://schemas.microsoft.com/office/drawing/2014/main" id="{39D6D5D8-E017-8676-9928-E5B3D169247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0AA69619-63C6-0945-D824-6A2FA3E7EDBD}"/>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 y="0"/>
            <a:ext cx="12192001" cy="1756247"/>
          </a:xfrm>
          <a:prstGeom prst="round2SameRect">
            <a:avLst>
              <a:gd name="adj1" fmla="val 0"/>
              <a:gd name="adj2" fmla="val 11274"/>
            </a:avLst>
          </a:prstGeom>
          <a:gradFill>
            <a:gsLst>
              <a:gs pos="0">
                <a:schemeClr val="tx2"/>
              </a:gs>
              <a:gs pos="100000">
                <a:schemeClr val="accent2"/>
              </a:gs>
            </a:gsLst>
            <a:lin ang="8100000" scaled="1"/>
          </a:gradFill>
          <a:effectLst>
            <a:outerShdw blurRad="254000" algn="ctr" rotWithShape="0">
              <a:prstClr val="black">
                <a:alpha val="27000"/>
              </a:prstClr>
            </a:outerShdw>
          </a:effectLst>
        </p:spPr>
      </p:pic>
      <p:sp>
        <p:nvSpPr>
          <p:cNvPr id="11" name="Overlay">
            <a:extLst>
              <a:ext uri="{FF2B5EF4-FFF2-40B4-BE49-F238E27FC236}">
                <a16:creationId xmlns:a16="http://schemas.microsoft.com/office/drawing/2014/main" id="{61A3DA20-3017-5C9A-B69E-5BE34C935D35}"/>
              </a:ext>
            </a:extLst>
          </p:cNvPr>
          <p:cNvSpPr/>
          <p:nvPr userDrawn="1">
            <p:custDataLst>
              <p:tags r:id="rId2"/>
            </p:custDataLst>
          </p:nvPr>
        </p:nvSpPr>
        <p:spPr>
          <a:xfrm>
            <a:off x="-1" y="0"/>
            <a:ext cx="12192001" cy="1756247"/>
          </a:xfrm>
          <a:prstGeom prst="round2SameRect">
            <a:avLst>
              <a:gd name="adj1" fmla="val 0"/>
              <a:gd name="adj2" fmla="val 11274"/>
            </a:avLst>
          </a:prstGeom>
          <a:gradFill>
            <a:gsLst>
              <a:gs pos="0">
                <a:srgbClr val="009B9D">
                  <a:alpha val="21000"/>
                </a:srgbClr>
              </a:gs>
              <a:gs pos="100000">
                <a:srgbClr val="006F4E">
                  <a:alpha val="8897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cs typeface="+mn-cs"/>
            </a:endParaRPr>
          </a:p>
        </p:txBody>
      </p:sp>
      <p:grpSp>
        <p:nvGrpSpPr>
          <p:cNvPr id="3" name="Group 2">
            <a:extLst>
              <a:ext uri="{FF2B5EF4-FFF2-40B4-BE49-F238E27FC236}">
                <a16:creationId xmlns:a16="http://schemas.microsoft.com/office/drawing/2014/main" id="{C0FEA121-9B31-9A1D-7D3F-26067190BD66}"/>
              </a:ext>
            </a:extLst>
          </p:cNvPr>
          <p:cNvGrpSpPr/>
          <p:nvPr userDrawn="1"/>
        </p:nvGrpSpPr>
        <p:grpSpPr>
          <a:xfrm>
            <a:off x="0" y="2382673"/>
            <a:ext cx="12192001" cy="4475327"/>
            <a:chOff x="0" y="2382673"/>
            <a:chExt cx="12192001" cy="4475327"/>
          </a:xfrm>
        </p:grpSpPr>
        <p:sp>
          <p:nvSpPr>
            <p:cNvPr id="5" name="Freeform 4">
              <a:extLst>
                <a:ext uri="{FF2B5EF4-FFF2-40B4-BE49-F238E27FC236}">
                  <a16:creationId xmlns:a16="http://schemas.microsoft.com/office/drawing/2014/main" id="{28BA6B85-F921-63B2-92AA-BBCD9C586EBA}"/>
                </a:ext>
              </a:extLst>
            </p:cNvPr>
            <p:cNvSpPr/>
            <p:nvPr/>
          </p:nvSpPr>
          <p:spPr>
            <a:xfrm>
              <a:off x="7747933" y="2382673"/>
              <a:ext cx="4444067" cy="3417775"/>
            </a:xfrm>
            <a:custGeom>
              <a:avLst/>
              <a:gdLst>
                <a:gd name="connsiteX0" fmla="*/ 4432804 w 4444067"/>
                <a:gd name="connsiteY0" fmla="*/ 0 h 3417775"/>
                <a:gd name="connsiteX1" fmla="*/ 4432804 w 4444067"/>
                <a:gd name="connsiteY1" fmla="*/ 0 h 3417775"/>
                <a:gd name="connsiteX2" fmla="*/ 3756900 w 4444067"/>
                <a:gd name="connsiteY2" fmla="*/ 360864 h 3417775"/>
                <a:gd name="connsiteX3" fmla="*/ 1357441 w 4444067"/>
                <a:gd name="connsiteY3" fmla="*/ 1623888 h 3417775"/>
                <a:gd name="connsiteX4" fmla="*/ 0 w 4444067"/>
                <a:gd name="connsiteY4" fmla="*/ 2182099 h 3417775"/>
                <a:gd name="connsiteX5" fmla="*/ 5633 w 4444067"/>
                <a:gd name="connsiteY5" fmla="*/ 2187737 h 3417775"/>
                <a:gd name="connsiteX6" fmla="*/ 0 w 4444067"/>
                <a:gd name="connsiteY6" fmla="*/ 2182099 h 3417775"/>
                <a:gd name="connsiteX7" fmla="*/ 433705 w 4444067"/>
                <a:gd name="connsiteY7" fmla="*/ 3163198 h 3417775"/>
                <a:gd name="connsiteX8" fmla="*/ 602681 w 4444067"/>
                <a:gd name="connsiteY8" fmla="*/ 3326714 h 3417775"/>
                <a:gd name="connsiteX9" fmla="*/ 901205 w 4444067"/>
                <a:gd name="connsiteY9" fmla="*/ 3416930 h 3417775"/>
                <a:gd name="connsiteX10" fmla="*/ 1216627 w 4444067"/>
                <a:gd name="connsiteY10" fmla="*/ 3349268 h 3417775"/>
                <a:gd name="connsiteX11" fmla="*/ 4444068 w 4444067"/>
                <a:gd name="connsiteY11" fmla="*/ 1612611 h 341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44067" h="3417775">
                  <a:moveTo>
                    <a:pt x="4432804" y="0"/>
                  </a:moveTo>
                  <a:lnTo>
                    <a:pt x="4432804" y="0"/>
                  </a:lnTo>
                  <a:lnTo>
                    <a:pt x="3756900" y="360864"/>
                  </a:lnTo>
                  <a:lnTo>
                    <a:pt x="1357441" y="1623888"/>
                  </a:lnTo>
                  <a:cubicBezTo>
                    <a:pt x="1357441" y="1623888"/>
                    <a:pt x="529458" y="2069329"/>
                    <a:pt x="0" y="2182099"/>
                  </a:cubicBezTo>
                  <a:lnTo>
                    <a:pt x="5633" y="2187737"/>
                  </a:lnTo>
                  <a:lnTo>
                    <a:pt x="0" y="2182099"/>
                  </a:lnTo>
                  <a:cubicBezTo>
                    <a:pt x="146446" y="2638817"/>
                    <a:pt x="292892" y="2932019"/>
                    <a:pt x="433705" y="3163198"/>
                  </a:cubicBezTo>
                  <a:cubicBezTo>
                    <a:pt x="473132" y="3230860"/>
                    <a:pt x="535091" y="3287245"/>
                    <a:pt x="602681" y="3326714"/>
                  </a:cubicBezTo>
                  <a:cubicBezTo>
                    <a:pt x="692802" y="3383099"/>
                    <a:pt x="794187" y="3411292"/>
                    <a:pt x="901205" y="3416930"/>
                  </a:cubicBezTo>
                  <a:cubicBezTo>
                    <a:pt x="1008223" y="3422569"/>
                    <a:pt x="1115241" y="3400015"/>
                    <a:pt x="1216627" y="3349268"/>
                  </a:cubicBezTo>
                  <a:lnTo>
                    <a:pt x="4444068" y="1612611"/>
                  </a:lnTo>
                  <a:close/>
                </a:path>
              </a:pathLst>
            </a:custGeom>
            <a:solidFill>
              <a:srgbClr val="009B9D">
                <a:alpha val="7000"/>
              </a:srgbClr>
            </a:solidFill>
            <a:ln w="56300" cap="flat">
              <a:noFill/>
              <a:prstDash val="solid"/>
              <a:miter/>
            </a:ln>
          </p:spPr>
          <p:txBody>
            <a:bodyPr rtlCol="0" anchor="ctr"/>
            <a:lstStyle/>
            <a:p>
              <a:pPr rtl="0"/>
              <a:endParaRPr lang="en-US" dirty="0">
                <a:cs typeface="+mn-cs"/>
              </a:endParaRPr>
            </a:p>
          </p:txBody>
        </p:sp>
        <p:sp>
          <p:nvSpPr>
            <p:cNvPr id="7" name="Freeform 6">
              <a:extLst>
                <a:ext uri="{FF2B5EF4-FFF2-40B4-BE49-F238E27FC236}">
                  <a16:creationId xmlns:a16="http://schemas.microsoft.com/office/drawing/2014/main" id="{47CA0E08-286E-FD7E-E936-ECB9F36504CC}"/>
                </a:ext>
              </a:extLst>
            </p:cNvPr>
            <p:cNvSpPr/>
            <p:nvPr/>
          </p:nvSpPr>
          <p:spPr>
            <a:xfrm>
              <a:off x="0" y="3277507"/>
              <a:ext cx="12192001" cy="3580493"/>
            </a:xfrm>
            <a:custGeom>
              <a:avLst/>
              <a:gdLst>
                <a:gd name="connsiteX0" fmla="*/ 12192001 w 12192001"/>
                <a:gd name="connsiteY0" fmla="*/ 1687383 h 3580493"/>
                <a:gd name="connsiteX1" fmla="*/ 12181807 w 12192001"/>
                <a:gd name="connsiteY1" fmla="*/ 3580493 h 3580493"/>
                <a:gd name="connsiteX2" fmla="*/ 8662888 w 12192001"/>
                <a:gd name="connsiteY2" fmla="*/ 3580493 h 3580493"/>
                <a:gd name="connsiteX3" fmla="*/ 781415 w 12192001"/>
                <a:gd name="connsiteY3" fmla="*/ 374 h 3580493"/>
                <a:gd name="connsiteX4" fmla="*/ 2025283 w 12192001"/>
                <a:gd name="connsiteY4" fmla="*/ 1850899 h 3580493"/>
                <a:gd name="connsiteX5" fmla="*/ 2036547 w 12192001"/>
                <a:gd name="connsiteY5" fmla="*/ 1901646 h 3580493"/>
                <a:gd name="connsiteX6" fmla="*/ 1676065 w 12192001"/>
                <a:gd name="connsiteY6" fmla="*/ 1862175 h 3580493"/>
                <a:gd name="connsiteX7" fmla="*/ 192135 w 12192001"/>
                <a:gd name="connsiteY7" fmla="*/ 2129365 h 3580493"/>
                <a:gd name="connsiteX8" fmla="*/ 0 w 12192001"/>
                <a:gd name="connsiteY8" fmla="*/ 2193947 h 3580493"/>
                <a:gd name="connsiteX9" fmla="*/ 0 w 12192001"/>
                <a:gd name="connsiteY9" fmla="*/ 70220 h 3580493"/>
                <a:gd name="connsiteX10" fmla="*/ 294330 w 12192001"/>
                <a:gd name="connsiteY10" fmla="*/ 27516 h 3580493"/>
                <a:gd name="connsiteX11" fmla="*/ 656576 w 12192001"/>
                <a:gd name="connsiteY11" fmla="*/ 1471 h 3580493"/>
                <a:gd name="connsiteX12" fmla="*/ 781415 w 12192001"/>
                <a:gd name="connsiteY12" fmla="*/ 374 h 3580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1" h="3580493">
                  <a:moveTo>
                    <a:pt x="12192001" y="1687383"/>
                  </a:moveTo>
                  <a:lnTo>
                    <a:pt x="12181807" y="3580493"/>
                  </a:lnTo>
                  <a:lnTo>
                    <a:pt x="8662888" y="3580493"/>
                  </a:lnTo>
                  <a:close/>
                  <a:moveTo>
                    <a:pt x="781415" y="374"/>
                  </a:moveTo>
                  <a:cubicBezTo>
                    <a:pt x="1390963" y="12000"/>
                    <a:pt x="1782379" y="302073"/>
                    <a:pt x="2025283" y="1850899"/>
                  </a:cubicBezTo>
                  <a:cubicBezTo>
                    <a:pt x="2030914" y="1867815"/>
                    <a:pt x="2036547" y="1884729"/>
                    <a:pt x="2036547" y="1901646"/>
                  </a:cubicBezTo>
                  <a:cubicBezTo>
                    <a:pt x="1940794" y="1873453"/>
                    <a:pt x="1811245" y="1862175"/>
                    <a:pt x="1676065" y="1862175"/>
                  </a:cubicBezTo>
                  <a:cubicBezTo>
                    <a:pt x="1183218" y="1886844"/>
                    <a:pt x="716246" y="1963316"/>
                    <a:pt x="192135" y="2129365"/>
                  </a:cubicBezTo>
                  <a:lnTo>
                    <a:pt x="0" y="2193947"/>
                  </a:lnTo>
                  <a:lnTo>
                    <a:pt x="0" y="70220"/>
                  </a:lnTo>
                  <a:lnTo>
                    <a:pt x="294330" y="27516"/>
                  </a:lnTo>
                  <a:cubicBezTo>
                    <a:pt x="416710" y="14114"/>
                    <a:pt x="537589" y="5348"/>
                    <a:pt x="656576" y="1471"/>
                  </a:cubicBezTo>
                  <a:cubicBezTo>
                    <a:pt x="699172" y="62"/>
                    <a:pt x="740778" y="-401"/>
                    <a:pt x="781415" y="374"/>
                  </a:cubicBezTo>
                  <a:close/>
                </a:path>
              </a:pathLst>
            </a:custGeom>
            <a:solidFill>
              <a:srgbClr val="009B9D">
                <a:alpha val="7000"/>
              </a:srgbClr>
            </a:solidFill>
            <a:ln w="56300" cap="flat">
              <a:noFill/>
              <a:prstDash val="solid"/>
              <a:miter/>
            </a:ln>
          </p:spPr>
          <p:txBody>
            <a:bodyPr rtlCol="0" anchor="ctr"/>
            <a:lstStyle/>
            <a:p>
              <a:pPr rtl="0"/>
              <a:endParaRPr lang="en-US" dirty="0">
                <a:cs typeface="+mn-cs"/>
              </a:endParaRPr>
            </a:p>
          </p:txBody>
        </p:sp>
      </p:gr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rtl="0">
              <a:defRPr>
                <a:solidFill>
                  <a:srgbClr val="FFFFFF"/>
                </a:solidFill>
                <a:cs typeface="+mj-cs"/>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514600"/>
            <a:ext cx="10933950" cy="3644004"/>
          </a:xfrm>
        </p:spPr>
        <p:txBody>
          <a:bodyPr/>
          <a:lstStyle>
            <a:lvl1pPr rtl="0">
              <a:lnSpc>
                <a:spcPct val="100000"/>
              </a:lnSpc>
              <a:spcBef>
                <a:spcPts val="0"/>
              </a:spcBef>
              <a:spcAft>
                <a:spcPts val="0"/>
              </a:spcAft>
              <a:defRPr>
                <a:cs typeface="+mn-cs"/>
              </a:defRPr>
            </a:lvl1pPr>
            <a:lvl2pPr rtl="0">
              <a:lnSpc>
                <a:spcPct val="100000"/>
              </a:lnSpc>
              <a:spcBef>
                <a:spcPts val="0"/>
              </a:spcBef>
              <a:spcAft>
                <a:spcPts val="0"/>
              </a:spcAft>
              <a:defRPr>
                <a:cs typeface="+mn-cs"/>
              </a:defRPr>
            </a:lvl2pPr>
            <a:lvl3pPr rtl="0">
              <a:lnSpc>
                <a:spcPct val="100000"/>
              </a:lnSpc>
              <a:spcBef>
                <a:spcPts val="0"/>
              </a:spcBef>
              <a:spcAft>
                <a:spcPts val="0"/>
              </a:spcAft>
              <a:defRPr>
                <a:cs typeface="+mn-cs"/>
              </a:defRPr>
            </a:lvl3pPr>
            <a:lvl4pPr rtl="0">
              <a:lnSpc>
                <a:spcPct val="100000"/>
              </a:lnSpc>
              <a:spcBef>
                <a:spcPts val="0"/>
              </a:spcBef>
              <a:spcAft>
                <a:spcPts val="0"/>
              </a:spcAft>
              <a:defRPr>
                <a:cs typeface="+mn-cs"/>
              </a:defRPr>
            </a:lvl4pPr>
            <a:lvl5pPr rtl="0">
              <a:lnSpc>
                <a:spcPct val="100000"/>
              </a:lnSpc>
              <a:spcBef>
                <a:spcPts val="0"/>
              </a:spcBef>
              <a:spcAft>
                <a:spcPts val="0"/>
              </a:spcAft>
              <a:defRPr>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cs typeface="+mn-cs"/>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16137750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1DF2B54-D45D-431F-B584-503B05AF523C}"/>
              </a:ext>
            </a:extLst>
          </p:cNvPr>
          <p:cNvGraphicFramePr>
            <a:graphicFrameLocks noChangeAspect="1"/>
          </p:cNvGraphicFramePr>
          <p:nvPr userDrawn="1">
            <p:custDataLst>
              <p:tags r:id="rId1"/>
            </p:custDataLst>
            <p:extLst>
              <p:ext uri="{D42A27DB-BD31-4B8C-83A1-F6EECF244321}">
                <p14:modId xmlns:p14="http://schemas.microsoft.com/office/powerpoint/2010/main" val="3409863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91DF2B54-D45D-431F-B584-503B05AF52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rtl="0">
              <a:defRPr>
                <a:solidFill>
                  <a:schemeClr val="bg1">
                    <a:lumMod val="50000"/>
                  </a:schemeClr>
                </a:solidFill>
                <a:latin typeface="+mn-lt"/>
                <a:cs typeface="+mn-cs"/>
                <a:sym typeface="Trebuchet MS" panose="020B0603020202020204" pitchFamily="34" charset="0"/>
              </a:defRPr>
            </a:lvl1pPr>
          </a:lstStyle>
          <a:p>
            <a:endParaRPr lang="en-US" dirty="0"/>
          </a:p>
        </p:txBody>
      </p:sp>
      <p:sp>
        <p:nvSpPr>
          <p:cNvPr id="11"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cs typeface="+mn-cs"/>
                <a:sym typeface="Trebuchet MS" panose="020B0603020202020204" pitchFamily="34" charset="0"/>
              </a:rPr>
              <a:t>Copyright © 2024 by Boston Consulting Group. All rights reserved.</a:t>
            </a:r>
          </a:p>
        </p:txBody>
      </p:sp>
      <p:sp>
        <p:nvSpPr>
          <p:cNvPr id="7" name="Rectangle 6"/>
          <p:cNvSpPr/>
          <p:nvPr/>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lnSpc>
                <a:spcPct val="90000"/>
              </a:lnSpc>
              <a:spcAft>
                <a:spcPts val="1000"/>
              </a:spcAft>
            </a:pPr>
            <a:endParaRPr lang="en-US" sz="1200" dirty="0">
              <a:solidFill>
                <a:schemeClr val="bg1"/>
              </a:solidFill>
              <a:latin typeface="+mn-lt"/>
              <a:cs typeface="+mn-cs"/>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rtl="0">
              <a:buNone/>
              <a:defRPr sz="1600">
                <a:solidFill>
                  <a:schemeClr val="tx2"/>
                </a:solidFill>
                <a:latin typeface="+mn-lt"/>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vert="horz" anchor="t">
            <a:noAutofit/>
          </a:bodyPr>
          <a:lstStyle>
            <a:lvl1pPr rtl="0">
              <a:defRPr sz="2400">
                <a:solidFill>
                  <a:schemeClr val="tx2"/>
                </a:solidFill>
                <a:latin typeface="+mj-lt"/>
                <a:cs typeface="+mj-cs"/>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93915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D. Section header box">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B3954EF-0308-42FE-AFE0-1EB59E8FCF2E}"/>
              </a:ext>
            </a:extLst>
          </p:cNvPr>
          <p:cNvGraphicFramePr>
            <a:graphicFrameLocks noChangeAspect="1"/>
          </p:cNvGraphicFramePr>
          <p:nvPr userDrawn="1">
            <p:custDataLst>
              <p:tags r:id="rId1"/>
            </p:custDataLst>
            <p:extLst>
              <p:ext uri="{D42A27DB-BD31-4B8C-83A1-F6EECF244321}">
                <p14:modId xmlns:p14="http://schemas.microsoft.com/office/powerpoint/2010/main" val="2634373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6" imgH="367" progId="TCLayout.ActiveDocument.1">
                  <p:embed/>
                </p:oleObj>
              </mc:Choice>
              <mc:Fallback>
                <p:oleObj name="think-cell Slide" r:id="rId3" imgW="366" imgH="367" progId="TCLayout.ActiveDocument.1">
                  <p:embed/>
                  <p:pic>
                    <p:nvPicPr>
                      <p:cNvPr id="3" name="think-cell data - do not delete" hidden="1">
                        <a:extLst>
                          <a:ext uri="{FF2B5EF4-FFF2-40B4-BE49-F238E27FC236}">
                            <a16:creationId xmlns:a16="http://schemas.microsoft.com/office/drawing/2014/main" id="{4B3954EF-0308-42FE-AFE0-1EB59E8FCF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rtl="0">
              <a:defRPr>
                <a:solidFill>
                  <a:schemeClr val="bg1">
                    <a:lumMod val="50000"/>
                  </a:schemeClr>
                </a:solidFill>
                <a:latin typeface="+mn-lt"/>
                <a:cs typeface="+mn-cs"/>
                <a:sym typeface="Trebuchet MS" panose="020B0603020202020204" pitchFamily="34" charset="0"/>
              </a:defRPr>
            </a:lvl1pPr>
          </a:lstStyle>
          <a:p>
            <a:endParaRPr lang="en-US" dirty="0"/>
          </a:p>
        </p:txBody>
      </p:sp>
      <p:sp>
        <p:nvSpPr>
          <p:cNvPr id="12"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cs typeface="+mn-cs"/>
                <a:sym typeface="Trebuchet MS" panose="020B0603020202020204" pitchFamily="34" charset="0"/>
              </a:rPr>
              <a:t>Copyright © 2024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mj-cs"/>
                <a:sym typeface="Trebuchet MS" panose="020B0603020202020204" pitchFamily="34" charset="0"/>
              </a:defRPr>
            </a:lvl1pPr>
          </a:lstStyle>
          <a:p>
            <a:r>
              <a:rPr lang="en-US" dirty="0"/>
              <a:t>Click to add section title</a:t>
            </a:r>
          </a:p>
        </p:txBody>
      </p:sp>
      <p:sp>
        <p:nvSpPr>
          <p:cNvPr id="11" name="Rectangle 10"/>
          <p:cNvSpPr/>
          <p:nvPr/>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en-US" sz="1200" dirty="0">
              <a:solidFill>
                <a:schemeClr val="bg1"/>
              </a:solidFill>
              <a:latin typeface="+mn-lt"/>
              <a:cs typeface="+mn-cs"/>
              <a:sym typeface="Trebuchet MS" panose="020B0603020202020204" pitchFamily="34" charset="0"/>
            </a:endParaRPr>
          </a:p>
        </p:txBody>
      </p:sp>
    </p:spTree>
    <p:extLst>
      <p:ext uri="{BB962C8B-B14F-4D97-AF65-F5344CB8AC3E}">
        <p14:creationId xmlns:p14="http://schemas.microsoft.com/office/powerpoint/2010/main" val="29277972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E3D2E8F-B543-4283-886C-3F6280F15612}"/>
              </a:ext>
            </a:extLst>
          </p:cNvPr>
          <p:cNvGraphicFramePr>
            <a:graphicFrameLocks noChangeAspect="1"/>
          </p:cNvGraphicFramePr>
          <p:nvPr userDrawn="1">
            <p:custDataLst>
              <p:tags r:id="rId1"/>
            </p:custDataLst>
            <p:extLst>
              <p:ext uri="{D42A27DB-BD31-4B8C-83A1-F6EECF244321}">
                <p14:modId xmlns:p14="http://schemas.microsoft.com/office/powerpoint/2010/main" val="4210338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6E3D2E8F-B543-4283-886C-3F6280F156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rtl="0">
              <a:defRPr>
                <a:solidFill>
                  <a:schemeClr val="bg1">
                    <a:lumMod val="50000"/>
                  </a:schemeClr>
                </a:solidFill>
                <a:latin typeface="+mn-lt"/>
                <a:cs typeface="+mn-cs"/>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rtl="0">
              <a:defRPr sz="5400">
                <a:solidFill>
                  <a:schemeClr val="tx2"/>
                </a:solidFill>
                <a:latin typeface="+mj-lt"/>
                <a:cs typeface="+mj-cs"/>
                <a:sym typeface="Trebuchet MS" panose="020B0603020202020204" pitchFamily="34" charset="0"/>
              </a:defRPr>
            </a:lvl1pPr>
          </a:lstStyle>
          <a:p>
            <a:r>
              <a:rPr lang="en-US" dirty="0"/>
              <a:t>Click to add section title</a:t>
            </a:r>
          </a:p>
        </p:txBody>
      </p:sp>
      <p:cxnSp>
        <p:nvCxnSpPr>
          <p:cNvPr id="10" name="Straight Connector 9"/>
          <p:cNvCxnSpPr/>
          <p:nvPr/>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69647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005818E-B352-BDF0-76ED-33C26F048202}"/>
              </a:ext>
            </a:extLst>
          </p:cNvPr>
          <p:cNvGraphicFramePr>
            <a:graphicFrameLocks noChangeAspect="1"/>
          </p:cNvGraphicFramePr>
          <p:nvPr userDrawn="1">
            <p:custDataLst>
              <p:tags r:id="rId1"/>
            </p:custDataLst>
            <p:extLst>
              <p:ext uri="{D42A27DB-BD31-4B8C-83A1-F6EECF244321}">
                <p14:modId xmlns:p14="http://schemas.microsoft.com/office/powerpoint/2010/main" val="331326228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0005818E-B352-BDF0-76ED-33C26F04820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F6781CF6-9E98-4A34-82F4-C83184C3B3E3}"/>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2467155" y="0"/>
            <a:ext cx="9724845" cy="6858000"/>
          </a:xfrm>
          <a:prstGeom prst="rect">
            <a:avLst/>
          </a:prstGeom>
          <a:gradFill>
            <a:gsLst>
              <a:gs pos="0">
                <a:srgbClr val="29BA74"/>
              </a:gs>
              <a:gs pos="100000">
                <a:srgbClr val="197A56"/>
              </a:gs>
            </a:gsLst>
            <a:lin ang="8100000" scaled="1"/>
          </a:gradFill>
        </p:spPr>
      </p:pic>
      <p:sp>
        <p:nvSpPr>
          <p:cNvPr id="12" name="Overlay">
            <a:extLst>
              <a:ext uri="{FF2B5EF4-FFF2-40B4-BE49-F238E27FC236}">
                <a16:creationId xmlns:a16="http://schemas.microsoft.com/office/drawing/2014/main" id="{C4C1A7FA-C0C5-4BCC-87E1-862AC62F8E74}"/>
              </a:ext>
            </a:extLst>
          </p:cNvPr>
          <p:cNvSpPr/>
          <p:nvPr userDrawn="1">
            <p:custDataLst>
              <p:tags r:id="rId2"/>
            </p:custDataLst>
          </p:nvPr>
        </p:nvSpPr>
        <p:spPr>
          <a:xfrm>
            <a:off x="2794001" y="0"/>
            <a:ext cx="9397999" cy="6858000"/>
          </a:xfrm>
          <a:prstGeom prst="rect">
            <a:avLst/>
          </a:prstGeom>
          <a:gradFill>
            <a:gsLst>
              <a:gs pos="0">
                <a:srgbClr val="009B9D">
                  <a:alpha val="21000"/>
                </a:srgbClr>
              </a:gs>
              <a:gs pos="100000">
                <a:srgbClr val="006F4E">
                  <a:alpha val="88979"/>
                </a:srgbClr>
              </a:gs>
            </a:gsLst>
            <a:lin ang="8100000" scaled="1"/>
          </a:gradFill>
          <a:ln w="9525" cap="flat" cmpd="sng" algn="ctr">
            <a:noFill/>
            <a:prstDash val="solid"/>
            <a:miter lim="800000"/>
          </a:ln>
          <a:effectLst/>
        </p:spPr>
        <p:txBody>
          <a:bodyPr rtlCol="0" anchor="t"/>
          <a:lstStyle/>
          <a:p>
            <a:pPr marL="0" marR="0" lvl="0" indent="0"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Trebuchet MS"/>
              <a:ea typeface="+mn-ea"/>
              <a:cs typeface="+mn-cs"/>
            </a:endParaRPr>
          </a:p>
        </p:txBody>
      </p:sp>
      <p:pic>
        <p:nvPicPr>
          <p:cNvPr id="10" name="Picture 9"/>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rtl="0">
              <a:defRPr>
                <a:solidFill>
                  <a:schemeClr val="bg1"/>
                </a:solidFill>
                <a:latin typeface="+mn-lt"/>
                <a:cs typeface="+mn-cs"/>
                <a:sym typeface="Trebuchet MS" panose="020B0603020202020204" pitchFamily="34" charset="0"/>
              </a:defRPr>
            </a:lvl1pPr>
          </a:lstStyle>
          <a:p>
            <a:endParaRPr lang="en-US" dirty="0"/>
          </a:p>
        </p:txBody>
      </p:sp>
      <p:sp>
        <p:nvSpPr>
          <p:cNvPr id="20" name="TextBox 19"/>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cs typeface="+mn-cs"/>
                <a:sym typeface="Trebuchet MS" panose="020B0603020202020204" pitchFamily="34" charset="0"/>
              </a:rPr>
              <a:t>Copyright © 2024 by Boston Consulting Group. All rights reserved.</a:t>
            </a:r>
          </a:p>
        </p:txBody>
      </p:sp>
      <p:sp>
        <p:nvSpPr>
          <p:cNvPr id="24" name="Rectangle 23"/>
          <p:cNvSpPr/>
          <p:nvPr/>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US" sz="1200" dirty="0">
              <a:solidFill>
                <a:schemeClr val="bg1"/>
              </a:solidFill>
              <a:latin typeface="+mn-lt"/>
              <a:cs typeface="+mn-cs"/>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rtl="0">
              <a:defRPr sz="2400">
                <a:solidFill>
                  <a:schemeClr val="tx2"/>
                </a:solidFill>
                <a:latin typeface="+mj-lt"/>
                <a:cs typeface="+mj-cs"/>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6040202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B52EE9B-6C95-DE01-CCD6-31F17A420855}"/>
              </a:ext>
            </a:extLst>
          </p:cNvPr>
          <p:cNvGraphicFramePr>
            <a:graphicFrameLocks noChangeAspect="1"/>
          </p:cNvGraphicFramePr>
          <p:nvPr userDrawn="1">
            <p:custDataLst>
              <p:tags r:id="rId1"/>
            </p:custDataLst>
            <p:extLst>
              <p:ext uri="{D42A27DB-BD31-4B8C-83A1-F6EECF244321}">
                <p14:modId xmlns:p14="http://schemas.microsoft.com/office/powerpoint/2010/main" val="38799086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think-cell data - do not delete" hidden="1">
                        <a:extLst>
                          <a:ext uri="{FF2B5EF4-FFF2-40B4-BE49-F238E27FC236}">
                            <a16:creationId xmlns:a16="http://schemas.microsoft.com/office/drawing/2014/main" id="{7B52EE9B-6C95-DE01-CCD6-31F17A42085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C9F84997-B23E-4C05-8D79-5DC370A0B0DC}"/>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2467155" y="0"/>
            <a:ext cx="9724845" cy="6858000"/>
          </a:xfrm>
          <a:prstGeom prst="rect">
            <a:avLst/>
          </a:prstGeom>
          <a:gradFill>
            <a:gsLst>
              <a:gs pos="0">
                <a:srgbClr val="29BA74"/>
              </a:gs>
              <a:gs pos="100000">
                <a:srgbClr val="197A56"/>
              </a:gs>
            </a:gsLst>
            <a:lin ang="8100000" scaled="1"/>
          </a:gradFill>
        </p:spPr>
      </p:pic>
      <p:sp>
        <p:nvSpPr>
          <p:cNvPr id="12" name="Overlay">
            <a:extLst>
              <a:ext uri="{FF2B5EF4-FFF2-40B4-BE49-F238E27FC236}">
                <a16:creationId xmlns:a16="http://schemas.microsoft.com/office/drawing/2014/main" id="{60B45039-BA75-42E9-807B-0718E7C4BDF2}"/>
              </a:ext>
            </a:extLst>
          </p:cNvPr>
          <p:cNvSpPr/>
          <p:nvPr userDrawn="1">
            <p:custDataLst>
              <p:tags r:id="rId2"/>
            </p:custDataLst>
          </p:nvPr>
        </p:nvSpPr>
        <p:spPr>
          <a:xfrm>
            <a:off x="2794001" y="0"/>
            <a:ext cx="9397999" cy="6858000"/>
          </a:xfrm>
          <a:prstGeom prst="rect">
            <a:avLst/>
          </a:prstGeom>
          <a:gradFill>
            <a:gsLst>
              <a:gs pos="0">
                <a:srgbClr val="009B9D">
                  <a:alpha val="21000"/>
                </a:srgbClr>
              </a:gs>
              <a:gs pos="100000">
                <a:srgbClr val="006F4E">
                  <a:alpha val="88979"/>
                </a:srgbClr>
              </a:gs>
            </a:gsLst>
            <a:lin ang="8100000" scaled="1"/>
          </a:gradFill>
          <a:ln w="9525" cap="flat" cmpd="sng" algn="ctr">
            <a:noFill/>
            <a:prstDash val="solid"/>
            <a:miter lim="800000"/>
          </a:ln>
          <a:effectLst/>
        </p:spPr>
        <p:txBody>
          <a:bodyPr rtlCol="0" anchor="t"/>
          <a:lstStyle/>
          <a:p>
            <a:pPr marL="0" marR="0" lvl="0" indent="0"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Trebuchet MS"/>
              <a:ea typeface="+mn-ea"/>
              <a:cs typeface="+mn-cs"/>
            </a:endParaRPr>
          </a:p>
        </p:txBody>
      </p:sp>
      <p:pic>
        <p:nvPicPr>
          <p:cNvPr id="10" name="Picture 9"/>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V="1">
            <a:off x="7165606" y="0"/>
            <a:ext cx="416951" cy="6858000"/>
          </a:xfrm>
          <a:prstGeom prst="rect">
            <a:avLst/>
          </a:prstGeom>
        </p:spPr>
      </p:pic>
      <p:sp>
        <p:nvSpPr>
          <p:cNvPr id="14" name="Rectangle 13"/>
          <p:cNvSpPr/>
          <p:nvPr/>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US" sz="1200" dirty="0">
              <a:solidFill>
                <a:schemeClr val="bg1"/>
              </a:solidFill>
              <a:latin typeface="+mn-lt"/>
              <a:cs typeface="+mn-cs"/>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cs typeface="+mn-cs"/>
                <a:sym typeface="Trebuchet MS" panose="020B0603020202020204" pitchFamily="34" charset="0"/>
              </a:defRPr>
            </a:lvl1pPr>
          </a:lstStyle>
          <a:p>
            <a:endParaRPr lang="en-US" dirty="0"/>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cs typeface="+mn-cs"/>
                <a:sym typeface="Trebuchet MS" panose="020B0603020202020204" pitchFamily="34" charset="0"/>
              </a:rPr>
              <a:t>Copyright © 2024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vert="horz"/>
          <a:lstStyle>
            <a:lvl1pPr rtl="0">
              <a:defRPr>
                <a:solidFill>
                  <a:schemeClr val="tx2"/>
                </a:solidFill>
                <a:latin typeface="+mj-lt"/>
                <a:cs typeface="+mj-cs"/>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7381346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2EC4E46-6CBF-6F8F-66AA-2D018DC4551D}"/>
              </a:ext>
            </a:extLst>
          </p:cNvPr>
          <p:cNvGraphicFramePr>
            <a:graphicFrameLocks noChangeAspect="1"/>
          </p:cNvGraphicFramePr>
          <p:nvPr userDrawn="1">
            <p:custDataLst>
              <p:tags r:id="rId1"/>
            </p:custDataLst>
            <p:extLst>
              <p:ext uri="{D42A27DB-BD31-4B8C-83A1-F6EECF244321}">
                <p14:modId xmlns:p14="http://schemas.microsoft.com/office/powerpoint/2010/main" val="38409022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62EC4E46-6CBF-6F8F-66AA-2D018DC4551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C92E1C91-D60C-4F6E-8034-3FA81DADCBF4}"/>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2467155" y="0"/>
            <a:ext cx="9724845" cy="6858000"/>
          </a:xfrm>
          <a:prstGeom prst="rect">
            <a:avLst/>
          </a:prstGeom>
          <a:gradFill>
            <a:gsLst>
              <a:gs pos="0">
                <a:srgbClr val="29BA74"/>
              </a:gs>
              <a:gs pos="100000">
                <a:srgbClr val="197A56"/>
              </a:gs>
            </a:gsLst>
            <a:lin ang="8100000" scaled="1"/>
          </a:gradFill>
        </p:spPr>
      </p:pic>
      <p:sp>
        <p:nvSpPr>
          <p:cNvPr id="12" name="Overlay">
            <a:extLst>
              <a:ext uri="{FF2B5EF4-FFF2-40B4-BE49-F238E27FC236}">
                <a16:creationId xmlns:a16="http://schemas.microsoft.com/office/drawing/2014/main" id="{7D33D61B-A343-43AE-823A-DE1B22FB7154}"/>
              </a:ext>
            </a:extLst>
          </p:cNvPr>
          <p:cNvSpPr/>
          <p:nvPr userDrawn="1">
            <p:custDataLst>
              <p:tags r:id="rId2"/>
            </p:custDataLst>
          </p:nvPr>
        </p:nvSpPr>
        <p:spPr>
          <a:xfrm>
            <a:off x="2794001" y="0"/>
            <a:ext cx="9397999" cy="6858000"/>
          </a:xfrm>
          <a:prstGeom prst="rect">
            <a:avLst/>
          </a:prstGeom>
          <a:gradFill>
            <a:gsLst>
              <a:gs pos="0">
                <a:srgbClr val="009B9D">
                  <a:alpha val="21000"/>
                </a:srgbClr>
              </a:gs>
              <a:gs pos="100000">
                <a:srgbClr val="006F4E">
                  <a:alpha val="88979"/>
                </a:srgbClr>
              </a:gs>
            </a:gsLst>
            <a:lin ang="8100000" scaled="1"/>
          </a:gradFill>
          <a:ln w="9525" cap="flat" cmpd="sng" algn="ctr">
            <a:noFill/>
            <a:prstDash val="solid"/>
            <a:miter lim="800000"/>
          </a:ln>
          <a:effectLst/>
        </p:spPr>
        <p:txBody>
          <a:bodyPr rtlCol="0" anchor="t"/>
          <a:lstStyle/>
          <a:p>
            <a:pPr marL="0" marR="0" lvl="0" indent="0"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Trebuchet MS"/>
              <a:ea typeface="+mn-ea"/>
              <a:cs typeface="+mn-cs"/>
            </a:endParaRPr>
          </a:p>
        </p:txBody>
      </p:sp>
      <p:pic>
        <p:nvPicPr>
          <p:cNvPr id="16" name="Picture 15"/>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V="1">
            <a:off x="9029246" y="0"/>
            <a:ext cx="416951" cy="6858000"/>
          </a:xfrm>
          <a:prstGeom prst="rect">
            <a:avLst/>
          </a:prstGeom>
        </p:spPr>
      </p:pic>
      <p:sp>
        <p:nvSpPr>
          <p:cNvPr id="10" name="Rectangle 9"/>
          <p:cNvSpPr/>
          <p:nvPr/>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US" sz="1200" dirty="0">
              <a:solidFill>
                <a:schemeClr val="bg1"/>
              </a:solidFill>
              <a:latin typeface="+mn-lt"/>
              <a:cs typeface="+mn-cs"/>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rtl="0">
              <a:defRPr>
                <a:solidFill>
                  <a:schemeClr val="bg1"/>
                </a:solidFill>
                <a:latin typeface="+mn-lt"/>
                <a:cs typeface="+mn-cs"/>
                <a:sym typeface="Trebuchet MS" panose="020B0603020202020204" pitchFamily="34" charset="0"/>
              </a:defRPr>
            </a:lvl1pPr>
          </a:lstStyle>
          <a:p>
            <a:endParaRPr lang="en-US" dirty="0"/>
          </a:p>
        </p:txBody>
      </p:sp>
      <p:sp>
        <p:nvSpPr>
          <p:cNvPr id="22"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cs typeface="+mn-cs"/>
                <a:sym typeface="Trebuchet MS" panose="020B0603020202020204" pitchFamily="34" charset="0"/>
              </a:rPr>
              <a:t>Copyright © 2024 by Boston Consulting Group. All rights reserved.</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vert="horz"/>
          <a:lstStyle>
            <a:lvl1pPr rtl="0">
              <a:defRPr>
                <a:solidFill>
                  <a:schemeClr val="tx2"/>
                </a:solidFill>
                <a:latin typeface="+mj-lt"/>
                <a:cs typeface="+mj-cs"/>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4973247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B251811-1047-F3AE-A2A8-08BDEFCC0168}"/>
              </a:ext>
            </a:extLst>
          </p:cNvPr>
          <p:cNvGraphicFramePr>
            <a:graphicFrameLocks noChangeAspect="1"/>
          </p:cNvGraphicFramePr>
          <p:nvPr userDrawn="1">
            <p:custDataLst>
              <p:tags r:id="rId1"/>
            </p:custDataLst>
            <p:extLst>
              <p:ext uri="{D42A27DB-BD31-4B8C-83A1-F6EECF244321}">
                <p14:modId xmlns:p14="http://schemas.microsoft.com/office/powerpoint/2010/main" val="30342078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0B251811-1047-F3AE-A2A8-08BDEFCC016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F7AD9304-E198-76FC-D764-38FDB79FD3A4}"/>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6083600" cy="6858000"/>
          </a:xfrm>
          <a:prstGeom prst="rect">
            <a:avLst/>
          </a:prstGeom>
          <a:gradFill>
            <a:gsLst>
              <a:gs pos="0">
                <a:schemeClr val="tx2"/>
              </a:gs>
              <a:gs pos="100000">
                <a:schemeClr val="accent2"/>
              </a:gs>
            </a:gsLst>
            <a:lin ang="8100000" scaled="1"/>
          </a:gradFill>
        </p:spPr>
      </p:pic>
      <p:sp>
        <p:nvSpPr>
          <p:cNvPr id="5" name="Overlay">
            <a:extLst>
              <a:ext uri="{FF2B5EF4-FFF2-40B4-BE49-F238E27FC236}">
                <a16:creationId xmlns:a16="http://schemas.microsoft.com/office/drawing/2014/main" id="{4E143D86-DA27-9D1E-0CEE-24887ACFBF71}"/>
              </a:ext>
            </a:extLst>
          </p:cNvPr>
          <p:cNvSpPr/>
          <p:nvPr userDrawn="1">
            <p:custDataLst>
              <p:tags r:id="rId2"/>
            </p:custDataLst>
          </p:nvPr>
        </p:nvSpPr>
        <p:spPr>
          <a:xfrm>
            <a:off x="0" y="0"/>
            <a:ext cx="5813778" cy="6858000"/>
          </a:xfrm>
          <a:prstGeom prst="rect">
            <a:avLst/>
          </a:prstGeom>
          <a:gradFill>
            <a:gsLst>
              <a:gs pos="0">
                <a:srgbClr val="009B9D">
                  <a:alpha val="21000"/>
                </a:srgbClr>
              </a:gs>
              <a:gs pos="100000">
                <a:srgbClr val="006F4E">
                  <a:alpha val="8897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cs typeface="+mn-cs"/>
            </a:endParaRPr>
          </a:p>
        </p:txBody>
      </p:sp>
      <p:pic>
        <p:nvPicPr>
          <p:cNvPr id="23" name="Picture 22"/>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rtl="0">
              <a:defRPr sz="2400">
                <a:solidFill>
                  <a:schemeClr val="bg1"/>
                </a:solidFill>
                <a:latin typeface="+mj-lt"/>
                <a:cs typeface="+mj-cs"/>
                <a:sym typeface="Trebuchet MS" panose="020B0603020202020204" pitchFamily="34" charset="0"/>
              </a:defRPr>
            </a:lvl1pPr>
          </a:lstStyle>
          <a:p>
            <a:r>
              <a:rPr lang="en-US" dirty="0"/>
              <a:t>Click to add title</a:t>
            </a:r>
          </a:p>
        </p:txBody>
      </p:sp>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US" sz="1200" dirty="0">
              <a:solidFill>
                <a:schemeClr val="bg1"/>
              </a:solidFill>
              <a:latin typeface="+mn-lt"/>
              <a:cs typeface="+mn-cs"/>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rtl="0">
              <a:defRPr>
                <a:solidFill>
                  <a:schemeClr val="bg1">
                    <a:lumMod val="50000"/>
                  </a:schemeClr>
                </a:solidFill>
                <a:latin typeface="+mn-lt"/>
                <a:cs typeface="+mn-cs"/>
                <a:sym typeface="Trebuchet MS" panose="020B0603020202020204" pitchFamily="34" charset="0"/>
              </a:defRPr>
            </a:lvl1pPr>
          </a:lstStyle>
          <a:p>
            <a:endParaRPr lang="en-US" dirty="0"/>
          </a:p>
        </p:txBody>
      </p:sp>
      <p:sp>
        <p:nvSpPr>
          <p:cNvPr id="29"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cs typeface="+mn-cs"/>
                <a:sym typeface="Trebuchet MS" panose="020B0603020202020204" pitchFamily="34" charset="0"/>
              </a:rPr>
              <a:t>Copyright © 2024 by Boston Consulting Group. All rights reserved.</a:t>
            </a:r>
          </a:p>
        </p:txBody>
      </p:sp>
      <p:sp>
        <p:nvSpPr>
          <p:cNvPr id="28" name="TextBox 2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6703679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C318DB2-82E9-D1F8-75B0-9D6572DB86A6}"/>
              </a:ext>
            </a:extLst>
          </p:cNvPr>
          <p:cNvGraphicFramePr>
            <a:graphicFrameLocks noChangeAspect="1"/>
          </p:cNvGraphicFramePr>
          <p:nvPr userDrawn="1">
            <p:custDataLst>
              <p:tags r:id="rId1"/>
            </p:custDataLst>
            <p:extLst>
              <p:ext uri="{D42A27DB-BD31-4B8C-83A1-F6EECF244321}">
                <p14:modId xmlns:p14="http://schemas.microsoft.com/office/powerpoint/2010/main" val="42338154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CC318DB2-82E9-D1F8-75B0-9D6572DB86A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28BBD4B1-FFC1-91AD-B1E9-798E2A18D2AD}"/>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6083600" cy="6858000"/>
          </a:xfrm>
          <a:prstGeom prst="rect">
            <a:avLst/>
          </a:prstGeom>
          <a:gradFill>
            <a:gsLst>
              <a:gs pos="0">
                <a:schemeClr val="tx2"/>
              </a:gs>
              <a:gs pos="100000">
                <a:schemeClr val="accent2"/>
              </a:gs>
            </a:gsLst>
            <a:lin ang="8100000" scaled="1"/>
          </a:gradFill>
        </p:spPr>
      </p:pic>
      <p:sp>
        <p:nvSpPr>
          <p:cNvPr id="3" name="Overlay">
            <a:extLst>
              <a:ext uri="{FF2B5EF4-FFF2-40B4-BE49-F238E27FC236}">
                <a16:creationId xmlns:a16="http://schemas.microsoft.com/office/drawing/2014/main" id="{25773C74-85FA-9F7D-48CE-5D4E055620C8}"/>
              </a:ext>
            </a:extLst>
          </p:cNvPr>
          <p:cNvSpPr/>
          <p:nvPr userDrawn="1">
            <p:custDataLst>
              <p:tags r:id="rId2"/>
            </p:custDataLst>
          </p:nvPr>
        </p:nvSpPr>
        <p:spPr>
          <a:xfrm>
            <a:off x="0" y="0"/>
            <a:ext cx="6470168" cy="6858000"/>
          </a:xfrm>
          <a:prstGeom prst="rect">
            <a:avLst/>
          </a:prstGeom>
          <a:gradFill>
            <a:gsLst>
              <a:gs pos="0">
                <a:srgbClr val="009B9D">
                  <a:alpha val="21000"/>
                </a:srgbClr>
              </a:gs>
              <a:gs pos="100000">
                <a:srgbClr val="006F4E">
                  <a:alpha val="8897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cs typeface="+mn-cs"/>
            </a:endParaRPr>
          </a:p>
        </p:txBody>
      </p:sp>
      <p:pic>
        <p:nvPicPr>
          <p:cNvPr id="10" name="Picture 9"/>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1" name="Rectangle 10"/>
          <p:cNvSpPr/>
          <p:nvPr/>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latin typeface="+mn-lt"/>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rtl="0">
              <a:defRPr sz="1800" baseline="0">
                <a:latin typeface="Trebuchet MS" panose="020B0603020202020204" pitchFamily="34" charset="0"/>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rtl="0">
              <a:defRPr sz="4400">
                <a:solidFill>
                  <a:schemeClr val="bg1"/>
                </a:solidFill>
                <a:latin typeface="+mj-lt"/>
                <a:cs typeface="+mj-cs"/>
                <a:sym typeface="Trebuchet MS" panose="020B0603020202020204" pitchFamily="34" charset="0"/>
              </a:defRPr>
            </a:lvl1pPr>
          </a:lstStyle>
          <a:p>
            <a:r>
              <a:rPr lang="en-US" dirty="0"/>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rtl="0">
              <a:defRPr>
                <a:solidFill>
                  <a:schemeClr val="bg1">
                    <a:lumMod val="50000"/>
                  </a:schemeClr>
                </a:solidFill>
                <a:latin typeface="+mn-lt"/>
                <a:cs typeface="+mn-cs"/>
                <a:sym typeface="Trebuchet MS" panose="020B0603020202020204" pitchFamily="34" charset="0"/>
              </a:defRPr>
            </a:lvl1pPr>
          </a:lstStyle>
          <a:p>
            <a:endParaRPr lang="en-US" dirty="0"/>
          </a:p>
        </p:txBody>
      </p:sp>
      <p:sp>
        <p:nvSpPr>
          <p:cNvPr id="17"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cs typeface="+mn-cs"/>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37220719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E76EE36-F23C-EEF2-5790-313FF93BC2E1}"/>
              </a:ext>
            </a:extLst>
          </p:cNvPr>
          <p:cNvGraphicFramePr>
            <a:graphicFrameLocks noChangeAspect="1"/>
          </p:cNvGraphicFramePr>
          <p:nvPr userDrawn="1">
            <p:custDataLst>
              <p:tags r:id="rId1"/>
            </p:custDataLst>
            <p:extLst>
              <p:ext uri="{D42A27DB-BD31-4B8C-83A1-F6EECF244321}">
                <p14:modId xmlns:p14="http://schemas.microsoft.com/office/powerpoint/2010/main" val="345644619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1E76EE36-F23C-EEF2-5790-313FF93BC2E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857E72C9-1CA8-FC1B-0DE1-7A3E9C856E3A}"/>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4380878" y="0"/>
            <a:ext cx="7811122" cy="6858000"/>
          </a:xfrm>
          <a:prstGeom prst="rect">
            <a:avLst/>
          </a:prstGeom>
          <a:gradFill>
            <a:gsLst>
              <a:gs pos="0">
                <a:schemeClr val="tx2"/>
              </a:gs>
              <a:gs pos="100000">
                <a:schemeClr val="accent2"/>
              </a:gs>
            </a:gsLst>
            <a:lin ang="8100000" scaled="1"/>
          </a:gradFill>
        </p:spPr>
      </p:pic>
      <p:sp>
        <p:nvSpPr>
          <p:cNvPr id="3" name="Overlay">
            <a:extLst>
              <a:ext uri="{FF2B5EF4-FFF2-40B4-BE49-F238E27FC236}">
                <a16:creationId xmlns:a16="http://schemas.microsoft.com/office/drawing/2014/main" id="{99F7C9CB-E67D-EC5D-D659-1DB5248C6824}"/>
              </a:ext>
            </a:extLst>
          </p:cNvPr>
          <p:cNvSpPr/>
          <p:nvPr userDrawn="1">
            <p:custDataLst>
              <p:tags r:id="rId2"/>
            </p:custDataLst>
          </p:nvPr>
        </p:nvSpPr>
        <p:spPr>
          <a:xfrm flipH="1">
            <a:off x="4356779" y="0"/>
            <a:ext cx="7835221" cy="6858000"/>
          </a:xfrm>
          <a:prstGeom prst="rect">
            <a:avLst/>
          </a:prstGeom>
          <a:gradFill>
            <a:gsLst>
              <a:gs pos="0">
                <a:srgbClr val="009B9D">
                  <a:alpha val="21000"/>
                </a:srgbClr>
              </a:gs>
              <a:gs pos="100000">
                <a:srgbClr val="006F4E">
                  <a:alpha val="8897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cs typeface="+mn-cs"/>
            </a:endParaRPr>
          </a:p>
        </p:txBody>
      </p:sp>
      <p:sp>
        <p:nvSpPr>
          <p:cNvPr id="12" name="Rectangle 11"/>
          <p:cNvSpPr/>
          <p:nvPr/>
        </p:nvSpPr>
        <p:spPr>
          <a:xfrm>
            <a:off x="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latin typeface="+mn-lt"/>
              <a:cs typeface="+mn-cs"/>
              <a:sym typeface="Trebuchet MS" panose="020B0603020202020204" pitchFamily="34" charset="0"/>
            </a:endParaRPr>
          </a:p>
        </p:txBody>
      </p:sp>
      <p:sp>
        <p:nvSpPr>
          <p:cNvPr id="21" name="Copyright"/>
          <p:cNvSpPr txBox="1"/>
          <p:nvPr/>
        </p:nvSpPr>
        <p:spPr>
          <a:xfrm rot="16200000">
            <a:off x="9486900" y="337963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cs typeface="+mn-cs"/>
                <a:sym typeface="Trebuchet MS" panose="020B0603020202020204" pitchFamily="34" charset="0"/>
              </a:rPr>
              <a:t>Copyright © 2024 by Boston Consulting Group. All rights reserved.</a:t>
            </a:r>
          </a:p>
        </p:txBody>
      </p:sp>
      <p:pic>
        <p:nvPicPr>
          <p:cNvPr id="11" name="Picture 10"/>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H="1">
            <a:off x="5679049" y="0"/>
            <a:ext cx="416951" cy="6858000"/>
          </a:xfrm>
          <a:prstGeom prst="rect">
            <a:avLst/>
          </a:prstGeom>
        </p:spPr>
      </p:pic>
      <p:sp>
        <p:nvSpPr>
          <p:cNvPr id="10" name="TextBox 9">
            <a:extLst>
              <a:ext uri="{FF2B5EF4-FFF2-40B4-BE49-F238E27FC236}">
                <a16:creationId xmlns:a16="http://schemas.microsoft.com/office/drawing/2014/main" id="{068240F2-33C7-F3DE-C203-60614D91B964}"/>
              </a:ext>
            </a:extLst>
          </p:cNvPr>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7" name="Date Placeholder 2">
            <a:extLst>
              <a:ext uri="{FF2B5EF4-FFF2-40B4-BE49-F238E27FC236}">
                <a16:creationId xmlns:a16="http://schemas.microsoft.com/office/drawing/2014/main" id="{312B3AF7-F440-ACC7-C50D-355CB1AC3C20}"/>
              </a:ext>
            </a:extLst>
          </p:cNvPr>
          <p:cNvSpPr>
            <a:spLocks noGrp="1"/>
          </p:cNvSpPr>
          <p:nvPr>
            <p:ph type="dt" sz="half" idx="15"/>
          </p:nvPr>
        </p:nvSpPr>
        <p:spPr>
          <a:xfrm>
            <a:off x="9677400" y="6405036"/>
            <a:ext cx="1482051" cy="153888"/>
          </a:xfrm>
          <a:prstGeom prst="rect">
            <a:avLst/>
          </a:prstGeom>
        </p:spPr>
        <p:txBody>
          <a:bodyPr/>
          <a:lstStyle>
            <a:lvl1pPr rtl="0">
              <a:defRPr>
                <a:solidFill>
                  <a:schemeClr val="bg1">
                    <a:lumMod val="50000"/>
                  </a:schemeClr>
                </a:solidFill>
                <a:latin typeface="+mn-lt"/>
                <a:cs typeface="+mn-cs"/>
                <a:sym typeface="Trebuchet MS" panose="020B0603020202020204" pitchFamily="34" charset="0"/>
              </a:defRPr>
            </a:lvl1pPr>
          </a:lstStyle>
          <a:p>
            <a:endParaRPr lang="en-US" dirty="0"/>
          </a:p>
        </p:txBody>
      </p:sp>
      <p:sp>
        <p:nvSpPr>
          <p:cNvPr id="18" name="Title 1">
            <a:extLst>
              <a:ext uri="{FF2B5EF4-FFF2-40B4-BE49-F238E27FC236}">
                <a16:creationId xmlns:a16="http://schemas.microsoft.com/office/drawing/2014/main" id="{A3BAAA74-59B2-DA37-C541-0455BD64A4CF}"/>
              </a:ext>
            </a:extLst>
          </p:cNvPr>
          <p:cNvSpPr>
            <a:spLocks noGrp="1"/>
          </p:cNvSpPr>
          <p:nvPr>
            <p:ph type="title" hasCustomPrompt="1"/>
          </p:nvPr>
        </p:nvSpPr>
        <p:spPr>
          <a:xfrm>
            <a:off x="630000" y="622800"/>
            <a:ext cx="10933350" cy="470898"/>
          </a:xfrm>
        </p:spPr>
        <p:txBody>
          <a:bodyPr vert="horz"/>
          <a:lstStyle>
            <a:lvl1pPr rtl="0">
              <a:defRPr sz="3400">
                <a:solidFill>
                  <a:srgbClr val="008C8A"/>
                </a:solidFill>
                <a:cs typeface="+mj-cs"/>
              </a:defRPr>
            </a:lvl1pPr>
          </a:lstStyle>
          <a:p>
            <a:r>
              <a:rPr lang="en-US" dirty="0"/>
              <a:t>Click to add title</a:t>
            </a:r>
          </a:p>
        </p:txBody>
      </p:sp>
    </p:spTree>
    <p:extLst>
      <p:ext uri="{BB962C8B-B14F-4D97-AF65-F5344CB8AC3E}">
        <p14:creationId xmlns:p14="http://schemas.microsoft.com/office/powerpoint/2010/main" val="16407432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0BE2A2D-5A72-5EAC-3DF5-41398994ED8B}"/>
              </a:ext>
            </a:extLst>
          </p:cNvPr>
          <p:cNvGraphicFramePr>
            <a:graphicFrameLocks noChangeAspect="1"/>
          </p:cNvGraphicFramePr>
          <p:nvPr userDrawn="1">
            <p:custDataLst>
              <p:tags r:id="rId1"/>
            </p:custDataLst>
            <p:extLst>
              <p:ext uri="{D42A27DB-BD31-4B8C-83A1-F6EECF244321}">
                <p14:modId xmlns:p14="http://schemas.microsoft.com/office/powerpoint/2010/main" val="361254944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40BE2A2D-5A72-5EAC-3DF5-41398994ED8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1DC3FDB1-ED3D-A617-2990-F9682A904D43}"/>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7811122" cy="6858000"/>
          </a:xfrm>
          <a:prstGeom prst="rect">
            <a:avLst/>
          </a:prstGeom>
          <a:gradFill>
            <a:gsLst>
              <a:gs pos="0">
                <a:schemeClr val="tx2"/>
              </a:gs>
              <a:gs pos="100000">
                <a:schemeClr val="accent2"/>
              </a:gs>
            </a:gsLst>
            <a:lin ang="8100000" scaled="1"/>
          </a:gradFill>
        </p:spPr>
      </p:pic>
      <p:sp>
        <p:nvSpPr>
          <p:cNvPr id="3" name="Overlay">
            <a:extLst>
              <a:ext uri="{FF2B5EF4-FFF2-40B4-BE49-F238E27FC236}">
                <a16:creationId xmlns:a16="http://schemas.microsoft.com/office/drawing/2014/main" id="{C1FD630D-BEE8-CDCB-70DD-6540E9E20977}"/>
              </a:ext>
            </a:extLst>
          </p:cNvPr>
          <p:cNvSpPr/>
          <p:nvPr userDrawn="1">
            <p:custDataLst>
              <p:tags r:id="rId2"/>
            </p:custDataLst>
          </p:nvPr>
        </p:nvSpPr>
        <p:spPr>
          <a:xfrm>
            <a:off x="-1" y="0"/>
            <a:ext cx="7835221" cy="6858000"/>
          </a:xfrm>
          <a:prstGeom prst="rect">
            <a:avLst/>
          </a:prstGeom>
          <a:gradFill>
            <a:gsLst>
              <a:gs pos="0">
                <a:srgbClr val="009B9D">
                  <a:alpha val="21000"/>
                </a:srgbClr>
              </a:gs>
              <a:gs pos="100000">
                <a:srgbClr val="006F4E">
                  <a:alpha val="8897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cs typeface="+mn-cs"/>
            </a:endParaRPr>
          </a:p>
        </p:txBody>
      </p:sp>
      <p:pic>
        <p:nvPicPr>
          <p:cNvPr id="10" name="Picture 9"/>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H="1">
            <a:off x="7409849" y="0"/>
            <a:ext cx="416951" cy="6858000"/>
          </a:xfrm>
          <a:prstGeom prst="rect">
            <a:avLst/>
          </a:prstGeom>
        </p:spPr>
      </p:pic>
      <p:sp>
        <p:nvSpPr>
          <p:cNvPr id="11" name="Rectangle 10"/>
          <p:cNvSpPr/>
          <p:nvPr/>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US" sz="1200" dirty="0">
              <a:solidFill>
                <a:schemeClr val="bg1"/>
              </a:solidFill>
              <a:latin typeface="+mn-lt"/>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rtl="0">
              <a:defRPr sz="1600">
                <a:solidFill>
                  <a:schemeClr val="tx1"/>
                </a:solidFill>
                <a:latin typeface="Trebuchet MS" panose="020B0603020202020204" pitchFamily="34" charset="0"/>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rtl="0">
              <a:defRPr>
                <a:solidFill>
                  <a:schemeClr val="bg1">
                    <a:lumMod val="50000"/>
                  </a:schemeClr>
                </a:solidFill>
                <a:latin typeface="+mn-lt"/>
                <a:cs typeface="+mn-cs"/>
                <a:sym typeface="Trebuchet MS" panose="020B0603020202020204" pitchFamily="34" charset="0"/>
              </a:defRPr>
            </a:lvl1pPr>
          </a:lstStyle>
          <a:p>
            <a:endParaRPr lang="en-US" dirty="0"/>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cs typeface="+mn-cs"/>
                <a:sym typeface="Trebuchet MS" panose="020B0603020202020204" pitchFamily="34" charset="0"/>
              </a:rPr>
              <a:t>Copyright © 2024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rtl="0">
              <a:defRPr sz="4400">
                <a:solidFill>
                  <a:schemeClr val="bg1"/>
                </a:solidFill>
                <a:latin typeface="+mj-lt"/>
                <a:cs typeface="+mj-cs"/>
                <a:sym typeface="Trebuchet MS" panose="020B0603020202020204" pitchFamily="34" charset="0"/>
              </a:defRPr>
            </a:lvl1pPr>
          </a:lstStyle>
          <a:p>
            <a:r>
              <a:rPr lang="en-US" dirty="0"/>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989514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5626875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ADD9C18A-CFF4-4FED-8DB3-6B0D34B4299F}"/>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2467155" y="0"/>
            <a:ext cx="9724845" cy="6858000"/>
          </a:xfrm>
          <a:prstGeom prst="rect">
            <a:avLst/>
          </a:prstGeom>
          <a:gradFill>
            <a:gsLst>
              <a:gs pos="0">
                <a:srgbClr val="29BA74"/>
              </a:gs>
              <a:gs pos="100000">
                <a:srgbClr val="197A56"/>
              </a:gs>
            </a:gsLst>
            <a:lin ang="8100000" scaled="1"/>
          </a:gradFill>
        </p:spPr>
      </p:pic>
      <p:sp>
        <p:nvSpPr>
          <p:cNvPr id="15" name="Overlay">
            <a:extLst>
              <a:ext uri="{FF2B5EF4-FFF2-40B4-BE49-F238E27FC236}">
                <a16:creationId xmlns:a16="http://schemas.microsoft.com/office/drawing/2014/main" id="{480E52A7-2AA8-4A26-9842-EBC5F6301170}"/>
              </a:ext>
            </a:extLst>
          </p:cNvPr>
          <p:cNvSpPr/>
          <p:nvPr userDrawn="1">
            <p:custDataLst>
              <p:tags r:id="rId2"/>
            </p:custDataLst>
          </p:nvPr>
        </p:nvSpPr>
        <p:spPr>
          <a:xfrm>
            <a:off x="2794001" y="0"/>
            <a:ext cx="9397999" cy="6858000"/>
          </a:xfrm>
          <a:prstGeom prst="rect">
            <a:avLst/>
          </a:prstGeom>
          <a:gradFill>
            <a:gsLst>
              <a:gs pos="0">
                <a:srgbClr val="009B9D">
                  <a:alpha val="21000"/>
                </a:srgbClr>
              </a:gs>
              <a:gs pos="100000">
                <a:srgbClr val="006F4E">
                  <a:alpha val="88979"/>
                </a:srgbClr>
              </a:gs>
            </a:gsLst>
            <a:lin ang="8100000" scaled="1"/>
          </a:gradFill>
          <a:ln w="9525" cap="flat" cmpd="sng" algn="ctr">
            <a:noFill/>
            <a:prstDash val="solid"/>
            <a:miter lim="800000"/>
          </a:ln>
          <a:effectLst/>
        </p:spPr>
        <p:txBody>
          <a:bodyPr rtlCol="0" anchor="t"/>
          <a:lstStyle/>
          <a:p>
            <a:pPr marL="0" marR="0" lvl="0" indent="0"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Trebuchet MS"/>
              <a:ea typeface="+mn-ea"/>
              <a:cs typeface="+mn-cs"/>
            </a:endParaRPr>
          </a:p>
        </p:txBody>
      </p:sp>
      <p:sp>
        <p:nvSpPr>
          <p:cNvPr id="10"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US" sz="1200" dirty="0">
              <a:solidFill>
                <a:prstClr val="white"/>
              </a:solidFill>
              <a:latin typeface="+mn-lt"/>
              <a:cs typeface="+mn-cs"/>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cs typeface="+mn-cs"/>
                <a:sym typeface="Trebuchet MS" panose="020B0603020202020204" pitchFamily="34" charset="0"/>
              </a:defRPr>
            </a:lvl1pPr>
          </a:lstStyle>
          <a:p>
            <a:endParaRPr lang="en-US" dirty="0"/>
          </a:p>
        </p:txBody>
      </p:sp>
      <p:sp>
        <p:nvSpPr>
          <p:cNvPr id="11"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cs typeface="+mn-cs"/>
                <a:sym typeface="Trebuchet MS" panose="020B0603020202020204" pitchFamily="34" charset="0"/>
              </a:rPr>
              <a:t>Copyright © 2024 by Boston Consulting Group. All rights reserved.</a:t>
            </a:r>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vert="horz" anchor="ctr">
            <a:noAutofit/>
          </a:bodyPr>
          <a:lstStyle>
            <a:lvl1pPr rtl="0">
              <a:defRPr sz="2400">
                <a:solidFill>
                  <a:schemeClr val="tx2"/>
                </a:solidFill>
                <a:latin typeface="+mj-lt"/>
                <a:cs typeface="+mj-cs"/>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48038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7CE8485-7044-B322-95BB-FFAD70672386}"/>
              </a:ext>
            </a:extLst>
          </p:cNvPr>
          <p:cNvGraphicFramePr>
            <a:graphicFrameLocks noChangeAspect="1"/>
          </p:cNvGraphicFramePr>
          <p:nvPr userDrawn="1">
            <p:custDataLst>
              <p:tags r:id="rId1"/>
            </p:custDataLst>
            <p:extLst>
              <p:ext uri="{D42A27DB-BD31-4B8C-83A1-F6EECF244321}">
                <p14:modId xmlns:p14="http://schemas.microsoft.com/office/powerpoint/2010/main" val="76964998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think-cell data - do not delete" hidden="1">
                        <a:extLst>
                          <a:ext uri="{FF2B5EF4-FFF2-40B4-BE49-F238E27FC236}">
                            <a16:creationId xmlns:a16="http://schemas.microsoft.com/office/drawing/2014/main" id="{F7CE8485-7044-B322-95BB-FFAD7067238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5E56278A-3D2C-B8AE-FB70-7128ABC04C2D}"/>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526" y="1310"/>
            <a:ext cx="4088167" cy="6856690"/>
          </a:xfrm>
          <a:custGeom>
            <a:avLst/>
            <a:gdLst>
              <a:gd name="connsiteX0" fmla="*/ 0 w 4088167"/>
              <a:gd name="connsiteY0" fmla="*/ 0 h 6856690"/>
              <a:gd name="connsiteX1" fmla="*/ 3264933 w 4088167"/>
              <a:gd name="connsiteY1" fmla="*/ 0 h 6856690"/>
              <a:gd name="connsiteX2" fmla="*/ 4088167 w 4088167"/>
              <a:gd name="connsiteY2" fmla="*/ 3428395 h 6856690"/>
              <a:gd name="connsiteX3" fmla="*/ 4086481 w 4088167"/>
              <a:gd name="connsiteY3" fmla="*/ 3436628 h 6856690"/>
              <a:gd name="connsiteX4" fmla="*/ 3265248 w 4088167"/>
              <a:gd name="connsiteY4" fmla="*/ 6856690 h 6856690"/>
              <a:gd name="connsiteX5" fmla="*/ 0 w 4088167"/>
              <a:gd name="connsiteY5" fmla="*/ 6856690 h 6856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88167" h="6856690">
                <a:moveTo>
                  <a:pt x="0" y="0"/>
                </a:moveTo>
                <a:lnTo>
                  <a:pt x="3264933" y="0"/>
                </a:lnTo>
                <a:lnTo>
                  <a:pt x="4088167" y="3428395"/>
                </a:lnTo>
                <a:lnTo>
                  <a:pt x="4086481" y="3436628"/>
                </a:lnTo>
                <a:lnTo>
                  <a:pt x="3265248" y="6856690"/>
                </a:lnTo>
                <a:lnTo>
                  <a:pt x="0" y="6856690"/>
                </a:lnTo>
                <a:close/>
              </a:path>
            </a:pathLst>
          </a:custGeom>
          <a:gradFill>
            <a:gsLst>
              <a:gs pos="0">
                <a:schemeClr val="tx2"/>
              </a:gs>
              <a:gs pos="100000">
                <a:schemeClr val="accent2"/>
              </a:gs>
            </a:gsLst>
            <a:lin ang="8100000" scaled="1"/>
          </a:gradFill>
        </p:spPr>
      </p:pic>
      <p:sp>
        <p:nvSpPr>
          <p:cNvPr id="7" name="Freeform 6">
            <a:extLst>
              <a:ext uri="{FF2B5EF4-FFF2-40B4-BE49-F238E27FC236}">
                <a16:creationId xmlns:a16="http://schemas.microsoft.com/office/drawing/2014/main" id="{FFA1210D-3B0A-E58B-34F3-A6854DFC5CF1}"/>
              </a:ext>
            </a:extLst>
          </p:cNvPr>
          <p:cNvSpPr/>
          <p:nvPr userDrawn="1">
            <p:custDataLst>
              <p:tags r:id="rId2"/>
            </p:custDataLst>
          </p:nvPr>
        </p:nvSpPr>
        <p:spPr>
          <a:xfrm>
            <a:off x="1525" y="1310"/>
            <a:ext cx="4088167" cy="6856690"/>
          </a:xfrm>
          <a:custGeom>
            <a:avLst/>
            <a:gdLst>
              <a:gd name="connsiteX0" fmla="*/ 0 w 4088167"/>
              <a:gd name="connsiteY0" fmla="*/ 0 h 6856690"/>
              <a:gd name="connsiteX1" fmla="*/ 3264933 w 4088167"/>
              <a:gd name="connsiteY1" fmla="*/ 0 h 6856690"/>
              <a:gd name="connsiteX2" fmla="*/ 4088167 w 4088167"/>
              <a:gd name="connsiteY2" fmla="*/ 3428397 h 6856690"/>
              <a:gd name="connsiteX3" fmla="*/ 4086490 w 4088167"/>
              <a:gd name="connsiteY3" fmla="*/ 3436589 h 6856690"/>
              <a:gd name="connsiteX4" fmla="*/ 3265248 w 4088167"/>
              <a:gd name="connsiteY4" fmla="*/ 6856690 h 6856690"/>
              <a:gd name="connsiteX5" fmla="*/ 0 w 4088167"/>
              <a:gd name="connsiteY5" fmla="*/ 6856690 h 6856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88167" h="6856690">
                <a:moveTo>
                  <a:pt x="0" y="0"/>
                </a:moveTo>
                <a:lnTo>
                  <a:pt x="3264933" y="0"/>
                </a:lnTo>
                <a:lnTo>
                  <a:pt x="4088167" y="3428397"/>
                </a:lnTo>
                <a:lnTo>
                  <a:pt x="4086490" y="3436589"/>
                </a:lnTo>
                <a:lnTo>
                  <a:pt x="3265248" y="6856690"/>
                </a:lnTo>
                <a:lnTo>
                  <a:pt x="0" y="6856690"/>
                </a:lnTo>
                <a:close/>
              </a:path>
            </a:pathLst>
          </a:custGeom>
          <a:gradFill>
            <a:gsLst>
              <a:gs pos="0">
                <a:srgbClr val="009B9D">
                  <a:alpha val="21000"/>
                </a:srgbClr>
              </a:gs>
              <a:gs pos="100000">
                <a:srgbClr val="006F4E">
                  <a:alpha val="8897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lnSpc>
                <a:spcPct val="90000"/>
              </a:lnSpc>
              <a:spcAft>
                <a:spcPts val="1000"/>
              </a:spcAft>
            </a:pPr>
            <a:endParaRPr lang="en-US" sz="1200" dirty="0">
              <a:solidFill>
                <a:schemeClr val="bg1"/>
              </a:solidFill>
              <a:cs typeface="+mn-cs"/>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rtl="0">
              <a:defRPr>
                <a:solidFill>
                  <a:srgbClr val="FFFFFF"/>
                </a:solidFill>
                <a:latin typeface="+mj-lt"/>
                <a:cs typeface="+mj-cs"/>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cs typeface="+mn-cs"/>
                <a:sym typeface="Trebuchet MS" panose="020B0603020202020204" pitchFamily="34" charset="0"/>
              </a:defRPr>
            </a:lvl1pPr>
          </a:lstStyle>
          <a:p>
            <a:endParaRPr lang="en-US" dirty="0"/>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cs typeface="+mn-cs"/>
                <a:sym typeface="Trebuchet MS" panose="020B0603020202020204" pitchFamily="34" charset="0"/>
              </a:rPr>
              <a:t>Copyright © 2024 by Boston Consulting Group. All rights reserved.</a:t>
            </a:r>
          </a:p>
        </p:txBody>
      </p:sp>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7786466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30F877D-A5BD-DA19-B014-5F0F9108A8F8}"/>
              </a:ext>
            </a:extLst>
          </p:cNvPr>
          <p:cNvGraphicFramePr>
            <a:graphicFrameLocks noChangeAspect="1"/>
          </p:cNvGraphicFramePr>
          <p:nvPr userDrawn="1">
            <p:custDataLst>
              <p:tags r:id="rId1"/>
            </p:custDataLst>
            <p:extLst>
              <p:ext uri="{D42A27DB-BD31-4B8C-83A1-F6EECF244321}">
                <p14:modId xmlns:p14="http://schemas.microsoft.com/office/powerpoint/2010/main" val="170313657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6" name="think-cell data - do not delete" hidden="1">
                        <a:extLst>
                          <a:ext uri="{FF2B5EF4-FFF2-40B4-BE49-F238E27FC236}">
                            <a16:creationId xmlns:a16="http://schemas.microsoft.com/office/drawing/2014/main" id="{630F877D-A5BD-DA19-B014-5F0F9108A8F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2" name="Picture 11">
            <a:extLst>
              <a:ext uri="{FF2B5EF4-FFF2-40B4-BE49-F238E27FC236}">
                <a16:creationId xmlns:a16="http://schemas.microsoft.com/office/drawing/2014/main" id="{FEEBC2D0-F419-4C4E-836D-0D3048F8FDC8}"/>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2467155" y="0"/>
            <a:ext cx="9724845" cy="6858000"/>
          </a:xfrm>
          <a:prstGeom prst="rect">
            <a:avLst/>
          </a:prstGeom>
          <a:gradFill>
            <a:gsLst>
              <a:gs pos="0">
                <a:srgbClr val="29BA74"/>
              </a:gs>
              <a:gs pos="100000">
                <a:srgbClr val="197A56"/>
              </a:gs>
            </a:gsLst>
            <a:lin ang="8100000" scaled="1"/>
          </a:gradFill>
        </p:spPr>
      </p:pic>
      <p:sp>
        <p:nvSpPr>
          <p:cNvPr id="15" name="Overlay">
            <a:extLst>
              <a:ext uri="{FF2B5EF4-FFF2-40B4-BE49-F238E27FC236}">
                <a16:creationId xmlns:a16="http://schemas.microsoft.com/office/drawing/2014/main" id="{5B125D79-FE9A-4F44-B24F-08CAB941104C}"/>
              </a:ext>
            </a:extLst>
          </p:cNvPr>
          <p:cNvSpPr/>
          <p:nvPr userDrawn="1">
            <p:custDataLst>
              <p:tags r:id="rId2"/>
            </p:custDataLst>
          </p:nvPr>
        </p:nvSpPr>
        <p:spPr>
          <a:xfrm>
            <a:off x="2794001" y="0"/>
            <a:ext cx="9397999" cy="6858000"/>
          </a:xfrm>
          <a:prstGeom prst="rect">
            <a:avLst/>
          </a:prstGeom>
          <a:gradFill>
            <a:gsLst>
              <a:gs pos="0">
                <a:srgbClr val="009B9D">
                  <a:alpha val="21000"/>
                </a:srgbClr>
              </a:gs>
              <a:gs pos="100000">
                <a:srgbClr val="006F4E">
                  <a:alpha val="88979"/>
                </a:srgbClr>
              </a:gs>
            </a:gsLst>
            <a:lin ang="8100000" scaled="1"/>
          </a:gradFill>
          <a:ln w="9525" cap="flat" cmpd="sng" algn="ctr">
            <a:noFill/>
            <a:prstDash val="solid"/>
            <a:miter lim="800000"/>
          </a:ln>
          <a:effectLst/>
        </p:spPr>
        <p:txBody>
          <a:bodyPr rtlCol="0" anchor="t"/>
          <a:lstStyle/>
          <a:p>
            <a:pPr marL="0" marR="0" lvl="0" indent="0"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Trebuchet MS"/>
              <a:ea typeface="+mn-ea"/>
              <a:cs typeface="+mn-cs"/>
            </a:endParaRPr>
          </a:p>
        </p:txBody>
      </p:sp>
      <p:sp>
        <p:nvSpPr>
          <p:cNvPr id="9" name="TextBox 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rtl="0">
              <a:defRPr>
                <a:solidFill>
                  <a:schemeClr val="bg1"/>
                </a:solidFill>
                <a:latin typeface="+mn-lt"/>
                <a:cs typeface="+mn-cs"/>
                <a:sym typeface="Trebuchet MS" panose="020B0603020202020204" pitchFamily="34" charset="0"/>
              </a:defRPr>
            </a:lvl1pPr>
          </a:lstStyle>
          <a:p>
            <a:endParaRPr lang="en-US" dirty="0"/>
          </a:p>
        </p:txBody>
      </p:sp>
      <p:sp>
        <p:nvSpPr>
          <p:cNvPr id="17"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cs typeface="+mn-cs"/>
                <a:sym typeface="Trebuchet MS" panose="020B0603020202020204" pitchFamily="34" charset="0"/>
              </a:rPr>
              <a:t>Copyright © 2024 by Boston Consulting Group. All rights reserved.</a:t>
            </a:r>
          </a:p>
        </p:txBody>
      </p:sp>
      <p:sp>
        <p:nvSpPr>
          <p:cNvPr id="19" name="Pentagon 3"/>
          <p:cNvSpPr/>
          <p:nvPr/>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US" sz="1200" dirty="0">
              <a:solidFill>
                <a:prstClr val="white"/>
              </a:solidFill>
              <a:latin typeface="+mn-lt"/>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rtl="0">
              <a:defRPr sz="4400" b="0">
                <a:solidFill>
                  <a:schemeClr val="tx2"/>
                </a:solidFill>
                <a:latin typeface="+mj-lt"/>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85883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B517312-C2A0-4EDA-0E74-AE5C0AB84FE8}"/>
              </a:ext>
            </a:extLst>
          </p:cNvPr>
          <p:cNvGraphicFramePr>
            <a:graphicFrameLocks noChangeAspect="1"/>
          </p:cNvGraphicFramePr>
          <p:nvPr userDrawn="1">
            <p:custDataLst>
              <p:tags r:id="rId1"/>
            </p:custDataLst>
            <p:extLst>
              <p:ext uri="{D42A27DB-BD31-4B8C-83A1-F6EECF244321}">
                <p14:modId xmlns:p14="http://schemas.microsoft.com/office/powerpoint/2010/main" val="14310396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6B517312-C2A0-4EDA-0E74-AE5C0AB84FE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1DF1CB22-1D3E-8007-A42A-CEDCDC34B37F}"/>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 y="0"/>
            <a:ext cx="5426920" cy="6858000"/>
          </a:xfrm>
          <a:custGeom>
            <a:avLst/>
            <a:gdLst>
              <a:gd name="connsiteX0" fmla="*/ 0 w 5426920"/>
              <a:gd name="connsiteY0" fmla="*/ 0 h 6858000"/>
              <a:gd name="connsiteX1" fmla="*/ 4724731 w 5426920"/>
              <a:gd name="connsiteY1" fmla="*/ 0 h 6858000"/>
              <a:gd name="connsiteX2" fmla="*/ 5426920 w 5426920"/>
              <a:gd name="connsiteY2" fmla="*/ 3429000 h 6858000"/>
              <a:gd name="connsiteX3" fmla="*/ 4724731 w 5426920"/>
              <a:gd name="connsiteY3" fmla="*/ 6858000 h 6858000"/>
              <a:gd name="connsiteX4" fmla="*/ 0 w 542692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6920" h="6858000">
                <a:moveTo>
                  <a:pt x="0" y="0"/>
                </a:moveTo>
                <a:lnTo>
                  <a:pt x="4724731" y="0"/>
                </a:lnTo>
                <a:lnTo>
                  <a:pt x="5426920" y="3429000"/>
                </a:lnTo>
                <a:lnTo>
                  <a:pt x="4724731" y="6858000"/>
                </a:lnTo>
                <a:lnTo>
                  <a:pt x="0" y="6858000"/>
                </a:lnTo>
                <a:close/>
              </a:path>
            </a:pathLst>
          </a:custGeom>
          <a:gradFill>
            <a:gsLst>
              <a:gs pos="0">
                <a:schemeClr val="tx2"/>
              </a:gs>
              <a:gs pos="100000">
                <a:schemeClr val="accent2"/>
              </a:gs>
            </a:gsLst>
            <a:lin ang="8100000" scaled="1"/>
          </a:gradFill>
        </p:spPr>
      </p:pic>
      <p:sp>
        <p:nvSpPr>
          <p:cNvPr id="7" name="Freeform 6">
            <a:extLst>
              <a:ext uri="{FF2B5EF4-FFF2-40B4-BE49-F238E27FC236}">
                <a16:creationId xmlns:a16="http://schemas.microsoft.com/office/drawing/2014/main" id="{067C4CA1-B010-F8F6-98FC-B013A5129B62}"/>
              </a:ext>
            </a:extLst>
          </p:cNvPr>
          <p:cNvSpPr/>
          <p:nvPr userDrawn="1">
            <p:custDataLst>
              <p:tags r:id="rId2"/>
            </p:custDataLst>
          </p:nvPr>
        </p:nvSpPr>
        <p:spPr>
          <a:xfrm>
            <a:off x="1" y="0"/>
            <a:ext cx="5426920" cy="6858000"/>
          </a:xfrm>
          <a:custGeom>
            <a:avLst/>
            <a:gdLst>
              <a:gd name="connsiteX0" fmla="*/ 0 w 5426920"/>
              <a:gd name="connsiteY0" fmla="*/ 0 h 6858000"/>
              <a:gd name="connsiteX1" fmla="*/ 4724731 w 5426920"/>
              <a:gd name="connsiteY1" fmla="*/ 0 h 6858000"/>
              <a:gd name="connsiteX2" fmla="*/ 5426920 w 5426920"/>
              <a:gd name="connsiteY2" fmla="*/ 3429000 h 6858000"/>
              <a:gd name="connsiteX3" fmla="*/ 4724731 w 5426920"/>
              <a:gd name="connsiteY3" fmla="*/ 6858000 h 6858000"/>
              <a:gd name="connsiteX4" fmla="*/ 0 w 542692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6920" h="6858000">
                <a:moveTo>
                  <a:pt x="0" y="0"/>
                </a:moveTo>
                <a:lnTo>
                  <a:pt x="4724731" y="0"/>
                </a:lnTo>
                <a:lnTo>
                  <a:pt x="5426920" y="3429000"/>
                </a:lnTo>
                <a:lnTo>
                  <a:pt x="4724731" y="6858000"/>
                </a:lnTo>
                <a:lnTo>
                  <a:pt x="0" y="6858000"/>
                </a:lnTo>
                <a:close/>
              </a:path>
            </a:pathLst>
          </a:custGeom>
          <a:gradFill>
            <a:gsLst>
              <a:gs pos="0">
                <a:srgbClr val="009B9D">
                  <a:alpha val="21000"/>
                </a:srgbClr>
              </a:gs>
              <a:gs pos="100000">
                <a:srgbClr val="006F4E">
                  <a:alpha val="8897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lnSpc>
                <a:spcPct val="90000"/>
              </a:lnSpc>
              <a:spcAft>
                <a:spcPts val="1000"/>
              </a:spcAft>
            </a:pPr>
            <a:endParaRPr lang="en-US" sz="1200" dirty="0">
              <a:solidFill>
                <a:schemeClr val="bg1"/>
              </a:solidFill>
              <a:cs typeface="+mn-cs"/>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rtl="0">
              <a:defRPr sz="4400" b="0">
                <a:solidFill>
                  <a:srgbClr val="FFFFFF"/>
                </a:solidFill>
                <a:latin typeface="+mj-lt"/>
                <a:cs typeface="+mj-cs"/>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cs typeface="+mn-cs"/>
                <a:sym typeface="Trebuchet MS" panose="020B0603020202020204" pitchFamily="34" charset="0"/>
              </a:defRPr>
            </a:lvl1pPr>
          </a:lstStyle>
          <a:p>
            <a:endParaRPr lang="en-US" dirty="0"/>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cs typeface="+mn-cs"/>
                <a:sym typeface="Trebuchet MS" panose="020B0603020202020204" pitchFamily="34" charset="0"/>
              </a:rPr>
              <a:t>Copyright © 2024 by Boston Consulting Group. All rights reserved.</a:t>
            </a:r>
          </a:p>
        </p:txBody>
      </p:sp>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8721215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3030C61-EC72-CA67-E3B6-B9C19AF897E5}"/>
              </a:ext>
            </a:extLst>
          </p:cNvPr>
          <p:cNvGraphicFramePr>
            <a:graphicFrameLocks noChangeAspect="1"/>
          </p:cNvGraphicFramePr>
          <p:nvPr userDrawn="1">
            <p:custDataLst>
              <p:tags r:id="rId1"/>
            </p:custDataLst>
            <p:extLst>
              <p:ext uri="{D42A27DB-BD31-4B8C-83A1-F6EECF244321}">
                <p14:modId xmlns:p14="http://schemas.microsoft.com/office/powerpoint/2010/main" val="147169626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think-cell data - do not delete" hidden="1">
                        <a:extLst>
                          <a:ext uri="{FF2B5EF4-FFF2-40B4-BE49-F238E27FC236}">
                            <a16:creationId xmlns:a16="http://schemas.microsoft.com/office/drawing/2014/main" id="{83030C61-EC72-CA67-E3B6-B9C19AF897E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8AD78D57-40EA-4CEA-B5E7-961CE49AED91}"/>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2467155" y="0"/>
            <a:ext cx="9724845" cy="6858000"/>
          </a:xfrm>
          <a:prstGeom prst="rect">
            <a:avLst/>
          </a:prstGeom>
          <a:gradFill>
            <a:gsLst>
              <a:gs pos="0">
                <a:srgbClr val="29BA74"/>
              </a:gs>
              <a:gs pos="100000">
                <a:srgbClr val="197A56"/>
              </a:gs>
            </a:gsLst>
            <a:lin ang="8100000" scaled="1"/>
          </a:gradFill>
        </p:spPr>
      </p:pic>
      <p:sp>
        <p:nvSpPr>
          <p:cNvPr id="12" name="Overlay">
            <a:extLst>
              <a:ext uri="{FF2B5EF4-FFF2-40B4-BE49-F238E27FC236}">
                <a16:creationId xmlns:a16="http://schemas.microsoft.com/office/drawing/2014/main" id="{F7561A3D-2DCE-4522-A63F-DA14575F5B57}"/>
              </a:ext>
            </a:extLst>
          </p:cNvPr>
          <p:cNvSpPr/>
          <p:nvPr userDrawn="1">
            <p:custDataLst>
              <p:tags r:id="rId2"/>
            </p:custDataLst>
          </p:nvPr>
        </p:nvSpPr>
        <p:spPr>
          <a:xfrm>
            <a:off x="2794001" y="0"/>
            <a:ext cx="9397999" cy="6858000"/>
          </a:xfrm>
          <a:prstGeom prst="rect">
            <a:avLst/>
          </a:prstGeom>
          <a:gradFill>
            <a:gsLst>
              <a:gs pos="0">
                <a:srgbClr val="009B9D">
                  <a:alpha val="21000"/>
                </a:srgbClr>
              </a:gs>
              <a:gs pos="100000">
                <a:srgbClr val="006F4E">
                  <a:alpha val="88979"/>
                </a:srgbClr>
              </a:gs>
            </a:gsLst>
            <a:lin ang="8100000" scaled="1"/>
          </a:gradFill>
          <a:ln w="9525" cap="flat" cmpd="sng" algn="ctr">
            <a:noFill/>
            <a:prstDash val="solid"/>
            <a:miter lim="800000"/>
          </a:ln>
          <a:effectLst/>
        </p:spPr>
        <p:txBody>
          <a:bodyPr rtlCol="0" anchor="t"/>
          <a:lstStyle/>
          <a:p>
            <a:pPr marL="0" marR="0" lvl="0" indent="0"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Trebuchet MS"/>
              <a:ea typeface="+mn-ea"/>
              <a:cs typeface="+mn-cs"/>
            </a:endParaRPr>
          </a:p>
        </p:txBody>
      </p:sp>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US" sz="1200" dirty="0">
              <a:solidFill>
                <a:prstClr val="white"/>
              </a:solidFill>
              <a:latin typeface="+mn-lt"/>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rtl="0">
              <a:defRPr>
                <a:solidFill>
                  <a:schemeClr val="tx2"/>
                </a:solidFill>
                <a:latin typeface="+mj-lt"/>
                <a:cs typeface="+mj-cs"/>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rtl="0">
              <a:defRPr>
                <a:solidFill>
                  <a:schemeClr val="bg1"/>
                </a:solidFill>
                <a:latin typeface="+mn-lt"/>
                <a:cs typeface="+mn-cs"/>
                <a:sym typeface="Trebuchet MS" panose="020B0603020202020204" pitchFamily="34" charset="0"/>
              </a:defRPr>
            </a:lvl1pPr>
          </a:lstStyle>
          <a:p>
            <a:endParaRPr lang="en-US" dirty="0"/>
          </a:p>
        </p:txBody>
      </p:sp>
      <p:sp>
        <p:nvSpPr>
          <p:cNvPr id="18"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cs typeface="+mn-cs"/>
                <a:sym typeface="Trebuchet MS" panose="020B0603020202020204" pitchFamily="34" charset="0"/>
              </a:rPr>
              <a:t>Copyright © 2024 by Boston Consulting Group. All rights reserved.</a:t>
            </a:r>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61561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E675536-0B97-47F2-316B-F78FBA7724BE}"/>
              </a:ext>
            </a:extLst>
          </p:cNvPr>
          <p:cNvGraphicFramePr>
            <a:graphicFrameLocks noChangeAspect="1"/>
          </p:cNvGraphicFramePr>
          <p:nvPr userDrawn="1">
            <p:custDataLst>
              <p:tags r:id="rId1"/>
            </p:custDataLst>
            <p:extLst>
              <p:ext uri="{D42A27DB-BD31-4B8C-83A1-F6EECF244321}">
                <p14:modId xmlns:p14="http://schemas.microsoft.com/office/powerpoint/2010/main" val="166885469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think-cell data - do not delete" hidden="1">
                        <a:extLst>
                          <a:ext uri="{FF2B5EF4-FFF2-40B4-BE49-F238E27FC236}">
                            <a16:creationId xmlns:a16="http://schemas.microsoft.com/office/drawing/2014/main" id="{2E675536-0B97-47F2-316B-F78FBA7724B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E0E375F6-B054-60F9-1093-9B6B8A30B1AA}"/>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6363546" cy="6858000"/>
          </a:xfrm>
          <a:custGeom>
            <a:avLst/>
            <a:gdLst>
              <a:gd name="connsiteX0" fmla="*/ 0 w 6363546"/>
              <a:gd name="connsiteY0" fmla="*/ 0 h 6858000"/>
              <a:gd name="connsiteX1" fmla="*/ 5540167 w 6363546"/>
              <a:gd name="connsiteY1" fmla="*/ 0 h 6858000"/>
              <a:gd name="connsiteX2" fmla="*/ 6363546 w 6363546"/>
              <a:gd name="connsiteY2" fmla="*/ 3429000 h 6858000"/>
              <a:gd name="connsiteX3" fmla="*/ 5540167 w 6363546"/>
              <a:gd name="connsiteY3" fmla="*/ 6858000 h 6858000"/>
              <a:gd name="connsiteX4" fmla="*/ 0 w 6363546"/>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3546" h="6858000">
                <a:moveTo>
                  <a:pt x="0" y="0"/>
                </a:moveTo>
                <a:lnTo>
                  <a:pt x="5540167" y="0"/>
                </a:lnTo>
                <a:lnTo>
                  <a:pt x="6363546" y="3429000"/>
                </a:lnTo>
                <a:lnTo>
                  <a:pt x="5540167" y="6858000"/>
                </a:lnTo>
                <a:lnTo>
                  <a:pt x="0" y="6858000"/>
                </a:lnTo>
                <a:close/>
              </a:path>
            </a:pathLst>
          </a:custGeom>
          <a:gradFill>
            <a:gsLst>
              <a:gs pos="0">
                <a:schemeClr val="tx2"/>
              </a:gs>
              <a:gs pos="100000">
                <a:schemeClr val="accent2"/>
              </a:gs>
            </a:gsLst>
            <a:lin ang="8100000" scaled="1"/>
          </a:gradFill>
        </p:spPr>
      </p:pic>
      <p:sp>
        <p:nvSpPr>
          <p:cNvPr id="8" name="Freeform 7">
            <a:extLst>
              <a:ext uri="{FF2B5EF4-FFF2-40B4-BE49-F238E27FC236}">
                <a16:creationId xmlns:a16="http://schemas.microsoft.com/office/drawing/2014/main" id="{4A16F606-61C2-8F71-F95E-845C841CC66A}"/>
              </a:ext>
            </a:extLst>
          </p:cNvPr>
          <p:cNvSpPr/>
          <p:nvPr userDrawn="1">
            <p:custDataLst>
              <p:tags r:id="rId2"/>
            </p:custDataLst>
          </p:nvPr>
        </p:nvSpPr>
        <p:spPr>
          <a:xfrm>
            <a:off x="0" y="0"/>
            <a:ext cx="6363546" cy="6858000"/>
          </a:xfrm>
          <a:custGeom>
            <a:avLst/>
            <a:gdLst>
              <a:gd name="connsiteX0" fmla="*/ 0 w 6363546"/>
              <a:gd name="connsiteY0" fmla="*/ 0 h 6858000"/>
              <a:gd name="connsiteX1" fmla="*/ 5540167 w 6363546"/>
              <a:gd name="connsiteY1" fmla="*/ 0 h 6858000"/>
              <a:gd name="connsiteX2" fmla="*/ 6363546 w 6363546"/>
              <a:gd name="connsiteY2" fmla="*/ 3429000 h 6858000"/>
              <a:gd name="connsiteX3" fmla="*/ 5540167 w 6363546"/>
              <a:gd name="connsiteY3" fmla="*/ 6858000 h 6858000"/>
              <a:gd name="connsiteX4" fmla="*/ 0 w 6363546"/>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3546" h="6858000">
                <a:moveTo>
                  <a:pt x="0" y="0"/>
                </a:moveTo>
                <a:lnTo>
                  <a:pt x="5540167" y="0"/>
                </a:lnTo>
                <a:lnTo>
                  <a:pt x="6363546" y="3429000"/>
                </a:lnTo>
                <a:lnTo>
                  <a:pt x="5540167" y="6858000"/>
                </a:lnTo>
                <a:lnTo>
                  <a:pt x="0" y="6858000"/>
                </a:lnTo>
                <a:close/>
              </a:path>
            </a:pathLst>
          </a:custGeom>
          <a:gradFill>
            <a:gsLst>
              <a:gs pos="0">
                <a:srgbClr val="009B9D">
                  <a:alpha val="21000"/>
                </a:srgbClr>
              </a:gs>
              <a:gs pos="100000">
                <a:srgbClr val="006F4E">
                  <a:alpha val="8897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lnSpc>
                <a:spcPct val="90000"/>
              </a:lnSpc>
              <a:spcAft>
                <a:spcPts val="1000"/>
              </a:spcAft>
            </a:pPr>
            <a:endParaRPr lang="en-US" sz="1200" dirty="0">
              <a:solidFill>
                <a:schemeClr val="bg1"/>
              </a:solidFill>
              <a:cs typeface="+mn-cs"/>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rtl="0">
              <a:defRPr>
                <a:solidFill>
                  <a:srgbClr val="FFFFFF"/>
                </a:solidFill>
                <a:latin typeface="+mj-lt"/>
                <a:cs typeface="+mj-cs"/>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cs typeface="+mn-cs"/>
                <a:sym typeface="Trebuchet MS" panose="020B0603020202020204" pitchFamily="34" charset="0"/>
              </a:defRPr>
            </a:lvl1pPr>
          </a:lstStyle>
          <a:p>
            <a:endParaRPr lang="en-US" dirty="0"/>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cs typeface="+mn-cs"/>
                <a:sym typeface="Trebuchet MS" panose="020B0603020202020204" pitchFamily="34" charset="0"/>
              </a:rPr>
              <a:t>Copyright © 2024 by Boston Consulting Group. All rights reserved.</a:t>
            </a:r>
          </a:p>
        </p:txBody>
      </p:sp>
      <p:pic>
        <p:nvPicPr>
          <p:cNvPr id="10" name="Picture 9"/>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890376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E5BA6A9-E8A7-E52C-EDBA-D93F19D97134}"/>
              </a:ext>
            </a:extLst>
          </p:cNvPr>
          <p:cNvGraphicFramePr>
            <a:graphicFrameLocks noChangeAspect="1"/>
          </p:cNvGraphicFramePr>
          <p:nvPr userDrawn="1">
            <p:custDataLst>
              <p:tags r:id="rId1"/>
            </p:custDataLst>
            <p:extLst>
              <p:ext uri="{D42A27DB-BD31-4B8C-83A1-F6EECF244321}">
                <p14:modId xmlns:p14="http://schemas.microsoft.com/office/powerpoint/2010/main" val="326381796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think-cell data - do not delete" hidden="1">
                        <a:extLst>
                          <a:ext uri="{FF2B5EF4-FFF2-40B4-BE49-F238E27FC236}">
                            <a16:creationId xmlns:a16="http://schemas.microsoft.com/office/drawing/2014/main" id="{1E5BA6A9-E8A7-E52C-EDBA-D93F19D9713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66AD6CB2-624D-4E46-BE7D-8DAB45D3BFCA}"/>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2467155" y="0"/>
            <a:ext cx="9724845" cy="6858000"/>
          </a:xfrm>
          <a:prstGeom prst="rect">
            <a:avLst/>
          </a:prstGeom>
          <a:gradFill>
            <a:gsLst>
              <a:gs pos="0">
                <a:srgbClr val="29BA74"/>
              </a:gs>
              <a:gs pos="100000">
                <a:srgbClr val="197A56"/>
              </a:gs>
            </a:gsLst>
            <a:lin ang="8100000" scaled="1"/>
          </a:gradFill>
        </p:spPr>
      </p:pic>
      <p:sp>
        <p:nvSpPr>
          <p:cNvPr id="16" name="Overlay">
            <a:extLst>
              <a:ext uri="{FF2B5EF4-FFF2-40B4-BE49-F238E27FC236}">
                <a16:creationId xmlns:a16="http://schemas.microsoft.com/office/drawing/2014/main" id="{3F44CD49-3FD8-4049-A040-1F13FFC95077}"/>
              </a:ext>
            </a:extLst>
          </p:cNvPr>
          <p:cNvSpPr/>
          <p:nvPr userDrawn="1">
            <p:custDataLst>
              <p:tags r:id="rId2"/>
            </p:custDataLst>
          </p:nvPr>
        </p:nvSpPr>
        <p:spPr>
          <a:xfrm>
            <a:off x="2794001" y="0"/>
            <a:ext cx="9397999" cy="6858000"/>
          </a:xfrm>
          <a:prstGeom prst="rect">
            <a:avLst/>
          </a:prstGeom>
          <a:gradFill>
            <a:gsLst>
              <a:gs pos="0">
                <a:srgbClr val="009B9D">
                  <a:alpha val="21000"/>
                </a:srgbClr>
              </a:gs>
              <a:gs pos="100000">
                <a:srgbClr val="006F4E">
                  <a:alpha val="88979"/>
                </a:srgbClr>
              </a:gs>
            </a:gsLst>
            <a:lin ang="8100000" scaled="1"/>
          </a:gradFill>
          <a:ln w="9525" cap="flat" cmpd="sng" algn="ctr">
            <a:noFill/>
            <a:prstDash val="solid"/>
            <a:miter lim="800000"/>
          </a:ln>
          <a:effectLst/>
        </p:spPr>
        <p:txBody>
          <a:bodyPr rtlCol="0" anchor="t"/>
          <a:lstStyle/>
          <a:p>
            <a:pPr marL="0" marR="0" lvl="0" indent="0"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Trebuchet MS"/>
              <a:ea typeface="+mn-ea"/>
              <a:cs typeface="+mn-cs"/>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latin typeface="+mn-lt"/>
              <a:cs typeface="+mn-cs"/>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rtl="0">
              <a:defRPr>
                <a:solidFill>
                  <a:schemeClr val="bg1"/>
                </a:solidFill>
                <a:latin typeface="+mn-lt"/>
                <a:cs typeface="+mn-cs"/>
                <a:sym typeface="Trebuchet MS" panose="020B0603020202020204" pitchFamily="34" charset="0"/>
              </a:defRPr>
            </a:lvl1pPr>
          </a:lstStyle>
          <a:p>
            <a:endParaRPr lang="en-US" dirty="0"/>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cs typeface="+mn-cs"/>
                <a:sym typeface="Trebuchet MS" panose="020B0603020202020204" pitchFamily="34" charset="0"/>
              </a:rPr>
              <a:t>Copyright © 2024 by Boston Consulting Group. All rights reserved.</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rtl="0">
              <a:defRPr>
                <a:solidFill>
                  <a:schemeClr val="tx2"/>
                </a:solidFill>
                <a:latin typeface="+mj-lt"/>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99324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A1D9B58-D21C-A1D9-B860-3DB7E38FB7DF}"/>
              </a:ext>
            </a:extLst>
          </p:cNvPr>
          <p:cNvGraphicFramePr>
            <a:graphicFrameLocks noChangeAspect="1"/>
          </p:cNvGraphicFramePr>
          <p:nvPr userDrawn="1">
            <p:custDataLst>
              <p:tags r:id="rId1"/>
            </p:custDataLst>
            <p:extLst>
              <p:ext uri="{D42A27DB-BD31-4B8C-83A1-F6EECF244321}">
                <p14:modId xmlns:p14="http://schemas.microsoft.com/office/powerpoint/2010/main" val="280800152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think-cell data - do not delete" hidden="1">
                        <a:extLst>
                          <a:ext uri="{FF2B5EF4-FFF2-40B4-BE49-F238E27FC236}">
                            <a16:creationId xmlns:a16="http://schemas.microsoft.com/office/drawing/2014/main" id="{6A1D9B58-D21C-A1D9-B860-3DB7E38FB7D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1764BBB6-B7F4-1491-4AB2-71C8F7693501}"/>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46239" h="6858000">
                <a:moveTo>
                  <a:pt x="0" y="0"/>
                </a:moveTo>
                <a:lnTo>
                  <a:pt x="7645979" y="0"/>
                </a:lnTo>
                <a:lnTo>
                  <a:pt x="8446239" y="3429000"/>
                </a:lnTo>
                <a:lnTo>
                  <a:pt x="7645979" y="6858000"/>
                </a:lnTo>
                <a:lnTo>
                  <a:pt x="0" y="6858000"/>
                </a:lnTo>
                <a:close/>
              </a:path>
            </a:pathLst>
          </a:custGeom>
          <a:gradFill>
            <a:gsLst>
              <a:gs pos="0">
                <a:schemeClr val="tx2"/>
              </a:gs>
              <a:gs pos="100000">
                <a:schemeClr val="accent2"/>
              </a:gs>
            </a:gsLst>
            <a:lin ang="8100000" scaled="1"/>
          </a:gradFill>
        </p:spPr>
      </p:pic>
      <p:sp>
        <p:nvSpPr>
          <p:cNvPr id="8" name="Freeform 7">
            <a:extLst>
              <a:ext uri="{FF2B5EF4-FFF2-40B4-BE49-F238E27FC236}">
                <a16:creationId xmlns:a16="http://schemas.microsoft.com/office/drawing/2014/main" id="{3BA2DA0F-F31E-7898-B1EE-08615F2B110E}"/>
              </a:ext>
            </a:extLst>
          </p:cNvPr>
          <p:cNvSpPr/>
          <p:nvPr userDrawn="1">
            <p:custDataLst>
              <p:tags r:id="rId2"/>
            </p:custDataLst>
          </p:nvPr>
        </p:nvSpPr>
        <p:spPr>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46239" h="6858000">
                <a:moveTo>
                  <a:pt x="0" y="0"/>
                </a:moveTo>
                <a:lnTo>
                  <a:pt x="7645979" y="0"/>
                </a:lnTo>
                <a:lnTo>
                  <a:pt x="8446239" y="3429000"/>
                </a:lnTo>
                <a:lnTo>
                  <a:pt x="7645979" y="6858000"/>
                </a:lnTo>
                <a:lnTo>
                  <a:pt x="0" y="6858000"/>
                </a:lnTo>
                <a:close/>
              </a:path>
            </a:pathLst>
          </a:custGeom>
          <a:gradFill>
            <a:gsLst>
              <a:gs pos="0">
                <a:srgbClr val="009B9D">
                  <a:alpha val="75000"/>
                </a:srgbClr>
              </a:gs>
              <a:gs pos="100000">
                <a:srgbClr val="006F4E">
                  <a:alpha val="9506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l" rtl="0">
              <a:lnSpc>
                <a:spcPct val="90000"/>
              </a:lnSpc>
              <a:spcAft>
                <a:spcPts val="1000"/>
              </a:spcAft>
            </a:pPr>
            <a:endParaRPr lang="en-US" sz="1200" dirty="0">
              <a:solidFill>
                <a:schemeClr val="bg1"/>
              </a:solidFill>
              <a:cs typeface="+mn-cs"/>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rtl="0">
              <a:defRPr>
                <a:solidFill>
                  <a:srgbClr val="FFFFFF"/>
                </a:solidFill>
                <a:latin typeface="+mj-lt"/>
                <a:cs typeface="+mj-cs"/>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cs typeface="+mn-cs"/>
                <a:sym typeface="Trebuchet MS" panose="020B0603020202020204" pitchFamily="34" charset="0"/>
              </a:defRPr>
            </a:lvl1pPr>
          </a:lstStyle>
          <a:p>
            <a:endParaRPr lang="en-US" dirty="0"/>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cs typeface="+mn-cs"/>
                <a:sym typeface="Trebuchet MS" panose="020B0603020202020204" pitchFamily="34" charset="0"/>
              </a:rPr>
              <a:t>Copyright © 2024 by Boston Consulting Group. All rights reserved.</a:t>
            </a:r>
          </a:p>
        </p:txBody>
      </p:sp>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0253553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ADF7836-6D42-4E6C-0336-8EC05F833ACD}"/>
              </a:ext>
            </a:extLst>
          </p:cNvPr>
          <p:cNvGraphicFramePr>
            <a:graphicFrameLocks noChangeAspect="1"/>
          </p:cNvGraphicFramePr>
          <p:nvPr userDrawn="1">
            <p:custDataLst>
              <p:tags r:id="rId1"/>
            </p:custDataLst>
            <p:extLst>
              <p:ext uri="{D42A27DB-BD31-4B8C-83A1-F6EECF244321}">
                <p14:modId xmlns:p14="http://schemas.microsoft.com/office/powerpoint/2010/main" val="8856708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FADF7836-6D42-4E6C-0336-8EC05F833AC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2" name="Picture 11">
            <a:extLst>
              <a:ext uri="{FF2B5EF4-FFF2-40B4-BE49-F238E27FC236}">
                <a16:creationId xmlns:a16="http://schemas.microsoft.com/office/drawing/2014/main" id="{5635CCB0-C4F4-4E95-8F40-A764FD4FB116}"/>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12192000" cy="6858000"/>
          </a:xfrm>
          <a:prstGeom prst="rect">
            <a:avLst/>
          </a:prstGeom>
          <a:gradFill>
            <a:gsLst>
              <a:gs pos="0">
                <a:schemeClr val="tx2"/>
              </a:gs>
              <a:gs pos="100000">
                <a:schemeClr val="accent2"/>
              </a:gs>
            </a:gsLst>
            <a:lin ang="8100000" scaled="1"/>
          </a:gradFill>
        </p:spPr>
      </p:pic>
      <p:sp>
        <p:nvSpPr>
          <p:cNvPr id="13" name="Overlay">
            <a:extLst>
              <a:ext uri="{FF2B5EF4-FFF2-40B4-BE49-F238E27FC236}">
                <a16:creationId xmlns:a16="http://schemas.microsoft.com/office/drawing/2014/main" id="{A26F521A-41A4-44CD-940E-D4F5406CF354}"/>
              </a:ext>
            </a:extLst>
          </p:cNvPr>
          <p:cNvSpPr/>
          <p:nvPr userDrawn="1">
            <p:custDataLst>
              <p:tags r:id="rId2"/>
            </p:custDataLst>
          </p:nvPr>
        </p:nvSpPr>
        <p:spPr>
          <a:xfrm>
            <a:off x="0" y="0"/>
            <a:ext cx="12192000" cy="6858000"/>
          </a:xfrm>
          <a:prstGeom prst="rect">
            <a:avLst/>
          </a:prstGeom>
          <a:gradFill>
            <a:gsLst>
              <a:gs pos="0">
                <a:srgbClr val="009B9D">
                  <a:alpha val="75000"/>
                </a:srgbClr>
              </a:gs>
              <a:gs pos="100000">
                <a:srgbClr val="006F4E">
                  <a:alpha val="9506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lnSpc>
                <a:spcPct val="90000"/>
              </a:lnSpc>
              <a:spcAft>
                <a:spcPts val="1000"/>
              </a:spcAft>
            </a:pPr>
            <a:endParaRPr lang="en-US" sz="1200" dirty="0">
              <a:solidFill>
                <a:schemeClr val="bg1"/>
              </a:solidFill>
              <a:cs typeface="+mn-cs"/>
            </a:endParaRPr>
          </a:p>
        </p:txBody>
      </p:sp>
      <p:sp>
        <p:nvSpPr>
          <p:cNvPr id="7" name="Date Placeholder 4"/>
          <p:cNvSpPr>
            <a:spLocks noGrp="1"/>
          </p:cNvSpPr>
          <p:nvPr>
            <p:ph type="dt" sz="half" idx="10"/>
          </p:nvPr>
        </p:nvSpPr>
        <p:spPr>
          <a:xfrm>
            <a:off x="9677400" y="6405036"/>
            <a:ext cx="1482051" cy="153888"/>
          </a:xfrm>
        </p:spPr>
        <p:txBody>
          <a:bodyPr/>
          <a:lstStyle>
            <a:lvl1pPr rtl="0">
              <a:defRPr>
                <a:solidFill>
                  <a:schemeClr val="bg1"/>
                </a:solidFill>
                <a:latin typeface="+mn-lt"/>
                <a:cs typeface="+mn-cs"/>
                <a:sym typeface="Trebuchet MS" panose="020B0603020202020204" pitchFamily="34" charset="0"/>
              </a:defRPr>
            </a:lvl1pPr>
          </a:lstStyle>
          <a:p>
            <a:endParaRPr lang="en-US" dirty="0"/>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cs typeface="+mn-cs"/>
                <a:sym typeface="Trebuchet MS" panose="020B0603020202020204" pitchFamily="34" charset="0"/>
              </a:rPr>
              <a:t>Copyright © 2024 by Boston Consulting Group. All rights reserved.</a:t>
            </a:r>
          </a:p>
        </p:txBody>
      </p:sp>
      <p:sp>
        <p:nvSpPr>
          <p:cNvPr id="10" name="TextBox 9"/>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mj-cs"/>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7595826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E5D4744-7072-94B6-2286-C62CCDF9390B}"/>
              </a:ext>
            </a:extLst>
          </p:cNvPr>
          <p:cNvGraphicFramePr>
            <a:graphicFrameLocks noChangeAspect="1"/>
          </p:cNvGraphicFramePr>
          <p:nvPr userDrawn="1">
            <p:custDataLst>
              <p:tags r:id="rId1"/>
            </p:custDataLst>
            <p:extLst>
              <p:ext uri="{D42A27DB-BD31-4B8C-83A1-F6EECF244321}">
                <p14:modId xmlns:p14="http://schemas.microsoft.com/office/powerpoint/2010/main" val="182177077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7E5D4744-7072-94B6-2286-C62CCDF9390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A851EBA9-1D69-115D-25EF-425258FC0CAE}"/>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7811122" cy="6858000"/>
          </a:xfrm>
          <a:prstGeom prst="rect">
            <a:avLst/>
          </a:prstGeom>
          <a:gradFill>
            <a:gsLst>
              <a:gs pos="0">
                <a:schemeClr val="tx2"/>
              </a:gs>
              <a:gs pos="100000">
                <a:schemeClr val="accent2"/>
              </a:gs>
            </a:gsLst>
            <a:lin ang="8100000" scaled="1"/>
          </a:gradFill>
        </p:spPr>
      </p:pic>
      <p:sp>
        <p:nvSpPr>
          <p:cNvPr id="3" name="Overlay">
            <a:extLst>
              <a:ext uri="{FF2B5EF4-FFF2-40B4-BE49-F238E27FC236}">
                <a16:creationId xmlns:a16="http://schemas.microsoft.com/office/drawing/2014/main" id="{ADC5FA28-243D-9130-DFC6-EB8C24D4C1CB}"/>
              </a:ext>
            </a:extLst>
          </p:cNvPr>
          <p:cNvSpPr/>
          <p:nvPr userDrawn="1">
            <p:custDataLst>
              <p:tags r:id="rId2"/>
            </p:custDataLst>
          </p:nvPr>
        </p:nvSpPr>
        <p:spPr>
          <a:xfrm>
            <a:off x="-1" y="0"/>
            <a:ext cx="7835221" cy="6858000"/>
          </a:xfrm>
          <a:prstGeom prst="rect">
            <a:avLst/>
          </a:prstGeom>
          <a:gradFill>
            <a:gsLst>
              <a:gs pos="0">
                <a:srgbClr val="009B9D">
                  <a:alpha val="21000"/>
                </a:srgbClr>
              </a:gs>
              <a:gs pos="100000">
                <a:srgbClr val="006F4E">
                  <a:alpha val="8897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cs typeface="+mn-cs"/>
            </a:endParaRPr>
          </a:p>
        </p:txBody>
      </p:sp>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H="1">
            <a:off x="7409849" y="0"/>
            <a:ext cx="416951" cy="6858000"/>
          </a:xfrm>
          <a:prstGeom prst="rect">
            <a:avLst/>
          </a:prstGeom>
        </p:spPr>
      </p:pic>
      <p:sp>
        <p:nvSpPr>
          <p:cNvPr id="10" name="Rectangle 9"/>
          <p:cNvSpPr/>
          <p:nvPr/>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US" sz="1200" dirty="0">
              <a:solidFill>
                <a:schemeClr val="bg1"/>
              </a:solidFill>
              <a:latin typeface="+mn-lt"/>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rtl="0">
              <a:defRPr sz="1600">
                <a:solidFill>
                  <a:schemeClr val="tx1"/>
                </a:solidFill>
                <a:latin typeface="Trebuchet MS" panose="020B0603020202020204" pitchFamily="34" charset="0"/>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rtl="0">
              <a:defRPr>
                <a:solidFill>
                  <a:schemeClr val="bg1">
                    <a:lumMod val="50000"/>
                  </a:schemeClr>
                </a:solidFill>
                <a:latin typeface="+mn-lt"/>
                <a:cs typeface="+mn-cs"/>
                <a:sym typeface="Trebuchet MS" panose="020B0603020202020204" pitchFamily="34" charset="0"/>
              </a:defRPr>
            </a:lvl1pPr>
          </a:lstStyle>
          <a:p>
            <a:endParaRPr lang="en-US" dirty="0"/>
          </a:p>
        </p:txBody>
      </p:sp>
      <p:sp>
        <p:nvSpPr>
          <p:cNvPr id="15" name="Copyright"/>
          <p:cNvSpPr txBox="1"/>
          <p:nvPr/>
        </p:nvSpPr>
        <p:spPr>
          <a:xfrm rot="16200000">
            <a:off x="9486900" y="3916394"/>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cs typeface="+mn-cs"/>
                <a:sym typeface="Trebuchet MS" panose="020B0603020202020204" pitchFamily="34" charset="0"/>
              </a:rPr>
              <a:t>Copyright © 2024 by Boston Consulting Group. All rights reserved.</a:t>
            </a:r>
          </a:p>
        </p:txBody>
      </p:sp>
      <p:sp>
        <p:nvSpPr>
          <p:cNvPr id="14" name="Title 1"/>
          <p:cNvSpPr>
            <a:spLocks noGrp="1"/>
          </p:cNvSpPr>
          <p:nvPr>
            <p:ph type="title" hasCustomPrompt="1"/>
          </p:nvPr>
        </p:nvSpPr>
        <p:spPr bwMode="blackWhite">
          <a:xfrm>
            <a:off x="630000" y="1785600"/>
            <a:ext cx="6247552" cy="3286800"/>
          </a:xfrm>
          <a:prstGeom prst="rect">
            <a:avLst/>
          </a:prstGeom>
        </p:spPr>
        <p:txBody>
          <a:bodyPr vert="horz" anchor="ctr">
            <a:noAutofit/>
          </a:bodyPr>
          <a:lstStyle>
            <a:lvl1pPr rtl="0">
              <a:defRPr sz="4400">
                <a:solidFill>
                  <a:schemeClr val="bg1"/>
                </a:solidFill>
                <a:latin typeface="+mj-lt"/>
                <a:cs typeface="+mj-cs"/>
                <a:sym typeface="Trebuchet MS" panose="020B0603020202020204" pitchFamily="34" charset="0"/>
              </a:defRPr>
            </a:lvl1pPr>
          </a:lstStyle>
          <a:p>
            <a:r>
              <a:rPr lang="en-US" dirty="0"/>
              <a:t>Click to edit title</a:t>
            </a:r>
          </a:p>
        </p:txBody>
      </p:sp>
      <p:sp>
        <p:nvSpPr>
          <p:cNvPr id="13" name="TextBox 1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079902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CDCF69C5-8E77-1FBE-1245-2DCD2D196E7E}"/>
              </a:ext>
            </a:extLst>
          </p:cNvPr>
          <p:cNvGraphicFramePr>
            <a:graphicFrameLocks noChangeAspect="1"/>
          </p:cNvGraphicFramePr>
          <p:nvPr userDrawn="1">
            <p:custDataLst>
              <p:tags r:id="rId1"/>
            </p:custDataLst>
            <p:extLst>
              <p:ext uri="{D42A27DB-BD31-4B8C-83A1-F6EECF244321}">
                <p14:modId xmlns:p14="http://schemas.microsoft.com/office/powerpoint/2010/main" val="28800187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0" name="think-cell data - do not delete" hidden="1">
                        <a:extLst>
                          <a:ext uri="{FF2B5EF4-FFF2-40B4-BE49-F238E27FC236}">
                            <a16:creationId xmlns:a16="http://schemas.microsoft.com/office/drawing/2014/main" id="{CDCF69C5-8E77-1FBE-1245-2DCD2D196E7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D3F0515C-F692-4D81-B090-E1490C80802A}"/>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12192000" cy="6858000"/>
          </a:xfrm>
          <a:prstGeom prst="rect">
            <a:avLst/>
          </a:prstGeom>
          <a:gradFill>
            <a:gsLst>
              <a:gs pos="0">
                <a:schemeClr val="tx2"/>
              </a:gs>
              <a:gs pos="100000">
                <a:schemeClr val="accent2"/>
              </a:gs>
            </a:gsLst>
            <a:lin ang="8100000" scaled="1"/>
          </a:gradFill>
        </p:spPr>
      </p:pic>
      <p:sp>
        <p:nvSpPr>
          <p:cNvPr id="16" name="Overlay">
            <a:extLst>
              <a:ext uri="{FF2B5EF4-FFF2-40B4-BE49-F238E27FC236}">
                <a16:creationId xmlns:a16="http://schemas.microsoft.com/office/drawing/2014/main" id="{3595AE63-DC4E-4590-8EC6-111B63C71C1F}"/>
              </a:ext>
            </a:extLst>
          </p:cNvPr>
          <p:cNvSpPr/>
          <p:nvPr userDrawn="1">
            <p:custDataLst>
              <p:tags r:id="rId2"/>
            </p:custDataLst>
          </p:nvPr>
        </p:nvSpPr>
        <p:spPr>
          <a:xfrm>
            <a:off x="0" y="0"/>
            <a:ext cx="12192000" cy="6858000"/>
          </a:xfrm>
          <a:prstGeom prst="rect">
            <a:avLst/>
          </a:prstGeom>
          <a:gradFill>
            <a:gsLst>
              <a:gs pos="0">
                <a:srgbClr val="009B9D">
                  <a:alpha val="75000"/>
                </a:srgbClr>
              </a:gs>
              <a:gs pos="100000">
                <a:srgbClr val="006F4E">
                  <a:alpha val="9506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lnSpc>
                <a:spcPct val="90000"/>
              </a:lnSpc>
              <a:spcAft>
                <a:spcPts val="1000"/>
              </a:spcAft>
            </a:pPr>
            <a:endParaRPr lang="en-US" sz="1200" dirty="0">
              <a:solidFill>
                <a:schemeClr val="bg1"/>
              </a:solidFill>
              <a:cs typeface="+mn-cs"/>
            </a:endParaRPr>
          </a:p>
        </p:txBody>
      </p:sp>
      <p:sp>
        <p:nvSpPr>
          <p:cNvPr id="11"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cs typeface="+mn-cs"/>
                <a:sym typeface="Trebuchet MS" panose="020B0603020202020204" pitchFamily="34" charset="0"/>
              </a:rPr>
              <a:t>Copyright © 2024 by Boston Consulting Group. All rights reserved.</a:t>
            </a:r>
          </a:p>
        </p:txBody>
      </p:sp>
      <p:sp>
        <p:nvSpPr>
          <p:cNvPr id="6" name="Rectangle 5"/>
          <p:cNvSpPr/>
          <p:nvPr/>
        </p:nvSpPr>
        <p:spPr bwMode="white">
          <a:xfrm>
            <a:off x="630000" y="625475"/>
            <a:ext cx="932688" cy="93268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en-US" sz="1200" dirty="0">
              <a:solidFill>
                <a:schemeClr val="bg1"/>
              </a:solidFill>
              <a:latin typeface="+mn-lt"/>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mj-cs"/>
                <a:sym typeface="Trebuchet MS" panose="020B0603020202020204" pitchFamily="34" charset="0"/>
              </a:defRPr>
            </a:lvl1pPr>
          </a:lstStyle>
          <a:p>
            <a:r>
              <a:rPr lang="en-US" dirty="0"/>
              <a:t>Click to add big statement text</a:t>
            </a:r>
          </a:p>
        </p:txBody>
      </p:sp>
      <p:sp>
        <p:nvSpPr>
          <p:cNvPr id="13" name="Date Placeholder 4">
            <a:extLst>
              <a:ext uri="{FF2B5EF4-FFF2-40B4-BE49-F238E27FC236}">
                <a16:creationId xmlns:a16="http://schemas.microsoft.com/office/drawing/2014/main" id="{ECEA461D-8264-4791-9FBF-F0154EB4955F}"/>
              </a:ext>
            </a:extLst>
          </p:cNvPr>
          <p:cNvSpPr>
            <a:spLocks noGrp="1"/>
          </p:cNvSpPr>
          <p:nvPr>
            <p:ph type="dt" sz="half" idx="10"/>
          </p:nvPr>
        </p:nvSpPr>
        <p:spPr>
          <a:xfrm>
            <a:off x="9677400" y="6405036"/>
            <a:ext cx="1482051" cy="153888"/>
          </a:xfrm>
        </p:spPr>
        <p:txBody>
          <a:bodyPr/>
          <a:lstStyle>
            <a:lvl1pPr rtl="0">
              <a:defRPr>
                <a:solidFill>
                  <a:schemeClr val="bg1"/>
                </a:solidFill>
                <a:latin typeface="+mn-lt"/>
                <a:cs typeface="+mn-cs"/>
                <a:sym typeface="Trebuchet MS" panose="020B0603020202020204" pitchFamily="34" charset="0"/>
              </a:defRPr>
            </a:lvl1pPr>
          </a:lstStyle>
          <a:p>
            <a:endParaRPr lang="en-US" dirty="0"/>
          </a:p>
        </p:txBody>
      </p:sp>
      <p:sp>
        <p:nvSpPr>
          <p:cNvPr id="14" name="TextBox 13">
            <a:extLst>
              <a:ext uri="{FF2B5EF4-FFF2-40B4-BE49-F238E27FC236}">
                <a16:creationId xmlns:a16="http://schemas.microsoft.com/office/drawing/2014/main" id="{0E31AFD0-02B8-4653-B223-95FA9B97A30F}"/>
              </a:ext>
            </a:extLst>
          </p:cNvPr>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736543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2792713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rtl="0">
              <a:defRPr>
                <a:solidFill>
                  <a:schemeClr val="bg1"/>
                </a:solidFill>
                <a:latin typeface="+mn-lt"/>
                <a:cs typeface="+mn-cs"/>
                <a:sym typeface="Trebuchet MS" panose="020B0603020202020204" pitchFamily="34" charset="0"/>
              </a:defRPr>
            </a:lvl1pPr>
          </a:lstStyle>
          <a:p>
            <a:endParaRPr lang="en-US" dirty="0"/>
          </a:p>
        </p:txBody>
      </p:sp>
      <p:pic>
        <p:nvPicPr>
          <p:cNvPr id="7" name="Picture 6"/>
          <p:cNvPicPr>
            <a:picLocks noChangeAspect="1"/>
          </p:cNvPicPr>
          <p:nvPr/>
        </p:nvPicPr>
        <p:blipFill rotWithShape="1">
          <a:blip r:embed="rId5" cstate="hqprint">
            <a:extLst>
              <a:ext uri="{28A0092B-C50C-407E-A947-70E740481C1C}">
                <a14:useLocalDpi xmlns:a14="http://schemas.microsoft.com/office/drawing/2010/main"/>
              </a:ext>
            </a:extLst>
          </a:blip>
          <a:srcRect r="-511" b="-40"/>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userDrawn="1"/>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3EAD92"/>
          </a:solidFill>
          <a:ln>
            <a:noFill/>
          </a:ln>
          <a:effectLst/>
        </p:spPr>
        <p:txBody>
          <a:bodyPr vert="horz" wrap="square" lIns="91440" tIns="45720" rIns="91440" bIns="45720" numCol="1" anchor="t" anchorCtr="0" compatLnSpc="1">
            <a:prstTxWarp prst="textNoShape">
              <a:avLst/>
            </a:prstTxWarp>
            <a:noAutofit/>
          </a:bodyPr>
          <a:lstStyle/>
          <a:p>
            <a:pPr rtl="0"/>
            <a:endParaRPr lang="en-US" dirty="0">
              <a:latin typeface="+mn-lt"/>
              <a:cs typeface="+mn-cs"/>
              <a:sym typeface="Trebuchet MS" panose="020B0603020202020204" pitchFamily="34" charset="0"/>
            </a:endParaRPr>
          </a:p>
        </p:txBody>
      </p:sp>
    </p:spTree>
    <p:extLst>
      <p:ext uri="{BB962C8B-B14F-4D97-AF65-F5344CB8AC3E}">
        <p14:creationId xmlns:p14="http://schemas.microsoft.com/office/powerpoint/2010/main" val="15127454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86688D8-1A0C-4797-A838-5312FADE9288}"/>
              </a:ext>
            </a:extLst>
          </p:cNvPr>
          <p:cNvGraphicFramePr>
            <a:graphicFrameLocks noChangeAspect="1"/>
          </p:cNvGraphicFramePr>
          <p:nvPr userDrawn="1">
            <p:custDataLst>
              <p:tags r:id="rId1"/>
            </p:custDataLst>
            <p:extLst>
              <p:ext uri="{D42A27DB-BD31-4B8C-83A1-F6EECF244321}">
                <p14:modId xmlns:p14="http://schemas.microsoft.com/office/powerpoint/2010/main" val="1681090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6" name="think-cell data - do not delete" hidden="1">
                        <a:extLst>
                          <a:ext uri="{FF2B5EF4-FFF2-40B4-BE49-F238E27FC236}">
                            <a16:creationId xmlns:a16="http://schemas.microsoft.com/office/drawing/2014/main" id="{786688D8-1A0C-4797-A838-5312FADE92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rtl="0">
              <a:defRPr>
                <a:solidFill>
                  <a:schemeClr val="bg1"/>
                </a:solidFill>
                <a:latin typeface="+mn-lt"/>
                <a:cs typeface="+mn-cs"/>
                <a:sym typeface="Trebuchet MS" panose="020B0603020202020204" pitchFamily="34" charset="0"/>
              </a:defRPr>
            </a:lvl1pPr>
          </a:lstStyle>
          <a:p>
            <a:endParaRPr lang="en-US" dirty="0"/>
          </a:p>
        </p:txBody>
      </p:sp>
      <p:sp>
        <p:nvSpPr>
          <p:cNvPr id="11"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cs typeface="+mn-cs"/>
                <a:sym typeface="Trebuchet MS" panose="020B0603020202020204" pitchFamily="34" charset="0"/>
              </a:rPr>
              <a:t>Copyright © 2024 by Boston Consulting Group. All rights reserved.</a:t>
            </a:r>
          </a:p>
        </p:txBody>
      </p:sp>
      <p:sp>
        <p:nvSpPr>
          <p:cNvPr id="2" name="Title 1"/>
          <p:cNvSpPr>
            <a:spLocks noGrp="1"/>
          </p:cNvSpPr>
          <p:nvPr>
            <p:ph type="title" hasCustomPrompt="1"/>
          </p:nvPr>
        </p:nvSpPr>
        <p:spPr>
          <a:xfrm>
            <a:off x="630000" y="622800"/>
            <a:ext cx="10933200" cy="332399"/>
          </a:xfrm>
        </p:spPr>
        <p:txBody>
          <a:bodyPr vert="horz"/>
          <a:lstStyle>
            <a:lvl1pPr rtl="0">
              <a:defRPr>
                <a:solidFill>
                  <a:schemeClr val="bg1"/>
                </a:solidFill>
                <a:latin typeface="+mj-lt"/>
                <a:cs typeface="+mj-cs"/>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6433021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0012C75-C7DC-E423-95CA-C2C9489C47C0}"/>
              </a:ext>
            </a:extLst>
          </p:cNvPr>
          <p:cNvGraphicFramePr>
            <a:graphicFrameLocks noChangeAspect="1"/>
          </p:cNvGraphicFramePr>
          <p:nvPr userDrawn="1">
            <p:custDataLst>
              <p:tags r:id="rId1"/>
            </p:custDataLst>
            <p:extLst>
              <p:ext uri="{D42A27DB-BD31-4B8C-83A1-F6EECF244321}">
                <p14:modId xmlns:p14="http://schemas.microsoft.com/office/powerpoint/2010/main" val="22864210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10012C75-C7DC-E423-95CA-C2C9489C47C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2" name="Picture 11">
            <a:extLst>
              <a:ext uri="{FF2B5EF4-FFF2-40B4-BE49-F238E27FC236}">
                <a16:creationId xmlns:a16="http://schemas.microsoft.com/office/drawing/2014/main" id="{3AD2599B-8F52-428A-872E-A602E69309D4}"/>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2467155" y="0"/>
            <a:ext cx="9724845" cy="6858000"/>
          </a:xfrm>
          <a:prstGeom prst="rect">
            <a:avLst/>
          </a:prstGeom>
          <a:gradFill>
            <a:gsLst>
              <a:gs pos="0">
                <a:srgbClr val="29BA74"/>
              </a:gs>
              <a:gs pos="100000">
                <a:srgbClr val="197A56"/>
              </a:gs>
            </a:gsLst>
            <a:lin ang="8100000" scaled="1"/>
          </a:gradFill>
        </p:spPr>
      </p:pic>
      <p:sp>
        <p:nvSpPr>
          <p:cNvPr id="14" name="Overlay">
            <a:extLst>
              <a:ext uri="{FF2B5EF4-FFF2-40B4-BE49-F238E27FC236}">
                <a16:creationId xmlns:a16="http://schemas.microsoft.com/office/drawing/2014/main" id="{E96F035B-076A-4145-956E-116CF4AE728B}"/>
              </a:ext>
            </a:extLst>
          </p:cNvPr>
          <p:cNvSpPr/>
          <p:nvPr userDrawn="1">
            <p:custDataLst>
              <p:tags r:id="rId2"/>
            </p:custDataLst>
          </p:nvPr>
        </p:nvSpPr>
        <p:spPr>
          <a:xfrm>
            <a:off x="2794001" y="0"/>
            <a:ext cx="9397999" cy="6858000"/>
          </a:xfrm>
          <a:prstGeom prst="rect">
            <a:avLst/>
          </a:prstGeom>
          <a:gradFill>
            <a:gsLst>
              <a:gs pos="0">
                <a:srgbClr val="009B9D">
                  <a:alpha val="21000"/>
                </a:srgbClr>
              </a:gs>
              <a:gs pos="100000">
                <a:srgbClr val="006F4E">
                  <a:alpha val="88979"/>
                </a:srgbClr>
              </a:gs>
            </a:gsLst>
            <a:lin ang="8100000" scaled="1"/>
          </a:gradFill>
          <a:ln w="9525" cap="flat" cmpd="sng" algn="ctr">
            <a:noFill/>
            <a:prstDash val="solid"/>
            <a:miter lim="800000"/>
          </a:ln>
          <a:effectLst/>
        </p:spPr>
        <p:txBody>
          <a:bodyPr rtlCol="0" anchor="t"/>
          <a:lstStyle/>
          <a:p>
            <a:pPr marL="0" marR="0" lvl="0" indent="0"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Trebuchet MS"/>
              <a:ea typeface="+mn-ea"/>
              <a:cs typeface="+mn-cs"/>
            </a:endParaRPr>
          </a:p>
        </p:txBody>
      </p:sp>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US" sz="1200" dirty="0">
              <a:solidFill>
                <a:prstClr val="white"/>
              </a:solidFill>
              <a:latin typeface="+mn-lt"/>
              <a:cs typeface="+mn-cs"/>
              <a:sym typeface="Trebuchet MS" panose="020B0603020202020204" pitchFamily="34" charset="0"/>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US" sz="1200" dirty="0">
              <a:solidFill>
                <a:prstClr val="white"/>
              </a:solidFill>
              <a:latin typeface="+mn-lt"/>
              <a:cs typeface="+mn-cs"/>
              <a:sym typeface="Trebuchet MS" panose="020B0603020202020204" pitchFamily="34" charset="0"/>
            </a:endParaRPr>
          </a:p>
        </p:txBody>
      </p:sp>
      <p:sp>
        <p:nvSpPr>
          <p:cNvPr id="20" name="TextBox 19"/>
          <p:cNvSpPr txBox="1"/>
          <p:nvPr/>
        </p:nvSpPr>
        <p:spPr>
          <a:xfrm>
            <a:off x="630000" y="2577934"/>
            <a:ext cx="2819400" cy="1761764"/>
          </a:xfrm>
          <a:prstGeom prst="rect">
            <a:avLst/>
          </a:prstGeom>
          <a:noFill/>
        </p:spPr>
        <p:txBody>
          <a:bodyPr wrap="square" lIns="0" tIns="0" rIns="0" bIns="0" rtlCol="0" anchor="ctr">
            <a:spAutoFit/>
          </a:bodyPr>
          <a:lstStyle/>
          <a:p>
            <a:pPr marL="0" indent="0" rtl="0">
              <a:lnSpc>
                <a:spcPct val="106000"/>
              </a:lnSpc>
              <a:spcAft>
                <a:spcPts val="700"/>
              </a:spcAft>
              <a:buFontTx/>
              <a:buNone/>
            </a:pPr>
            <a:r>
              <a:rPr lang="en-US" sz="5400" dirty="0">
                <a:solidFill>
                  <a:schemeClr val="tx2"/>
                </a:solidFill>
                <a:latin typeface="+mn-lt"/>
                <a:cs typeface="+mn-cs"/>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rtl="0">
              <a:defRPr>
                <a:solidFill>
                  <a:schemeClr val="bg1"/>
                </a:solidFill>
                <a:latin typeface="+mn-lt"/>
                <a:cs typeface="+mn-cs"/>
                <a:sym typeface="Trebuchet MS" panose="020B0603020202020204" pitchFamily="34" charset="0"/>
              </a:defRPr>
            </a:lvl1pPr>
          </a:lstStyle>
          <a:p>
            <a:endParaRPr lang="en-US" dirty="0"/>
          </a:p>
        </p:txBody>
      </p:sp>
      <p:sp>
        <p:nvSpPr>
          <p:cNvPr id="24"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cs typeface="+mn-cs"/>
                <a:sym typeface="Trebuchet MS" panose="020B0603020202020204" pitchFamily="34" charset="0"/>
              </a:rPr>
              <a:t>Copyright © 2024 by Boston Consulting Group. All rights reserved.</a:t>
            </a: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41861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434F1EB-5115-135A-A73F-D5D3E0AC3996}"/>
              </a:ext>
            </a:extLst>
          </p:cNvPr>
          <p:cNvGraphicFramePr>
            <a:graphicFrameLocks noChangeAspect="1"/>
          </p:cNvGraphicFramePr>
          <p:nvPr userDrawn="1">
            <p:custDataLst>
              <p:tags r:id="rId1"/>
            </p:custDataLst>
            <p:extLst>
              <p:ext uri="{D42A27DB-BD31-4B8C-83A1-F6EECF244321}">
                <p14:modId xmlns:p14="http://schemas.microsoft.com/office/powerpoint/2010/main" val="26906203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7434F1EB-5115-135A-A73F-D5D3E0AC399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2" name="Picture 11">
            <a:extLst>
              <a:ext uri="{FF2B5EF4-FFF2-40B4-BE49-F238E27FC236}">
                <a16:creationId xmlns:a16="http://schemas.microsoft.com/office/drawing/2014/main" id="{D1D69A2D-21C2-4941-8BF8-20FDB05EF21D}"/>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12192000" cy="6858000"/>
          </a:xfrm>
          <a:prstGeom prst="rect">
            <a:avLst/>
          </a:prstGeom>
          <a:gradFill>
            <a:gsLst>
              <a:gs pos="0">
                <a:schemeClr val="tx2"/>
              </a:gs>
              <a:gs pos="100000">
                <a:schemeClr val="accent2"/>
              </a:gs>
            </a:gsLst>
            <a:lin ang="8100000" scaled="1"/>
          </a:gradFill>
        </p:spPr>
      </p:pic>
      <p:sp>
        <p:nvSpPr>
          <p:cNvPr id="13" name="Overlay">
            <a:extLst>
              <a:ext uri="{FF2B5EF4-FFF2-40B4-BE49-F238E27FC236}">
                <a16:creationId xmlns:a16="http://schemas.microsoft.com/office/drawing/2014/main" id="{009C0F89-3121-4AC8-9785-188F661FDF10}"/>
              </a:ext>
            </a:extLst>
          </p:cNvPr>
          <p:cNvSpPr/>
          <p:nvPr userDrawn="1">
            <p:custDataLst>
              <p:tags r:id="rId2"/>
            </p:custDataLst>
          </p:nvPr>
        </p:nvSpPr>
        <p:spPr>
          <a:xfrm>
            <a:off x="0" y="0"/>
            <a:ext cx="12192000" cy="6858000"/>
          </a:xfrm>
          <a:prstGeom prst="rect">
            <a:avLst/>
          </a:prstGeom>
          <a:gradFill>
            <a:gsLst>
              <a:gs pos="0">
                <a:srgbClr val="009B9D">
                  <a:alpha val="75000"/>
                </a:srgbClr>
              </a:gs>
              <a:gs pos="100000">
                <a:srgbClr val="006F4E">
                  <a:alpha val="9506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lnSpc>
                <a:spcPct val="90000"/>
              </a:lnSpc>
              <a:spcAft>
                <a:spcPts val="1000"/>
              </a:spcAft>
            </a:pPr>
            <a:endParaRPr lang="en-US" sz="1200" dirty="0">
              <a:solidFill>
                <a:schemeClr val="bg1"/>
              </a:solidFill>
              <a:cs typeface="+mn-cs"/>
            </a:endParaRPr>
          </a:p>
        </p:txBody>
      </p:sp>
      <p:sp>
        <p:nvSpPr>
          <p:cNvPr id="6" name="Date Placeholder 4"/>
          <p:cNvSpPr>
            <a:spLocks noGrp="1"/>
          </p:cNvSpPr>
          <p:nvPr>
            <p:ph type="dt" sz="half" idx="10"/>
          </p:nvPr>
        </p:nvSpPr>
        <p:spPr>
          <a:xfrm>
            <a:off x="9677400" y="6405036"/>
            <a:ext cx="1482051" cy="153888"/>
          </a:xfrm>
        </p:spPr>
        <p:txBody>
          <a:bodyPr/>
          <a:lstStyle>
            <a:lvl1pPr rtl="0">
              <a:defRPr>
                <a:solidFill>
                  <a:schemeClr val="bg1"/>
                </a:solidFill>
                <a:latin typeface="+mn-lt"/>
                <a:cs typeface="+mn-cs"/>
                <a:sym typeface="Trebuchet MS" panose="020B0603020202020204" pitchFamily="34" charset="0"/>
              </a:defRPr>
            </a:lvl1pPr>
          </a:lstStyle>
          <a:p>
            <a:endParaRPr lang="en-US" dirty="0"/>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cs typeface="+mn-cs"/>
                <a:sym typeface="Trebuchet MS" panose="020B0603020202020204" pitchFamily="34" charset="0"/>
              </a:rPr>
              <a:t>Copyright © 2024 by Boston Consulting Group. All rights reserved.</a:t>
            </a:r>
          </a:p>
        </p:txBody>
      </p:sp>
      <p:sp>
        <p:nvSpPr>
          <p:cNvPr id="11" name="TextBox 10"/>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43806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13631D3-7F52-4A2D-A926-6065FCDB0B6C}"/>
              </a:ext>
            </a:extLst>
          </p:cNvPr>
          <p:cNvGraphicFramePr>
            <a:graphicFrameLocks noChangeAspect="1"/>
          </p:cNvGraphicFramePr>
          <p:nvPr userDrawn="1">
            <p:custDataLst>
              <p:tags r:id="rId1"/>
            </p:custDataLst>
            <p:extLst>
              <p:ext uri="{D42A27DB-BD31-4B8C-83A1-F6EECF244321}">
                <p14:modId xmlns:p14="http://schemas.microsoft.com/office/powerpoint/2010/main" val="3554901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2" name="think-cell data - do not delete" hidden="1">
                        <a:extLst>
                          <a:ext uri="{FF2B5EF4-FFF2-40B4-BE49-F238E27FC236}">
                            <a16:creationId xmlns:a16="http://schemas.microsoft.com/office/drawing/2014/main" id="{D13631D3-7F52-4A2D-A926-6065FCDB0B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rtl="0">
              <a:defRPr>
                <a:latin typeface="+mn-lt"/>
                <a:cs typeface="+mn-cs"/>
                <a:sym typeface="Trebuchet MS" panose="020B0603020202020204" pitchFamily="34" charset="0"/>
              </a:defRPr>
            </a:lvl1pPr>
          </a:lstStyle>
          <a:p>
            <a:endParaRPr lang="en-US" dirty="0"/>
          </a:p>
        </p:txBody>
      </p:sp>
      <p:sp>
        <p:nvSpPr>
          <p:cNvPr id="5"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cs typeface="+mn-cs"/>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9757421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8AADB74-65F4-4A0B-9FE3-EB2F186BEE7E}"/>
              </a:ext>
            </a:extLst>
          </p:cNvPr>
          <p:cNvGraphicFramePr>
            <a:graphicFrameLocks noChangeAspect="1"/>
          </p:cNvGraphicFramePr>
          <p:nvPr userDrawn="1">
            <p:custDataLst>
              <p:tags r:id="rId1"/>
            </p:custDataLst>
            <p:extLst>
              <p:ext uri="{D42A27DB-BD31-4B8C-83A1-F6EECF244321}">
                <p14:modId xmlns:p14="http://schemas.microsoft.com/office/powerpoint/2010/main" val="89113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2" name="think-cell data - do not delete" hidden="1">
                        <a:extLst>
                          <a:ext uri="{FF2B5EF4-FFF2-40B4-BE49-F238E27FC236}">
                            <a16:creationId xmlns:a16="http://schemas.microsoft.com/office/drawing/2014/main" id="{38AADB74-65F4-4A0B-9FE3-EB2F186BEE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6" y="1664256"/>
            <a:ext cx="6209072" cy="3323987"/>
          </a:xfrm>
          <a:prstGeom prst="rect">
            <a:avLst/>
          </a:prstGeom>
        </p:spPr>
        <p:txBody>
          <a:bodyPr wrap="square" lIns="0" tIns="0" rIns="0" bIns="0" anchor="ctr">
            <a:spAutoFit/>
          </a:bodyPr>
          <a:lstStyle/>
          <a:p>
            <a:pPr indent="0" rtl="0">
              <a:lnSpc>
                <a:spcPct val="100000"/>
              </a:lnSpc>
            </a:pPr>
            <a:r>
              <a:rPr lang="en-US" sz="900" b="0" dirty="0">
                <a:latin typeface="+mn-lt"/>
                <a:cs typeface="+mn-cs"/>
                <a:sym typeface="Trebuchet MS" panose="020B0603020202020204" pitchFamily="34" charset="0"/>
              </a:rPr>
              <a:t>The services and materials provided by Boston Consulting Group (BCG) are subject to BCG's Standard Terms </a:t>
            </a:r>
            <a:br>
              <a:rPr lang="en-US" sz="900" b="0" dirty="0">
                <a:latin typeface="+mn-lt"/>
                <a:cs typeface="+mn-cs"/>
                <a:sym typeface="Trebuchet MS" panose="020B0603020202020204" pitchFamily="34" charset="0"/>
              </a:rPr>
            </a:br>
            <a:r>
              <a:rPr lang="en-US" sz="900" b="0" dirty="0">
                <a:latin typeface="+mn-lt"/>
                <a:cs typeface="+mn-cs"/>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cs typeface="+mn-cs"/>
                <a:sym typeface="Trebuchet MS" panose="020B0603020202020204" pitchFamily="34" charset="0"/>
              </a:rPr>
            </a:br>
            <a:r>
              <a:rPr lang="en-US" sz="900" b="0" dirty="0">
                <a:latin typeface="+mn-lt"/>
                <a:cs typeface="+mn-cs"/>
                <a:sym typeface="Trebuchet MS" panose="020B0603020202020204" pitchFamily="34" charset="0"/>
              </a:rPr>
              <a:t>to update these materials after the date hereof, notwithstanding that such information may become outdated </a:t>
            </a:r>
            <a:br>
              <a:rPr lang="en-US" sz="900" b="0" dirty="0">
                <a:latin typeface="+mn-lt"/>
                <a:cs typeface="+mn-cs"/>
                <a:sym typeface="Trebuchet MS" panose="020B0603020202020204" pitchFamily="34" charset="0"/>
              </a:rPr>
            </a:br>
            <a:r>
              <a:rPr lang="en-US" sz="900" b="0" dirty="0">
                <a:latin typeface="+mn-lt"/>
                <a:cs typeface="+mn-cs"/>
                <a:sym typeface="Trebuchet MS" panose="020B0603020202020204" pitchFamily="34" charset="0"/>
              </a:rPr>
              <a:t>or inaccurate.</a:t>
            </a:r>
          </a:p>
          <a:p>
            <a:pPr indent="0" rtl="0">
              <a:lnSpc>
                <a:spcPct val="100000"/>
              </a:lnSpc>
            </a:pPr>
            <a:r>
              <a:rPr lang="en-US" sz="900" b="0" dirty="0">
                <a:latin typeface="+mn-lt"/>
                <a:cs typeface="+mn-cs"/>
                <a:sym typeface="Trebuchet MS" panose="020B0603020202020204" pitchFamily="34" charset="0"/>
              </a:rPr>
              <a:t> </a:t>
            </a:r>
          </a:p>
          <a:p>
            <a:pPr indent="0" rtl="0">
              <a:lnSpc>
                <a:spcPct val="100000"/>
              </a:lnSpc>
            </a:pPr>
            <a:r>
              <a:rPr lang="en-US" sz="900" b="0" dirty="0">
                <a:latin typeface="+mn-lt"/>
                <a:cs typeface="+mn-cs"/>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cs typeface="+mn-cs"/>
                <a:sym typeface="Trebuchet MS" panose="020B0603020202020204" pitchFamily="34" charset="0"/>
              </a:rPr>
            </a:br>
            <a:r>
              <a:rPr lang="en-US" sz="900" b="0" dirty="0">
                <a:latin typeface="+mn-lt"/>
                <a:cs typeface="+mn-cs"/>
                <a:sym typeface="Trebuchet MS" panose="020B0603020202020204" pitchFamily="34" charset="0"/>
              </a:rPr>
              <a:t>of this document shall be deemed agreement with and consideration for the foregoing.</a:t>
            </a:r>
          </a:p>
          <a:p>
            <a:pPr indent="0" rtl="0">
              <a:lnSpc>
                <a:spcPct val="100000"/>
              </a:lnSpc>
            </a:pPr>
            <a:endParaRPr lang="en-US" sz="900" b="0" dirty="0">
              <a:latin typeface="+mn-lt"/>
              <a:cs typeface="+mn-cs"/>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cs typeface="+mn-cs"/>
                <a:sym typeface="Trebuchet MS" panose="020B0603020202020204" pitchFamily="34" charset="0"/>
              </a:rPr>
              <a:t>BCG does not provide fairness opinions or valuations of market transactions, and these materials should not be relied </a:t>
            </a:r>
            <a:br>
              <a:rPr lang="en-US" sz="900" b="0" dirty="0">
                <a:latin typeface="+mn-lt"/>
                <a:cs typeface="+mn-cs"/>
                <a:sym typeface="Trebuchet MS" panose="020B0603020202020204" pitchFamily="34" charset="0"/>
              </a:rPr>
            </a:br>
            <a:r>
              <a:rPr lang="en-US" sz="900" b="0" dirty="0">
                <a:latin typeface="+mn-lt"/>
                <a:cs typeface="+mn-cs"/>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cs typeface="+mn-cs"/>
                <a:sym typeface="Trebuchet MS" panose="020B0603020202020204" pitchFamily="34" charset="0"/>
              </a:rPr>
            </a:br>
            <a:r>
              <a:rPr lang="en-US" sz="900" b="0" dirty="0">
                <a:latin typeface="+mn-lt"/>
                <a:cs typeface="+mn-cs"/>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pPr rtl="0"/>
            <a:r>
              <a:rPr lang="en-US" sz="5100" dirty="0">
                <a:gradFill>
                  <a:gsLst>
                    <a:gs pos="100000">
                      <a:schemeClr val="tx2"/>
                    </a:gs>
                    <a:gs pos="2000">
                      <a:schemeClr val="accent2"/>
                    </a:gs>
                  </a:gsLst>
                  <a:lin ang="2700000" scaled="0"/>
                </a:gradFill>
                <a:latin typeface="+mn-lt"/>
                <a:cs typeface="+mn-cs"/>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rtl="0">
              <a:defRPr>
                <a:latin typeface="+mn-lt"/>
                <a:cs typeface="+mn-cs"/>
                <a:sym typeface="Trebuchet MS" panose="020B0603020202020204" pitchFamily="34" charset="0"/>
              </a:defRPr>
            </a:lvl1pPr>
          </a:lstStyle>
          <a:p>
            <a:endParaRPr lang="en-US" dirty="0"/>
          </a:p>
        </p:txBody>
      </p:sp>
      <p:sp>
        <p:nvSpPr>
          <p:cNvPr id="10"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cs typeface="+mn-cs"/>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25584459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448163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84" imgH="384" progId="TCLayout.ActiveDocument.1">
                  <p:embed/>
                </p:oleObj>
              </mc:Choice>
              <mc:Fallback>
                <p:oleObj name="think-cell Slide" r:id="rId7" imgW="384" imgH="384" progId="TCLayout.ActiveDocument.1">
                  <p:embed/>
                  <p:pic>
                    <p:nvPicPr>
                      <p:cNvPr id="2" name="Object 1"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A5A10BED-D4B0-4E1B-A63D-93CFCEDC3980}"/>
              </a:ext>
            </a:extLst>
          </p:cNvPr>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US" sz="1200" dirty="0">
              <a:solidFill>
                <a:prstClr val="white"/>
              </a:solidFill>
              <a:cs typeface="+mn-cs"/>
              <a:sym typeface="Trebuchet MS" panose="020B0603020202020204" pitchFamily="34" charset="0"/>
            </a:endParaRPr>
          </a:p>
        </p:txBody>
      </p:sp>
      <p:pic>
        <p:nvPicPr>
          <p:cNvPr id="11" name="Picture 10">
            <a:extLst>
              <a:ext uri="{FF2B5EF4-FFF2-40B4-BE49-F238E27FC236}">
                <a16:creationId xmlns:a16="http://schemas.microsoft.com/office/drawing/2014/main" id="{AFD1A058-0284-421E-9754-8040F41147DA}"/>
              </a:ext>
            </a:extLst>
          </p:cNvPr>
          <p:cNvPicPr>
            <a:picLocks noChangeAspect="1"/>
          </p:cNvPicPr>
          <p:nvPr userDrawn="1"/>
        </p:nvPicPr>
        <p:blipFill rotWithShape="1">
          <a:blip r:embed="rId9" cstate="hqprint">
            <a:extLst>
              <a:ext uri="{28A0092B-C50C-407E-A947-70E740481C1C}">
                <a14:useLocalDpi xmlns:a14="http://schemas.microsoft.com/office/drawing/2010/main"/>
              </a:ext>
            </a:extLst>
          </a:blip>
          <a:srcRect r="-234"/>
          <a:stretch/>
        </p:blipFill>
        <p:spPr>
          <a:xfrm rot="16200000" flipH="1">
            <a:off x="8471925" y="2172355"/>
            <a:ext cx="580573" cy="6858000"/>
          </a:xfrm>
          <a:prstGeom prst="rect">
            <a:avLst/>
          </a:prstGeom>
        </p:spPr>
      </p:pic>
      <p:pic>
        <p:nvPicPr>
          <p:cNvPr id="12" name="Picture 2" descr="Design a landscape-oriented image of a future bank branch interior focusing on enhanced client relationships and personalized advisory. This modern, multifunctional space should be equipped for co-working, hosting social events, and private consultations, featuring a welcoming cafe area. It must include cutting-edge digital and GenAI technology tools for superior customer support. The layout is arranged so the most important elements are prominent, especially considering the landscape A4 format where the lower part might be less visible. The design combines professionalism with a cozy atmosphere, integrating comfortable seating, indoor greenery, and a modern aesthetic. Ensure the scene is photorealistic, emphasizing the innovative and multifunctional nature of the branch, without including any text. The composition should adapt well to a landscape A4 presentation, making sure the key aspects are clearly visible even if part of the image is obscured.">
            <a:extLst>
              <a:ext uri="{FF2B5EF4-FFF2-40B4-BE49-F238E27FC236}">
                <a16:creationId xmlns:a16="http://schemas.microsoft.com/office/drawing/2014/main" id="{F7F72556-49CD-4217-BC4D-9E411063F83A}"/>
              </a:ext>
            </a:extLst>
          </p:cNvPr>
          <p:cNvPicPr>
            <a:picLocks noChangeAspect="1" noChangeArrowheads="1"/>
          </p:cNvPicPr>
          <p:nvPr userDrawn="1"/>
        </p:nvPicPr>
        <p:blipFill rotWithShape="1">
          <a:blip r:embed="rId10" cstate="screen">
            <a:extLst>
              <a:ext uri="{28A0092B-C50C-407E-A947-70E740481C1C}">
                <a14:useLocalDpi xmlns:a14="http://schemas.microsoft.com/office/drawing/2010/main"/>
              </a:ext>
            </a:extLst>
          </a:blip>
          <a:srcRect/>
          <a:stretch/>
        </p:blipFill>
        <p:spPr bwMode="auto">
          <a:xfrm>
            <a:off x="1"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6" name="TextBox 35">
            <a:extLst>
              <a:ext uri="{FF2B5EF4-FFF2-40B4-BE49-F238E27FC236}">
                <a16:creationId xmlns:a16="http://schemas.microsoft.com/office/drawing/2014/main" id="{59F07DDF-CD90-45F2-B961-A60CB12C3AE7}"/>
              </a:ext>
            </a:extLst>
          </p:cNvPr>
          <p:cNvSpPr txBox="1"/>
          <p:nvPr userDrawn="1"/>
        </p:nvSpPr>
        <p:spPr bwMode="white">
          <a:xfrm>
            <a:off x="924979" y="4921094"/>
            <a:ext cx="840801" cy="170110"/>
          </a:xfrm>
          <a:prstGeom prst="rect">
            <a:avLst/>
          </a:prstGeom>
          <a:noFill/>
        </p:spPr>
        <p:txBody>
          <a:bodyPr wrap="none" lIns="0" tIns="0" rIns="0" bIns="0" rtlCol="0" anchor="b">
            <a:noAutofit/>
          </a:bodyPr>
          <a:lstStyle/>
          <a:p>
            <a:pPr rtl="0">
              <a:lnSpc>
                <a:spcPct val="90000"/>
              </a:lnSpc>
              <a:spcAft>
                <a:spcPts val="600"/>
              </a:spcAft>
            </a:pPr>
            <a:r>
              <a:rPr lang="en-US" sz="1200" dirty="0">
                <a:solidFill>
                  <a:srgbClr val="03522D"/>
                </a:solidFill>
                <a:latin typeface="+mn-lt"/>
                <a:cs typeface="+mn-cs"/>
                <a:sym typeface="Trebuchet MS" panose="020B0603020202020204" pitchFamily="34" charset="0"/>
              </a:rPr>
              <a:t>bcg.com</a:t>
            </a:r>
          </a:p>
        </p:txBody>
      </p:sp>
      <p:grpSp>
        <p:nvGrpSpPr>
          <p:cNvPr id="66" name="Group 65">
            <a:extLst>
              <a:ext uri="{FF2B5EF4-FFF2-40B4-BE49-F238E27FC236}">
                <a16:creationId xmlns:a16="http://schemas.microsoft.com/office/drawing/2014/main" id="{36E2502B-2941-4987-84D2-245200051489}"/>
              </a:ext>
            </a:extLst>
          </p:cNvPr>
          <p:cNvGrpSpPr/>
          <p:nvPr userDrawn="1"/>
        </p:nvGrpSpPr>
        <p:grpSpPr>
          <a:xfrm>
            <a:off x="-464617" y="0"/>
            <a:ext cx="13994863" cy="6858001"/>
            <a:chOff x="-469420" y="7117574"/>
            <a:chExt cx="13994863" cy="6858001"/>
          </a:xfrm>
        </p:grpSpPr>
        <p:sp>
          <p:nvSpPr>
            <p:cNvPr id="67" name="Freeform: Shape 66">
              <a:extLst>
                <a:ext uri="{FF2B5EF4-FFF2-40B4-BE49-F238E27FC236}">
                  <a16:creationId xmlns:a16="http://schemas.microsoft.com/office/drawing/2014/main" id="{A9216CC2-CB25-4718-8D89-28768E773B1D}"/>
                </a:ext>
              </a:extLst>
            </p:cNvPr>
            <p:cNvSpPr/>
            <p:nvPr userDrawn="1"/>
          </p:nvSpPr>
          <p:spPr>
            <a:xfrm>
              <a:off x="-469420" y="7117574"/>
              <a:ext cx="827649" cy="859748"/>
            </a:xfrm>
            <a:custGeom>
              <a:avLst/>
              <a:gdLst>
                <a:gd name="connsiteX0" fmla="*/ 0 w 827649"/>
                <a:gd name="connsiteY0" fmla="*/ 0 h 859748"/>
                <a:gd name="connsiteX1" fmla="*/ 827649 w 827649"/>
                <a:gd name="connsiteY1" fmla="*/ 0 h 859748"/>
                <a:gd name="connsiteX2" fmla="*/ 469420 w 827649"/>
                <a:gd name="connsiteY2" fmla="*/ 859748 h 859748"/>
                <a:gd name="connsiteX3" fmla="*/ 469420 w 827649"/>
                <a:gd name="connsiteY3" fmla="*/ 1 h 859748"/>
                <a:gd name="connsiteX4" fmla="*/ 0 w 827649"/>
                <a:gd name="connsiteY4" fmla="*/ 1 h 859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649" h="859748">
                  <a:moveTo>
                    <a:pt x="0" y="0"/>
                  </a:moveTo>
                  <a:lnTo>
                    <a:pt x="827649" y="0"/>
                  </a:lnTo>
                  <a:lnTo>
                    <a:pt x="469420" y="859748"/>
                  </a:lnTo>
                  <a:lnTo>
                    <a:pt x="469420" y="1"/>
                  </a:lnTo>
                  <a:lnTo>
                    <a:pt x="0" y="1"/>
                  </a:lnTo>
                  <a:close/>
                </a:path>
              </a:pathLst>
            </a:cu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68" name="Parallelogram 67">
              <a:extLst>
                <a:ext uri="{FF2B5EF4-FFF2-40B4-BE49-F238E27FC236}">
                  <a16:creationId xmlns:a16="http://schemas.microsoft.com/office/drawing/2014/main" id="{72F08049-2541-4A50-B6CF-12B11B14BC06}"/>
                </a:ext>
              </a:extLst>
            </p:cNvPr>
            <p:cNvSpPr/>
            <p:nvPr userDrawn="1"/>
          </p:nvSpPr>
          <p:spPr>
            <a:xfrm>
              <a:off x="1062144" y="7117574"/>
              <a:ext cx="3685157" cy="6858000"/>
            </a:xfrm>
            <a:prstGeom prst="parallelogram">
              <a:avLst>
                <a:gd name="adj" fmla="val 77541"/>
              </a:avLst>
            </a:pr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69" name="Freeform: Shape 68">
              <a:extLst>
                <a:ext uri="{FF2B5EF4-FFF2-40B4-BE49-F238E27FC236}">
                  <a16:creationId xmlns:a16="http://schemas.microsoft.com/office/drawing/2014/main" id="{E684CE98-4B1E-4345-8D95-834C8A35122E}"/>
                </a:ext>
              </a:extLst>
            </p:cNvPr>
            <p:cNvSpPr/>
            <p:nvPr userDrawn="1"/>
          </p:nvSpPr>
          <p:spPr>
            <a:xfrm>
              <a:off x="0" y="7117574"/>
              <a:ext cx="3650033" cy="6858000"/>
            </a:xfrm>
            <a:custGeom>
              <a:avLst/>
              <a:gdLst>
                <a:gd name="connsiteX0" fmla="*/ 2822384 w 3650033"/>
                <a:gd name="connsiteY0" fmla="*/ 0 h 6858000"/>
                <a:gd name="connsiteX1" fmla="*/ 3650033 w 3650033"/>
                <a:gd name="connsiteY1" fmla="*/ 0 h 6858000"/>
                <a:gd name="connsiteX2" fmla="*/ 792525 w 3650033"/>
                <a:gd name="connsiteY2" fmla="*/ 6858000 h 6858000"/>
                <a:gd name="connsiteX3" fmla="*/ 0 w 3650033"/>
                <a:gd name="connsiteY3" fmla="*/ 6858000 h 6858000"/>
                <a:gd name="connsiteX4" fmla="*/ 0 w 3650033"/>
                <a:gd name="connsiteY4" fmla="*/ 6773703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0033" h="6858000">
                  <a:moveTo>
                    <a:pt x="2822384" y="0"/>
                  </a:moveTo>
                  <a:lnTo>
                    <a:pt x="3650033" y="0"/>
                  </a:lnTo>
                  <a:lnTo>
                    <a:pt x="792525" y="6858000"/>
                  </a:lnTo>
                  <a:lnTo>
                    <a:pt x="0" y="6858000"/>
                  </a:lnTo>
                  <a:lnTo>
                    <a:pt x="0" y="6773703"/>
                  </a:lnTo>
                  <a:close/>
                </a:path>
              </a:pathLst>
            </a:cu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70" name="Freeform: Shape 69">
              <a:extLst>
                <a:ext uri="{FF2B5EF4-FFF2-40B4-BE49-F238E27FC236}">
                  <a16:creationId xmlns:a16="http://schemas.microsoft.com/office/drawing/2014/main" id="{0087DA12-2556-4B9B-ABB1-9AF948D492FB}"/>
                </a:ext>
              </a:extLst>
            </p:cNvPr>
            <p:cNvSpPr/>
            <p:nvPr userDrawn="1"/>
          </p:nvSpPr>
          <p:spPr>
            <a:xfrm>
              <a:off x="0" y="7117575"/>
              <a:ext cx="2552765" cy="6126619"/>
            </a:xfrm>
            <a:custGeom>
              <a:avLst/>
              <a:gdLst>
                <a:gd name="connsiteX0" fmla="*/ 1725116 w 2552765"/>
                <a:gd name="connsiteY0" fmla="*/ 0 h 6126619"/>
                <a:gd name="connsiteX1" fmla="*/ 2552765 w 2552765"/>
                <a:gd name="connsiteY1" fmla="*/ 0 h 6126619"/>
                <a:gd name="connsiteX2" fmla="*/ 0 w 2552765"/>
                <a:gd name="connsiteY2" fmla="*/ 6126619 h 6126619"/>
                <a:gd name="connsiteX3" fmla="*/ 0 w 2552765"/>
                <a:gd name="connsiteY3" fmla="*/ 4140267 h 6126619"/>
              </a:gdLst>
              <a:ahLst/>
              <a:cxnLst>
                <a:cxn ang="0">
                  <a:pos x="connsiteX0" y="connsiteY0"/>
                </a:cxn>
                <a:cxn ang="0">
                  <a:pos x="connsiteX1" y="connsiteY1"/>
                </a:cxn>
                <a:cxn ang="0">
                  <a:pos x="connsiteX2" y="connsiteY2"/>
                </a:cxn>
                <a:cxn ang="0">
                  <a:pos x="connsiteX3" y="connsiteY3"/>
                </a:cxn>
              </a:cxnLst>
              <a:rect l="l" t="t" r="r" b="b"/>
              <a:pathLst>
                <a:path w="2552765" h="6126619">
                  <a:moveTo>
                    <a:pt x="1725116" y="0"/>
                  </a:moveTo>
                  <a:lnTo>
                    <a:pt x="2552765" y="0"/>
                  </a:lnTo>
                  <a:lnTo>
                    <a:pt x="0" y="6126619"/>
                  </a:lnTo>
                  <a:lnTo>
                    <a:pt x="0" y="4140267"/>
                  </a:lnTo>
                  <a:close/>
                </a:path>
              </a:pathLst>
            </a:cu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71" name="Freeform: Shape 70">
              <a:extLst>
                <a:ext uri="{FF2B5EF4-FFF2-40B4-BE49-F238E27FC236}">
                  <a16:creationId xmlns:a16="http://schemas.microsoft.com/office/drawing/2014/main" id="{6FF0306A-2EB0-4983-9988-199B47F80E5D}"/>
                </a:ext>
              </a:extLst>
            </p:cNvPr>
            <p:cNvSpPr/>
            <p:nvPr userDrawn="1"/>
          </p:nvSpPr>
          <p:spPr>
            <a:xfrm>
              <a:off x="0" y="7117575"/>
              <a:ext cx="1455497" cy="3493183"/>
            </a:xfrm>
            <a:custGeom>
              <a:avLst/>
              <a:gdLst>
                <a:gd name="connsiteX0" fmla="*/ 627848 w 1455497"/>
                <a:gd name="connsiteY0" fmla="*/ 0 h 3493183"/>
                <a:gd name="connsiteX1" fmla="*/ 1455497 w 1455497"/>
                <a:gd name="connsiteY1" fmla="*/ 0 h 3493183"/>
                <a:gd name="connsiteX2" fmla="*/ 0 w 1455497"/>
                <a:gd name="connsiteY2" fmla="*/ 3493183 h 3493183"/>
                <a:gd name="connsiteX3" fmla="*/ 0 w 1455497"/>
                <a:gd name="connsiteY3" fmla="*/ 1506831 h 3493183"/>
              </a:gdLst>
              <a:ahLst/>
              <a:cxnLst>
                <a:cxn ang="0">
                  <a:pos x="connsiteX0" y="connsiteY0"/>
                </a:cxn>
                <a:cxn ang="0">
                  <a:pos x="connsiteX1" y="connsiteY1"/>
                </a:cxn>
                <a:cxn ang="0">
                  <a:pos x="connsiteX2" y="connsiteY2"/>
                </a:cxn>
                <a:cxn ang="0">
                  <a:pos x="connsiteX3" y="connsiteY3"/>
                </a:cxn>
              </a:cxnLst>
              <a:rect l="l" t="t" r="r" b="b"/>
              <a:pathLst>
                <a:path w="1455497" h="3493183">
                  <a:moveTo>
                    <a:pt x="627848" y="0"/>
                  </a:moveTo>
                  <a:lnTo>
                    <a:pt x="1455497" y="0"/>
                  </a:lnTo>
                  <a:lnTo>
                    <a:pt x="0" y="3493183"/>
                  </a:lnTo>
                  <a:lnTo>
                    <a:pt x="0" y="1506831"/>
                  </a:lnTo>
                  <a:close/>
                </a:path>
              </a:pathLst>
            </a:cu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72" name="Parallelogram 71">
              <a:extLst>
                <a:ext uri="{FF2B5EF4-FFF2-40B4-BE49-F238E27FC236}">
                  <a16:creationId xmlns:a16="http://schemas.microsoft.com/office/drawing/2014/main" id="{5AEC836B-72D6-4E53-ADB5-E52FA46298BE}"/>
                </a:ext>
              </a:extLst>
            </p:cNvPr>
            <p:cNvSpPr/>
            <p:nvPr userDrawn="1"/>
          </p:nvSpPr>
          <p:spPr>
            <a:xfrm>
              <a:off x="5451215" y="7117574"/>
              <a:ext cx="3685157" cy="6858000"/>
            </a:xfrm>
            <a:prstGeom prst="parallelogram">
              <a:avLst>
                <a:gd name="adj" fmla="val 77541"/>
              </a:avLst>
            </a:pr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73" name="Parallelogram 72">
              <a:extLst>
                <a:ext uri="{FF2B5EF4-FFF2-40B4-BE49-F238E27FC236}">
                  <a16:creationId xmlns:a16="http://schemas.microsoft.com/office/drawing/2014/main" id="{56D9C5AF-A89D-4465-8051-3F53CAE7A654}"/>
                </a:ext>
              </a:extLst>
            </p:cNvPr>
            <p:cNvSpPr/>
            <p:nvPr userDrawn="1"/>
          </p:nvSpPr>
          <p:spPr>
            <a:xfrm>
              <a:off x="4353947" y="7117574"/>
              <a:ext cx="3685157" cy="6858000"/>
            </a:xfrm>
            <a:prstGeom prst="parallelogram">
              <a:avLst>
                <a:gd name="adj" fmla="val 77541"/>
              </a:avLst>
            </a:pr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74" name="Parallelogram 73">
              <a:extLst>
                <a:ext uri="{FF2B5EF4-FFF2-40B4-BE49-F238E27FC236}">
                  <a16:creationId xmlns:a16="http://schemas.microsoft.com/office/drawing/2014/main" id="{B2497A55-978D-4F7A-82D0-F4FF00617EB8}"/>
                </a:ext>
              </a:extLst>
            </p:cNvPr>
            <p:cNvSpPr/>
            <p:nvPr userDrawn="1"/>
          </p:nvSpPr>
          <p:spPr>
            <a:xfrm>
              <a:off x="3256679" y="7117574"/>
              <a:ext cx="3685157" cy="6858000"/>
            </a:xfrm>
            <a:prstGeom prst="parallelogram">
              <a:avLst>
                <a:gd name="adj" fmla="val 77541"/>
              </a:avLst>
            </a:pr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75" name="Parallelogram 74">
              <a:extLst>
                <a:ext uri="{FF2B5EF4-FFF2-40B4-BE49-F238E27FC236}">
                  <a16:creationId xmlns:a16="http://schemas.microsoft.com/office/drawing/2014/main" id="{F22A44A9-32D0-4955-8C31-7B51C1CDCFE7}"/>
                </a:ext>
              </a:extLst>
            </p:cNvPr>
            <p:cNvSpPr/>
            <p:nvPr userDrawn="1"/>
          </p:nvSpPr>
          <p:spPr>
            <a:xfrm>
              <a:off x="2159411" y="7117574"/>
              <a:ext cx="3685157" cy="6858000"/>
            </a:xfrm>
            <a:prstGeom prst="parallelogram">
              <a:avLst>
                <a:gd name="adj" fmla="val 77541"/>
              </a:avLst>
            </a:pr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76" name="Parallelogram 75">
              <a:extLst>
                <a:ext uri="{FF2B5EF4-FFF2-40B4-BE49-F238E27FC236}">
                  <a16:creationId xmlns:a16="http://schemas.microsoft.com/office/drawing/2014/main" id="{72D1D000-0918-4A60-8022-4E0E5C3E0DF2}"/>
                </a:ext>
              </a:extLst>
            </p:cNvPr>
            <p:cNvSpPr/>
            <p:nvPr userDrawn="1"/>
          </p:nvSpPr>
          <p:spPr>
            <a:xfrm>
              <a:off x="7645750" y="7117574"/>
              <a:ext cx="3685157" cy="6858000"/>
            </a:xfrm>
            <a:prstGeom prst="parallelogram">
              <a:avLst>
                <a:gd name="adj" fmla="val 77541"/>
              </a:avLst>
            </a:pr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77" name="Parallelogram 76">
              <a:extLst>
                <a:ext uri="{FF2B5EF4-FFF2-40B4-BE49-F238E27FC236}">
                  <a16:creationId xmlns:a16="http://schemas.microsoft.com/office/drawing/2014/main" id="{4B18FD28-EC6D-4E0E-B139-6789F6D48559}"/>
                </a:ext>
              </a:extLst>
            </p:cNvPr>
            <p:cNvSpPr/>
            <p:nvPr userDrawn="1"/>
          </p:nvSpPr>
          <p:spPr>
            <a:xfrm>
              <a:off x="6548483" y="7117574"/>
              <a:ext cx="3685157" cy="6858000"/>
            </a:xfrm>
            <a:prstGeom prst="parallelogram">
              <a:avLst>
                <a:gd name="adj" fmla="val 77541"/>
              </a:avLst>
            </a:pr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78" name="Freeform: Shape 77">
              <a:extLst>
                <a:ext uri="{FF2B5EF4-FFF2-40B4-BE49-F238E27FC236}">
                  <a16:creationId xmlns:a16="http://schemas.microsoft.com/office/drawing/2014/main" id="{09182377-4665-4C5E-97A5-87CE6100E384}"/>
                </a:ext>
              </a:extLst>
            </p:cNvPr>
            <p:cNvSpPr/>
            <p:nvPr userDrawn="1"/>
          </p:nvSpPr>
          <p:spPr>
            <a:xfrm>
              <a:off x="9840286" y="7117574"/>
              <a:ext cx="3685157" cy="6858000"/>
            </a:xfrm>
            <a:custGeom>
              <a:avLst/>
              <a:gdLst>
                <a:gd name="connsiteX0" fmla="*/ 2351713 w 3685157"/>
                <a:gd name="connsiteY0" fmla="*/ 1213905 h 6858000"/>
                <a:gd name="connsiteX1" fmla="*/ 2351713 w 3685157"/>
                <a:gd name="connsiteY1" fmla="*/ 3200257 h 6858000"/>
                <a:gd name="connsiteX2" fmla="*/ 827649 w 3685157"/>
                <a:gd name="connsiteY2" fmla="*/ 6858000 h 6858000"/>
                <a:gd name="connsiteX3" fmla="*/ 0 w 3685157"/>
                <a:gd name="connsiteY3" fmla="*/ 6858000 h 6858000"/>
                <a:gd name="connsiteX4" fmla="*/ 2857508 w 3685157"/>
                <a:gd name="connsiteY4" fmla="*/ 0 h 6858000"/>
                <a:gd name="connsiteX5" fmla="*/ 3685157 w 3685157"/>
                <a:gd name="connsiteY5" fmla="*/ 0 h 6858000"/>
                <a:gd name="connsiteX6" fmla="*/ 3685157 w 3685157"/>
                <a:gd name="connsiteY6" fmla="*/ 1 h 6858000"/>
                <a:gd name="connsiteX7" fmla="*/ 2857508 w 3685157"/>
                <a:gd name="connsiteY7"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85157" h="6858000">
                  <a:moveTo>
                    <a:pt x="2351713" y="1213905"/>
                  </a:moveTo>
                  <a:lnTo>
                    <a:pt x="2351713" y="3200257"/>
                  </a:lnTo>
                  <a:lnTo>
                    <a:pt x="827649" y="6858000"/>
                  </a:lnTo>
                  <a:lnTo>
                    <a:pt x="0" y="6858000"/>
                  </a:lnTo>
                  <a:close/>
                  <a:moveTo>
                    <a:pt x="2857508" y="0"/>
                  </a:moveTo>
                  <a:lnTo>
                    <a:pt x="3685157" y="0"/>
                  </a:lnTo>
                  <a:lnTo>
                    <a:pt x="3685157" y="1"/>
                  </a:lnTo>
                  <a:lnTo>
                    <a:pt x="2857508" y="1"/>
                  </a:lnTo>
                  <a:close/>
                </a:path>
              </a:pathLst>
            </a:cu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79" name="Freeform: Shape 78">
              <a:extLst>
                <a:ext uri="{FF2B5EF4-FFF2-40B4-BE49-F238E27FC236}">
                  <a16:creationId xmlns:a16="http://schemas.microsoft.com/office/drawing/2014/main" id="{C9B1B579-D22E-4010-8155-CA3C5C41C2EE}"/>
                </a:ext>
              </a:extLst>
            </p:cNvPr>
            <p:cNvSpPr/>
            <p:nvPr userDrawn="1"/>
          </p:nvSpPr>
          <p:spPr>
            <a:xfrm>
              <a:off x="8743018" y="7117574"/>
              <a:ext cx="3685157" cy="6858000"/>
            </a:xfrm>
            <a:custGeom>
              <a:avLst/>
              <a:gdLst>
                <a:gd name="connsiteX0" fmla="*/ 2857508 w 3685157"/>
                <a:gd name="connsiteY0" fmla="*/ 0 h 6858000"/>
                <a:gd name="connsiteX1" fmla="*/ 3685157 w 3685157"/>
                <a:gd name="connsiteY1" fmla="*/ 0 h 6858000"/>
                <a:gd name="connsiteX2" fmla="*/ 3685157 w 3685157"/>
                <a:gd name="connsiteY2" fmla="*/ 1 h 6858000"/>
                <a:gd name="connsiteX3" fmla="*/ 3448981 w 3685157"/>
                <a:gd name="connsiteY3" fmla="*/ 1 h 6858000"/>
                <a:gd name="connsiteX4" fmla="*/ 3448981 w 3685157"/>
                <a:gd name="connsiteY4" fmla="*/ 566821 h 6858000"/>
                <a:gd name="connsiteX5" fmla="*/ 827649 w 3685157"/>
                <a:gd name="connsiteY5" fmla="*/ 6858000 h 6858000"/>
                <a:gd name="connsiteX6" fmla="*/ 0 w 3685157"/>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85157" h="6858000">
                  <a:moveTo>
                    <a:pt x="2857508" y="0"/>
                  </a:moveTo>
                  <a:lnTo>
                    <a:pt x="3685157" y="0"/>
                  </a:lnTo>
                  <a:lnTo>
                    <a:pt x="3685157" y="1"/>
                  </a:lnTo>
                  <a:lnTo>
                    <a:pt x="3448981" y="1"/>
                  </a:lnTo>
                  <a:lnTo>
                    <a:pt x="3448981" y="566821"/>
                  </a:lnTo>
                  <a:lnTo>
                    <a:pt x="827649" y="6858000"/>
                  </a:lnTo>
                  <a:lnTo>
                    <a:pt x="0" y="6858000"/>
                  </a:lnTo>
                  <a:close/>
                </a:path>
              </a:pathLst>
            </a:cu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80" name="Freeform: Shape 79">
              <a:extLst>
                <a:ext uri="{FF2B5EF4-FFF2-40B4-BE49-F238E27FC236}">
                  <a16:creationId xmlns:a16="http://schemas.microsoft.com/office/drawing/2014/main" id="{EA8284F0-5240-4A76-9A9B-46E08CBBE61A}"/>
                </a:ext>
              </a:extLst>
            </p:cNvPr>
            <p:cNvSpPr/>
            <p:nvPr userDrawn="1"/>
          </p:nvSpPr>
          <p:spPr>
            <a:xfrm>
              <a:off x="10937544" y="10964892"/>
              <a:ext cx="1254455" cy="3010683"/>
            </a:xfrm>
            <a:custGeom>
              <a:avLst/>
              <a:gdLst>
                <a:gd name="connsiteX0" fmla="*/ 1254455 w 1254455"/>
                <a:gd name="connsiteY0" fmla="*/ 0 h 3010683"/>
                <a:gd name="connsiteX1" fmla="*/ 1254455 w 1254455"/>
                <a:gd name="connsiteY1" fmla="*/ 1986352 h 3010683"/>
                <a:gd name="connsiteX2" fmla="*/ 827649 w 1254455"/>
                <a:gd name="connsiteY2" fmla="*/ 3010683 h 3010683"/>
                <a:gd name="connsiteX3" fmla="*/ 0 w 1254455"/>
                <a:gd name="connsiteY3" fmla="*/ 3010683 h 3010683"/>
              </a:gdLst>
              <a:ahLst/>
              <a:cxnLst>
                <a:cxn ang="0">
                  <a:pos x="connsiteX0" y="connsiteY0"/>
                </a:cxn>
                <a:cxn ang="0">
                  <a:pos x="connsiteX1" y="connsiteY1"/>
                </a:cxn>
                <a:cxn ang="0">
                  <a:pos x="connsiteX2" y="connsiteY2"/>
                </a:cxn>
                <a:cxn ang="0">
                  <a:pos x="connsiteX3" y="connsiteY3"/>
                </a:cxn>
              </a:cxnLst>
              <a:rect l="l" t="t" r="r" b="b"/>
              <a:pathLst>
                <a:path w="1254455" h="3010683">
                  <a:moveTo>
                    <a:pt x="1254455" y="0"/>
                  </a:moveTo>
                  <a:lnTo>
                    <a:pt x="1254455" y="1986352"/>
                  </a:lnTo>
                  <a:lnTo>
                    <a:pt x="827649" y="3010683"/>
                  </a:lnTo>
                  <a:lnTo>
                    <a:pt x="0" y="3010683"/>
                  </a:lnTo>
                  <a:close/>
                </a:path>
              </a:pathLst>
            </a:cu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grpSp>
      <p:sp>
        <p:nvSpPr>
          <p:cNvPr id="81" name="Round Same-side Corner of Rectangle 28">
            <a:extLst>
              <a:ext uri="{FF2B5EF4-FFF2-40B4-BE49-F238E27FC236}">
                <a16:creationId xmlns:a16="http://schemas.microsoft.com/office/drawing/2014/main" id="{D87BB513-F937-46B5-B184-B5C832BF2494}"/>
              </a:ext>
            </a:extLst>
          </p:cNvPr>
          <p:cNvSpPr/>
          <p:nvPr userDrawn="1"/>
        </p:nvSpPr>
        <p:spPr bwMode="black">
          <a:xfrm>
            <a:off x="630936" y="2393157"/>
            <a:ext cx="8125200" cy="2943394"/>
          </a:xfrm>
          <a:prstGeom prst="round2SameRect">
            <a:avLst>
              <a:gd name="adj1" fmla="val 9182"/>
              <a:gd name="adj2" fmla="val 11037"/>
            </a:avLst>
          </a:prstGeom>
          <a:solidFill>
            <a:schemeClr val="bg1">
              <a:alpha val="92969"/>
            </a:schemeClr>
          </a:solidFill>
          <a:ln>
            <a:noFill/>
          </a:ln>
          <a:effectLst>
            <a:outerShdw blurRad="381000" algn="ctr" rotWithShape="0">
              <a:schemeClr val="bg2">
                <a:lumMod val="10000"/>
                <a:alpha val="29973"/>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lnSpc>
                <a:spcPct val="95000"/>
              </a:lnSpc>
            </a:pPr>
            <a:endParaRPr lang="en-US" sz="2000" dirty="0">
              <a:solidFill>
                <a:prstClr val="white"/>
              </a:solidFill>
              <a:cs typeface="+mn-cs"/>
              <a:sym typeface="Trebuchet MS" panose="020B0603020202020204" pitchFamily="34" charset="0"/>
            </a:endParaRPr>
          </a:p>
        </p:txBody>
      </p:sp>
      <p:sp>
        <p:nvSpPr>
          <p:cNvPr id="82" name="Round Same-side Corner of Rectangle 33">
            <a:extLst>
              <a:ext uri="{FF2B5EF4-FFF2-40B4-BE49-F238E27FC236}">
                <a16:creationId xmlns:a16="http://schemas.microsoft.com/office/drawing/2014/main" id="{3F7C1A8A-F2A9-46C1-8E0E-E098B3A0E421}"/>
              </a:ext>
            </a:extLst>
          </p:cNvPr>
          <p:cNvSpPr/>
          <p:nvPr userDrawn="1"/>
        </p:nvSpPr>
        <p:spPr bwMode="black">
          <a:xfrm>
            <a:off x="630936" y="2393157"/>
            <a:ext cx="8125200" cy="2943394"/>
          </a:xfrm>
          <a:prstGeom prst="round2SameRect">
            <a:avLst>
              <a:gd name="adj1" fmla="val 4277"/>
              <a:gd name="adj2" fmla="val 0"/>
            </a:avLst>
          </a:prstGeom>
          <a:gradFill flip="none" rotWithShape="1">
            <a:gsLst>
              <a:gs pos="0">
                <a:srgbClr val="006F4E">
                  <a:alpha val="10000"/>
                </a:srgbClr>
              </a:gs>
              <a:gs pos="100000">
                <a:srgbClr val="009B9D">
                  <a:alpha val="4937"/>
                </a:srgb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lnSpc>
                <a:spcPct val="95000"/>
              </a:lnSpc>
            </a:pPr>
            <a:endParaRPr lang="en-US" sz="2000" dirty="0">
              <a:solidFill>
                <a:prstClr val="white"/>
              </a:solidFill>
              <a:cs typeface="+mn-cs"/>
              <a:sym typeface="Trebuchet MS" panose="020B0603020202020204" pitchFamily="34" charset="0"/>
            </a:endParaRPr>
          </a:p>
        </p:txBody>
      </p:sp>
      <p:sp>
        <p:nvSpPr>
          <p:cNvPr id="83" name="Overlay">
            <a:extLst>
              <a:ext uri="{FF2B5EF4-FFF2-40B4-BE49-F238E27FC236}">
                <a16:creationId xmlns:a16="http://schemas.microsoft.com/office/drawing/2014/main" id="{C790C849-FD0C-44AD-AB6E-40BF8CD1F622}"/>
              </a:ext>
            </a:extLst>
          </p:cNvPr>
          <p:cNvSpPr/>
          <p:nvPr userDrawn="1">
            <p:custDataLst>
              <p:tags r:id="rId2"/>
            </p:custDataLst>
          </p:nvPr>
        </p:nvSpPr>
        <p:spPr>
          <a:xfrm>
            <a:off x="9340639" y="0"/>
            <a:ext cx="2242259" cy="2081213"/>
          </a:xfrm>
          <a:prstGeom prst="round2SameRect">
            <a:avLst>
              <a:gd name="adj1" fmla="val 0"/>
              <a:gd name="adj2" fmla="val 12079"/>
            </a:avLst>
          </a:prstGeom>
          <a:gradFill>
            <a:gsLst>
              <a:gs pos="0">
                <a:srgbClr val="009B9D">
                  <a:alpha val="21000"/>
                </a:srgbClr>
              </a:gs>
              <a:gs pos="100000">
                <a:srgbClr val="006F4E">
                  <a:alpha val="8897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cs typeface="+mn-cs"/>
            </a:endParaRPr>
          </a:p>
        </p:txBody>
      </p:sp>
      <p:sp>
        <p:nvSpPr>
          <p:cNvPr id="84" name="Freeform 32">
            <a:extLst>
              <a:ext uri="{FF2B5EF4-FFF2-40B4-BE49-F238E27FC236}">
                <a16:creationId xmlns:a16="http://schemas.microsoft.com/office/drawing/2014/main" id="{78A79451-0F19-4FE4-8442-D12478D49048}"/>
              </a:ext>
            </a:extLst>
          </p:cNvPr>
          <p:cNvSpPr>
            <a:spLocks noChangeAspect="1"/>
          </p:cNvSpPr>
          <p:nvPr userDrawn="1"/>
        </p:nvSpPr>
        <p:spPr bwMode="auto">
          <a:xfrm>
            <a:off x="2810190" y="3471233"/>
            <a:ext cx="3766692" cy="787241"/>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177B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dirty="0">
              <a:cs typeface="+mn-cs"/>
            </a:endParaRPr>
          </a:p>
        </p:txBody>
      </p:sp>
      <p:sp>
        <p:nvSpPr>
          <p:cNvPr id="85" name="TextBox 84">
            <a:extLst>
              <a:ext uri="{FF2B5EF4-FFF2-40B4-BE49-F238E27FC236}">
                <a16:creationId xmlns:a16="http://schemas.microsoft.com/office/drawing/2014/main" id="{96DF0CEA-EBAF-4275-879E-ED36D8791DFA}"/>
              </a:ext>
            </a:extLst>
          </p:cNvPr>
          <p:cNvSpPr txBox="1"/>
          <p:nvPr userDrawn="1"/>
        </p:nvSpPr>
        <p:spPr bwMode="white">
          <a:xfrm>
            <a:off x="924979" y="4921094"/>
            <a:ext cx="840801" cy="170110"/>
          </a:xfrm>
          <a:prstGeom prst="rect">
            <a:avLst/>
          </a:prstGeom>
          <a:noFill/>
        </p:spPr>
        <p:txBody>
          <a:bodyPr wrap="none" lIns="0" tIns="0" rIns="0" bIns="0" rtlCol="0" anchor="b">
            <a:noAutofit/>
          </a:bodyPr>
          <a:lstStyle/>
          <a:p>
            <a:pPr rtl="0">
              <a:lnSpc>
                <a:spcPct val="90000"/>
              </a:lnSpc>
              <a:spcAft>
                <a:spcPts val="600"/>
              </a:spcAft>
            </a:pPr>
            <a:r>
              <a:rPr lang="en-US" sz="1200" dirty="0">
                <a:solidFill>
                  <a:srgbClr val="03522D"/>
                </a:solidFill>
                <a:latin typeface="+mn-lt"/>
                <a:cs typeface="+mn-cs"/>
                <a:sym typeface="Trebuchet MS" panose="020B0603020202020204" pitchFamily="34" charset="0"/>
              </a:rPr>
              <a:t>bcg.com</a:t>
            </a:r>
          </a:p>
        </p:txBody>
      </p:sp>
      <p:sp>
        <p:nvSpPr>
          <p:cNvPr id="86" name="Overlay">
            <a:extLst>
              <a:ext uri="{FF2B5EF4-FFF2-40B4-BE49-F238E27FC236}">
                <a16:creationId xmlns:a16="http://schemas.microsoft.com/office/drawing/2014/main" id="{A42366D8-2832-4B11-8C22-98804B8350A3}"/>
              </a:ext>
            </a:extLst>
          </p:cNvPr>
          <p:cNvSpPr/>
          <p:nvPr userDrawn="1">
            <p:custDataLst>
              <p:tags r:id="rId3"/>
            </p:custDataLst>
          </p:nvPr>
        </p:nvSpPr>
        <p:spPr>
          <a:xfrm>
            <a:off x="630936" y="0"/>
            <a:ext cx="8112082" cy="1147011"/>
          </a:xfrm>
          <a:prstGeom prst="round2SameRect">
            <a:avLst>
              <a:gd name="adj1" fmla="val 0"/>
              <a:gd name="adj2" fmla="val 18373"/>
            </a:avLst>
          </a:prstGeom>
          <a:gradFill>
            <a:gsLst>
              <a:gs pos="0">
                <a:srgbClr val="009B9D">
                  <a:alpha val="21000"/>
                </a:srgbClr>
              </a:gs>
              <a:gs pos="100000">
                <a:srgbClr val="006F4E">
                  <a:alpha val="8897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cs typeface="+mn-cs"/>
            </a:endParaRPr>
          </a:p>
        </p:txBody>
      </p:sp>
      <p:sp>
        <p:nvSpPr>
          <p:cNvPr id="87" name="Overlay">
            <a:extLst>
              <a:ext uri="{FF2B5EF4-FFF2-40B4-BE49-F238E27FC236}">
                <a16:creationId xmlns:a16="http://schemas.microsoft.com/office/drawing/2014/main" id="{68A2A98D-4DA7-4F4B-B068-8FE227517D73}"/>
              </a:ext>
            </a:extLst>
          </p:cNvPr>
          <p:cNvSpPr/>
          <p:nvPr userDrawn="1">
            <p:custDataLst>
              <p:tags r:id="rId4"/>
            </p:custDataLst>
          </p:nvPr>
        </p:nvSpPr>
        <p:spPr>
          <a:xfrm flipV="1">
            <a:off x="630936" y="5962750"/>
            <a:ext cx="8112082" cy="901664"/>
          </a:xfrm>
          <a:prstGeom prst="round2SameRect">
            <a:avLst>
              <a:gd name="adj1" fmla="val 0"/>
              <a:gd name="adj2" fmla="val 30760"/>
            </a:avLst>
          </a:prstGeom>
          <a:gradFill>
            <a:gsLst>
              <a:gs pos="0">
                <a:srgbClr val="009B9D">
                  <a:alpha val="21000"/>
                </a:srgbClr>
              </a:gs>
              <a:gs pos="100000">
                <a:srgbClr val="006F4E">
                  <a:alpha val="8897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cs typeface="+mn-cs"/>
            </a:endParaRPr>
          </a:p>
        </p:txBody>
      </p:sp>
      <p:sp>
        <p:nvSpPr>
          <p:cNvPr id="88" name="Overlay">
            <a:extLst>
              <a:ext uri="{FF2B5EF4-FFF2-40B4-BE49-F238E27FC236}">
                <a16:creationId xmlns:a16="http://schemas.microsoft.com/office/drawing/2014/main" id="{C63E9A08-B302-4825-86EB-FAB6CC182D13}"/>
              </a:ext>
            </a:extLst>
          </p:cNvPr>
          <p:cNvSpPr/>
          <p:nvPr userDrawn="1">
            <p:custDataLst>
              <p:tags r:id="rId5"/>
            </p:custDataLst>
          </p:nvPr>
        </p:nvSpPr>
        <p:spPr>
          <a:xfrm flipV="1">
            <a:off x="9340639" y="3101922"/>
            <a:ext cx="2242259" cy="3756078"/>
          </a:xfrm>
          <a:prstGeom prst="round2SameRect">
            <a:avLst>
              <a:gd name="adj1" fmla="val 0"/>
              <a:gd name="adj2" fmla="val 17445"/>
            </a:avLst>
          </a:prstGeom>
          <a:gradFill>
            <a:gsLst>
              <a:gs pos="0">
                <a:srgbClr val="009B9D">
                  <a:alpha val="21000"/>
                </a:srgbClr>
              </a:gs>
              <a:gs pos="100000">
                <a:srgbClr val="006F4E">
                  <a:alpha val="8897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cs typeface="+mn-cs"/>
            </a:endParaRPr>
          </a:p>
        </p:txBody>
      </p:sp>
    </p:spTree>
    <p:extLst>
      <p:ext uri="{BB962C8B-B14F-4D97-AF65-F5344CB8AC3E}">
        <p14:creationId xmlns:p14="http://schemas.microsoft.com/office/powerpoint/2010/main" val="34960813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EEDB2D5-CC5B-4DA0-89A2-C8CFC338C121}"/>
              </a:ext>
            </a:extLst>
          </p:cNvPr>
          <p:cNvGraphicFramePr>
            <a:graphicFrameLocks noChangeAspect="1"/>
          </p:cNvGraphicFramePr>
          <p:nvPr userDrawn="1">
            <p:custDataLst>
              <p:tags r:id="rId1"/>
            </p:custDataLst>
            <p:extLst>
              <p:ext uri="{D42A27DB-BD31-4B8C-83A1-F6EECF244321}">
                <p14:modId xmlns:p14="http://schemas.microsoft.com/office/powerpoint/2010/main" val="3955961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8EEDB2D5-CC5B-4DA0-89A2-C8CFC338C12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rtl="0">
              <a:defRPr>
                <a:solidFill>
                  <a:schemeClr val="bg1">
                    <a:lumMod val="50000"/>
                  </a:schemeClr>
                </a:solidFill>
                <a:latin typeface="+mn-lt"/>
                <a:cs typeface="+mn-cs"/>
                <a:sym typeface="Trebuchet MS" panose="020B0603020202020204" pitchFamily="34" charset="0"/>
              </a:defRPr>
            </a:lvl1pPr>
          </a:lstStyle>
          <a:p>
            <a:endParaRPr lang="en-US" dirty="0"/>
          </a:p>
        </p:txBody>
      </p:sp>
      <p:sp>
        <p:nvSpPr>
          <p:cNvPr id="56"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cs typeface="+mn-cs"/>
                <a:sym typeface="Trebuchet MS" panose="020B0603020202020204" pitchFamily="34" charset="0"/>
              </a:rPr>
              <a:t>Copyright © 2024 by Boston Consulting Group. All rights reserved.</a:t>
            </a:r>
          </a:p>
        </p:txBody>
      </p:sp>
      <p:grpSp>
        <p:nvGrpSpPr>
          <p:cNvPr id="50" name="Group 49">
            <a:extLst>
              <a:ext uri="{FF2B5EF4-FFF2-40B4-BE49-F238E27FC236}">
                <a16:creationId xmlns:a16="http://schemas.microsoft.com/office/drawing/2014/main" id="{17DEC6E6-6876-46F9-8B1D-0F262DAA57DB}"/>
              </a:ext>
            </a:extLst>
          </p:cNvPr>
          <p:cNvGrpSpPr/>
          <p:nvPr userDrawn="1"/>
        </p:nvGrpSpPr>
        <p:grpSpPr>
          <a:xfrm>
            <a:off x="-600" y="-1"/>
            <a:ext cx="12193800" cy="6858001"/>
            <a:chOff x="-600" y="-1"/>
            <a:chExt cx="12193800" cy="6858001"/>
          </a:xfrm>
        </p:grpSpPr>
        <p:sp>
          <p:nvSpPr>
            <p:cNvPr id="51" name="No fly zone">
              <a:extLst>
                <a:ext uri="{FF2B5EF4-FFF2-40B4-BE49-F238E27FC236}">
                  <a16:creationId xmlns:a16="http://schemas.microsoft.com/office/drawing/2014/main" id="{4944967D-3239-4939-AD74-DD0C7B2A3D59}"/>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solidFill>
                  <a:schemeClr val="tx1"/>
                </a:solidFill>
                <a:latin typeface="+mn-lt"/>
                <a:cs typeface="+mn-cs"/>
              </a:endParaRPr>
            </a:p>
          </p:txBody>
        </p:sp>
        <p:grpSp>
          <p:nvGrpSpPr>
            <p:cNvPr id="52" name="Baselines / anchors">
              <a:extLst>
                <a:ext uri="{FF2B5EF4-FFF2-40B4-BE49-F238E27FC236}">
                  <a16:creationId xmlns:a16="http://schemas.microsoft.com/office/drawing/2014/main" id="{BFA63FA4-46EC-431F-AB3B-39BCBA636137}"/>
                </a:ext>
              </a:extLst>
            </p:cNvPr>
            <p:cNvGrpSpPr/>
            <p:nvPr/>
          </p:nvGrpSpPr>
          <p:grpSpPr>
            <a:xfrm>
              <a:off x="-600" y="622800"/>
              <a:ext cx="12193200" cy="5536800"/>
              <a:chOff x="12623800" y="622800"/>
              <a:chExt cx="11176000" cy="5536800"/>
            </a:xfrm>
          </p:grpSpPr>
          <p:cxnSp>
            <p:nvCxnSpPr>
              <p:cNvPr id="78" name="Straight Connector 77">
                <a:extLst>
                  <a:ext uri="{FF2B5EF4-FFF2-40B4-BE49-F238E27FC236}">
                    <a16:creationId xmlns:a16="http://schemas.microsoft.com/office/drawing/2014/main" id="{AA76BAF0-36B4-45DB-90FB-CBF754B9F95D}"/>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7D11582D-2522-44C2-9797-87D7AC056E04}"/>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9A1563E8-EBB2-43ED-99C2-7CE7D134BE6D}"/>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6222A92-C4A0-40EC-B6DA-A02041B15208}"/>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7571F956-8881-4B26-932B-636AAFA68F06}"/>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F8FEF8CE-FEA8-4EEC-993D-1E746A6ECEB8}"/>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993FED8D-C5D8-497D-ACC2-F7D7032E0198}"/>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A2DB8C2E-44DF-42D1-9A70-BBD8238BFF79}"/>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B16F4352-F121-4025-81CE-EA4CDEE45127}"/>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DB6FCCD5-7024-4951-BC46-7575EE469C40}"/>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E0CC2AFB-7093-40E7-8788-57084B7A6F27}"/>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3C0718F0-BAB4-45C1-AA22-8404BA60AC68}"/>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BC7BCF9C-755D-4374-9FAC-D524D1A5A961}"/>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ACD426B7-2C8F-4E5C-AFE4-9FFFCDFF9A84}"/>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EE285B87-8F47-4BB6-822C-1ABDE8951F92}"/>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645154F1-F949-4E87-9DF4-794A8E9A5979}"/>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E0C39EF4-3AF5-43DB-B26F-E3A190EB0180}"/>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19532D9F-7EA6-496C-AA6F-4E86F22F78E5}"/>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4EEF9173-D8C2-473D-8B7B-4BF376DAA2AE}"/>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FFFFD7B-8039-46D9-A707-0AC0A668BBC4}"/>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3" name="Gutter space">
              <a:extLst>
                <a:ext uri="{FF2B5EF4-FFF2-40B4-BE49-F238E27FC236}">
                  <a16:creationId xmlns:a16="http://schemas.microsoft.com/office/drawing/2014/main" id="{A15CBE7C-10F4-412E-A806-73798430C7F2}"/>
                </a:ext>
              </a:extLst>
            </p:cNvPr>
            <p:cNvGrpSpPr/>
            <p:nvPr/>
          </p:nvGrpSpPr>
          <p:grpSpPr>
            <a:xfrm>
              <a:off x="1277000" y="623550"/>
              <a:ext cx="9638000" cy="5537047"/>
              <a:chOff x="1277000" y="623550"/>
              <a:chExt cx="9638000" cy="5537047"/>
            </a:xfrm>
          </p:grpSpPr>
          <p:sp>
            <p:nvSpPr>
              <p:cNvPr id="67" name="Rectangle 34">
                <a:extLst>
                  <a:ext uri="{FF2B5EF4-FFF2-40B4-BE49-F238E27FC236}">
                    <a16:creationId xmlns:a16="http://schemas.microsoft.com/office/drawing/2014/main" id="{155358FC-4140-4322-AB72-9607A3BCDFB6}"/>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sp>
            <p:nvSpPr>
              <p:cNvPr id="68" name="Rectangle 35">
                <a:extLst>
                  <a:ext uri="{FF2B5EF4-FFF2-40B4-BE49-F238E27FC236}">
                    <a16:creationId xmlns:a16="http://schemas.microsoft.com/office/drawing/2014/main" id="{DB57A487-474A-4BC6-AEE6-C6243EFBB542}"/>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sp>
            <p:nvSpPr>
              <p:cNvPr id="69" name="Rectangle 36">
                <a:extLst>
                  <a:ext uri="{FF2B5EF4-FFF2-40B4-BE49-F238E27FC236}">
                    <a16:creationId xmlns:a16="http://schemas.microsoft.com/office/drawing/2014/main" id="{5A42683C-EE3E-4CC8-BDA9-172C9E9F4C68}"/>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sp>
            <p:nvSpPr>
              <p:cNvPr id="70" name="Rectangle 37">
                <a:extLst>
                  <a:ext uri="{FF2B5EF4-FFF2-40B4-BE49-F238E27FC236}">
                    <a16:creationId xmlns:a16="http://schemas.microsoft.com/office/drawing/2014/main" id="{682B43AB-4ACB-4B2A-9FC2-06F754AB67F9}"/>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sp>
            <p:nvSpPr>
              <p:cNvPr id="71" name="Rectangle 38">
                <a:extLst>
                  <a:ext uri="{FF2B5EF4-FFF2-40B4-BE49-F238E27FC236}">
                    <a16:creationId xmlns:a16="http://schemas.microsoft.com/office/drawing/2014/main" id="{907D176F-64C9-42D2-9B9B-1D71F2F8D8B4}"/>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sp>
            <p:nvSpPr>
              <p:cNvPr id="72" name="Rectangle 39">
                <a:extLst>
                  <a:ext uri="{FF2B5EF4-FFF2-40B4-BE49-F238E27FC236}">
                    <a16:creationId xmlns:a16="http://schemas.microsoft.com/office/drawing/2014/main" id="{086461BA-93DD-4FC9-94BB-3B5462D2DCA3}"/>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sp>
            <p:nvSpPr>
              <p:cNvPr id="73" name="Rectangle 40">
                <a:extLst>
                  <a:ext uri="{FF2B5EF4-FFF2-40B4-BE49-F238E27FC236}">
                    <a16:creationId xmlns:a16="http://schemas.microsoft.com/office/drawing/2014/main" id="{E7A12E49-2D12-48DA-966D-73DA0BA74479}"/>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sp>
            <p:nvSpPr>
              <p:cNvPr id="74" name="Rectangle 41">
                <a:extLst>
                  <a:ext uri="{FF2B5EF4-FFF2-40B4-BE49-F238E27FC236}">
                    <a16:creationId xmlns:a16="http://schemas.microsoft.com/office/drawing/2014/main" id="{FBC09A71-2600-4B34-94EF-6E2D2A4FEA21}"/>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sp>
            <p:nvSpPr>
              <p:cNvPr id="75" name="Rectangle 42">
                <a:extLst>
                  <a:ext uri="{FF2B5EF4-FFF2-40B4-BE49-F238E27FC236}">
                    <a16:creationId xmlns:a16="http://schemas.microsoft.com/office/drawing/2014/main" id="{D2CA0F48-2E45-438E-BF2D-9EFF6A83BE69}"/>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sp>
            <p:nvSpPr>
              <p:cNvPr id="76" name="Rectangle 43">
                <a:extLst>
                  <a:ext uri="{FF2B5EF4-FFF2-40B4-BE49-F238E27FC236}">
                    <a16:creationId xmlns:a16="http://schemas.microsoft.com/office/drawing/2014/main" id="{98C678A6-C6B4-4451-9102-FB9EAFBE126D}"/>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sp>
            <p:nvSpPr>
              <p:cNvPr id="77" name="Rectangle 44">
                <a:extLst>
                  <a:ext uri="{FF2B5EF4-FFF2-40B4-BE49-F238E27FC236}">
                    <a16:creationId xmlns:a16="http://schemas.microsoft.com/office/drawing/2014/main" id="{3DF600D0-F8CA-4ECC-8F2A-1C3E91A0CA41}"/>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grpSp>
        <p:sp>
          <p:nvSpPr>
            <p:cNvPr id="54" name="Slide edges">
              <a:extLst>
                <a:ext uri="{FF2B5EF4-FFF2-40B4-BE49-F238E27FC236}">
                  <a16:creationId xmlns:a16="http://schemas.microsoft.com/office/drawing/2014/main" id="{E36602C4-46F7-44C9-831B-6AC3A7F9A870}"/>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5" name="Footnote measure">
              <a:extLst>
                <a:ext uri="{FF2B5EF4-FFF2-40B4-BE49-F238E27FC236}">
                  <a16:creationId xmlns:a16="http://schemas.microsoft.com/office/drawing/2014/main" id="{65BE1F8C-FCEF-4A2D-80A0-AEA99C09A94E}"/>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sp>
          <p:nvSpPr>
            <p:cNvPr id="57" name="Whitespace measure">
              <a:extLst>
                <a:ext uri="{FF2B5EF4-FFF2-40B4-BE49-F238E27FC236}">
                  <a16:creationId xmlns:a16="http://schemas.microsoft.com/office/drawing/2014/main" id="{CA7912C0-2103-432E-9875-7450770E44E1}"/>
                </a:ext>
              </a:extLst>
            </p:cNvPr>
            <p:cNvSpPr>
              <a:spLocks noChangeArrowheads="1"/>
            </p:cNvSpPr>
            <p:nvPr/>
          </p:nvSpPr>
          <p:spPr bwMode="auto">
            <a:xfrm>
              <a:off x="629400" y="1931399"/>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grpSp>
          <p:nvGrpSpPr>
            <p:cNvPr id="58" name="Five column measure">
              <a:extLst>
                <a:ext uri="{FF2B5EF4-FFF2-40B4-BE49-F238E27FC236}">
                  <a16:creationId xmlns:a16="http://schemas.microsoft.com/office/drawing/2014/main" id="{97A3A772-635A-4B9F-857A-C7AF8C2DDCAE}"/>
                </a:ext>
              </a:extLst>
            </p:cNvPr>
            <p:cNvGrpSpPr/>
            <p:nvPr/>
          </p:nvGrpSpPr>
          <p:grpSpPr>
            <a:xfrm>
              <a:off x="629400" y="5975122"/>
              <a:ext cx="10933200" cy="79536"/>
              <a:chOff x="629400" y="5975122"/>
              <a:chExt cx="10933200" cy="79536"/>
            </a:xfrm>
          </p:grpSpPr>
          <p:sp>
            <p:nvSpPr>
              <p:cNvPr id="62" name="Rectangle 5">
                <a:extLst>
                  <a:ext uri="{FF2B5EF4-FFF2-40B4-BE49-F238E27FC236}">
                    <a16:creationId xmlns:a16="http://schemas.microsoft.com/office/drawing/2014/main" id="{938ABCEC-0ECC-4259-A40F-2552BF77C179}"/>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sp>
            <p:nvSpPr>
              <p:cNvPr id="63" name="Rectangle 7">
                <a:extLst>
                  <a:ext uri="{FF2B5EF4-FFF2-40B4-BE49-F238E27FC236}">
                    <a16:creationId xmlns:a16="http://schemas.microsoft.com/office/drawing/2014/main" id="{7242E680-E13B-4C00-8C9A-519254AE4C9A}"/>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sp>
            <p:nvSpPr>
              <p:cNvPr id="64" name="Rectangle 9">
                <a:extLst>
                  <a:ext uri="{FF2B5EF4-FFF2-40B4-BE49-F238E27FC236}">
                    <a16:creationId xmlns:a16="http://schemas.microsoft.com/office/drawing/2014/main" id="{DC5DCB88-600E-4E9A-965B-FDFE6BEC5964}"/>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sp>
            <p:nvSpPr>
              <p:cNvPr id="65" name="Rectangle 11">
                <a:extLst>
                  <a:ext uri="{FF2B5EF4-FFF2-40B4-BE49-F238E27FC236}">
                    <a16:creationId xmlns:a16="http://schemas.microsoft.com/office/drawing/2014/main" id="{9A9FB264-CD19-4063-AD83-342331CB089D}"/>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sp>
            <p:nvSpPr>
              <p:cNvPr id="66" name="Rectangle 13">
                <a:extLst>
                  <a:ext uri="{FF2B5EF4-FFF2-40B4-BE49-F238E27FC236}">
                    <a16:creationId xmlns:a16="http://schemas.microsoft.com/office/drawing/2014/main" id="{419FA518-E2F8-4A62-AC0F-200B89DC48A9}"/>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grpSp>
        <p:sp>
          <p:nvSpPr>
            <p:cNvPr id="59" name="Live area">
              <a:extLst>
                <a:ext uri="{FF2B5EF4-FFF2-40B4-BE49-F238E27FC236}">
                  <a16:creationId xmlns:a16="http://schemas.microsoft.com/office/drawing/2014/main" id="{553B6E14-D227-4C68-92AA-B9617FA10342}"/>
                </a:ext>
              </a:extLst>
            </p:cNvPr>
            <p:cNvSpPr/>
            <p:nvPr/>
          </p:nvSpPr>
          <p:spPr>
            <a:xfrm>
              <a:off x="629400" y="2514599"/>
              <a:ext cx="10933200" cy="3645001"/>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US" sz="1200" dirty="0">
                <a:solidFill>
                  <a:schemeClr val="bg1"/>
                </a:solidFill>
                <a:latin typeface="+mn-lt"/>
                <a:cs typeface="+mn-cs"/>
              </a:endParaRPr>
            </a:p>
          </p:txBody>
        </p:sp>
        <p:sp>
          <p:nvSpPr>
            <p:cNvPr id="60" name="Footnote example">
              <a:extLst>
                <a:ext uri="{FF2B5EF4-FFF2-40B4-BE49-F238E27FC236}">
                  <a16:creationId xmlns:a16="http://schemas.microsoft.com/office/drawing/2014/main" id="{B8139AFC-7C8B-49C1-B336-F2D59558B144}"/>
                </a:ext>
              </a:extLst>
            </p:cNvPr>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sp>
          <p:nvSpPr>
            <p:cNvPr id="61" name="Copyright">
              <a:extLst>
                <a:ext uri="{FF2B5EF4-FFF2-40B4-BE49-F238E27FC236}">
                  <a16:creationId xmlns:a16="http://schemas.microsoft.com/office/drawing/2014/main" id="{583F3964-8782-4DB9-ADBD-256B516B7FFD}"/>
                </a:ext>
              </a:extLst>
            </p:cNvPr>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cs typeface="+mn-cs"/>
                  <a:sym typeface="Trebuchet MS" panose="020B0603020202020204" pitchFamily="34" charset="0"/>
                </a:rPr>
                <a:t>Copyright © 2024 by Boston Consulting Group. All rights reserved.</a:t>
              </a:r>
            </a:p>
          </p:txBody>
        </p:sp>
      </p:grpSp>
    </p:spTree>
    <p:extLst>
      <p:ext uri="{BB962C8B-B14F-4D97-AF65-F5344CB8AC3E}">
        <p14:creationId xmlns:p14="http://schemas.microsoft.com/office/powerpoint/2010/main" val="13434561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6625853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518B8543-CD83-4AB6-A1B4-4F846F3E0AFE}"/>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0" y="0"/>
            <a:ext cx="12192000" cy="6858000"/>
          </a:xfrm>
          <a:prstGeom prst="rect">
            <a:avLst/>
          </a:prstGeom>
          <a:gradFill>
            <a:gsLst>
              <a:gs pos="0">
                <a:schemeClr val="tx2"/>
              </a:gs>
              <a:gs pos="100000">
                <a:schemeClr val="accent2"/>
              </a:gs>
            </a:gsLst>
            <a:lin ang="8100000" scaled="1"/>
          </a:gradFill>
        </p:spPr>
      </p:pic>
      <p:sp>
        <p:nvSpPr>
          <p:cNvPr id="14" name="Overlay">
            <a:extLst>
              <a:ext uri="{FF2B5EF4-FFF2-40B4-BE49-F238E27FC236}">
                <a16:creationId xmlns:a16="http://schemas.microsoft.com/office/drawing/2014/main" id="{FF898221-5B91-4078-A7E2-6967C6843D53}"/>
              </a:ext>
            </a:extLst>
          </p:cNvPr>
          <p:cNvSpPr/>
          <p:nvPr userDrawn="1">
            <p:custDataLst>
              <p:tags r:id="rId2"/>
            </p:custDataLst>
          </p:nvPr>
        </p:nvSpPr>
        <p:spPr>
          <a:xfrm>
            <a:off x="0" y="0"/>
            <a:ext cx="12192000" cy="6858000"/>
          </a:xfrm>
          <a:prstGeom prst="rect">
            <a:avLst/>
          </a:prstGeom>
          <a:gradFill>
            <a:gsLst>
              <a:gs pos="0">
                <a:srgbClr val="009B9D">
                  <a:alpha val="75000"/>
                </a:srgbClr>
              </a:gs>
              <a:gs pos="100000">
                <a:srgbClr val="006F4E">
                  <a:alpha val="9506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lnSpc>
                <a:spcPct val="90000"/>
              </a:lnSpc>
              <a:spcAft>
                <a:spcPts val="1000"/>
              </a:spcAft>
            </a:pPr>
            <a:endParaRPr lang="en-US" sz="1200" dirty="0">
              <a:solidFill>
                <a:schemeClr val="bg1"/>
              </a:solidFill>
              <a:cs typeface="+mn-cs"/>
            </a:endParaRPr>
          </a:p>
        </p:txBody>
      </p:sp>
      <p:sp>
        <p:nvSpPr>
          <p:cNvPr id="7" name="TextBox 6"/>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Trebuchet MS" panose="020B0603020202020204" pitchFamily="34" charset="0"/>
                <a:cs typeface="+mn-cs"/>
                <a:sym typeface="Trebuchet MS" panose="020B0603020202020204" pitchFamily="34" charset="0"/>
              </a:rPr>
              <a:t>Copyright © 2024 by Boston Consulting Group. All rights reserved.</a:t>
            </a:r>
          </a:p>
        </p:txBody>
      </p:sp>
      <p:sp>
        <p:nvSpPr>
          <p:cNvPr id="11" name="Rectangle 10"/>
          <p:cNvSpPr/>
          <p:nvPr/>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lnSpc>
                <a:spcPct val="95000"/>
              </a:lnSpc>
              <a:spcBef>
                <a:spcPts val="0"/>
              </a:spcBef>
              <a:spcAft>
                <a:spcPts val="0"/>
              </a:spcAft>
            </a:pPr>
            <a:endParaRPr lang="en-US" sz="2000" dirty="0">
              <a:solidFill>
                <a:prstClr val="white"/>
              </a:solidFill>
              <a:latin typeface="Trebuchet MS" panose="020B0603020202020204" pitchFamily="34" charset="0"/>
              <a:cs typeface="+mn-cs"/>
            </a:endParaRPr>
          </a:p>
        </p:txBody>
      </p:sp>
      <p:sp>
        <p:nvSpPr>
          <p:cNvPr id="12" name="Rectangle 11"/>
          <p:cNvSpPr/>
          <p:nvPr>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rtl="0">
              <a:lnSpc>
                <a:spcPct val="95000"/>
              </a:lnSpc>
            </a:pPr>
            <a:endParaRPr lang="en-US" sz="1200" dirty="0">
              <a:solidFill>
                <a:srgbClr val="FFFFFF"/>
              </a:solidFill>
              <a:latin typeface="Trebuchet MS" panose="020B0603020202020204" pitchFamily="34" charset="0"/>
              <a:cs typeface="+mn-cs"/>
            </a:endParaRPr>
          </a:p>
        </p:txBody>
      </p:sp>
      <p:sp>
        <p:nvSpPr>
          <p:cNvPr id="2" name="TextBox 1"/>
          <p:cNvSpPr txBox="1"/>
          <p:nvPr/>
        </p:nvSpPr>
        <p:spPr>
          <a:xfrm>
            <a:off x="630000" y="907198"/>
            <a:ext cx="3448800" cy="3493008"/>
          </a:xfrm>
          <a:prstGeom prst="rect">
            <a:avLst/>
          </a:prstGeom>
          <a:noFill/>
          <a:ln>
            <a:solidFill>
              <a:schemeClr val="bg1"/>
            </a:solidFill>
          </a:ln>
        </p:spPr>
        <p:txBody>
          <a:bodyPr wrap="square" lIns="612000" tIns="468000" rIns="0" bIns="0" rtlCol="0" anchor="t">
            <a:noAutofit/>
          </a:bodyPr>
          <a:lstStyle/>
          <a:p>
            <a:pPr rtl="0">
              <a:lnSpc>
                <a:spcPct val="90000"/>
              </a:lnSpc>
              <a:spcAft>
                <a:spcPts val="600"/>
              </a:spcAft>
            </a:pPr>
            <a:endParaRPr lang="en-US" sz="5400" dirty="0">
              <a:solidFill>
                <a:schemeClr val="bg1"/>
              </a:solidFill>
              <a:cs typeface="+mn-cs"/>
            </a:endParaRPr>
          </a:p>
        </p:txBody>
      </p:sp>
      <p:sp>
        <p:nvSpPr>
          <p:cNvPr id="10" name="TextBox 1"/>
          <p:cNvSpPr txBox="1"/>
          <p:nvPr/>
        </p:nvSpPr>
        <p:spPr>
          <a:xfrm>
            <a:off x="1109949" y="1115416"/>
            <a:ext cx="2488182" cy="896399"/>
          </a:xfrm>
          <a:prstGeom prst="rect">
            <a:avLst/>
          </a:prstGeom>
          <a:noFill/>
        </p:spPr>
        <p:txBody>
          <a:bodyPr wrap="none" rtlCol="0">
            <a:spAutoFit/>
          </a:bodyPr>
          <a:lstStyle/>
          <a:p>
            <a:pPr algn="ctr" rtl="0" fontAlgn="auto">
              <a:lnSpc>
                <a:spcPct val="95000"/>
              </a:lnSpc>
              <a:spcBef>
                <a:spcPts val="0"/>
              </a:spcBef>
              <a:spcAft>
                <a:spcPts val="0"/>
              </a:spcAft>
            </a:pPr>
            <a:r>
              <a:rPr lang="en-US" sz="5400" dirty="0">
                <a:solidFill>
                  <a:schemeClr val="bg1"/>
                </a:solidFill>
                <a:latin typeface="+mj-lt"/>
                <a:cs typeface="+mn-cs"/>
              </a:rPr>
              <a:t>Agenda</a:t>
            </a:r>
          </a:p>
        </p:txBody>
      </p:sp>
    </p:spTree>
    <p:extLst>
      <p:ext uri="{BB962C8B-B14F-4D97-AF65-F5344CB8AC3E}">
        <p14:creationId xmlns:p14="http://schemas.microsoft.com/office/powerpoint/2010/main" val="7242726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473B310-D8A3-2446-FDDC-F093F1E92374}"/>
              </a:ext>
            </a:extLst>
          </p:cNvPr>
          <p:cNvGraphicFramePr>
            <a:graphicFrameLocks noChangeAspect="1"/>
          </p:cNvGraphicFramePr>
          <p:nvPr userDrawn="1">
            <p:custDataLst>
              <p:tags r:id="rId1"/>
            </p:custDataLst>
            <p:extLst>
              <p:ext uri="{D42A27DB-BD31-4B8C-83A1-F6EECF244321}">
                <p14:modId xmlns:p14="http://schemas.microsoft.com/office/powerpoint/2010/main" val="31235338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think-cell data - do not delete" hidden="1">
                        <a:extLst>
                          <a:ext uri="{FF2B5EF4-FFF2-40B4-BE49-F238E27FC236}">
                            <a16:creationId xmlns:a16="http://schemas.microsoft.com/office/drawing/2014/main" id="{B473B310-D8A3-2446-FDDC-F093F1E9237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3D385829-3FBA-4A8C-8269-82DAD427392D}"/>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2467155" y="0"/>
            <a:ext cx="9724845" cy="6858000"/>
          </a:xfrm>
          <a:prstGeom prst="rect">
            <a:avLst/>
          </a:prstGeom>
          <a:gradFill>
            <a:gsLst>
              <a:gs pos="0">
                <a:srgbClr val="29BA74"/>
              </a:gs>
              <a:gs pos="100000">
                <a:srgbClr val="197A56"/>
              </a:gs>
            </a:gsLst>
            <a:lin ang="8100000" scaled="1"/>
          </a:gradFill>
        </p:spPr>
      </p:pic>
      <p:sp>
        <p:nvSpPr>
          <p:cNvPr id="13" name="Overlay">
            <a:extLst>
              <a:ext uri="{FF2B5EF4-FFF2-40B4-BE49-F238E27FC236}">
                <a16:creationId xmlns:a16="http://schemas.microsoft.com/office/drawing/2014/main" id="{1011E5C7-18B2-4AC9-A5DC-502DE4BA11D6}"/>
              </a:ext>
            </a:extLst>
          </p:cNvPr>
          <p:cNvSpPr/>
          <p:nvPr userDrawn="1">
            <p:custDataLst>
              <p:tags r:id="rId2"/>
            </p:custDataLst>
          </p:nvPr>
        </p:nvSpPr>
        <p:spPr>
          <a:xfrm>
            <a:off x="2794001" y="0"/>
            <a:ext cx="9397999" cy="6858000"/>
          </a:xfrm>
          <a:prstGeom prst="rect">
            <a:avLst/>
          </a:prstGeom>
          <a:gradFill>
            <a:gsLst>
              <a:gs pos="0">
                <a:srgbClr val="009B9D">
                  <a:alpha val="21000"/>
                </a:srgbClr>
              </a:gs>
              <a:gs pos="100000">
                <a:srgbClr val="006F4E">
                  <a:alpha val="88979"/>
                </a:srgbClr>
              </a:gs>
            </a:gsLst>
            <a:lin ang="8100000" scaled="1"/>
          </a:gradFill>
          <a:ln w="9525" cap="flat" cmpd="sng" algn="ctr">
            <a:noFill/>
            <a:prstDash val="solid"/>
            <a:miter lim="800000"/>
          </a:ln>
          <a:effectLst/>
        </p:spPr>
        <p:txBody>
          <a:bodyPr rtlCol="0" anchor="t"/>
          <a:lstStyle/>
          <a:p>
            <a:pPr marL="0" marR="0" lvl="0" indent="0"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Trebuchet MS"/>
              <a:ea typeface="+mn-ea"/>
              <a:cs typeface="+mn-cs"/>
            </a:endParaRPr>
          </a:p>
        </p:txBody>
      </p:sp>
      <p:sp>
        <p:nvSpPr>
          <p:cNvPr id="16"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US" sz="1200" dirty="0">
              <a:solidFill>
                <a:prstClr val="white"/>
              </a:solidFill>
              <a:latin typeface="+mn-lt"/>
              <a:cs typeface="+mn-cs"/>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cs typeface="+mn-cs"/>
                <a:sym typeface="Trebuchet MS" panose="020B0603020202020204" pitchFamily="34" charset="0"/>
              </a:defRPr>
            </a:lvl1pPr>
          </a:lstStyle>
          <a:p>
            <a:endParaRPr lang="en-US" dirty="0"/>
          </a:p>
        </p:txBody>
      </p:sp>
      <p:sp>
        <p:nvSpPr>
          <p:cNvPr id="19"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cs typeface="+mn-cs"/>
                <a:sym typeface="Trebuchet MS" panose="020B0603020202020204" pitchFamily="34" charset="0"/>
              </a:rPr>
              <a:t>Copyright © 2024 by Boston Consulting Group. All rights reserved.</a:t>
            </a:r>
          </a:p>
        </p:txBody>
      </p:sp>
      <p:sp>
        <p:nvSpPr>
          <p:cNvPr id="12" name="TextBox 11"/>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vert="horz" anchor="ctr">
            <a:noAutofit/>
          </a:bodyPr>
          <a:lstStyle>
            <a:lvl1pPr rtl="0">
              <a:defRPr sz="3400" baseline="0">
                <a:solidFill>
                  <a:schemeClr val="tx2"/>
                </a:solidFill>
                <a:latin typeface="+mj-lt"/>
                <a:cs typeface="+mj-cs"/>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20384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610577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4A9188F7-518A-4A7C-A740-11BC7A85A7C9}"/>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12192000" cy="6858000"/>
          </a:xfrm>
          <a:prstGeom prst="rect">
            <a:avLst/>
          </a:prstGeom>
          <a:gradFill>
            <a:gsLst>
              <a:gs pos="0">
                <a:schemeClr val="tx2"/>
              </a:gs>
              <a:gs pos="100000">
                <a:schemeClr val="accent2"/>
              </a:gs>
            </a:gsLst>
            <a:lin ang="8100000" scaled="1"/>
          </a:gradFill>
        </p:spPr>
      </p:pic>
      <p:sp>
        <p:nvSpPr>
          <p:cNvPr id="15" name="Overlay">
            <a:extLst>
              <a:ext uri="{FF2B5EF4-FFF2-40B4-BE49-F238E27FC236}">
                <a16:creationId xmlns:a16="http://schemas.microsoft.com/office/drawing/2014/main" id="{4E7CFD99-6261-4AFF-981C-CAE0D7862935}"/>
              </a:ext>
            </a:extLst>
          </p:cNvPr>
          <p:cNvSpPr/>
          <p:nvPr userDrawn="1">
            <p:custDataLst>
              <p:tags r:id="rId2"/>
            </p:custDataLst>
          </p:nvPr>
        </p:nvSpPr>
        <p:spPr>
          <a:xfrm>
            <a:off x="0" y="0"/>
            <a:ext cx="12192000" cy="6858000"/>
          </a:xfrm>
          <a:prstGeom prst="rect">
            <a:avLst/>
          </a:prstGeom>
          <a:gradFill>
            <a:gsLst>
              <a:gs pos="0">
                <a:srgbClr val="009B9D">
                  <a:alpha val="75000"/>
                </a:srgbClr>
              </a:gs>
              <a:gs pos="100000">
                <a:srgbClr val="006F4E">
                  <a:alpha val="9506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lnSpc>
                <a:spcPct val="90000"/>
              </a:lnSpc>
              <a:spcAft>
                <a:spcPts val="1000"/>
              </a:spcAft>
            </a:pPr>
            <a:endParaRPr lang="en-US" sz="1200" dirty="0">
              <a:solidFill>
                <a:schemeClr val="bg1"/>
              </a:solidFill>
              <a:cs typeface="+mn-cs"/>
            </a:endParaRPr>
          </a:p>
        </p:txBody>
      </p:sp>
      <p:sp>
        <p:nvSpPr>
          <p:cNvPr id="7" name="TextBox 6"/>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Trebuchet MS" panose="020B0603020202020204" pitchFamily="34" charset="0"/>
                <a:cs typeface="+mn-cs"/>
                <a:sym typeface="Trebuchet MS" panose="020B0603020202020204" pitchFamily="34" charset="0"/>
              </a:rPr>
              <a:t>Copyright © 2024 by Boston Consulting Group. All rights reserved.</a:t>
            </a:r>
          </a:p>
        </p:txBody>
      </p:sp>
      <p:sp>
        <p:nvSpPr>
          <p:cNvPr id="10" name="Rectangle 9"/>
          <p:cNvSpPr/>
          <p:nvPr/>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en-US" sz="1200" dirty="0">
              <a:solidFill>
                <a:schemeClr val="bg1"/>
              </a:solidFill>
              <a:latin typeface="Trebuchet MS" panose="020B0603020202020204" pitchFamily="34" charset="0"/>
              <a:cs typeface="+mn-cs"/>
              <a:sym typeface="Trebuchet MS" panose="020B0603020202020204" pitchFamily="34" charset="0"/>
            </a:endParaRPr>
          </a:p>
        </p:txBody>
      </p:sp>
      <p:sp>
        <p:nvSpPr>
          <p:cNvPr id="13" name="Rectangle 12"/>
          <p:cNvSpPr/>
          <p:nvPr/>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spcBef>
                <a:spcPts val="0"/>
              </a:spcBef>
              <a:spcAft>
                <a:spcPts val="0"/>
              </a:spcAft>
            </a:pPr>
            <a:endParaRPr lang="en-US" sz="2000" dirty="0">
              <a:solidFill>
                <a:prstClr val="white"/>
              </a:solidFill>
              <a:latin typeface="Trebuchet MS" panose="020B0603020202020204" pitchFamily="34" charset="0"/>
              <a:cs typeface="+mn-cs"/>
            </a:endParaRPr>
          </a:p>
        </p:txBody>
      </p:sp>
    </p:spTree>
    <p:extLst>
      <p:ext uri="{BB962C8B-B14F-4D97-AF65-F5344CB8AC3E}">
        <p14:creationId xmlns:p14="http://schemas.microsoft.com/office/powerpoint/2010/main" val="14212459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3357168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0BD89EE2-B00E-4778-949A-251A3CB17D84}"/>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12192000" cy="6858000"/>
          </a:xfrm>
          <a:prstGeom prst="rect">
            <a:avLst/>
          </a:prstGeom>
          <a:gradFill>
            <a:gsLst>
              <a:gs pos="0">
                <a:schemeClr val="tx2"/>
              </a:gs>
              <a:gs pos="100000">
                <a:schemeClr val="accent2"/>
              </a:gs>
            </a:gsLst>
            <a:lin ang="8100000" scaled="1"/>
          </a:gradFill>
        </p:spPr>
      </p:pic>
      <p:sp>
        <p:nvSpPr>
          <p:cNvPr id="15" name="Overlay">
            <a:extLst>
              <a:ext uri="{FF2B5EF4-FFF2-40B4-BE49-F238E27FC236}">
                <a16:creationId xmlns:a16="http://schemas.microsoft.com/office/drawing/2014/main" id="{46BCC411-253C-44FD-ABB8-C426264437A1}"/>
              </a:ext>
            </a:extLst>
          </p:cNvPr>
          <p:cNvSpPr/>
          <p:nvPr userDrawn="1">
            <p:custDataLst>
              <p:tags r:id="rId2"/>
            </p:custDataLst>
          </p:nvPr>
        </p:nvSpPr>
        <p:spPr>
          <a:xfrm>
            <a:off x="0" y="0"/>
            <a:ext cx="12192000" cy="6858000"/>
          </a:xfrm>
          <a:prstGeom prst="rect">
            <a:avLst/>
          </a:prstGeom>
          <a:gradFill>
            <a:gsLst>
              <a:gs pos="0">
                <a:srgbClr val="009B9D">
                  <a:alpha val="75000"/>
                </a:srgbClr>
              </a:gs>
              <a:gs pos="100000">
                <a:srgbClr val="006F4E">
                  <a:alpha val="9506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lnSpc>
                <a:spcPct val="90000"/>
              </a:lnSpc>
              <a:spcAft>
                <a:spcPts val="1000"/>
              </a:spcAft>
            </a:pPr>
            <a:endParaRPr lang="en-US" sz="1200" dirty="0">
              <a:solidFill>
                <a:schemeClr val="bg1"/>
              </a:solidFill>
              <a:cs typeface="+mn-cs"/>
            </a:endParaRPr>
          </a:p>
        </p:txBody>
      </p:sp>
      <p:sp>
        <p:nvSpPr>
          <p:cNvPr id="7" name="TextBox 6"/>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Trebuchet MS" panose="020B0603020202020204" pitchFamily="34" charset="0"/>
                <a:cs typeface="+mn-cs"/>
                <a:sym typeface="Trebuchet MS" panose="020B0603020202020204" pitchFamily="34" charset="0"/>
              </a:rPr>
              <a:t>Copyright © 2024 by Boston Consulting Group. All rights reserved.</a:t>
            </a:r>
          </a:p>
        </p:txBody>
      </p:sp>
      <p:sp>
        <p:nvSpPr>
          <p:cNvPr id="10" name="Title 1"/>
          <p:cNvSpPr txBox="1">
            <a:spLocks/>
          </p:cNvSpPr>
          <p:nvPr/>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pPr rtl="0"/>
            <a:r>
              <a:rPr lang="en-US" dirty="0">
                <a:solidFill>
                  <a:schemeClr val="bg1"/>
                </a:solidFill>
                <a:cs typeface="+mn-cs"/>
              </a:rPr>
              <a:t>Agenda</a:t>
            </a:r>
          </a:p>
        </p:txBody>
      </p:sp>
      <p:cxnSp>
        <p:nvCxnSpPr>
          <p:cNvPr id="13" name="Straight Connector 12"/>
          <p:cNvCxnSpPr/>
          <p:nvPr/>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52197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6625501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8BB4EA27-C5C0-48B0-A66E-370E57A82205}"/>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12192000" cy="6858000"/>
          </a:xfrm>
          <a:prstGeom prst="rect">
            <a:avLst/>
          </a:prstGeom>
          <a:gradFill>
            <a:gsLst>
              <a:gs pos="0">
                <a:schemeClr val="tx2"/>
              </a:gs>
              <a:gs pos="100000">
                <a:schemeClr val="accent2"/>
              </a:gs>
            </a:gsLst>
            <a:lin ang="8100000" scaled="1"/>
          </a:gradFill>
        </p:spPr>
      </p:pic>
      <p:sp>
        <p:nvSpPr>
          <p:cNvPr id="9" name="Overlay">
            <a:extLst>
              <a:ext uri="{FF2B5EF4-FFF2-40B4-BE49-F238E27FC236}">
                <a16:creationId xmlns:a16="http://schemas.microsoft.com/office/drawing/2014/main" id="{61CEBBF6-556F-4EF4-A06A-D49C561544EE}"/>
              </a:ext>
            </a:extLst>
          </p:cNvPr>
          <p:cNvSpPr/>
          <p:nvPr userDrawn="1">
            <p:custDataLst>
              <p:tags r:id="rId2"/>
            </p:custDataLst>
          </p:nvPr>
        </p:nvSpPr>
        <p:spPr>
          <a:xfrm>
            <a:off x="0" y="0"/>
            <a:ext cx="12192000" cy="6858000"/>
          </a:xfrm>
          <a:prstGeom prst="rect">
            <a:avLst/>
          </a:prstGeom>
          <a:gradFill>
            <a:gsLst>
              <a:gs pos="0">
                <a:srgbClr val="009B9D">
                  <a:alpha val="75000"/>
                </a:srgbClr>
              </a:gs>
              <a:gs pos="100000">
                <a:srgbClr val="006F4E">
                  <a:alpha val="9506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lnSpc>
                <a:spcPct val="90000"/>
              </a:lnSpc>
              <a:spcAft>
                <a:spcPts val="1000"/>
              </a:spcAft>
            </a:pPr>
            <a:endParaRPr lang="en-US" sz="1200" dirty="0">
              <a:solidFill>
                <a:schemeClr val="bg1"/>
              </a:solidFill>
              <a:cs typeface="+mn-cs"/>
            </a:endParaRPr>
          </a:p>
        </p:txBody>
      </p:sp>
      <p:pic>
        <p:nvPicPr>
          <p:cNvPr id="10" name="Picture 9"/>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13" name="Rectangle 12"/>
          <p:cNvSpPr/>
          <p:nvPr/>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US" sz="1200" dirty="0">
              <a:solidFill>
                <a:schemeClr val="bg1"/>
              </a:solidFill>
              <a:latin typeface="+mn-lt"/>
              <a:cs typeface="+mn-cs"/>
              <a:sym typeface="Trebuchet MS" panose="020B0603020202020204" pitchFamily="34" charset="0"/>
            </a:endParaRPr>
          </a:p>
        </p:txBody>
      </p:sp>
      <p:sp>
        <p:nvSpPr>
          <p:cNvPr id="16"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cs typeface="+mn-cs"/>
                <a:sym typeface="Trebuchet MS" panose="020B0603020202020204" pitchFamily="34" charset="0"/>
              </a:rPr>
              <a:t>Copyright © 2024 by Boston Consulting Group. All rights reserved.</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p:nvSpPr>
        <p:spPr>
          <a:xfrm>
            <a:off x="630000" y="3207715"/>
            <a:ext cx="1547143" cy="470898"/>
          </a:xfrm>
          <a:prstGeom prst="rect">
            <a:avLst/>
          </a:prstGeom>
          <a:noFill/>
        </p:spPr>
        <p:txBody>
          <a:bodyPr wrap="square" lIns="0" tIns="0" rIns="0" bIns="0" rtlCol="0" anchor="t">
            <a:spAutoFit/>
          </a:bodyPr>
          <a:lstStyle/>
          <a:p>
            <a:pPr rtl="0">
              <a:lnSpc>
                <a:spcPct val="90000"/>
              </a:lnSpc>
              <a:spcAft>
                <a:spcPts val="600"/>
              </a:spcAft>
            </a:pPr>
            <a:r>
              <a:rPr lang="en-US" sz="3400" dirty="0">
                <a:solidFill>
                  <a:schemeClr val="bg1"/>
                </a:solidFill>
                <a:cs typeface="+mn-cs"/>
              </a:rPr>
              <a:t>Agenda</a:t>
            </a:r>
          </a:p>
        </p:txBody>
      </p:sp>
    </p:spTree>
    <p:extLst>
      <p:ext uri="{BB962C8B-B14F-4D97-AF65-F5344CB8AC3E}">
        <p14:creationId xmlns:p14="http://schemas.microsoft.com/office/powerpoint/2010/main" val="30462353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9488913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Trebuchet MS" panose="020B0603020202020204" pitchFamily="34" charset="0"/>
                <a:cs typeface="+mn-cs"/>
                <a:sym typeface="Trebuchet MS" panose="020B0603020202020204" pitchFamily="34" charset="0"/>
              </a:rPr>
              <a:t>Copyright © 2024 by Boston Consulting Group. All rights reserved.</a:t>
            </a:r>
          </a:p>
        </p:txBody>
      </p:sp>
      <p:sp>
        <p:nvSpPr>
          <p:cNvPr id="8" name="Rectangle 7"/>
          <p:cNvSpPr/>
          <p:nvPr/>
        </p:nvSpPr>
        <p:spPr bwMode="invGray">
          <a:xfrm>
            <a:off x="1388145" y="4691187"/>
            <a:ext cx="929337" cy="995874"/>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lnSpc>
                <a:spcPct val="95000"/>
              </a:lnSpc>
              <a:spcBef>
                <a:spcPts val="0"/>
              </a:spcBef>
              <a:spcAft>
                <a:spcPts val="0"/>
              </a:spcAft>
            </a:pPr>
            <a:endParaRPr lang="en-US" sz="2000" dirty="0">
              <a:solidFill>
                <a:schemeClr val="accent4"/>
              </a:solidFill>
              <a:latin typeface="Trebuchet MS" panose="020B0603020202020204" pitchFamily="34" charset="0"/>
              <a:cs typeface="+mn-cs"/>
            </a:endParaRPr>
          </a:p>
        </p:txBody>
      </p:sp>
      <p:sp>
        <p:nvSpPr>
          <p:cNvPr id="10" name="Rectangle 9"/>
          <p:cNvSpPr/>
          <p:nvPr>
            <p:custDataLst>
              <p:tags r:id="rId2"/>
            </p:custDataLst>
          </p:nvPr>
        </p:nvSpPr>
        <p:spPr>
          <a:xfrm>
            <a:off x="2509482" y="4691187"/>
            <a:ext cx="1570152" cy="1468176"/>
          </a:xfrm>
          <a:prstGeom prst="rect">
            <a:avLst/>
          </a:prstGeom>
          <a:noFill/>
          <a:ln w="9525" cmpd="sng">
            <a:solidFill>
              <a:schemeClr val="tx2"/>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rtl="0">
              <a:lnSpc>
                <a:spcPct val="95000"/>
              </a:lnSpc>
            </a:pPr>
            <a:endParaRPr lang="en-US" sz="1200" dirty="0">
              <a:solidFill>
                <a:schemeClr val="accent4"/>
              </a:solidFill>
              <a:latin typeface="Trebuchet MS" panose="020B0603020202020204" pitchFamily="34" charset="0"/>
              <a:cs typeface="+mn-cs"/>
            </a:endParaRPr>
          </a:p>
        </p:txBody>
      </p:sp>
      <p:sp>
        <p:nvSpPr>
          <p:cNvPr id="11" name="TextBox 10"/>
          <p:cNvSpPr txBox="1"/>
          <p:nvPr/>
        </p:nvSpPr>
        <p:spPr>
          <a:xfrm>
            <a:off x="630000" y="907197"/>
            <a:ext cx="3448800" cy="3493008"/>
          </a:xfrm>
          <a:prstGeom prst="rect">
            <a:avLst/>
          </a:prstGeom>
          <a:noFill/>
          <a:ln>
            <a:solidFill>
              <a:schemeClr val="tx2"/>
            </a:solidFill>
          </a:ln>
        </p:spPr>
        <p:txBody>
          <a:bodyPr wrap="square" lIns="612000" tIns="468000" rIns="0" bIns="0" rtlCol="0" anchor="t">
            <a:noAutofit/>
          </a:bodyPr>
          <a:lstStyle/>
          <a:p>
            <a:pPr rtl="0">
              <a:lnSpc>
                <a:spcPct val="90000"/>
              </a:lnSpc>
              <a:spcAft>
                <a:spcPts val="600"/>
              </a:spcAft>
            </a:pPr>
            <a:endParaRPr lang="en-US" sz="5400" dirty="0">
              <a:solidFill>
                <a:schemeClr val="accent4"/>
              </a:solidFill>
              <a:cs typeface="+mn-cs"/>
            </a:endParaRPr>
          </a:p>
        </p:txBody>
      </p:sp>
      <p:sp>
        <p:nvSpPr>
          <p:cNvPr id="9" name="TextBox 1"/>
          <p:cNvSpPr txBox="1"/>
          <p:nvPr/>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rtl="0"/>
            <a:r>
              <a:rPr lang="en-US" dirty="0">
                <a:solidFill>
                  <a:srgbClr val="3EAD92"/>
                </a:solidFill>
                <a:cs typeface="+mn-cs"/>
              </a:rPr>
              <a:t>Agenda</a:t>
            </a:r>
          </a:p>
        </p:txBody>
      </p:sp>
    </p:spTree>
    <p:extLst>
      <p:ext uri="{BB962C8B-B14F-4D97-AF65-F5344CB8AC3E}">
        <p14:creationId xmlns:p14="http://schemas.microsoft.com/office/powerpoint/2010/main" val="1656105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541931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Trebuchet MS" panose="020B0603020202020204" pitchFamily="34" charset="0"/>
                <a:cs typeface="+mn-cs"/>
                <a:sym typeface="Trebuchet MS" panose="020B0603020202020204" pitchFamily="34" charset="0"/>
              </a:rPr>
              <a:t>Copyright © 2024 by Boston Consulting Group. All rights reserved.</a:t>
            </a:r>
          </a:p>
        </p:txBody>
      </p:sp>
      <p:sp>
        <p:nvSpPr>
          <p:cNvPr id="8" name="Rectangle 7"/>
          <p:cNvSpPr/>
          <p:nvPr/>
        </p:nvSpPr>
        <p:spPr bwMode="white">
          <a:xfrm>
            <a:off x="1284743" y="1428131"/>
            <a:ext cx="947672" cy="947672"/>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en-US" sz="1200" dirty="0">
              <a:solidFill>
                <a:schemeClr val="bg1"/>
              </a:solidFill>
              <a:latin typeface="Trebuchet MS" panose="020B0603020202020204" pitchFamily="34" charset="0"/>
              <a:cs typeface="+mn-cs"/>
              <a:sym typeface="Trebuchet MS" panose="020B0603020202020204" pitchFamily="34" charset="0"/>
            </a:endParaRPr>
          </a:p>
        </p:txBody>
      </p:sp>
      <p:sp>
        <p:nvSpPr>
          <p:cNvPr id="10" name="Rectangle 9"/>
          <p:cNvSpPr/>
          <p:nvPr/>
        </p:nvSpPr>
        <p:spPr>
          <a:xfrm>
            <a:off x="1285200" y="2667600"/>
            <a:ext cx="9619200" cy="3200400"/>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spcBef>
                <a:spcPts val="0"/>
              </a:spcBef>
              <a:spcAft>
                <a:spcPts val="0"/>
              </a:spcAft>
            </a:pPr>
            <a:endParaRPr lang="en-US" sz="2000" dirty="0">
              <a:solidFill>
                <a:prstClr val="white"/>
              </a:solidFill>
              <a:latin typeface="Trebuchet MS" panose="020B0603020202020204" pitchFamily="34" charset="0"/>
              <a:cs typeface="+mn-cs"/>
            </a:endParaRPr>
          </a:p>
        </p:txBody>
      </p:sp>
    </p:spTree>
    <p:extLst>
      <p:ext uri="{BB962C8B-B14F-4D97-AF65-F5344CB8AC3E}">
        <p14:creationId xmlns:p14="http://schemas.microsoft.com/office/powerpoint/2010/main" val="3346044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1549026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Trebuchet MS" panose="020B0603020202020204" pitchFamily="34" charset="0"/>
                <a:cs typeface="+mn-cs"/>
                <a:sym typeface="Trebuchet MS" panose="020B0603020202020204" pitchFamily="34" charset="0"/>
              </a:rPr>
              <a:t>Copyright © 2024 by Boston Consulting Group. All rights reserved.</a:t>
            </a:r>
          </a:p>
        </p:txBody>
      </p:sp>
      <p:sp>
        <p:nvSpPr>
          <p:cNvPr id="7" name="Title 1"/>
          <p:cNvSpPr txBox="1">
            <a:spLocks/>
          </p:cNvSpPr>
          <p:nvPr/>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pPr rtl="0"/>
            <a:r>
              <a:rPr lang="en-US" dirty="0">
                <a:solidFill>
                  <a:srgbClr val="3EAD92"/>
                </a:solidFill>
                <a:cs typeface="+mn-cs"/>
              </a:rPr>
              <a:t>Agenda</a:t>
            </a:r>
          </a:p>
        </p:txBody>
      </p:sp>
      <p:cxnSp>
        <p:nvCxnSpPr>
          <p:cNvPr id="9" name="Straight Connector 8"/>
          <p:cNvCxnSpPr/>
          <p:nvPr/>
        </p:nvCxnSpPr>
        <p:spPr bwMode="white">
          <a:xfrm>
            <a:off x="618898" y="1206000"/>
            <a:ext cx="11576304" cy="0"/>
          </a:xfrm>
          <a:prstGeom prst="line">
            <a:avLst/>
          </a:prstGeom>
          <a:ln w="9525"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888815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199988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82C91495-0599-46D6-95DC-6A91B68E9FE8}"/>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12192000" cy="6858000"/>
          </a:xfrm>
          <a:prstGeom prst="rect">
            <a:avLst/>
          </a:prstGeom>
          <a:gradFill>
            <a:gsLst>
              <a:gs pos="0">
                <a:schemeClr val="tx2"/>
              </a:gs>
              <a:gs pos="100000">
                <a:schemeClr val="accent2"/>
              </a:gs>
            </a:gsLst>
            <a:lin ang="8100000" scaled="1"/>
          </a:gradFill>
        </p:spPr>
      </p:pic>
      <p:sp>
        <p:nvSpPr>
          <p:cNvPr id="9" name="Overlay">
            <a:extLst>
              <a:ext uri="{FF2B5EF4-FFF2-40B4-BE49-F238E27FC236}">
                <a16:creationId xmlns:a16="http://schemas.microsoft.com/office/drawing/2014/main" id="{3BF3401C-1CF3-4F95-AE00-57CBC7DAD934}"/>
              </a:ext>
            </a:extLst>
          </p:cNvPr>
          <p:cNvSpPr/>
          <p:nvPr userDrawn="1">
            <p:custDataLst>
              <p:tags r:id="rId2"/>
            </p:custDataLst>
          </p:nvPr>
        </p:nvSpPr>
        <p:spPr>
          <a:xfrm>
            <a:off x="0" y="0"/>
            <a:ext cx="12192000" cy="6858000"/>
          </a:xfrm>
          <a:prstGeom prst="rect">
            <a:avLst/>
          </a:prstGeom>
          <a:gradFill>
            <a:gsLst>
              <a:gs pos="0">
                <a:srgbClr val="009B9D">
                  <a:alpha val="75000"/>
                </a:srgbClr>
              </a:gs>
              <a:gs pos="100000">
                <a:srgbClr val="006F4E">
                  <a:alpha val="9506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lnSpc>
                <a:spcPct val="90000"/>
              </a:lnSpc>
              <a:spcAft>
                <a:spcPts val="1000"/>
              </a:spcAft>
            </a:pPr>
            <a:endParaRPr lang="en-US" sz="1200" dirty="0">
              <a:solidFill>
                <a:schemeClr val="bg1"/>
              </a:solidFill>
              <a:cs typeface="+mn-cs"/>
            </a:endParaRPr>
          </a:p>
        </p:txBody>
      </p:sp>
      <p:pic>
        <p:nvPicPr>
          <p:cNvPr id="23" name="Picture 22"/>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US" sz="1200" dirty="0">
              <a:solidFill>
                <a:schemeClr val="bg1"/>
              </a:solidFill>
              <a:latin typeface="+mn-lt"/>
              <a:cs typeface="+mn-cs"/>
              <a:sym typeface="Trebuchet MS" panose="020B0603020202020204" pitchFamily="34" charset="0"/>
            </a:endParaRPr>
          </a:p>
        </p:txBody>
      </p:sp>
      <p:sp>
        <p:nvSpPr>
          <p:cNvPr id="29"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cs typeface="+mn-cs"/>
                <a:sym typeface="Trebuchet MS" panose="020B0603020202020204" pitchFamily="34" charset="0"/>
              </a:rPr>
              <a:t>Copyright © 2024 by Boston Consulting Group. All rights reserved.</a:t>
            </a:r>
          </a:p>
        </p:txBody>
      </p:sp>
      <p:sp>
        <p:nvSpPr>
          <p:cNvPr id="28" name="TextBox 2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p:nvSpPr>
        <p:spPr>
          <a:xfrm>
            <a:off x="630000" y="3262145"/>
            <a:ext cx="1161047" cy="332399"/>
          </a:xfrm>
          <a:prstGeom prst="rect">
            <a:avLst/>
          </a:prstGeom>
          <a:noFill/>
        </p:spPr>
        <p:txBody>
          <a:bodyPr wrap="square" lIns="0" tIns="0" rIns="0" bIns="0" rtlCol="0" anchor="t">
            <a:spAutoFit/>
          </a:bodyPr>
          <a:lstStyle/>
          <a:p>
            <a:pPr rtl="0">
              <a:lnSpc>
                <a:spcPct val="90000"/>
              </a:lnSpc>
              <a:spcAft>
                <a:spcPts val="600"/>
              </a:spcAft>
            </a:pPr>
            <a:r>
              <a:rPr lang="en-US" sz="2400" dirty="0">
                <a:solidFill>
                  <a:schemeClr val="bg1"/>
                </a:solidFill>
                <a:cs typeface="+mn-cs"/>
              </a:rPr>
              <a:t>Agenda</a:t>
            </a:r>
          </a:p>
        </p:txBody>
      </p:sp>
    </p:spTree>
    <p:extLst>
      <p:ext uri="{BB962C8B-B14F-4D97-AF65-F5344CB8AC3E}">
        <p14:creationId xmlns:p14="http://schemas.microsoft.com/office/powerpoint/2010/main" val="31839043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8310322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799606B9-E7D5-46B4-879A-D333A8D0C7F8}"/>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12192000" cy="6858000"/>
          </a:xfrm>
          <a:prstGeom prst="rect">
            <a:avLst/>
          </a:prstGeom>
          <a:gradFill>
            <a:gsLst>
              <a:gs pos="0">
                <a:schemeClr val="tx2"/>
              </a:gs>
              <a:gs pos="100000">
                <a:schemeClr val="accent2"/>
              </a:gs>
            </a:gsLst>
            <a:lin ang="8100000" scaled="1"/>
          </a:gradFill>
        </p:spPr>
      </p:pic>
      <p:sp>
        <p:nvSpPr>
          <p:cNvPr id="12" name="Overlay">
            <a:extLst>
              <a:ext uri="{FF2B5EF4-FFF2-40B4-BE49-F238E27FC236}">
                <a16:creationId xmlns:a16="http://schemas.microsoft.com/office/drawing/2014/main" id="{F10BFE66-0291-4663-9252-34103A27831F}"/>
              </a:ext>
            </a:extLst>
          </p:cNvPr>
          <p:cNvSpPr/>
          <p:nvPr userDrawn="1">
            <p:custDataLst>
              <p:tags r:id="rId2"/>
            </p:custDataLst>
          </p:nvPr>
        </p:nvSpPr>
        <p:spPr>
          <a:xfrm>
            <a:off x="0" y="0"/>
            <a:ext cx="12192000" cy="6858000"/>
          </a:xfrm>
          <a:prstGeom prst="rect">
            <a:avLst/>
          </a:prstGeom>
          <a:gradFill>
            <a:gsLst>
              <a:gs pos="0">
                <a:srgbClr val="009B9D">
                  <a:alpha val="75000"/>
                </a:srgbClr>
              </a:gs>
              <a:gs pos="100000">
                <a:srgbClr val="006F4E">
                  <a:alpha val="9506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lnSpc>
                <a:spcPct val="90000"/>
              </a:lnSpc>
              <a:spcAft>
                <a:spcPts val="1000"/>
              </a:spcAft>
            </a:pPr>
            <a:endParaRPr lang="en-US" sz="1200" dirty="0">
              <a:solidFill>
                <a:schemeClr val="bg1"/>
              </a:solidFill>
              <a:cs typeface="+mn-cs"/>
            </a:endParaRPr>
          </a:p>
        </p:txBody>
      </p:sp>
      <p:sp>
        <p:nvSpPr>
          <p:cNvPr id="24"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Trebuchet MS" panose="020B0603020202020204" pitchFamily="34" charset="0"/>
                <a:cs typeface="+mn-cs"/>
                <a:sym typeface="Trebuchet MS" panose="020B0603020202020204" pitchFamily="34" charset="0"/>
              </a:rPr>
              <a:t>Copyright © 2024 by Boston Consulting Group. All rights reserved.</a:t>
            </a: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18" name="Freeform 12">
            <a:extLst>
              <a:ext uri="{FF2B5EF4-FFF2-40B4-BE49-F238E27FC236}">
                <a16:creationId xmlns:a16="http://schemas.microsoft.com/office/drawing/2014/main" id="{14A1ECC7-B686-43B3-96CE-C0C5D23C40B1}"/>
              </a:ext>
            </a:extLst>
          </p:cNvPr>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US" sz="1200" dirty="0">
              <a:solidFill>
                <a:prstClr val="white"/>
              </a:solidFill>
              <a:latin typeface="+mn-lt"/>
              <a:cs typeface="+mn-cs"/>
              <a:sym typeface="Trebuchet MS" panose="020B0603020202020204" pitchFamily="34" charset="0"/>
            </a:endParaRPr>
          </a:p>
        </p:txBody>
      </p:sp>
      <p:sp>
        <p:nvSpPr>
          <p:cNvPr id="21" name="Freeform 12">
            <a:extLst>
              <a:ext uri="{FF2B5EF4-FFF2-40B4-BE49-F238E27FC236}">
                <a16:creationId xmlns:a16="http://schemas.microsoft.com/office/drawing/2014/main" id="{BA4F0500-46CC-4B17-B883-410F48B85940}"/>
              </a:ext>
            </a:extLst>
          </p:cNvPr>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US" sz="1200" dirty="0">
              <a:solidFill>
                <a:prstClr val="white"/>
              </a:solidFill>
              <a:latin typeface="+mn-lt"/>
              <a:cs typeface="+mn-cs"/>
              <a:sym typeface="Trebuchet MS" panose="020B0603020202020204" pitchFamily="34" charset="0"/>
            </a:endParaRPr>
          </a:p>
        </p:txBody>
      </p:sp>
      <p:sp>
        <p:nvSpPr>
          <p:cNvPr id="22" name="TextBox 21">
            <a:extLst>
              <a:ext uri="{FF2B5EF4-FFF2-40B4-BE49-F238E27FC236}">
                <a16:creationId xmlns:a16="http://schemas.microsoft.com/office/drawing/2014/main" id="{5F9DDD39-BC0F-4771-9531-1CCF593D999D}"/>
              </a:ext>
            </a:extLst>
          </p:cNvPr>
          <p:cNvSpPr txBox="1"/>
          <p:nvPr userDrawn="1"/>
        </p:nvSpPr>
        <p:spPr>
          <a:xfrm>
            <a:off x="630000" y="2577934"/>
            <a:ext cx="2819400" cy="1761764"/>
          </a:xfrm>
          <a:prstGeom prst="rect">
            <a:avLst/>
          </a:prstGeom>
          <a:noFill/>
        </p:spPr>
        <p:txBody>
          <a:bodyPr wrap="square" lIns="0" tIns="0" rIns="0" bIns="0" rtlCol="0" anchor="ctr">
            <a:spAutoFit/>
          </a:bodyPr>
          <a:lstStyle/>
          <a:p>
            <a:pPr marL="0" indent="0" rtl="0">
              <a:lnSpc>
                <a:spcPct val="106000"/>
              </a:lnSpc>
              <a:spcAft>
                <a:spcPts val="700"/>
              </a:spcAft>
              <a:buFontTx/>
              <a:buNone/>
            </a:pPr>
            <a:r>
              <a:rPr lang="en-US" sz="5400" dirty="0">
                <a:solidFill>
                  <a:schemeClr val="tx2"/>
                </a:solidFill>
                <a:latin typeface="+mn-lt"/>
                <a:cs typeface="+mn-cs"/>
                <a:sym typeface="Trebuchet MS" panose="020B0603020202020204" pitchFamily="34" charset="0"/>
              </a:rPr>
              <a:t>Table of contents</a:t>
            </a:r>
          </a:p>
        </p:txBody>
      </p:sp>
      <p:pic>
        <p:nvPicPr>
          <p:cNvPr id="23" name="Picture 22">
            <a:extLst>
              <a:ext uri="{FF2B5EF4-FFF2-40B4-BE49-F238E27FC236}">
                <a16:creationId xmlns:a16="http://schemas.microsoft.com/office/drawing/2014/main" id="{4D933476-9DB7-4E62-84FD-5EAC799BF100}"/>
              </a:ext>
            </a:extLst>
          </p:cNvPr>
          <p:cNvPicPr>
            <a:picLocks noChangeAspect="1" noChangeArrowheads="1"/>
          </p:cNvPicPr>
          <p:nvPr userDrawn="1"/>
        </p:nvPicPr>
        <p:blipFill>
          <a:blip r:embed="rId7">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21237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Strona tytułowa ze zdjęciem">
    <p:bg>
      <p:bgPr>
        <a:solidFill>
          <a:srgbClr val="FFFFFF"/>
        </a:solidFill>
        <a:effectLst/>
      </p:bgPr>
    </p:bg>
    <p:spTree>
      <p:nvGrpSpPr>
        <p:cNvPr id="1" name=""/>
        <p:cNvGrpSpPr/>
        <p:nvPr/>
      </p:nvGrpSpPr>
      <p:grpSpPr>
        <a:xfrm>
          <a:off x="0" y="0"/>
          <a:ext cx="0" cy="0"/>
          <a:chOff x="0" y="0"/>
          <a:chExt cx="0" cy="0"/>
        </a:xfrm>
      </p:grpSpPr>
      <p:sp>
        <p:nvSpPr>
          <p:cNvPr id="12" name="Titre 1"/>
          <p:cNvSpPr>
            <a:spLocks noGrp="1"/>
          </p:cNvSpPr>
          <p:nvPr>
            <p:ph type="title" hasCustomPrompt="1"/>
          </p:nvPr>
        </p:nvSpPr>
        <p:spPr bwMode="gray">
          <a:xfrm>
            <a:off x="6280731" y="2361347"/>
            <a:ext cx="5575333" cy="1440000"/>
          </a:xfrm>
        </p:spPr>
        <p:txBody>
          <a:bodyPr tIns="180000" anchor="ctr" anchorCtr="0"/>
          <a:lstStyle>
            <a:lvl1pPr algn="l">
              <a:lnSpc>
                <a:spcPct val="80000"/>
              </a:lnSpc>
              <a:spcBef>
                <a:spcPts val="0"/>
              </a:spcBef>
              <a:spcAft>
                <a:spcPts val="0"/>
              </a:spcAft>
              <a:defRPr sz="3733" b="1" cap="all" baseline="0">
                <a:solidFill>
                  <a:srgbClr val="009597"/>
                </a:solidFill>
              </a:defRPr>
            </a:lvl1pPr>
          </a:lstStyle>
          <a:p>
            <a:r>
              <a:rPr lang="pl-PL" noProof="0" dirty="0"/>
              <a:t>TYTUŁ PREZENTACJI </a:t>
            </a:r>
            <a:br>
              <a:rPr lang="pl-PL" noProof="0" dirty="0"/>
            </a:br>
            <a:r>
              <a:rPr lang="pl-PL" noProof="0" dirty="0"/>
              <a:t>– Slajd ze zdjęciem</a:t>
            </a:r>
          </a:p>
        </p:txBody>
      </p:sp>
      <p:sp>
        <p:nvSpPr>
          <p:cNvPr id="11" name="Symbol zastępczy tekstu 2"/>
          <p:cNvSpPr>
            <a:spLocks noGrp="1"/>
          </p:cNvSpPr>
          <p:nvPr>
            <p:ph type="body" sz="quarter" idx="20" hasCustomPrompt="1"/>
          </p:nvPr>
        </p:nvSpPr>
        <p:spPr>
          <a:xfrm>
            <a:off x="6280731" y="4615519"/>
            <a:ext cx="4997672" cy="168000"/>
          </a:xfrm>
          <a:noFill/>
          <a:ln>
            <a:noFill/>
          </a:ln>
          <a:effectLst/>
        </p:spPr>
        <p:txBody>
          <a:bodyPr anchor="t"/>
          <a:lstStyle>
            <a:lvl1pPr marL="0" indent="0">
              <a:lnSpc>
                <a:spcPct val="80000"/>
              </a:lnSpc>
              <a:buFontTx/>
              <a:buNone/>
              <a:defRPr sz="1467" b="0">
                <a:ln>
                  <a:noFill/>
                </a:ln>
                <a:solidFill>
                  <a:srgbClr val="009597"/>
                </a:solidFill>
                <a:latin typeface="+mj-lt"/>
              </a:defRPr>
            </a:lvl1pPr>
            <a:lvl2pPr marL="575986" indent="0">
              <a:buFontTx/>
              <a:buNone/>
              <a:defRPr sz="1600"/>
            </a:lvl2pPr>
            <a:lvl3pPr marL="1151971" indent="0">
              <a:buFontTx/>
              <a:buNone/>
              <a:defRPr sz="1600"/>
            </a:lvl3pPr>
            <a:lvl4pPr marL="1727957" indent="0">
              <a:buFontTx/>
              <a:buNone/>
              <a:defRPr sz="1600"/>
            </a:lvl4pPr>
            <a:lvl5pPr marL="2303942" indent="0">
              <a:buFontTx/>
              <a:buNone/>
              <a:defRPr sz="1600"/>
            </a:lvl5pPr>
          </a:lstStyle>
          <a:p>
            <a:pPr lvl="0"/>
            <a:r>
              <a:rPr lang="pl-PL" dirty="0" err="1"/>
              <a:t>xxxxxxxxxxxxxxxxx</a:t>
            </a:r>
            <a:endParaRPr lang="pl-PL" dirty="0"/>
          </a:p>
        </p:txBody>
      </p:sp>
      <p:sp>
        <p:nvSpPr>
          <p:cNvPr id="10" name="Symbol zastępczy obrazu 9">
            <a:extLst>
              <a:ext uri="{FF2B5EF4-FFF2-40B4-BE49-F238E27FC236}">
                <a16:creationId xmlns:a16="http://schemas.microsoft.com/office/drawing/2014/main" id="{71BB64A8-5201-560B-036C-DD2C167D1242}"/>
              </a:ext>
            </a:extLst>
          </p:cNvPr>
          <p:cNvSpPr>
            <a:spLocks noGrp="1"/>
          </p:cNvSpPr>
          <p:nvPr>
            <p:ph type="pic" sz="quarter" idx="24"/>
          </p:nvPr>
        </p:nvSpPr>
        <p:spPr>
          <a:xfrm>
            <a:off x="575939" y="788971"/>
            <a:ext cx="5216423" cy="5178788"/>
          </a:xfrm>
        </p:spPr>
        <p:txBody>
          <a:bodyPr/>
          <a:lstStyle>
            <a:lvl1pPr marL="0" indent="0">
              <a:buNone/>
              <a:defRPr>
                <a:solidFill>
                  <a:schemeClr val="bg1"/>
                </a:solidFill>
              </a:defRPr>
            </a:lvl1pPr>
          </a:lstStyle>
          <a:p>
            <a:endParaRPr lang="pl-PL" noProof="0" dirty="0"/>
          </a:p>
        </p:txBody>
      </p:sp>
    </p:spTree>
    <p:extLst>
      <p:ext uri="{BB962C8B-B14F-4D97-AF65-F5344CB8AC3E}">
        <p14:creationId xmlns:p14="http://schemas.microsoft.com/office/powerpoint/2010/main" val="181433139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trona tytułowa ze zdjęciem">
    <p:bg>
      <p:bgPr>
        <a:solidFill>
          <a:srgbClr val="FFFFFF"/>
        </a:solidFill>
        <a:effectLst/>
      </p:bgPr>
    </p:bg>
    <p:spTree>
      <p:nvGrpSpPr>
        <p:cNvPr id="1" name=""/>
        <p:cNvGrpSpPr/>
        <p:nvPr/>
      </p:nvGrpSpPr>
      <p:grpSpPr>
        <a:xfrm>
          <a:off x="0" y="0"/>
          <a:ext cx="0" cy="0"/>
          <a:chOff x="0" y="0"/>
          <a:chExt cx="0" cy="0"/>
        </a:xfrm>
      </p:grpSpPr>
      <p:sp>
        <p:nvSpPr>
          <p:cNvPr id="12" name="Titre 1"/>
          <p:cNvSpPr>
            <a:spLocks noGrp="1"/>
          </p:cNvSpPr>
          <p:nvPr>
            <p:ph type="title" hasCustomPrompt="1"/>
          </p:nvPr>
        </p:nvSpPr>
        <p:spPr bwMode="gray">
          <a:xfrm>
            <a:off x="6280731" y="2361347"/>
            <a:ext cx="5575333" cy="1440000"/>
          </a:xfrm>
        </p:spPr>
        <p:txBody>
          <a:bodyPr tIns="180000" anchor="ctr" anchorCtr="0"/>
          <a:lstStyle>
            <a:lvl1pPr algn="l">
              <a:lnSpc>
                <a:spcPct val="80000"/>
              </a:lnSpc>
              <a:spcBef>
                <a:spcPts val="0"/>
              </a:spcBef>
              <a:spcAft>
                <a:spcPts val="0"/>
              </a:spcAft>
              <a:defRPr sz="3733" b="1" cap="all" baseline="0">
                <a:solidFill>
                  <a:srgbClr val="009597"/>
                </a:solidFill>
              </a:defRPr>
            </a:lvl1pPr>
          </a:lstStyle>
          <a:p>
            <a:r>
              <a:rPr lang="pl-PL" noProof="0" dirty="0"/>
              <a:t>TYTUŁ PREZENTACJI </a:t>
            </a:r>
            <a:br>
              <a:rPr lang="pl-PL" noProof="0" dirty="0"/>
            </a:br>
            <a:r>
              <a:rPr lang="pl-PL" noProof="0" dirty="0"/>
              <a:t>– Slajd ze zdjęciem</a:t>
            </a:r>
          </a:p>
        </p:txBody>
      </p:sp>
      <p:sp>
        <p:nvSpPr>
          <p:cNvPr id="11" name="Symbol zastępczy tekstu 2"/>
          <p:cNvSpPr>
            <a:spLocks noGrp="1"/>
          </p:cNvSpPr>
          <p:nvPr>
            <p:ph type="body" sz="quarter" idx="20" hasCustomPrompt="1"/>
          </p:nvPr>
        </p:nvSpPr>
        <p:spPr>
          <a:xfrm>
            <a:off x="6280731" y="4615519"/>
            <a:ext cx="4997672" cy="168000"/>
          </a:xfrm>
          <a:noFill/>
          <a:ln>
            <a:noFill/>
          </a:ln>
          <a:effectLst/>
        </p:spPr>
        <p:txBody>
          <a:bodyPr anchor="t"/>
          <a:lstStyle>
            <a:lvl1pPr marL="0" indent="0">
              <a:lnSpc>
                <a:spcPct val="80000"/>
              </a:lnSpc>
              <a:buFontTx/>
              <a:buNone/>
              <a:defRPr sz="1467" b="0">
                <a:ln>
                  <a:noFill/>
                </a:ln>
                <a:solidFill>
                  <a:srgbClr val="009597"/>
                </a:solidFill>
                <a:latin typeface="+mj-lt"/>
              </a:defRPr>
            </a:lvl1pPr>
            <a:lvl2pPr marL="575986" indent="0">
              <a:buFontTx/>
              <a:buNone/>
              <a:defRPr sz="1600"/>
            </a:lvl2pPr>
            <a:lvl3pPr marL="1151971" indent="0">
              <a:buFontTx/>
              <a:buNone/>
              <a:defRPr sz="1600"/>
            </a:lvl3pPr>
            <a:lvl4pPr marL="1727957" indent="0">
              <a:buFontTx/>
              <a:buNone/>
              <a:defRPr sz="1600"/>
            </a:lvl4pPr>
            <a:lvl5pPr marL="2303942" indent="0">
              <a:buFontTx/>
              <a:buNone/>
              <a:defRPr sz="1600"/>
            </a:lvl5pPr>
          </a:lstStyle>
          <a:p>
            <a:pPr lvl="0"/>
            <a:r>
              <a:rPr lang="pl-PL" dirty="0" err="1"/>
              <a:t>xxxxxxxxxxxxxxxxx</a:t>
            </a:r>
            <a:endParaRPr lang="pl-PL" dirty="0"/>
          </a:p>
        </p:txBody>
      </p:sp>
      <p:sp>
        <p:nvSpPr>
          <p:cNvPr id="10" name="Symbol zastępczy obrazu 9">
            <a:extLst>
              <a:ext uri="{FF2B5EF4-FFF2-40B4-BE49-F238E27FC236}">
                <a16:creationId xmlns:a16="http://schemas.microsoft.com/office/drawing/2014/main" id="{71BB64A8-5201-560B-036C-DD2C167D1242}"/>
              </a:ext>
            </a:extLst>
          </p:cNvPr>
          <p:cNvSpPr>
            <a:spLocks noGrp="1"/>
          </p:cNvSpPr>
          <p:nvPr>
            <p:ph type="pic" sz="quarter" idx="24"/>
          </p:nvPr>
        </p:nvSpPr>
        <p:spPr>
          <a:xfrm>
            <a:off x="575939" y="788971"/>
            <a:ext cx="5216423" cy="5178788"/>
          </a:xfrm>
        </p:spPr>
        <p:txBody>
          <a:bodyPr/>
          <a:lstStyle>
            <a:lvl1pPr marL="0" indent="0">
              <a:buNone/>
              <a:defRPr>
                <a:solidFill>
                  <a:schemeClr val="bg1"/>
                </a:solidFill>
              </a:defRPr>
            </a:lvl1pPr>
          </a:lstStyle>
          <a:p>
            <a:endParaRPr lang="pl-PL" noProof="0" dirty="0"/>
          </a:p>
        </p:txBody>
      </p:sp>
      <p:sp>
        <p:nvSpPr>
          <p:cNvPr id="7" name="pole tekstowe 6">
            <a:extLst>
              <a:ext uri="{FF2B5EF4-FFF2-40B4-BE49-F238E27FC236}">
                <a16:creationId xmlns:a16="http://schemas.microsoft.com/office/drawing/2014/main" id="{619EA351-D5B5-7F01-11D2-2725DC11DB3F}"/>
              </a:ext>
            </a:extLst>
          </p:cNvPr>
          <p:cNvSpPr txBox="1"/>
          <p:nvPr userDrawn="1"/>
        </p:nvSpPr>
        <p:spPr>
          <a:xfrm>
            <a:off x="8616029" y="188869"/>
            <a:ext cx="3240036" cy="7217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spAutoFit/>
          </a:bodyPr>
          <a:lstStyle/>
          <a:p>
            <a:pPr marL="0" marR="0" lvl="0" indent="0" algn="r" defTabSz="1100639" rtl="0" eaLnBrk="1" fontAlgn="auto" latinLnBrk="0" hangingPunct="0">
              <a:lnSpc>
                <a:spcPct val="100000"/>
              </a:lnSpc>
              <a:spcBef>
                <a:spcPts val="0"/>
              </a:spcBef>
              <a:spcAft>
                <a:spcPts val="0"/>
              </a:spcAft>
              <a:buClrTx/>
              <a:buSzTx/>
              <a:buFontTx/>
              <a:buNone/>
              <a:tabLst/>
              <a:defRPr sz="4000">
                <a:solidFill>
                  <a:srgbClr val="199FA1"/>
                </a:solidFill>
              </a:defRPr>
            </a:pPr>
            <a:r>
              <a:rPr kumimoji="0" lang="pl-PL" sz="1267" b="1" i="0" u="none" strike="noStrike" kern="0" cap="none" spc="0" normalizeH="0" baseline="0" noProof="0" dirty="0">
                <a:ln>
                  <a:noFill/>
                </a:ln>
                <a:solidFill>
                  <a:srgbClr val="009597"/>
                </a:solidFill>
                <a:effectLst/>
                <a:uLnTx/>
                <a:uFillTx/>
                <a:latin typeface="+mj-lt"/>
                <a:sym typeface="Helvetica Neue Medium"/>
              </a:rPr>
              <a:t>Codziennie działamy na rzecz</a:t>
            </a:r>
            <a:br>
              <a:rPr kumimoji="0" lang="pl-PL" sz="1267" b="1" i="0" u="none" strike="noStrike" kern="0" cap="none" spc="0" normalizeH="0" baseline="0" noProof="0" dirty="0">
                <a:ln>
                  <a:noFill/>
                </a:ln>
                <a:solidFill>
                  <a:srgbClr val="009597"/>
                </a:solidFill>
                <a:effectLst/>
                <a:uLnTx/>
                <a:uFillTx/>
                <a:latin typeface="+mj-lt"/>
                <a:sym typeface="Helvetica Neue Medium"/>
              </a:rPr>
            </a:br>
            <a:r>
              <a:rPr kumimoji="0" lang="pl-PL" sz="1267" b="1" i="0" u="none" strike="noStrike" kern="0" cap="none" spc="0" normalizeH="0" baseline="0" noProof="0" dirty="0">
                <a:ln>
                  <a:noFill/>
                </a:ln>
                <a:solidFill>
                  <a:srgbClr val="009597"/>
                </a:solidFill>
                <a:effectLst/>
                <a:uLnTx/>
                <a:uFillTx/>
                <a:latin typeface="+mj-lt"/>
                <a:sym typeface="Helvetica Neue Medium"/>
              </a:rPr>
              <a:t>naszych klientów i społeczeństwa</a:t>
            </a:r>
          </a:p>
          <a:p>
            <a:pPr marL="0" marR="0" indent="0" algn="r" defTabSz="1100639" rtl="0" fontAlgn="auto" latinLnBrk="0" hangingPunct="0">
              <a:lnSpc>
                <a:spcPct val="100000"/>
              </a:lnSpc>
              <a:spcBef>
                <a:spcPts val="0"/>
              </a:spcBef>
              <a:spcAft>
                <a:spcPts val="0"/>
              </a:spcAft>
              <a:buClrTx/>
              <a:buSzTx/>
              <a:buFontTx/>
              <a:buNone/>
              <a:tabLst/>
            </a:pPr>
            <a:endParaRPr kumimoji="0" lang="pl-PL" sz="1267" b="1" i="0" u="none" strike="noStrike" cap="none" spc="0" normalizeH="0" baseline="0" dirty="0">
              <a:ln>
                <a:noFill/>
              </a:ln>
              <a:solidFill>
                <a:srgbClr val="009597"/>
              </a:solidFill>
              <a:effectLst/>
              <a:uFillTx/>
              <a:latin typeface="+mj-lt"/>
              <a:sym typeface="Helvetica Neue Medium"/>
            </a:endParaRPr>
          </a:p>
        </p:txBody>
      </p:sp>
      <p:pic>
        <p:nvPicPr>
          <p:cNvPr id="3" name="Obraz 2">
            <a:extLst>
              <a:ext uri="{FF2B5EF4-FFF2-40B4-BE49-F238E27FC236}">
                <a16:creationId xmlns:a16="http://schemas.microsoft.com/office/drawing/2014/main" id="{77980B56-7ED6-4A78-9408-C4D62FDA211A}"/>
              </a:ext>
            </a:extLst>
          </p:cNvPr>
          <p:cNvPicPr>
            <a:picLocks noChangeAspect="1"/>
          </p:cNvPicPr>
          <p:nvPr userDrawn="1"/>
        </p:nvPicPr>
        <p:blipFill>
          <a:blip r:embed="rId2"/>
          <a:stretch>
            <a:fillRect/>
          </a:stretch>
        </p:blipFill>
        <p:spPr>
          <a:xfrm>
            <a:off x="9936043" y="5949619"/>
            <a:ext cx="2038280" cy="875853"/>
          </a:xfrm>
          <a:prstGeom prst="rect">
            <a:avLst/>
          </a:prstGeom>
        </p:spPr>
      </p:pic>
    </p:spTree>
    <p:extLst>
      <p:ext uri="{BB962C8B-B14F-4D97-AF65-F5344CB8AC3E}">
        <p14:creationId xmlns:p14="http://schemas.microsoft.com/office/powerpoint/2010/main" val="19684200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998E4DC-DE83-8CAE-90D9-55BC5E720954}"/>
              </a:ext>
            </a:extLst>
          </p:cNvPr>
          <p:cNvGraphicFramePr>
            <a:graphicFrameLocks noChangeAspect="1"/>
          </p:cNvGraphicFramePr>
          <p:nvPr userDrawn="1">
            <p:custDataLst>
              <p:tags r:id="rId1"/>
            </p:custDataLst>
            <p:extLst>
              <p:ext uri="{D42A27DB-BD31-4B8C-83A1-F6EECF244321}">
                <p14:modId xmlns:p14="http://schemas.microsoft.com/office/powerpoint/2010/main" val="309994496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think-cell data - do not delete" hidden="1">
                        <a:extLst>
                          <a:ext uri="{FF2B5EF4-FFF2-40B4-BE49-F238E27FC236}">
                            <a16:creationId xmlns:a16="http://schemas.microsoft.com/office/drawing/2014/main" id="{9998E4DC-DE83-8CAE-90D9-55BC5E72095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75BC6D23-879A-E21E-AB7E-EAD11251B2F5}"/>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526" y="1310"/>
            <a:ext cx="4088167" cy="6856690"/>
          </a:xfrm>
          <a:custGeom>
            <a:avLst/>
            <a:gdLst>
              <a:gd name="connsiteX0" fmla="*/ 0 w 4088167"/>
              <a:gd name="connsiteY0" fmla="*/ 0 h 6856690"/>
              <a:gd name="connsiteX1" fmla="*/ 3264933 w 4088167"/>
              <a:gd name="connsiteY1" fmla="*/ 0 h 6856690"/>
              <a:gd name="connsiteX2" fmla="*/ 4088167 w 4088167"/>
              <a:gd name="connsiteY2" fmla="*/ 3428395 h 6856690"/>
              <a:gd name="connsiteX3" fmla="*/ 4086481 w 4088167"/>
              <a:gd name="connsiteY3" fmla="*/ 3436628 h 6856690"/>
              <a:gd name="connsiteX4" fmla="*/ 3265248 w 4088167"/>
              <a:gd name="connsiteY4" fmla="*/ 6856690 h 6856690"/>
              <a:gd name="connsiteX5" fmla="*/ 0 w 4088167"/>
              <a:gd name="connsiteY5" fmla="*/ 6856690 h 6856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88167" h="6856690">
                <a:moveTo>
                  <a:pt x="0" y="0"/>
                </a:moveTo>
                <a:lnTo>
                  <a:pt x="3264933" y="0"/>
                </a:lnTo>
                <a:lnTo>
                  <a:pt x="4088167" y="3428395"/>
                </a:lnTo>
                <a:lnTo>
                  <a:pt x="4086481" y="3436628"/>
                </a:lnTo>
                <a:lnTo>
                  <a:pt x="3265248" y="6856690"/>
                </a:lnTo>
                <a:lnTo>
                  <a:pt x="0" y="6856690"/>
                </a:lnTo>
                <a:close/>
              </a:path>
            </a:pathLst>
          </a:custGeom>
          <a:gradFill>
            <a:gsLst>
              <a:gs pos="0">
                <a:schemeClr val="tx2"/>
              </a:gs>
              <a:gs pos="100000">
                <a:schemeClr val="accent2"/>
              </a:gs>
            </a:gsLst>
            <a:lin ang="8100000" scaled="1"/>
          </a:gradFill>
        </p:spPr>
      </p:pic>
      <p:sp>
        <p:nvSpPr>
          <p:cNvPr id="4" name="Freeform 3">
            <a:extLst>
              <a:ext uri="{FF2B5EF4-FFF2-40B4-BE49-F238E27FC236}">
                <a16:creationId xmlns:a16="http://schemas.microsoft.com/office/drawing/2014/main" id="{BBA0E35F-0DC6-423D-A306-80D5D63F6E03}"/>
              </a:ext>
            </a:extLst>
          </p:cNvPr>
          <p:cNvSpPr/>
          <p:nvPr userDrawn="1">
            <p:custDataLst>
              <p:tags r:id="rId2"/>
            </p:custDataLst>
          </p:nvPr>
        </p:nvSpPr>
        <p:spPr>
          <a:xfrm>
            <a:off x="1525" y="1310"/>
            <a:ext cx="4088167" cy="6856690"/>
          </a:xfrm>
          <a:custGeom>
            <a:avLst/>
            <a:gdLst>
              <a:gd name="connsiteX0" fmla="*/ 0 w 4088167"/>
              <a:gd name="connsiteY0" fmla="*/ 0 h 6856690"/>
              <a:gd name="connsiteX1" fmla="*/ 3264933 w 4088167"/>
              <a:gd name="connsiteY1" fmla="*/ 0 h 6856690"/>
              <a:gd name="connsiteX2" fmla="*/ 4088167 w 4088167"/>
              <a:gd name="connsiteY2" fmla="*/ 3428397 h 6856690"/>
              <a:gd name="connsiteX3" fmla="*/ 4086490 w 4088167"/>
              <a:gd name="connsiteY3" fmla="*/ 3436589 h 6856690"/>
              <a:gd name="connsiteX4" fmla="*/ 3265248 w 4088167"/>
              <a:gd name="connsiteY4" fmla="*/ 6856690 h 6856690"/>
              <a:gd name="connsiteX5" fmla="*/ 0 w 4088167"/>
              <a:gd name="connsiteY5" fmla="*/ 6856690 h 6856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88167" h="6856690">
                <a:moveTo>
                  <a:pt x="0" y="0"/>
                </a:moveTo>
                <a:lnTo>
                  <a:pt x="3264933" y="0"/>
                </a:lnTo>
                <a:lnTo>
                  <a:pt x="4088167" y="3428397"/>
                </a:lnTo>
                <a:lnTo>
                  <a:pt x="4086490" y="3436589"/>
                </a:lnTo>
                <a:lnTo>
                  <a:pt x="3265248" y="6856690"/>
                </a:lnTo>
                <a:lnTo>
                  <a:pt x="0" y="6856690"/>
                </a:lnTo>
                <a:close/>
              </a:path>
            </a:pathLst>
          </a:custGeom>
          <a:gradFill>
            <a:gsLst>
              <a:gs pos="0">
                <a:srgbClr val="009B9D">
                  <a:alpha val="21000"/>
                </a:srgbClr>
              </a:gs>
              <a:gs pos="100000">
                <a:srgbClr val="006F4E">
                  <a:alpha val="8897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lnSpc>
                <a:spcPct val="90000"/>
              </a:lnSpc>
              <a:spcAft>
                <a:spcPts val="1000"/>
              </a:spcAft>
            </a:pPr>
            <a:endParaRPr lang="en-US" sz="1200" dirty="0">
              <a:solidFill>
                <a:schemeClr val="bg1"/>
              </a:solidFill>
              <a:cs typeface="+mn-cs"/>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rtl="0">
              <a:defRPr sz="3400" baseline="0">
                <a:solidFill>
                  <a:srgbClr val="FFFFFF"/>
                </a:solidFill>
                <a:latin typeface="+mj-lt"/>
                <a:cs typeface="+mj-cs"/>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cs typeface="+mn-cs"/>
                <a:sym typeface="Trebuchet MS" panose="020B0603020202020204" pitchFamily="34" charset="0"/>
              </a:defRPr>
            </a:lvl1pPr>
          </a:lstStyle>
          <a:p>
            <a:endParaRPr lang="en-US" dirty="0"/>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cs typeface="+mn-cs"/>
                <a:sym typeface="Trebuchet MS" panose="020B0603020202020204" pitchFamily="34" charset="0"/>
              </a:rPr>
              <a:t>Copyright © 2024 by Boston Consulting Group. All rights reserved.</a:t>
            </a:r>
          </a:p>
        </p:txBody>
      </p:sp>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7832084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Strona tytułowa bez zdjęcia">
    <p:bg>
      <p:bgPr>
        <a:solidFill>
          <a:srgbClr val="009597"/>
        </a:solidFill>
        <a:effectLst/>
      </p:bgPr>
    </p:bg>
    <p:spTree>
      <p:nvGrpSpPr>
        <p:cNvPr id="1" name=""/>
        <p:cNvGrpSpPr/>
        <p:nvPr/>
      </p:nvGrpSpPr>
      <p:grpSpPr>
        <a:xfrm>
          <a:off x="0" y="0"/>
          <a:ext cx="0" cy="0"/>
          <a:chOff x="0" y="0"/>
          <a:chExt cx="0" cy="0"/>
        </a:xfrm>
      </p:grpSpPr>
      <p:sp>
        <p:nvSpPr>
          <p:cNvPr id="12" name="Titre 1"/>
          <p:cNvSpPr>
            <a:spLocks noGrp="1"/>
          </p:cNvSpPr>
          <p:nvPr>
            <p:ph type="title" hasCustomPrompt="1"/>
          </p:nvPr>
        </p:nvSpPr>
        <p:spPr bwMode="gray">
          <a:xfrm>
            <a:off x="455938" y="2228987"/>
            <a:ext cx="6360071" cy="1440000"/>
          </a:xfrm>
        </p:spPr>
        <p:txBody>
          <a:bodyPr tIns="180000" anchor="ctr" anchorCtr="0"/>
          <a:lstStyle>
            <a:lvl1pPr algn="l">
              <a:lnSpc>
                <a:spcPct val="80000"/>
              </a:lnSpc>
              <a:spcBef>
                <a:spcPts val="0"/>
              </a:spcBef>
              <a:spcAft>
                <a:spcPts val="0"/>
              </a:spcAft>
              <a:defRPr sz="3733" b="1" cap="all" baseline="0">
                <a:solidFill>
                  <a:schemeClr val="bg1"/>
                </a:solidFill>
              </a:defRPr>
            </a:lvl1pPr>
          </a:lstStyle>
          <a:p>
            <a:r>
              <a:rPr lang="pl-PL" noProof="0" dirty="0"/>
              <a:t>TYTUŁ PREZENTACJI </a:t>
            </a:r>
            <a:br>
              <a:rPr lang="pl-PL" noProof="0" dirty="0"/>
            </a:br>
            <a:r>
              <a:rPr lang="pl-PL" noProof="0" dirty="0"/>
              <a:t>– Slajd bez zdjęcia</a:t>
            </a:r>
          </a:p>
        </p:txBody>
      </p:sp>
      <p:sp>
        <p:nvSpPr>
          <p:cNvPr id="11" name="Symbol zastępczy tekstu 2"/>
          <p:cNvSpPr>
            <a:spLocks noGrp="1"/>
          </p:cNvSpPr>
          <p:nvPr>
            <p:ph type="body" sz="quarter" idx="20" hasCustomPrompt="1"/>
          </p:nvPr>
        </p:nvSpPr>
        <p:spPr>
          <a:xfrm>
            <a:off x="455937" y="4869016"/>
            <a:ext cx="4997672" cy="168000"/>
          </a:xfrm>
          <a:noFill/>
          <a:ln>
            <a:noFill/>
          </a:ln>
          <a:effectLst/>
        </p:spPr>
        <p:txBody>
          <a:bodyPr anchor="t"/>
          <a:lstStyle>
            <a:lvl1pPr marL="0" indent="0">
              <a:lnSpc>
                <a:spcPct val="80000"/>
              </a:lnSpc>
              <a:buFontTx/>
              <a:buNone/>
              <a:defRPr sz="1467" b="0">
                <a:ln>
                  <a:noFill/>
                </a:ln>
                <a:solidFill>
                  <a:schemeClr val="bg1"/>
                </a:solidFill>
                <a:latin typeface="+mj-lt"/>
              </a:defRPr>
            </a:lvl1pPr>
            <a:lvl2pPr marL="575986" indent="0">
              <a:buFontTx/>
              <a:buNone/>
              <a:defRPr sz="1600"/>
            </a:lvl2pPr>
            <a:lvl3pPr marL="1151971" indent="0">
              <a:buFontTx/>
              <a:buNone/>
              <a:defRPr sz="1600"/>
            </a:lvl3pPr>
            <a:lvl4pPr marL="1727957" indent="0">
              <a:buFontTx/>
              <a:buNone/>
              <a:defRPr sz="1600"/>
            </a:lvl4pPr>
            <a:lvl5pPr marL="2303942" indent="0">
              <a:buFontTx/>
              <a:buNone/>
              <a:defRPr sz="1600"/>
            </a:lvl5pPr>
          </a:lstStyle>
          <a:p>
            <a:pPr lvl="0"/>
            <a:r>
              <a:rPr lang="pl-PL" dirty="0" err="1"/>
              <a:t>xxxxxxxxxxxxxxxxx</a:t>
            </a:r>
            <a:endParaRPr lang="pl-PL" dirty="0"/>
          </a:p>
        </p:txBody>
      </p:sp>
      <p:sp>
        <p:nvSpPr>
          <p:cNvPr id="4" name="Prostokąt 3">
            <a:extLst>
              <a:ext uri="{FF2B5EF4-FFF2-40B4-BE49-F238E27FC236}">
                <a16:creationId xmlns:a16="http://schemas.microsoft.com/office/drawing/2014/main" id="{F89DDC0A-C8A3-D16B-6C20-24F73F60C148}"/>
              </a:ext>
            </a:extLst>
          </p:cNvPr>
          <p:cNvSpPr/>
          <p:nvPr userDrawn="1"/>
        </p:nvSpPr>
        <p:spPr>
          <a:xfrm>
            <a:off x="11376059" y="6257116"/>
            <a:ext cx="720008" cy="5489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2400"/>
          </a:p>
        </p:txBody>
      </p:sp>
      <p:sp>
        <p:nvSpPr>
          <p:cNvPr id="8" name="pole tekstowe 7">
            <a:extLst>
              <a:ext uri="{FF2B5EF4-FFF2-40B4-BE49-F238E27FC236}">
                <a16:creationId xmlns:a16="http://schemas.microsoft.com/office/drawing/2014/main" id="{8ACB1BDD-6445-8BEB-AF5D-6D12348970EE}"/>
              </a:ext>
            </a:extLst>
          </p:cNvPr>
          <p:cNvSpPr txBox="1"/>
          <p:nvPr userDrawn="1"/>
        </p:nvSpPr>
        <p:spPr>
          <a:xfrm>
            <a:off x="8736031" y="188869"/>
            <a:ext cx="3120035" cy="7217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spAutoFit/>
          </a:bodyPr>
          <a:lstStyle/>
          <a:p>
            <a:pPr marL="0" marR="0" lvl="0" indent="0" algn="r" defTabSz="1100639" rtl="0" eaLnBrk="1" fontAlgn="auto" latinLnBrk="0" hangingPunct="0">
              <a:lnSpc>
                <a:spcPct val="100000"/>
              </a:lnSpc>
              <a:spcBef>
                <a:spcPts val="0"/>
              </a:spcBef>
              <a:spcAft>
                <a:spcPts val="0"/>
              </a:spcAft>
              <a:buClrTx/>
              <a:buSzTx/>
              <a:buFontTx/>
              <a:buNone/>
              <a:tabLst/>
              <a:defRPr sz="4000">
                <a:solidFill>
                  <a:srgbClr val="199FA1"/>
                </a:solidFill>
              </a:defRPr>
            </a:pPr>
            <a:r>
              <a:rPr kumimoji="0" lang="pl-PL" sz="1267" b="1" i="0" u="none" strike="noStrike" kern="0" cap="none" spc="0" normalizeH="0" baseline="0" noProof="0" dirty="0">
                <a:ln>
                  <a:noFill/>
                </a:ln>
                <a:solidFill>
                  <a:schemeClr val="bg1"/>
                </a:solidFill>
                <a:effectLst/>
                <a:uLnTx/>
                <a:uFillTx/>
                <a:latin typeface="+mj-lt"/>
                <a:sym typeface="Helvetica Neue Medium"/>
              </a:rPr>
              <a:t>Codziennie działamy na rzecz</a:t>
            </a:r>
            <a:br>
              <a:rPr kumimoji="0" lang="pl-PL" sz="1267" b="1" i="0" u="none" strike="noStrike" kern="0" cap="none" spc="0" normalizeH="0" baseline="0" noProof="0" dirty="0">
                <a:ln>
                  <a:noFill/>
                </a:ln>
                <a:solidFill>
                  <a:schemeClr val="bg1"/>
                </a:solidFill>
                <a:effectLst/>
                <a:uLnTx/>
                <a:uFillTx/>
                <a:latin typeface="+mj-lt"/>
                <a:sym typeface="Helvetica Neue Medium"/>
              </a:rPr>
            </a:br>
            <a:r>
              <a:rPr kumimoji="0" lang="pl-PL" sz="1267" b="1" i="0" u="none" strike="noStrike" kern="0" cap="none" spc="0" normalizeH="0" baseline="0" noProof="0" dirty="0">
                <a:ln>
                  <a:noFill/>
                </a:ln>
                <a:solidFill>
                  <a:schemeClr val="bg1"/>
                </a:solidFill>
                <a:effectLst/>
                <a:uLnTx/>
                <a:uFillTx/>
                <a:latin typeface="+mj-lt"/>
                <a:sym typeface="Helvetica Neue Medium"/>
              </a:rPr>
              <a:t>naszych klientów i społeczeństwa</a:t>
            </a:r>
          </a:p>
          <a:p>
            <a:pPr marL="0" marR="0" indent="0" algn="r" defTabSz="1100639" rtl="0" fontAlgn="auto" latinLnBrk="0" hangingPunct="0">
              <a:lnSpc>
                <a:spcPct val="100000"/>
              </a:lnSpc>
              <a:spcBef>
                <a:spcPts val="0"/>
              </a:spcBef>
              <a:spcAft>
                <a:spcPts val="0"/>
              </a:spcAft>
              <a:buClrTx/>
              <a:buSzTx/>
              <a:buFontTx/>
              <a:buNone/>
              <a:tabLst/>
            </a:pPr>
            <a:endParaRPr kumimoji="0" lang="pl-PL" sz="1267" b="1" i="0" u="none" strike="noStrike" cap="none" spc="0" normalizeH="0" baseline="0" dirty="0">
              <a:ln>
                <a:noFill/>
              </a:ln>
              <a:solidFill>
                <a:schemeClr val="bg1"/>
              </a:solidFill>
              <a:effectLst/>
              <a:uFillTx/>
              <a:latin typeface="+mj-lt"/>
              <a:sym typeface="Helvetica Neue Medium"/>
            </a:endParaRPr>
          </a:p>
        </p:txBody>
      </p:sp>
      <p:pic>
        <p:nvPicPr>
          <p:cNvPr id="6" name="Obraz 5">
            <a:extLst>
              <a:ext uri="{FF2B5EF4-FFF2-40B4-BE49-F238E27FC236}">
                <a16:creationId xmlns:a16="http://schemas.microsoft.com/office/drawing/2014/main" id="{BB4D5826-59C3-4038-908A-789BB5041E34}"/>
              </a:ext>
            </a:extLst>
          </p:cNvPr>
          <p:cNvPicPr>
            <a:picLocks noChangeAspect="1"/>
          </p:cNvPicPr>
          <p:nvPr userDrawn="1"/>
        </p:nvPicPr>
        <p:blipFill>
          <a:blip r:embed="rId2"/>
          <a:stretch>
            <a:fillRect/>
          </a:stretch>
        </p:blipFill>
        <p:spPr>
          <a:xfrm>
            <a:off x="9456037" y="5640410"/>
            <a:ext cx="2698307" cy="1268629"/>
          </a:xfrm>
          <a:prstGeom prst="rect">
            <a:avLst/>
          </a:prstGeom>
        </p:spPr>
      </p:pic>
    </p:spTree>
    <p:extLst>
      <p:ext uri="{BB962C8B-B14F-4D97-AF65-F5344CB8AC3E}">
        <p14:creationId xmlns:p14="http://schemas.microsoft.com/office/powerpoint/2010/main" val="673718099"/>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Strona przekładkowa 1">
    <p:bg>
      <p:bgPr>
        <a:solidFill>
          <a:srgbClr val="009597"/>
        </a:solid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695940" y="673100"/>
            <a:ext cx="7816499" cy="5511800"/>
          </a:xfrm>
        </p:spPr>
        <p:txBody>
          <a:bodyPr anchor="ctr" anchorCtr="0"/>
          <a:lstStyle>
            <a:lvl1pPr>
              <a:defRPr sz="3733" b="1" cap="all" baseline="0">
                <a:solidFill>
                  <a:schemeClr val="bg1"/>
                </a:solidFill>
              </a:defRPr>
            </a:lvl1pPr>
          </a:lstStyle>
          <a:p>
            <a:r>
              <a:rPr lang="pl-PL" noProof="0" dirty="0"/>
              <a:t>Slajd przekładkowy</a:t>
            </a:r>
          </a:p>
        </p:txBody>
      </p:sp>
      <p:sp>
        <p:nvSpPr>
          <p:cNvPr id="3" name="Prostokąt 2">
            <a:extLst>
              <a:ext uri="{FF2B5EF4-FFF2-40B4-BE49-F238E27FC236}">
                <a16:creationId xmlns:a16="http://schemas.microsoft.com/office/drawing/2014/main" id="{E1D126D6-0B64-6919-8837-ED74CA354962}"/>
              </a:ext>
            </a:extLst>
          </p:cNvPr>
          <p:cNvSpPr/>
          <p:nvPr userDrawn="1"/>
        </p:nvSpPr>
        <p:spPr>
          <a:xfrm>
            <a:off x="11376059" y="6309032"/>
            <a:ext cx="720008" cy="48000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2400"/>
          </a:p>
        </p:txBody>
      </p:sp>
    </p:spTree>
    <p:extLst>
      <p:ext uri="{BB962C8B-B14F-4D97-AF65-F5344CB8AC3E}">
        <p14:creationId xmlns:p14="http://schemas.microsoft.com/office/powerpoint/2010/main" val="43695787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lajd z tekstem 1">
    <p:spTree>
      <p:nvGrpSpPr>
        <p:cNvPr id="1" name=""/>
        <p:cNvGrpSpPr/>
        <p:nvPr/>
      </p:nvGrpSpPr>
      <p:grpSpPr>
        <a:xfrm>
          <a:off x="0" y="0"/>
          <a:ext cx="0" cy="0"/>
          <a:chOff x="0" y="0"/>
          <a:chExt cx="0" cy="0"/>
        </a:xfrm>
      </p:grpSpPr>
      <p:sp>
        <p:nvSpPr>
          <p:cNvPr id="7" name="Tytuł 1"/>
          <p:cNvSpPr>
            <a:spLocks noGrp="1"/>
          </p:cNvSpPr>
          <p:nvPr>
            <p:ph type="title" hasCustomPrompt="1"/>
          </p:nvPr>
        </p:nvSpPr>
        <p:spPr>
          <a:xfrm>
            <a:off x="935568" y="334435"/>
            <a:ext cx="10824633" cy="753533"/>
          </a:xfrm>
        </p:spPr>
        <p:txBody>
          <a:bodyPr/>
          <a:lstStyle>
            <a:lvl1pPr>
              <a:defRPr>
                <a:solidFill>
                  <a:srgbClr val="009597"/>
                </a:solidFill>
              </a:defRPr>
            </a:lvl1pPr>
          </a:lstStyle>
          <a:p>
            <a:r>
              <a:rPr lang="pl-PL" dirty="0">
                <a:solidFill>
                  <a:srgbClr val="008789"/>
                </a:solidFill>
              </a:rPr>
              <a:t>Tytuł</a:t>
            </a:r>
          </a:p>
        </p:txBody>
      </p:sp>
      <p:sp>
        <p:nvSpPr>
          <p:cNvPr id="3" name="Symbol zastępczy zawartości 2"/>
          <p:cNvSpPr>
            <a:spLocks noGrp="1"/>
          </p:cNvSpPr>
          <p:nvPr>
            <p:ph sz="quarter" idx="13" hasCustomPrompt="1"/>
          </p:nvPr>
        </p:nvSpPr>
        <p:spPr>
          <a:xfrm>
            <a:off x="924984" y="1629833"/>
            <a:ext cx="10835216" cy="4438651"/>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2" name="Symbol zastępczy numeru slajdu 1">
            <a:extLst>
              <a:ext uri="{FF2B5EF4-FFF2-40B4-BE49-F238E27FC236}">
                <a16:creationId xmlns:a16="http://schemas.microsoft.com/office/drawing/2014/main" id="{62A1738F-BB0C-3D7B-C370-D2453226EFA9}"/>
              </a:ext>
            </a:extLst>
          </p:cNvPr>
          <p:cNvSpPr>
            <a:spLocks noGrp="1"/>
          </p:cNvSpPr>
          <p:nvPr>
            <p:ph type="sldNum" sz="quarter" idx="14"/>
          </p:nvPr>
        </p:nvSpPr>
        <p:spPr/>
        <p:txBody>
          <a:bodyPr/>
          <a:lstStyle/>
          <a:p>
            <a:fld id="{332DF002-2E43-485C-89F8-8DCEF59D6C4F}" type="slidenum">
              <a:rPr lang="pl-PL" smtClean="0"/>
              <a:pPr/>
              <a:t>‹#›</a:t>
            </a:fld>
            <a:endParaRPr lang="pl-PL" dirty="0"/>
          </a:p>
        </p:txBody>
      </p:sp>
    </p:spTree>
    <p:extLst>
      <p:ext uri="{BB962C8B-B14F-4D97-AF65-F5344CB8AC3E}">
        <p14:creationId xmlns:p14="http://schemas.microsoft.com/office/powerpoint/2010/main" val="2362042271"/>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Slajd z tekstem 2 linie">
    <p:spTree>
      <p:nvGrpSpPr>
        <p:cNvPr id="1" name=""/>
        <p:cNvGrpSpPr/>
        <p:nvPr/>
      </p:nvGrpSpPr>
      <p:grpSpPr>
        <a:xfrm>
          <a:off x="0" y="0"/>
          <a:ext cx="0" cy="0"/>
          <a:chOff x="0" y="0"/>
          <a:chExt cx="0" cy="0"/>
        </a:xfrm>
      </p:grpSpPr>
      <p:sp>
        <p:nvSpPr>
          <p:cNvPr id="7" name="Tytuł 1"/>
          <p:cNvSpPr>
            <a:spLocks noGrp="1"/>
          </p:cNvSpPr>
          <p:nvPr>
            <p:ph type="title" hasCustomPrompt="1"/>
          </p:nvPr>
        </p:nvSpPr>
        <p:spPr>
          <a:xfrm>
            <a:off x="935568" y="333582"/>
            <a:ext cx="10824633" cy="1295399"/>
          </a:xfrm>
        </p:spPr>
        <p:txBody>
          <a:bodyPr/>
          <a:lstStyle>
            <a:lvl1pPr>
              <a:defRPr>
                <a:solidFill>
                  <a:srgbClr val="009597"/>
                </a:solidFill>
              </a:defRPr>
            </a:lvl1pPr>
          </a:lstStyle>
          <a:p>
            <a:r>
              <a:rPr lang="pl-PL" dirty="0">
                <a:solidFill>
                  <a:srgbClr val="008789"/>
                </a:solidFill>
              </a:rPr>
              <a:t>Tytuł </a:t>
            </a:r>
            <a:br>
              <a:rPr lang="pl-PL" dirty="0">
                <a:solidFill>
                  <a:srgbClr val="008789"/>
                </a:solidFill>
              </a:rPr>
            </a:br>
            <a:r>
              <a:rPr lang="pl-PL" dirty="0">
                <a:solidFill>
                  <a:srgbClr val="008789"/>
                </a:solidFill>
              </a:rPr>
              <a:t>na dwie linie</a:t>
            </a:r>
          </a:p>
        </p:txBody>
      </p:sp>
      <p:sp>
        <p:nvSpPr>
          <p:cNvPr id="3" name="Symbol zastępczy zawartości 2"/>
          <p:cNvSpPr>
            <a:spLocks noGrp="1"/>
          </p:cNvSpPr>
          <p:nvPr>
            <p:ph sz="quarter" idx="13" hasCustomPrompt="1"/>
          </p:nvPr>
        </p:nvSpPr>
        <p:spPr>
          <a:xfrm>
            <a:off x="924984" y="2108985"/>
            <a:ext cx="10835216" cy="3959499"/>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2" name="Symbol zastępczy numeru slajdu 1">
            <a:extLst>
              <a:ext uri="{FF2B5EF4-FFF2-40B4-BE49-F238E27FC236}">
                <a16:creationId xmlns:a16="http://schemas.microsoft.com/office/drawing/2014/main" id="{A89FAB4E-5FFF-5BF4-4C4D-D184B9D007B0}"/>
              </a:ext>
            </a:extLst>
          </p:cNvPr>
          <p:cNvSpPr>
            <a:spLocks noGrp="1"/>
          </p:cNvSpPr>
          <p:nvPr>
            <p:ph type="sldNum" sz="quarter" idx="14"/>
          </p:nvPr>
        </p:nvSpPr>
        <p:spPr/>
        <p:txBody>
          <a:bodyPr/>
          <a:lstStyle/>
          <a:p>
            <a:fld id="{332DF002-2E43-485C-89F8-8DCEF59D6C4F}" type="slidenum">
              <a:rPr lang="pl-PL" smtClean="0"/>
              <a:pPr/>
              <a:t>‹#›</a:t>
            </a:fld>
            <a:endParaRPr lang="pl-PL" dirty="0"/>
          </a:p>
        </p:txBody>
      </p:sp>
    </p:spTree>
    <p:extLst>
      <p:ext uri="{BB962C8B-B14F-4D97-AF65-F5344CB8AC3E}">
        <p14:creationId xmlns:p14="http://schemas.microsoft.com/office/powerpoint/2010/main" val="133922469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lajd z tekstem 2">
    <p:spTree>
      <p:nvGrpSpPr>
        <p:cNvPr id="1" name=""/>
        <p:cNvGrpSpPr/>
        <p:nvPr/>
      </p:nvGrpSpPr>
      <p:grpSpPr>
        <a:xfrm>
          <a:off x="0" y="0"/>
          <a:ext cx="0" cy="0"/>
          <a:chOff x="0" y="0"/>
          <a:chExt cx="0" cy="0"/>
        </a:xfrm>
      </p:grpSpPr>
      <p:sp>
        <p:nvSpPr>
          <p:cNvPr id="15" name="Symbol zastępczy zawartości 2"/>
          <p:cNvSpPr>
            <a:spLocks noGrp="1"/>
          </p:cNvSpPr>
          <p:nvPr>
            <p:ph sz="quarter" idx="13" hasCustomPrompt="1"/>
          </p:nvPr>
        </p:nvSpPr>
        <p:spPr>
          <a:xfrm>
            <a:off x="924984" y="1962383"/>
            <a:ext cx="10835216" cy="4106100"/>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1" y="1457657"/>
            <a:ext cx="10801351" cy="298449"/>
          </a:xfrm>
        </p:spPr>
        <p:txBody>
          <a:bodyPr/>
          <a:lstStyle>
            <a:lvl1pPr marL="0" indent="0">
              <a:buFont typeface="Wingdings" pitchFamily="2" charset="2"/>
              <a:buNone/>
              <a:defRPr>
                <a:solidFill>
                  <a:srgbClr val="81BC00"/>
                </a:solidFill>
              </a:defRPr>
            </a:lvl1pPr>
          </a:lstStyle>
          <a:p>
            <a:pPr marL="0" indent="0">
              <a:buFont typeface="Wingdings" pitchFamily="2" charset="2"/>
              <a:buNone/>
            </a:pPr>
            <a:r>
              <a:rPr lang="pl-PL" b="1" dirty="0">
                <a:solidFill>
                  <a:schemeClr val="bg2"/>
                </a:solidFill>
              </a:rPr>
              <a:t>PODTYTUŁ</a:t>
            </a:r>
            <a:endParaRPr lang="pl-PL" dirty="0"/>
          </a:p>
        </p:txBody>
      </p:sp>
      <p:sp>
        <p:nvSpPr>
          <p:cNvPr id="7" name="Tytuł 1">
            <a:extLst>
              <a:ext uri="{FF2B5EF4-FFF2-40B4-BE49-F238E27FC236}">
                <a16:creationId xmlns:a16="http://schemas.microsoft.com/office/drawing/2014/main" id="{3CA16B62-741F-3138-CDB8-71B2887FB201}"/>
              </a:ext>
            </a:extLst>
          </p:cNvPr>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2" name="Symbol zastępczy numeru slajdu 1">
            <a:extLst>
              <a:ext uri="{FF2B5EF4-FFF2-40B4-BE49-F238E27FC236}">
                <a16:creationId xmlns:a16="http://schemas.microsoft.com/office/drawing/2014/main" id="{810D10B6-E01F-72B7-C0C1-C28761959954}"/>
              </a:ext>
            </a:extLst>
          </p:cNvPr>
          <p:cNvSpPr>
            <a:spLocks noGrp="1"/>
          </p:cNvSpPr>
          <p:nvPr>
            <p:ph type="sldNum" sz="quarter" idx="15"/>
          </p:nvPr>
        </p:nvSpPr>
        <p:spPr/>
        <p:txBody>
          <a:bodyPr/>
          <a:lstStyle/>
          <a:p>
            <a:fld id="{332DF002-2E43-485C-89F8-8DCEF59D6C4F}" type="slidenum">
              <a:rPr lang="pl-PL" smtClean="0"/>
              <a:pPr/>
              <a:t>‹#›</a:t>
            </a:fld>
            <a:endParaRPr lang="pl-PL" dirty="0"/>
          </a:p>
        </p:txBody>
      </p:sp>
    </p:spTree>
    <p:extLst>
      <p:ext uri="{BB962C8B-B14F-4D97-AF65-F5344CB8AC3E}">
        <p14:creationId xmlns:p14="http://schemas.microsoft.com/office/powerpoint/2010/main" val="441493190"/>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lajd z tekstem 3 - dwie kolumny">
    <p:spTree>
      <p:nvGrpSpPr>
        <p:cNvPr id="1" name=""/>
        <p:cNvGrpSpPr/>
        <p:nvPr/>
      </p:nvGrpSpPr>
      <p:grpSpPr>
        <a:xfrm>
          <a:off x="0" y="0"/>
          <a:ext cx="0" cy="0"/>
          <a:chOff x="0" y="0"/>
          <a:chExt cx="0" cy="0"/>
        </a:xfrm>
      </p:grpSpPr>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3"/>
            <a:ext cx="10835216" cy="4106100"/>
          </a:xfrm>
        </p:spPr>
        <p:txBody>
          <a:bodyPr numCol="2" spcCol="180000"/>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1" y="1457657"/>
            <a:ext cx="10801351"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
        <p:nvSpPr>
          <p:cNvPr id="2" name="Symbol zastępczy numeru slajdu 1">
            <a:extLst>
              <a:ext uri="{FF2B5EF4-FFF2-40B4-BE49-F238E27FC236}">
                <a16:creationId xmlns:a16="http://schemas.microsoft.com/office/drawing/2014/main" id="{C441EEDD-7CF9-9BDA-9361-3C8F32B1F91D}"/>
              </a:ext>
            </a:extLst>
          </p:cNvPr>
          <p:cNvSpPr>
            <a:spLocks noGrp="1"/>
          </p:cNvSpPr>
          <p:nvPr>
            <p:ph type="sldNum" sz="quarter" idx="15"/>
          </p:nvPr>
        </p:nvSpPr>
        <p:spPr/>
        <p:txBody>
          <a:bodyPr/>
          <a:lstStyle/>
          <a:p>
            <a:fld id="{332DF002-2E43-485C-89F8-8DCEF59D6C4F}" type="slidenum">
              <a:rPr lang="pl-PL" smtClean="0"/>
              <a:pPr/>
              <a:t>‹#›</a:t>
            </a:fld>
            <a:endParaRPr lang="pl-PL" dirty="0"/>
          </a:p>
        </p:txBody>
      </p:sp>
    </p:spTree>
    <p:extLst>
      <p:ext uri="{BB962C8B-B14F-4D97-AF65-F5344CB8AC3E}">
        <p14:creationId xmlns:p14="http://schemas.microsoft.com/office/powerpoint/2010/main" val="239331012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lajd z tekstem 4">
    <p:spTree>
      <p:nvGrpSpPr>
        <p:cNvPr id="1" name=""/>
        <p:cNvGrpSpPr/>
        <p:nvPr/>
      </p:nvGrpSpPr>
      <p:grpSpPr>
        <a:xfrm>
          <a:off x="0" y="0"/>
          <a:ext cx="0" cy="0"/>
          <a:chOff x="0" y="0"/>
          <a:chExt cx="0" cy="0"/>
        </a:xfrm>
      </p:grpSpPr>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3"/>
            <a:ext cx="5291019" cy="4106100"/>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2" y="1457657"/>
            <a:ext cx="5291691"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 1</a:t>
            </a:r>
            <a:endParaRPr lang="pl-PL" dirty="0"/>
          </a:p>
        </p:txBody>
      </p:sp>
      <p:sp>
        <p:nvSpPr>
          <p:cNvPr id="8" name="Symbol zastępczy zawartości 2"/>
          <p:cNvSpPr>
            <a:spLocks noGrp="1"/>
          </p:cNvSpPr>
          <p:nvPr>
            <p:ph sz="quarter" idx="15" hasCustomPrompt="1"/>
          </p:nvPr>
        </p:nvSpPr>
        <p:spPr>
          <a:xfrm>
            <a:off x="6464429" y="1962383"/>
            <a:ext cx="5291019" cy="4106100"/>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13" name="Symbol zastępczy zawartości 4"/>
          <p:cNvSpPr>
            <a:spLocks noGrp="1"/>
          </p:cNvSpPr>
          <p:nvPr>
            <p:ph sz="quarter" idx="16" hasCustomPrompt="1"/>
          </p:nvPr>
        </p:nvSpPr>
        <p:spPr>
          <a:xfrm>
            <a:off x="6463757" y="1457657"/>
            <a:ext cx="5291691"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 1</a:t>
            </a:r>
            <a:endParaRPr lang="pl-PL" dirty="0"/>
          </a:p>
        </p:txBody>
      </p:sp>
      <p:sp>
        <p:nvSpPr>
          <p:cNvPr id="2" name="Symbol zastępczy numeru slajdu 1">
            <a:extLst>
              <a:ext uri="{FF2B5EF4-FFF2-40B4-BE49-F238E27FC236}">
                <a16:creationId xmlns:a16="http://schemas.microsoft.com/office/drawing/2014/main" id="{7715A34D-679C-4AC9-9D2F-A4CE67AAB6C6}"/>
              </a:ext>
            </a:extLst>
          </p:cNvPr>
          <p:cNvSpPr>
            <a:spLocks noGrp="1"/>
          </p:cNvSpPr>
          <p:nvPr>
            <p:ph type="sldNum" sz="quarter" idx="17"/>
          </p:nvPr>
        </p:nvSpPr>
        <p:spPr/>
        <p:txBody>
          <a:bodyPr/>
          <a:lstStyle/>
          <a:p>
            <a:fld id="{332DF002-2E43-485C-89F8-8DCEF59D6C4F}" type="slidenum">
              <a:rPr lang="pl-PL" smtClean="0"/>
              <a:pPr/>
              <a:t>‹#›</a:t>
            </a:fld>
            <a:endParaRPr lang="pl-PL" dirty="0"/>
          </a:p>
        </p:txBody>
      </p:sp>
    </p:spTree>
    <p:extLst>
      <p:ext uri="{BB962C8B-B14F-4D97-AF65-F5344CB8AC3E}">
        <p14:creationId xmlns:p14="http://schemas.microsoft.com/office/powerpoint/2010/main" val="132766508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ytat">
    <p:spTree>
      <p:nvGrpSpPr>
        <p:cNvPr id="1" name=""/>
        <p:cNvGrpSpPr/>
        <p:nvPr/>
      </p:nvGrpSpPr>
      <p:grpSpPr>
        <a:xfrm>
          <a:off x="0" y="0"/>
          <a:ext cx="0" cy="0"/>
          <a:chOff x="0" y="0"/>
          <a:chExt cx="0" cy="0"/>
        </a:xfrm>
      </p:grpSpPr>
      <p:sp>
        <p:nvSpPr>
          <p:cNvPr id="18" name="Tytuł 1"/>
          <p:cNvSpPr>
            <a:spLocks noGrp="1"/>
          </p:cNvSpPr>
          <p:nvPr>
            <p:ph type="title" hasCustomPrompt="1"/>
          </p:nvPr>
        </p:nvSpPr>
        <p:spPr>
          <a:xfrm>
            <a:off x="935568" y="334435"/>
            <a:ext cx="10824633" cy="753533"/>
          </a:xfrm>
        </p:spPr>
        <p:txBody>
          <a:bodyPr/>
          <a:lstStyle>
            <a:lvl1pPr>
              <a:defRPr>
                <a:solidFill>
                  <a:srgbClr val="009597"/>
                </a:solidFill>
              </a:defRPr>
            </a:lvl1pPr>
          </a:lstStyle>
          <a:p>
            <a:r>
              <a:rPr lang="pl-PL" dirty="0">
                <a:solidFill>
                  <a:schemeClr val="accent1"/>
                </a:solidFill>
              </a:rPr>
              <a:t>Cytat</a:t>
            </a:r>
          </a:p>
        </p:txBody>
      </p:sp>
      <p:pic>
        <p:nvPicPr>
          <p:cNvPr id="21" name="Obraz 20">
            <a:extLst>
              <a:ext uri="{FF2B5EF4-FFF2-40B4-BE49-F238E27FC236}">
                <a16:creationId xmlns:a16="http://schemas.microsoft.com/office/drawing/2014/main" id="{51216647-0973-469E-890C-D049E1B05327}"/>
              </a:ext>
            </a:extLst>
          </p:cNvPr>
          <p:cNvPicPr>
            <a:picLocks noChangeAspect="1"/>
          </p:cNvPicPr>
          <p:nvPr userDrawn="1"/>
        </p:nvPicPr>
        <p:blipFill>
          <a:blip r:embed="rId2"/>
          <a:stretch>
            <a:fillRect/>
          </a:stretch>
        </p:blipFill>
        <p:spPr>
          <a:xfrm>
            <a:off x="1539343" y="2063798"/>
            <a:ext cx="390099" cy="1710429"/>
          </a:xfrm>
          <a:prstGeom prst="rect">
            <a:avLst/>
          </a:prstGeom>
        </p:spPr>
      </p:pic>
      <p:sp>
        <p:nvSpPr>
          <p:cNvPr id="3" name="Symbol zastępczy zawartości 2"/>
          <p:cNvSpPr>
            <a:spLocks noGrp="1"/>
          </p:cNvSpPr>
          <p:nvPr>
            <p:ph sz="quarter" idx="14" hasCustomPrompt="1"/>
          </p:nvPr>
        </p:nvSpPr>
        <p:spPr>
          <a:xfrm>
            <a:off x="2237317" y="2063751"/>
            <a:ext cx="9499600" cy="1710267"/>
          </a:xfrm>
        </p:spPr>
        <p:txBody>
          <a:bodyPr/>
          <a:lstStyle>
            <a:lvl1pPr marL="0" indent="0">
              <a:buNone/>
              <a:defRPr sz="3733" b="0" i="1">
                <a:solidFill>
                  <a:srgbClr val="009597"/>
                </a:solidFill>
              </a:defRPr>
            </a:lvl1pPr>
          </a:lstStyle>
          <a:p>
            <a:pPr lvl="0"/>
            <a:r>
              <a:rPr lang="pl-PL" dirty="0" err="1"/>
              <a:t>Lorem</a:t>
            </a:r>
            <a:r>
              <a:rPr lang="pl-PL" dirty="0"/>
              <a:t> </a:t>
            </a:r>
            <a:r>
              <a:rPr lang="pl-PL" dirty="0" err="1"/>
              <a:t>ipsum</a:t>
            </a:r>
            <a:r>
              <a:rPr lang="pl-PL" dirty="0"/>
              <a:t> </a:t>
            </a:r>
            <a:r>
              <a:rPr lang="pl-PL" dirty="0" err="1"/>
              <a:t>dolor</a:t>
            </a:r>
            <a:r>
              <a:rPr lang="pl-PL" dirty="0"/>
              <a:t> sit </a:t>
            </a:r>
            <a:r>
              <a:rPr lang="pl-PL" dirty="0" err="1"/>
              <a:t>amet</a:t>
            </a:r>
            <a:r>
              <a:rPr lang="pl-PL" dirty="0"/>
              <a:t>, </a:t>
            </a:r>
            <a:r>
              <a:rPr lang="pl-PL" dirty="0" err="1"/>
              <a:t>consectetur</a:t>
            </a:r>
            <a:r>
              <a:rPr lang="pl-PL" dirty="0"/>
              <a:t> </a:t>
            </a:r>
            <a:r>
              <a:rPr lang="pl-PL" dirty="0" err="1"/>
              <a:t>adipiscing</a:t>
            </a:r>
            <a:r>
              <a:rPr lang="pl-PL" dirty="0"/>
              <a:t> elit, </a:t>
            </a:r>
            <a:r>
              <a:rPr lang="pl-PL" dirty="0" err="1"/>
              <a:t>sed</a:t>
            </a:r>
            <a:r>
              <a:rPr lang="pl-PL" dirty="0"/>
              <a:t> do </a:t>
            </a:r>
            <a:r>
              <a:rPr lang="pl-PL" dirty="0" err="1"/>
              <a:t>eiusmod</a:t>
            </a:r>
            <a:r>
              <a:rPr lang="pl-PL" dirty="0"/>
              <a:t> </a:t>
            </a:r>
            <a:r>
              <a:rPr lang="pl-PL" dirty="0" err="1"/>
              <a:t>tempor</a:t>
            </a:r>
            <a:r>
              <a:rPr lang="pl-PL" dirty="0"/>
              <a:t> </a:t>
            </a:r>
            <a:r>
              <a:rPr lang="pl-PL" dirty="0" err="1"/>
              <a:t>incididunt</a:t>
            </a:r>
            <a:r>
              <a:rPr lang="pl-PL" dirty="0"/>
              <a:t> </a:t>
            </a:r>
            <a:r>
              <a:rPr lang="pl-PL" dirty="0" err="1"/>
              <a:t>ut</a:t>
            </a:r>
            <a:r>
              <a:rPr lang="pl-PL" dirty="0"/>
              <a:t> </a:t>
            </a:r>
            <a:r>
              <a:rPr lang="pl-PL" dirty="0" err="1"/>
              <a:t>labore</a:t>
            </a:r>
            <a:r>
              <a:rPr lang="pl-PL" dirty="0"/>
              <a:t> et </a:t>
            </a:r>
            <a:r>
              <a:rPr lang="pl-PL" dirty="0" err="1"/>
              <a:t>dolore</a:t>
            </a:r>
            <a:r>
              <a:rPr lang="pl-PL" dirty="0"/>
              <a:t> </a:t>
            </a:r>
            <a:r>
              <a:rPr lang="pl-PL" dirty="0" err="1"/>
              <a:t>magna</a:t>
            </a:r>
            <a:r>
              <a:rPr lang="pl-PL" dirty="0"/>
              <a:t> </a:t>
            </a:r>
            <a:r>
              <a:rPr lang="pl-PL" dirty="0" err="1"/>
              <a:t>aliqua</a:t>
            </a:r>
            <a:endParaRPr lang="pl-PL" dirty="0"/>
          </a:p>
        </p:txBody>
      </p:sp>
      <p:sp>
        <p:nvSpPr>
          <p:cNvPr id="5" name="Symbol zastępczy zawartości 4"/>
          <p:cNvSpPr>
            <a:spLocks noGrp="1"/>
          </p:cNvSpPr>
          <p:nvPr>
            <p:ph sz="quarter" idx="15" hasCustomPrompt="1"/>
          </p:nvPr>
        </p:nvSpPr>
        <p:spPr>
          <a:xfrm>
            <a:off x="2236597" y="4411361"/>
            <a:ext cx="9457267" cy="1176867"/>
          </a:xfrm>
        </p:spPr>
        <p:txBody>
          <a:bodyPr/>
          <a:lstStyle>
            <a:lvl1pPr marL="0" indent="0">
              <a:buNone/>
              <a:defRPr sz="2400" b="1">
                <a:solidFill>
                  <a:schemeClr val="accent3"/>
                </a:solidFill>
              </a:defRPr>
            </a:lvl1pPr>
          </a:lstStyle>
          <a:p>
            <a:pPr lvl="0"/>
            <a:r>
              <a:rPr lang="pl-PL" dirty="0" err="1"/>
              <a:t>Lorem</a:t>
            </a:r>
            <a:r>
              <a:rPr lang="pl-PL" dirty="0"/>
              <a:t> </a:t>
            </a:r>
            <a:r>
              <a:rPr lang="pl-PL" dirty="0" err="1"/>
              <a:t>ipsum</a:t>
            </a:r>
            <a:endParaRPr lang="pl-PL" dirty="0"/>
          </a:p>
          <a:p>
            <a:pPr lvl="0"/>
            <a:r>
              <a:rPr lang="pl-PL" dirty="0" err="1"/>
              <a:t>Lorem</a:t>
            </a:r>
            <a:r>
              <a:rPr lang="pl-PL" dirty="0"/>
              <a:t> </a:t>
            </a:r>
            <a:r>
              <a:rPr lang="pl-PL" dirty="0" err="1"/>
              <a:t>ipsum</a:t>
            </a:r>
            <a:r>
              <a:rPr lang="pl-PL" dirty="0"/>
              <a:t> </a:t>
            </a:r>
            <a:r>
              <a:rPr lang="pl-PL" dirty="0" err="1"/>
              <a:t>dolor</a:t>
            </a:r>
            <a:r>
              <a:rPr lang="pl-PL" dirty="0"/>
              <a:t> sit </a:t>
            </a:r>
            <a:r>
              <a:rPr lang="pl-PL" dirty="0" err="1"/>
              <a:t>amet</a:t>
            </a:r>
            <a:r>
              <a:rPr lang="pl-PL" dirty="0"/>
              <a:t>, </a:t>
            </a:r>
            <a:r>
              <a:rPr lang="pl-PL" dirty="0" err="1"/>
              <a:t>consectetur</a:t>
            </a:r>
            <a:r>
              <a:rPr lang="pl-PL" dirty="0"/>
              <a:t> </a:t>
            </a:r>
            <a:r>
              <a:rPr lang="pl-PL" dirty="0" err="1"/>
              <a:t>adipiscing</a:t>
            </a:r>
            <a:endParaRPr lang="pl-PL" dirty="0"/>
          </a:p>
        </p:txBody>
      </p:sp>
      <p:sp>
        <p:nvSpPr>
          <p:cNvPr id="2" name="Symbol zastępczy numeru slajdu 1">
            <a:extLst>
              <a:ext uri="{FF2B5EF4-FFF2-40B4-BE49-F238E27FC236}">
                <a16:creationId xmlns:a16="http://schemas.microsoft.com/office/drawing/2014/main" id="{867D99D1-2028-B6E8-E491-A5E301624B4A}"/>
              </a:ext>
            </a:extLst>
          </p:cNvPr>
          <p:cNvSpPr>
            <a:spLocks noGrp="1"/>
          </p:cNvSpPr>
          <p:nvPr>
            <p:ph type="sldNum" sz="quarter" idx="16"/>
          </p:nvPr>
        </p:nvSpPr>
        <p:spPr/>
        <p:txBody>
          <a:bodyPr/>
          <a:lstStyle/>
          <a:p>
            <a:fld id="{332DF002-2E43-485C-89F8-8DCEF59D6C4F}" type="slidenum">
              <a:rPr lang="pl-PL" smtClean="0"/>
              <a:pPr/>
              <a:t>‹#›</a:t>
            </a:fld>
            <a:endParaRPr lang="pl-PL" dirty="0"/>
          </a:p>
        </p:txBody>
      </p:sp>
    </p:spTree>
    <p:extLst>
      <p:ext uri="{BB962C8B-B14F-4D97-AF65-F5344CB8AC3E}">
        <p14:creationId xmlns:p14="http://schemas.microsoft.com/office/powerpoint/2010/main" val="2703868249"/>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lajd ze zdjęciem 1">
    <p:spTree>
      <p:nvGrpSpPr>
        <p:cNvPr id="1" name=""/>
        <p:cNvGrpSpPr/>
        <p:nvPr/>
      </p:nvGrpSpPr>
      <p:grpSpPr>
        <a:xfrm>
          <a:off x="0" y="0"/>
          <a:ext cx="0" cy="0"/>
          <a:chOff x="0" y="0"/>
          <a:chExt cx="0" cy="0"/>
        </a:xfrm>
      </p:grpSpPr>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4"/>
            <a:ext cx="4931013" cy="3746643"/>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1" y="1457657"/>
            <a:ext cx="4931687"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
        <p:nvSpPr>
          <p:cNvPr id="8" name="Symbol zastępczy obrazu 4"/>
          <p:cNvSpPr>
            <a:spLocks noGrp="1"/>
          </p:cNvSpPr>
          <p:nvPr>
            <p:ph type="pic" sz="quarter" idx="15" hasCustomPrompt="1"/>
          </p:nvPr>
        </p:nvSpPr>
        <p:spPr>
          <a:xfrm>
            <a:off x="6032501" y="1454151"/>
            <a:ext cx="5727700" cy="4254875"/>
          </a:xfrm>
        </p:spPr>
        <p:txBody>
          <a:bodyPr/>
          <a:lstStyle>
            <a:lvl1pPr marL="0" indent="0" algn="ctr">
              <a:buFontTx/>
              <a:buNone/>
              <a:defRPr b="0">
                <a:solidFill>
                  <a:schemeClr val="accent3"/>
                </a:solidFill>
              </a:defRPr>
            </a:lvl1pPr>
          </a:lstStyle>
          <a:p>
            <a:r>
              <a:rPr lang="pl-PL" dirty="0"/>
              <a:t>Wstaw obraz</a:t>
            </a:r>
          </a:p>
        </p:txBody>
      </p:sp>
      <p:sp>
        <p:nvSpPr>
          <p:cNvPr id="2" name="Symbol zastępczy numeru slajdu 1">
            <a:extLst>
              <a:ext uri="{FF2B5EF4-FFF2-40B4-BE49-F238E27FC236}">
                <a16:creationId xmlns:a16="http://schemas.microsoft.com/office/drawing/2014/main" id="{7814CC9E-C65F-165E-0604-3A6392D28D7C}"/>
              </a:ext>
            </a:extLst>
          </p:cNvPr>
          <p:cNvSpPr>
            <a:spLocks noGrp="1"/>
          </p:cNvSpPr>
          <p:nvPr>
            <p:ph type="sldNum" sz="quarter" idx="16"/>
          </p:nvPr>
        </p:nvSpPr>
        <p:spPr/>
        <p:txBody>
          <a:bodyPr/>
          <a:lstStyle/>
          <a:p>
            <a:fld id="{332DF002-2E43-485C-89F8-8DCEF59D6C4F}" type="slidenum">
              <a:rPr lang="pl-PL" smtClean="0"/>
              <a:pPr/>
              <a:t>‹#›</a:t>
            </a:fld>
            <a:endParaRPr lang="pl-PL" dirty="0"/>
          </a:p>
        </p:txBody>
      </p:sp>
    </p:spTree>
    <p:extLst>
      <p:ext uri="{BB962C8B-B14F-4D97-AF65-F5344CB8AC3E}">
        <p14:creationId xmlns:p14="http://schemas.microsoft.com/office/powerpoint/2010/main" val="85057266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lajd ze zdjęciem 2">
    <p:spTree>
      <p:nvGrpSpPr>
        <p:cNvPr id="1" name=""/>
        <p:cNvGrpSpPr/>
        <p:nvPr/>
      </p:nvGrpSpPr>
      <p:grpSpPr>
        <a:xfrm>
          <a:off x="0" y="0"/>
          <a:ext cx="0" cy="0"/>
          <a:chOff x="0" y="0"/>
          <a:chExt cx="0" cy="0"/>
        </a:xfrm>
      </p:grpSpPr>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6829187" y="1962384"/>
            <a:ext cx="4931013" cy="3866643"/>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6828514" y="1457657"/>
            <a:ext cx="4931687"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
        <p:nvSpPr>
          <p:cNvPr id="8" name="Symbol zastępczy obrazu 4"/>
          <p:cNvSpPr>
            <a:spLocks noGrp="1"/>
          </p:cNvSpPr>
          <p:nvPr>
            <p:ph type="pic" sz="quarter" idx="15" hasCustomPrompt="1"/>
          </p:nvPr>
        </p:nvSpPr>
        <p:spPr>
          <a:xfrm>
            <a:off x="944105" y="1454150"/>
            <a:ext cx="5511900" cy="4374876"/>
          </a:xfrm>
        </p:spPr>
        <p:txBody>
          <a:bodyPr/>
          <a:lstStyle>
            <a:lvl1pPr marL="0" indent="0" algn="ctr">
              <a:buFontTx/>
              <a:buNone/>
              <a:defRPr b="0">
                <a:solidFill>
                  <a:schemeClr val="accent3"/>
                </a:solidFill>
              </a:defRPr>
            </a:lvl1pPr>
          </a:lstStyle>
          <a:p>
            <a:r>
              <a:rPr lang="pl-PL" dirty="0"/>
              <a:t>Wstaw obraz</a:t>
            </a:r>
          </a:p>
        </p:txBody>
      </p:sp>
      <p:sp>
        <p:nvSpPr>
          <p:cNvPr id="2" name="Symbol zastępczy numeru slajdu 1">
            <a:extLst>
              <a:ext uri="{FF2B5EF4-FFF2-40B4-BE49-F238E27FC236}">
                <a16:creationId xmlns:a16="http://schemas.microsoft.com/office/drawing/2014/main" id="{EBCA5C9C-CE6F-B4C4-7578-B6C3BC9C6128}"/>
              </a:ext>
            </a:extLst>
          </p:cNvPr>
          <p:cNvSpPr>
            <a:spLocks noGrp="1"/>
          </p:cNvSpPr>
          <p:nvPr>
            <p:ph type="sldNum" sz="quarter" idx="16"/>
          </p:nvPr>
        </p:nvSpPr>
        <p:spPr/>
        <p:txBody>
          <a:bodyPr/>
          <a:lstStyle/>
          <a:p>
            <a:fld id="{332DF002-2E43-485C-89F8-8DCEF59D6C4F}" type="slidenum">
              <a:rPr lang="pl-PL" smtClean="0"/>
              <a:pPr/>
              <a:t>‹#›</a:t>
            </a:fld>
            <a:endParaRPr lang="pl-PL" dirty="0"/>
          </a:p>
        </p:txBody>
      </p:sp>
    </p:spTree>
    <p:extLst>
      <p:ext uri="{BB962C8B-B14F-4D97-AF65-F5344CB8AC3E}">
        <p14:creationId xmlns:p14="http://schemas.microsoft.com/office/powerpoint/2010/main" val="35453569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4994736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0180489C-9C55-40A7-9FB5-727356362E19}"/>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2467155" y="0"/>
            <a:ext cx="9724845" cy="6858000"/>
          </a:xfrm>
          <a:prstGeom prst="rect">
            <a:avLst/>
          </a:prstGeom>
          <a:gradFill>
            <a:gsLst>
              <a:gs pos="0">
                <a:srgbClr val="29BA74"/>
              </a:gs>
              <a:gs pos="100000">
                <a:srgbClr val="197A56"/>
              </a:gs>
            </a:gsLst>
            <a:lin ang="8100000" scaled="1"/>
          </a:gradFill>
        </p:spPr>
      </p:pic>
      <p:sp>
        <p:nvSpPr>
          <p:cNvPr id="16" name="Overlay">
            <a:extLst>
              <a:ext uri="{FF2B5EF4-FFF2-40B4-BE49-F238E27FC236}">
                <a16:creationId xmlns:a16="http://schemas.microsoft.com/office/drawing/2014/main" id="{0CEE9DEA-1EE9-4733-AFE6-D62E92B0F8B5}"/>
              </a:ext>
            </a:extLst>
          </p:cNvPr>
          <p:cNvSpPr/>
          <p:nvPr userDrawn="1">
            <p:custDataLst>
              <p:tags r:id="rId2"/>
            </p:custDataLst>
          </p:nvPr>
        </p:nvSpPr>
        <p:spPr>
          <a:xfrm>
            <a:off x="2794001" y="0"/>
            <a:ext cx="9397999" cy="6858000"/>
          </a:xfrm>
          <a:prstGeom prst="rect">
            <a:avLst/>
          </a:prstGeom>
          <a:gradFill>
            <a:gsLst>
              <a:gs pos="0">
                <a:srgbClr val="009B9D">
                  <a:alpha val="21000"/>
                </a:srgbClr>
              </a:gs>
              <a:gs pos="100000">
                <a:srgbClr val="006F4E">
                  <a:alpha val="88979"/>
                </a:srgbClr>
              </a:gs>
            </a:gsLst>
            <a:lin ang="8100000" scaled="1"/>
          </a:gradFill>
          <a:ln w="9525" cap="flat" cmpd="sng" algn="ctr">
            <a:noFill/>
            <a:prstDash val="solid"/>
            <a:miter lim="800000"/>
          </a:ln>
          <a:effectLst/>
        </p:spPr>
        <p:txBody>
          <a:bodyPr rtlCol="0" anchor="t"/>
          <a:lstStyle/>
          <a:p>
            <a:pPr marL="0" marR="0" lvl="0" indent="0"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Trebuchet MS"/>
              <a:ea typeface="+mn-ea"/>
              <a:cs typeface="+mn-cs"/>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rtl="0">
              <a:defRPr>
                <a:solidFill>
                  <a:schemeClr val="bg1"/>
                </a:solidFill>
                <a:latin typeface="+mn-lt"/>
                <a:cs typeface="+mn-cs"/>
                <a:sym typeface="Trebuchet MS" panose="020B0603020202020204" pitchFamily="34" charset="0"/>
              </a:defRPr>
            </a:lvl1pPr>
          </a:lstStyle>
          <a:p>
            <a:endParaRPr lang="en-US" dirty="0"/>
          </a:p>
        </p:txBody>
      </p:sp>
      <p:sp>
        <p:nvSpPr>
          <p:cNvPr id="12"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cs typeface="+mn-cs"/>
                <a:sym typeface="Trebuchet MS" panose="020B0603020202020204" pitchFamily="34" charset="0"/>
              </a:rPr>
              <a:t>Copyright © 2024 by Boston Consulting Group. All rights reserved.</a:t>
            </a:r>
          </a:p>
        </p:txBody>
      </p:sp>
      <p:sp>
        <p:nvSpPr>
          <p:cNvPr id="13" name="Pentagon 3"/>
          <p:cNvSpPr/>
          <p:nvPr/>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US" sz="1200" dirty="0">
              <a:solidFill>
                <a:prstClr val="white"/>
              </a:solidFill>
              <a:latin typeface="+mn-lt"/>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rtl="0">
              <a:defRPr sz="4400" b="0">
                <a:solidFill>
                  <a:schemeClr val="tx2"/>
                </a:solidFill>
                <a:latin typeface="+mj-lt"/>
                <a:cs typeface="+mj-cs"/>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64457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Slajd z tytułem pusty">
    <p:spTree>
      <p:nvGrpSpPr>
        <p:cNvPr id="1" name=""/>
        <p:cNvGrpSpPr/>
        <p:nvPr/>
      </p:nvGrpSpPr>
      <p:grpSpPr>
        <a:xfrm>
          <a:off x="0" y="0"/>
          <a:ext cx="0" cy="0"/>
          <a:chOff x="0" y="0"/>
          <a:chExt cx="0" cy="0"/>
        </a:xfrm>
      </p:grpSpPr>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2" name="Symbol zastępczy numeru slajdu 1">
            <a:extLst>
              <a:ext uri="{FF2B5EF4-FFF2-40B4-BE49-F238E27FC236}">
                <a16:creationId xmlns:a16="http://schemas.microsoft.com/office/drawing/2014/main" id="{B7427E44-54E6-E838-7FF3-8BDA8E814DDB}"/>
              </a:ext>
            </a:extLst>
          </p:cNvPr>
          <p:cNvSpPr>
            <a:spLocks noGrp="1"/>
          </p:cNvSpPr>
          <p:nvPr>
            <p:ph type="sldNum" sz="quarter" idx="10"/>
          </p:nvPr>
        </p:nvSpPr>
        <p:spPr/>
        <p:txBody>
          <a:bodyPr/>
          <a:lstStyle/>
          <a:p>
            <a:fld id="{332DF002-2E43-485C-89F8-8DCEF59D6C4F}" type="slidenum">
              <a:rPr lang="pl-PL" smtClean="0"/>
              <a:pPr/>
              <a:t>‹#›</a:t>
            </a:fld>
            <a:endParaRPr lang="pl-PL" dirty="0"/>
          </a:p>
        </p:txBody>
      </p:sp>
    </p:spTree>
    <p:extLst>
      <p:ext uri="{BB962C8B-B14F-4D97-AF65-F5344CB8AC3E}">
        <p14:creationId xmlns:p14="http://schemas.microsoft.com/office/powerpoint/2010/main" val="364118742"/>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p:cSld name="2_Strona zamykająca 2">
    <p:bg bwMode="gray">
      <p:bgPr>
        <a:solidFill>
          <a:schemeClr val="accent3"/>
        </a:solidFill>
        <a:effectLst/>
      </p:bgPr>
    </p:bg>
    <p:spTree>
      <p:nvGrpSpPr>
        <p:cNvPr id="1" name=""/>
        <p:cNvGrpSpPr/>
        <p:nvPr/>
      </p:nvGrpSpPr>
      <p:grpSpPr>
        <a:xfrm>
          <a:off x="0" y="0"/>
          <a:ext cx="0" cy="0"/>
          <a:chOff x="0" y="0"/>
          <a:chExt cx="0" cy="0"/>
        </a:xfrm>
      </p:grpSpPr>
      <p:pic>
        <p:nvPicPr>
          <p:cNvPr id="6" name="Obraz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115127" y="5255491"/>
            <a:ext cx="7952509" cy="1089891"/>
          </a:xfrm>
          <a:prstGeom prst="rect">
            <a:avLst/>
          </a:prstGeom>
        </p:spPr>
      </p:pic>
    </p:spTree>
    <p:extLst>
      <p:ext uri="{BB962C8B-B14F-4D97-AF65-F5344CB8AC3E}">
        <p14:creationId xmlns:p14="http://schemas.microsoft.com/office/powerpoint/2010/main" val="182952317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p:cSld name="Strona zamykająca 1">
    <p:spTree>
      <p:nvGrpSpPr>
        <p:cNvPr id="1" name=""/>
        <p:cNvGrpSpPr/>
        <p:nvPr/>
      </p:nvGrpSpPr>
      <p:grpSpPr>
        <a:xfrm>
          <a:off x="0" y="0"/>
          <a:ext cx="0" cy="0"/>
          <a:chOff x="0" y="0"/>
          <a:chExt cx="0" cy="0"/>
        </a:xfrm>
      </p:grpSpPr>
      <p:pic>
        <p:nvPicPr>
          <p:cNvPr id="3" name="Obraz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124364" y="5273964"/>
            <a:ext cx="7961745" cy="1071419"/>
          </a:xfrm>
          <a:prstGeom prst="rect">
            <a:avLst/>
          </a:prstGeom>
        </p:spPr>
      </p:pic>
    </p:spTree>
    <p:extLst>
      <p:ext uri="{BB962C8B-B14F-4D97-AF65-F5344CB8AC3E}">
        <p14:creationId xmlns:p14="http://schemas.microsoft.com/office/powerpoint/2010/main" val="74629513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04_Treść_v4">
    <p:bg>
      <p:bgPr>
        <a:blipFill dpi="0" rotWithShape="1">
          <a:blip r:embed="rId2">
            <a:alphaModFix amt="75000"/>
            <a:lum/>
          </a:blip>
          <a:srcRect/>
          <a:stretch>
            <a:fillRect/>
          </a:stretch>
        </a:blipFill>
        <a:effectLst/>
      </p:bgPr>
    </p:bg>
    <p:spTree>
      <p:nvGrpSpPr>
        <p:cNvPr id="1" name=""/>
        <p:cNvGrpSpPr/>
        <p:nvPr/>
      </p:nvGrpSpPr>
      <p:grpSpPr>
        <a:xfrm>
          <a:off x="0" y="0"/>
          <a:ext cx="0" cy="0"/>
          <a:chOff x="0" y="0"/>
          <a:chExt cx="0" cy="0"/>
        </a:xfrm>
      </p:grpSpPr>
      <p:sp>
        <p:nvSpPr>
          <p:cNvPr id="15" name="Symbol zastępczy tekstu 14">
            <a:extLst>
              <a:ext uri="{FF2B5EF4-FFF2-40B4-BE49-F238E27FC236}">
                <a16:creationId xmlns:a16="http://schemas.microsoft.com/office/drawing/2014/main" id="{E273F790-0B6D-0E4A-9316-C7CF2C7DDB18}"/>
              </a:ext>
            </a:extLst>
          </p:cNvPr>
          <p:cNvSpPr>
            <a:spLocks noGrp="1"/>
          </p:cNvSpPr>
          <p:nvPr>
            <p:ph type="body" sz="quarter" idx="13" hasCustomPrompt="1"/>
          </p:nvPr>
        </p:nvSpPr>
        <p:spPr>
          <a:xfrm>
            <a:off x="695326" y="549276"/>
            <a:ext cx="10801351" cy="387798"/>
          </a:xfrm>
          <a:prstGeom prst="rect">
            <a:avLst/>
          </a:prstGeom>
        </p:spPr>
        <p:txBody>
          <a:bodyPr wrap="square" anchor="t">
            <a:spAutoFit/>
          </a:bodyPr>
          <a:lstStyle>
            <a:lvl1pPr marL="0" indent="0">
              <a:buNone/>
              <a:defRPr sz="2800" b="1" i="0">
                <a:solidFill>
                  <a:schemeClr val="tx2"/>
                </a:solidFill>
                <a:latin typeface="Helvetica" pitchFamily="2" charset="0"/>
              </a:defRPr>
            </a:lvl1pPr>
            <a:lvl2pPr marL="457189" indent="0">
              <a:buNone/>
              <a:defRPr b="1" i="0">
                <a:latin typeface="Helvetica" pitchFamily="2" charset="0"/>
              </a:defRPr>
            </a:lvl2pPr>
            <a:lvl3pPr marL="914377" indent="0">
              <a:buNone/>
              <a:defRPr b="1" i="0">
                <a:latin typeface="Helvetica" pitchFamily="2" charset="0"/>
              </a:defRPr>
            </a:lvl3pPr>
            <a:lvl4pPr marL="1371566" indent="0">
              <a:buNone/>
              <a:defRPr b="1" i="0">
                <a:latin typeface="Helvetica" pitchFamily="2" charset="0"/>
              </a:defRPr>
            </a:lvl4pPr>
            <a:lvl5pPr marL="1828754" indent="0">
              <a:buNone/>
              <a:defRPr b="1" i="0">
                <a:latin typeface="Helvetica" pitchFamily="2"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pl-PL" dirty="0"/>
              <a:t>Cechy, punkty etc.</a:t>
            </a:r>
          </a:p>
        </p:txBody>
      </p:sp>
      <p:pic>
        <p:nvPicPr>
          <p:cNvPr id="17" name="Obraz 16">
            <a:extLst>
              <a:ext uri="{FF2B5EF4-FFF2-40B4-BE49-F238E27FC236}">
                <a16:creationId xmlns:a16="http://schemas.microsoft.com/office/drawing/2014/main" id="{0C8A5D83-70FB-384A-B695-E36CEF2812DE}"/>
              </a:ext>
            </a:extLst>
          </p:cNvPr>
          <p:cNvPicPr>
            <a:picLocks noChangeAspect="1"/>
          </p:cNvPicPr>
          <p:nvPr userDrawn="1"/>
        </p:nvPicPr>
        <p:blipFill>
          <a:blip r:embed="rId3"/>
          <a:stretch>
            <a:fillRect/>
          </a:stretch>
        </p:blipFill>
        <p:spPr>
          <a:xfrm>
            <a:off x="10557767" y="6427824"/>
            <a:ext cx="320915" cy="234000"/>
          </a:xfrm>
          <a:prstGeom prst="rect">
            <a:avLst/>
          </a:prstGeom>
        </p:spPr>
      </p:pic>
      <p:sp>
        <p:nvSpPr>
          <p:cNvPr id="21" name="Symbol zastępczy obrazu 6">
            <a:extLst>
              <a:ext uri="{FF2B5EF4-FFF2-40B4-BE49-F238E27FC236}">
                <a16:creationId xmlns:a16="http://schemas.microsoft.com/office/drawing/2014/main" id="{7DE78882-0144-08A6-66C2-C6692C7807D3}"/>
              </a:ext>
            </a:extLst>
          </p:cNvPr>
          <p:cNvSpPr>
            <a:spLocks noGrp="1"/>
          </p:cNvSpPr>
          <p:nvPr>
            <p:ph type="pic" sz="quarter" idx="16" hasCustomPrompt="1"/>
          </p:nvPr>
        </p:nvSpPr>
        <p:spPr>
          <a:xfrm>
            <a:off x="2728913" y="1183542"/>
            <a:ext cx="1165225" cy="1165225"/>
          </a:xfrm>
          <a:prstGeom prst="rect">
            <a:avLst/>
          </a:prstGeom>
          <a:blipFill>
            <a:blip r:embed="rId4">
              <a:alphaModFix amt="75000"/>
            </a:blip>
            <a:stretch>
              <a:fillRect/>
            </a:stretch>
          </a:blipFill>
        </p:spPr>
        <p:txBody>
          <a:bodyPr anchor="ctr"/>
          <a:lstStyle>
            <a:lvl1pPr marL="12700" indent="0" algn="ctr">
              <a:buNone/>
              <a:tabLst/>
              <a:defRPr sz="1800" b="0" i="1">
                <a:solidFill>
                  <a:schemeClr val="bg1">
                    <a:lumMod val="50000"/>
                  </a:schemeClr>
                </a:solidFill>
                <a:latin typeface="Helvetica Oblique" pitchFamily="2" charset="0"/>
              </a:defRPr>
            </a:lvl1pPr>
          </a:lstStyle>
          <a:p>
            <a:r>
              <a:rPr lang="pl-PL" dirty="0"/>
              <a:t>grafika</a:t>
            </a:r>
            <a:br>
              <a:rPr lang="pl-PL" dirty="0"/>
            </a:br>
            <a:r>
              <a:rPr lang="pl-PL" dirty="0"/>
              <a:t>np. ikona 3D</a:t>
            </a:r>
          </a:p>
        </p:txBody>
      </p:sp>
      <p:sp>
        <p:nvSpPr>
          <p:cNvPr id="22" name="Symbol zastępczy obrazu 6">
            <a:extLst>
              <a:ext uri="{FF2B5EF4-FFF2-40B4-BE49-F238E27FC236}">
                <a16:creationId xmlns:a16="http://schemas.microsoft.com/office/drawing/2014/main" id="{FE2B5680-418A-4A99-4097-98C76DB4BF29}"/>
              </a:ext>
            </a:extLst>
          </p:cNvPr>
          <p:cNvSpPr>
            <a:spLocks noGrp="1"/>
          </p:cNvSpPr>
          <p:nvPr>
            <p:ph type="pic" sz="quarter" idx="17" hasCustomPrompt="1"/>
          </p:nvPr>
        </p:nvSpPr>
        <p:spPr>
          <a:xfrm>
            <a:off x="2728913" y="2846388"/>
            <a:ext cx="1165225" cy="1165225"/>
          </a:xfrm>
          <a:prstGeom prst="rect">
            <a:avLst/>
          </a:prstGeom>
          <a:blipFill>
            <a:blip r:embed="rId5">
              <a:alphaModFix amt="75000"/>
            </a:blip>
            <a:stretch>
              <a:fillRect/>
            </a:stretch>
          </a:blipFill>
        </p:spPr>
        <p:txBody>
          <a:bodyPr anchor="ctr"/>
          <a:lstStyle>
            <a:lvl1pPr marL="12700" indent="0" algn="ctr">
              <a:buNone/>
              <a:tabLst/>
              <a:defRPr sz="1800" b="0" i="1">
                <a:solidFill>
                  <a:schemeClr val="bg1">
                    <a:lumMod val="50000"/>
                  </a:schemeClr>
                </a:solidFill>
                <a:latin typeface="Helvetica Oblique" pitchFamily="2" charset="0"/>
              </a:defRPr>
            </a:lvl1pPr>
          </a:lstStyle>
          <a:p>
            <a:r>
              <a:rPr lang="pl-PL" dirty="0"/>
              <a:t>grafika</a:t>
            </a:r>
            <a:br>
              <a:rPr lang="pl-PL" dirty="0"/>
            </a:br>
            <a:r>
              <a:rPr lang="pl-PL" dirty="0"/>
              <a:t>np. ikona 3D</a:t>
            </a:r>
          </a:p>
        </p:txBody>
      </p:sp>
      <p:sp>
        <p:nvSpPr>
          <p:cNvPr id="24" name="Symbol zastępczy obrazu 6">
            <a:extLst>
              <a:ext uri="{FF2B5EF4-FFF2-40B4-BE49-F238E27FC236}">
                <a16:creationId xmlns:a16="http://schemas.microsoft.com/office/drawing/2014/main" id="{EDDD2494-5566-1213-C32F-B345B1B24FA3}"/>
              </a:ext>
            </a:extLst>
          </p:cNvPr>
          <p:cNvSpPr>
            <a:spLocks noGrp="1"/>
          </p:cNvSpPr>
          <p:nvPr>
            <p:ph type="pic" sz="quarter" idx="18" hasCustomPrompt="1"/>
          </p:nvPr>
        </p:nvSpPr>
        <p:spPr>
          <a:xfrm>
            <a:off x="2728913" y="4509230"/>
            <a:ext cx="1165225" cy="1165225"/>
          </a:xfrm>
          <a:prstGeom prst="rect">
            <a:avLst/>
          </a:prstGeom>
          <a:blipFill>
            <a:blip r:embed="rId6">
              <a:alphaModFix amt="75000"/>
            </a:blip>
            <a:stretch>
              <a:fillRect/>
            </a:stretch>
          </a:blipFill>
        </p:spPr>
        <p:txBody>
          <a:bodyPr anchor="ctr"/>
          <a:lstStyle>
            <a:lvl1pPr marL="12700" indent="0" algn="ctr">
              <a:buNone/>
              <a:tabLst/>
              <a:defRPr sz="1800" b="0" i="1">
                <a:solidFill>
                  <a:schemeClr val="bg1">
                    <a:lumMod val="50000"/>
                  </a:schemeClr>
                </a:solidFill>
                <a:latin typeface="Helvetica Oblique" pitchFamily="2" charset="0"/>
              </a:defRPr>
            </a:lvl1pPr>
          </a:lstStyle>
          <a:p>
            <a:r>
              <a:rPr lang="pl-PL" dirty="0"/>
              <a:t>grafika</a:t>
            </a:r>
            <a:br>
              <a:rPr lang="pl-PL" dirty="0"/>
            </a:br>
            <a:r>
              <a:rPr lang="pl-PL" dirty="0"/>
              <a:t>np. ikona 3D</a:t>
            </a:r>
          </a:p>
        </p:txBody>
      </p:sp>
      <p:sp>
        <p:nvSpPr>
          <p:cNvPr id="26" name="Symbol zastępczy tekstu 25">
            <a:extLst>
              <a:ext uri="{FF2B5EF4-FFF2-40B4-BE49-F238E27FC236}">
                <a16:creationId xmlns:a16="http://schemas.microsoft.com/office/drawing/2014/main" id="{89EE94D3-A6DC-BD99-A214-19CAFFBC90BB}"/>
              </a:ext>
            </a:extLst>
          </p:cNvPr>
          <p:cNvSpPr>
            <a:spLocks noGrp="1"/>
          </p:cNvSpPr>
          <p:nvPr>
            <p:ph type="body" sz="quarter" idx="19" hasCustomPrompt="1"/>
          </p:nvPr>
        </p:nvSpPr>
        <p:spPr>
          <a:xfrm>
            <a:off x="4025997" y="1437961"/>
            <a:ext cx="5437091" cy="658514"/>
          </a:xfrm>
          <a:prstGeom prst="rect">
            <a:avLst/>
          </a:prstGeom>
        </p:spPr>
        <p:txBody>
          <a:bodyPr wrap="square" anchor="ctr">
            <a:spAutoFit/>
          </a:bodyPr>
          <a:lstStyle>
            <a:lvl1pPr marL="0" marR="0" indent="0" algn="l" rtl="0" eaLnBrk="1" fontAlgn="auto" latinLnBrk="0" hangingPunct="1">
              <a:lnSpc>
                <a:spcPct val="125000"/>
              </a:lnSpc>
              <a:spcBef>
                <a:spcPts val="0"/>
              </a:spcBef>
              <a:spcAft>
                <a:spcPts val="0"/>
              </a:spcAft>
              <a:buNone/>
              <a:defRPr sz="1800" b="0" i="0">
                <a:solidFill>
                  <a:schemeClr val="tx1">
                    <a:lumMod val="90000"/>
                    <a:lumOff val="10000"/>
                  </a:schemeClr>
                </a:solidFill>
                <a:latin typeface="Helvetica" pitchFamily="2" charset="0"/>
              </a:defRPr>
            </a:lvl1pPr>
          </a:lstStyle>
          <a:p>
            <a:pPr marL="0" marR="0" indent="0" algn="l" rtl="0" eaLnBrk="1" fontAlgn="auto" latinLnBrk="0" hangingPunct="1">
              <a:lnSpc>
                <a:spcPct val="125000"/>
              </a:lnSpc>
              <a:spcBef>
                <a:spcPts val="0"/>
              </a:spcBef>
              <a:spcAft>
                <a:spcPts val="0"/>
              </a:spcAft>
            </a:pPr>
            <a:r>
              <a:rPr lang="pl-PL" sz="1800" b="1" kern="1200" dirty="0">
                <a:solidFill>
                  <a:srgbClr val="3C3737"/>
                </a:solidFill>
                <a:effectLst/>
                <a:latin typeface="Helvetica" pitchFamily="2" charset="0"/>
                <a:ea typeface="Open Sans" panose="020B0606030504020204" pitchFamily="34" charset="0"/>
                <a:cs typeface="Open Sans" panose="020B0606030504020204" pitchFamily="34" charset="0"/>
              </a:rPr>
              <a:t>Treść 1</a:t>
            </a:r>
            <a:r>
              <a:rPr lang="pl-PL" sz="1800" b="0" kern="1200" dirty="0">
                <a:solidFill>
                  <a:srgbClr val="3C3737"/>
                </a:solidFill>
                <a:effectLst/>
                <a:latin typeface="Helvetica" pitchFamily="2" charset="0"/>
                <a:ea typeface="Open Sans" panose="020B0606030504020204" pitchFamily="34" charset="0"/>
                <a:cs typeface="Open Sans" panose="020B0606030504020204" pitchFamily="34" charset="0"/>
              </a:rPr>
              <a:t>, treść treść treść </a:t>
            </a:r>
            <a:endParaRPr lang="pl-PL" sz="1200" dirty="0">
              <a:effectLst/>
            </a:endParaRPr>
          </a:p>
          <a:p>
            <a:pPr marL="0" marR="0" indent="0" algn="l" rtl="0" eaLnBrk="1" fontAlgn="auto" latinLnBrk="0" hangingPunct="1">
              <a:lnSpc>
                <a:spcPct val="125000"/>
              </a:lnSpc>
              <a:spcBef>
                <a:spcPts val="0"/>
              </a:spcBef>
              <a:spcAft>
                <a:spcPts val="0"/>
              </a:spcAft>
            </a:pPr>
            <a:r>
              <a:rPr lang="pl-PL" sz="1800" b="0" kern="1200" dirty="0">
                <a:solidFill>
                  <a:srgbClr val="3C3737"/>
                </a:solidFill>
                <a:effectLst/>
                <a:latin typeface="Helvetica" pitchFamily="2" charset="0"/>
                <a:ea typeface="Open Sans" panose="020B0606030504020204" pitchFamily="34" charset="0"/>
                <a:cs typeface="Open Sans" panose="020B0606030504020204" pitchFamily="34" charset="0"/>
              </a:rPr>
              <a:t>Treść 1, </a:t>
            </a:r>
            <a:r>
              <a:rPr lang="pl-PL" sz="1800" b="1" kern="1200" dirty="0">
                <a:solidFill>
                  <a:srgbClr val="3C3737"/>
                </a:solidFill>
                <a:effectLst/>
                <a:latin typeface="Helvetica" pitchFamily="2" charset="0"/>
                <a:ea typeface="Open Sans" panose="020B0606030504020204" pitchFamily="34" charset="0"/>
                <a:cs typeface="Open Sans" panose="020B0606030504020204" pitchFamily="34" charset="0"/>
              </a:rPr>
              <a:t>treść</a:t>
            </a:r>
            <a:r>
              <a:rPr lang="pl-PL" sz="1800" b="0" kern="1200" dirty="0">
                <a:solidFill>
                  <a:srgbClr val="3C3737"/>
                </a:solidFill>
                <a:effectLst/>
                <a:latin typeface="Helvetica" pitchFamily="2" charset="0"/>
                <a:ea typeface="Open Sans" panose="020B0606030504020204" pitchFamily="34" charset="0"/>
                <a:cs typeface="Open Sans" panose="020B0606030504020204" pitchFamily="34" charset="0"/>
              </a:rPr>
              <a:t> treść treść</a:t>
            </a:r>
            <a:endParaRPr lang="pl-PL" dirty="0"/>
          </a:p>
        </p:txBody>
      </p:sp>
      <p:sp>
        <p:nvSpPr>
          <p:cNvPr id="27" name="Symbol zastępczy tekstu 25">
            <a:extLst>
              <a:ext uri="{FF2B5EF4-FFF2-40B4-BE49-F238E27FC236}">
                <a16:creationId xmlns:a16="http://schemas.microsoft.com/office/drawing/2014/main" id="{A2BFF4CC-1256-0605-7C22-BCAD92F0B7E6}"/>
              </a:ext>
            </a:extLst>
          </p:cNvPr>
          <p:cNvSpPr>
            <a:spLocks noGrp="1"/>
          </p:cNvSpPr>
          <p:nvPr>
            <p:ph type="body" sz="quarter" idx="20" hasCustomPrompt="1"/>
          </p:nvPr>
        </p:nvSpPr>
        <p:spPr>
          <a:xfrm>
            <a:off x="4025997" y="2926620"/>
            <a:ext cx="5437091" cy="1004762"/>
          </a:xfrm>
          <a:prstGeom prst="rect">
            <a:avLst/>
          </a:prstGeom>
        </p:spPr>
        <p:txBody>
          <a:bodyPr wrap="square" anchor="ctr">
            <a:spAutoFit/>
          </a:bodyPr>
          <a:lstStyle>
            <a:lvl1pPr marL="0" marR="0" indent="0" algn="l" rtl="0" eaLnBrk="1" fontAlgn="auto" latinLnBrk="0" hangingPunct="1">
              <a:lnSpc>
                <a:spcPct val="125000"/>
              </a:lnSpc>
              <a:spcBef>
                <a:spcPts val="0"/>
              </a:spcBef>
              <a:spcAft>
                <a:spcPts val="0"/>
              </a:spcAft>
              <a:buNone/>
              <a:defRPr sz="1800" b="0" i="0">
                <a:solidFill>
                  <a:schemeClr val="tx1">
                    <a:lumMod val="90000"/>
                    <a:lumOff val="10000"/>
                  </a:schemeClr>
                </a:solidFill>
                <a:latin typeface="Helvetica" pitchFamily="2" charset="0"/>
              </a:defRPr>
            </a:lvl1pPr>
          </a:lstStyle>
          <a:p>
            <a:pPr marL="0" marR="0" indent="0" algn="l" rtl="0" eaLnBrk="1" fontAlgn="auto" latinLnBrk="0" hangingPunct="1">
              <a:lnSpc>
                <a:spcPct val="125000"/>
              </a:lnSpc>
              <a:spcBef>
                <a:spcPts val="0"/>
              </a:spcBef>
              <a:spcAft>
                <a:spcPts val="0"/>
              </a:spcAft>
            </a:pPr>
            <a:r>
              <a:rPr lang="pl-PL" sz="1800" b="1" kern="1200" dirty="0">
                <a:solidFill>
                  <a:srgbClr val="3C3737"/>
                </a:solidFill>
                <a:effectLst/>
                <a:latin typeface="Helvetica" pitchFamily="2" charset="0"/>
                <a:ea typeface="Open Sans" panose="020B0606030504020204" pitchFamily="34" charset="0"/>
                <a:cs typeface="Open Sans" panose="020B0606030504020204" pitchFamily="34" charset="0"/>
              </a:rPr>
              <a:t>Treść 2</a:t>
            </a:r>
            <a:r>
              <a:rPr lang="pl-PL" sz="1800" b="0" kern="1200" dirty="0">
                <a:solidFill>
                  <a:srgbClr val="3C3737"/>
                </a:solidFill>
                <a:effectLst/>
                <a:latin typeface="Helvetica" pitchFamily="2" charset="0"/>
                <a:ea typeface="Open Sans" panose="020B0606030504020204" pitchFamily="34" charset="0"/>
                <a:cs typeface="Open Sans" panose="020B0606030504020204" pitchFamily="34" charset="0"/>
              </a:rPr>
              <a:t>, treść treść treść </a:t>
            </a:r>
            <a:endParaRPr lang="pl-PL" dirty="0">
              <a:effectLst/>
            </a:endParaRPr>
          </a:p>
          <a:p>
            <a:pPr marL="0" marR="0" indent="0" algn="l" rtl="0" eaLnBrk="1" fontAlgn="auto" latinLnBrk="0" hangingPunct="1">
              <a:lnSpc>
                <a:spcPct val="125000"/>
              </a:lnSpc>
              <a:spcBef>
                <a:spcPts val="0"/>
              </a:spcBef>
              <a:spcAft>
                <a:spcPts val="0"/>
              </a:spcAft>
            </a:pPr>
            <a:r>
              <a:rPr lang="pl-PL" sz="1800" b="0" kern="1200" dirty="0">
                <a:solidFill>
                  <a:srgbClr val="3C3737"/>
                </a:solidFill>
                <a:effectLst/>
                <a:latin typeface="Helvetica" pitchFamily="2" charset="0"/>
                <a:ea typeface="Open Sans" panose="020B0606030504020204" pitchFamily="34" charset="0"/>
                <a:cs typeface="Open Sans" panose="020B0606030504020204" pitchFamily="34" charset="0"/>
              </a:rPr>
              <a:t>Treść 2, </a:t>
            </a:r>
            <a:r>
              <a:rPr lang="pl-PL" sz="1800" b="1" kern="1200" dirty="0">
                <a:solidFill>
                  <a:srgbClr val="3C3737"/>
                </a:solidFill>
                <a:effectLst/>
                <a:latin typeface="Helvetica" pitchFamily="2" charset="0"/>
                <a:ea typeface="Open Sans" panose="020B0606030504020204" pitchFamily="34" charset="0"/>
                <a:cs typeface="Open Sans" panose="020B0606030504020204" pitchFamily="34" charset="0"/>
              </a:rPr>
              <a:t>treść</a:t>
            </a:r>
            <a:r>
              <a:rPr lang="pl-PL" sz="1800" b="0" kern="1200" dirty="0">
                <a:solidFill>
                  <a:srgbClr val="3C3737"/>
                </a:solidFill>
                <a:effectLst/>
                <a:latin typeface="Helvetica" pitchFamily="2" charset="0"/>
                <a:ea typeface="Open Sans" panose="020B0606030504020204" pitchFamily="34" charset="0"/>
                <a:cs typeface="Open Sans" panose="020B0606030504020204" pitchFamily="34" charset="0"/>
              </a:rPr>
              <a:t> treść treść </a:t>
            </a:r>
            <a:endParaRPr lang="pl-PL" dirty="0">
              <a:effectLst/>
            </a:endParaRPr>
          </a:p>
          <a:p>
            <a:pPr marL="0" marR="0" indent="0" algn="l" rtl="0" eaLnBrk="1" fontAlgn="auto" latinLnBrk="0" hangingPunct="1">
              <a:lnSpc>
                <a:spcPct val="125000"/>
              </a:lnSpc>
              <a:spcBef>
                <a:spcPts val="0"/>
              </a:spcBef>
              <a:spcAft>
                <a:spcPts val="0"/>
              </a:spcAft>
            </a:pPr>
            <a:r>
              <a:rPr lang="pl-PL" sz="1800" b="0" kern="1200" dirty="0">
                <a:solidFill>
                  <a:srgbClr val="3C3737"/>
                </a:solidFill>
                <a:effectLst/>
                <a:latin typeface="Helvetica" pitchFamily="2" charset="0"/>
                <a:ea typeface="Open Sans" panose="020B0606030504020204" pitchFamily="34" charset="0"/>
                <a:cs typeface="Open Sans" panose="020B0606030504020204" pitchFamily="34" charset="0"/>
              </a:rPr>
              <a:t>Treść 2, </a:t>
            </a:r>
            <a:r>
              <a:rPr lang="pl-PL" sz="1800" b="1" kern="1200" dirty="0">
                <a:solidFill>
                  <a:srgbClr val="3C3737"/>
                </a:solidFill>
                <a:effectLst/>
                <a:latin typeface="Helvetica" pitchFamily="2" charset="0"/>
                <a:ea typeface="Open Sans" panose="020B0606030504020204" pitchFamily="34" charset="0"/>
                <a:cs typeface="Open Sans" panose="020B0606030504020204" pitchFamily="34" charset="0"/>
              </a:rPr>
              <a:t>treść</a:t>
            </a:r>
            <a:r>
              <a:rPr lang="pl-PL" sz="1800" b="0" kern="1200" dirty="0">
                <a:solidFill>
                  <a:srgbClr val="3C3737"/>
                </a:solidFill>
                <a:effectLst/>
                <a:latin typeface="Helvetica" pitchFamily="2" charset="0"/>
                <a:ea typeface="Open Sans" panose="020B0606030504020204" pitchFamily="34" charset="0"/>
                <a:cs typeface="Open Sans" panose="020B0606030504020204" pitchFamily="34" charset="0"/>
              </a:rPr>
              <a:t> treść treść</a:t>
            </a:r>
            <a:endParaRPr lang="pl-PL" dirty="0">
              <a:effectLst/>
            </a:endParaRPr>
          </a:p>
        </p:txBody>
      </p:sp>
      <p:sp>
        <p:nvSpPr>
          <p:cNvPr id="28" name="Symbol zastępczy tekstu 25">
            <a:extLst>
              <a:ext uri="{FF2B5EF4-FFF2-40B4-BE49-F238E27FC236}">
                <a16:creationId xmlns:a16="http://schemas.microsoft.com/office/drawing/2014/main" id="{69C423F6-E8B7-D85E-2C18-C1B252FC946E}"/>
              </a:ext>
            </a:extLst>
          </p:cNvPr>
          <p:cNvSpPr>
            <a:spLocks noGrp="1"/>
          </p:cNvSpPr>
          <p:nvPr>
            <p:ph type="body" sz="quarter" idx="21" hasCustomPrompt="1"/>
          </p:nvPr>
        </p:nvSpPr>
        <p:spPr>
          <a:xfrm>
            <a:off x="4025997" y="4935709"/>
            <a:ext cx="5437091" cy="312265"/>
          </a:xfrm>
          <a:prstGeom prst="rect">
            <a:avLst/>
          </a:prstGeom>
        </p:spPr>
        <p:txBody>
          <a:bodyPr wrap="square" anchor="ctr">
            <a:spAutoFit/>
          </a:bodyPr>
          <a:lstStyle>
            <a:lvl1pPr marL="0" marR="0" indent="0" algn="l" rtl="0" eaLnBrk="1" fontAlgn="auto" latinLnBrk="0" hangingPunct="1">
              <a:lnSpc>
                <a:spcPct val="125000"/>
              </a:lnSpc>
              <a:spcBef>
                <a:spcPts val="0"/>
              </a:spcBef>
              <a:spcAft>
                <a:spcPts val="0"/>
              </a:spcAft>
              <a:buNone/>
              <a:defRPr sz="1800" b="0" i="0">
                <a:solidFill>
                  <a:schemeClr val="tx1">
                    <a:lumMod val="90000"/>
                    <a:lumOff val="10000"/>
                  </a:schemeClr>
                </a:solidFill>
                <a:latin typeface="Helvetica" pitchFamily="2" charset="0"/>
              </a:defRPr>
            </a:lvl1pPr>
          </a:lstStyle>
          <a:p>
            <a:pPr marL="0" marR="0" indent="0" algn="l" rtl="0" eaLnBrk="1" fontAlgn="auto" latinLnBrk="0" hangingPunct="1">
              <a:lnSpc>
                <a:spcPct val="125000"/>
              </a:lnSpc>
              <a:spcBef>
                <a:spcPts val="0"/>
              </a:spcBef>
              <a:spcAft>
                <a:spcPts val="0"/>
              </a:spcAft>
            </a:pPr>
            <a:r>
              <a:rPr lang="pl-PL" sz="1800" b="0" kern="1200" dirty="0">
                <a:solidFill>
                  <a:srgbClr val="3C3737"/>
                </a:solidFill>
                <a:effectLst/>
                <a:latin typeface="Helvetica" pitchFamily="2" charset="0"/>
                <a:ea typeface="Open Sans" panose="020B0606030504020204" pitchFamily="34" charset="0"/>
                <a:cs typeface="Open Sans" panose="020B0606030504020204" pitchFamily="34" charset="0"/>
              </a:rPr>
              <a:t>Treść 3, </a:t>
            </a:r>
            <a:r>
              <a:rPr lang="pl-PL" sz="1800" b="1" kern="1200" dirty="0">
                <a:solidFill>
                  <a:srgbClr val="3C3737"/>
                </a:solidFill>
                <a:effectLst/>
                <a:latin typeface="Helvetica" pitchFamily="2" charset="0"/>
                <a:ea typeface="Open Sans" panose="020B0606030504020204" pitchFamily="34" charset="0"/>
                <a:cs typeface="Open Sans" panose="020B0606030504020204" pitchFamily="34" charset="0"/>
              </a:rPr>
              <a:t>treść</a:t>
            </a:r>
            <a:r>
              <a:rPr lang="pl-PL" sz="1800" b="0" kern="1200" dirty="0">
                <a:solidFill>
                  <a:srgbClr val="3C3737"/>
                </a:solidFill>
                <a:effectLst/>
                <a:latin typeface="Helvetica" pitchFamily="2" charset="0"/>
                <a:ea typeface="Open Sans" panose="020B0606030504020204" pitchFamily="34" charset="0"/>
                <a:cs typeface="Open Sans" panose="020B0606030504020204" pitchFamily="34" charset="0"/>
              </a:rPr>
              <a:t> treść treść</a:t>
            </a:r>
            <a:endParaRPr lang="pl-PL" dirty="0">
              <a:effectLst/>
            </a:endParaRPr>
          </a:p>
        </p:txBody>
      </p:sp>
      <p:cxnSp>
        <p:nvCxnSpPr>
          <p:cNvPr id="2" name="Łącznik prosty 1">
            <a:extLst>
              <a:ext uri="{FF2B5EF4-FFF2-40B4-BE49-F238E27FC236}">
                <a16:creationId xmlns:a16="http://schemas.microsoft.com/office/drawing/2014/main" id="{E139210A-E634-56D0-0738-FFAEE814C295}"/>
              </a:ext>
            </a:extLst>
          </p:cNvPr>
          <p:cNvCxnSpPr>
            <a:cxnSpLocks/>
          </p:cNvCxnSpPr>
          <p:nvPr userDrawn="1"/>
        </p:nvCxnSpPr>
        <p:spPr>
          <a:xfrm>
            <a:off x="11028675" y="6421912"/>
            <a:ext cx="0" cy="234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Symbol zastępczy numeru slajdu 22">
            <a:extLst>
              <a:ext uri="{FF2B5EF4-FFF2-40B4-BE49-F238E27FC236}">
                <a16:creationId xmlns:a16="http://schemas.microsoft.com/office/drawing/2014/main" id="{1E9716C4-B9CD-B3EB-67AE-7ACC9EE51D6A}"/>
              </a:ext>
            </a:extLst>
          </p:cNvPr>
          <p:cNvSpPr>
            <a:spLocks noGrp="1"/>
          </p:cNvSpPr>
          <p:nvPr>
            <p:ph type="sldNum" sz="quarter" idx="12"/>
          </p:nvPr>
        </p:nvSpPr>
        <p:spPr>
          <a:xfrm>
            <a:off x="11028675" y="6356351"/>
            <a:ext cx="468000" cy="365125"/>
          </a:xfrm>
          <a:prstGeom prst="rect">
            <a:avLst/>
          </a:prstGeom>
        </p:spPr>
        <p:txBody>
          <a:bodyPr anchor="ctr"/>
          <a:lstStyle>
            <a:lvl1pPr algn="r">
              <a:defRPr sz="1200" b="0" i="0">
                <a:solidFill>
                  <a:schemeClr val="tx2"/>
                </a:solidFill>
                <a:latin typeface="Helvetica" pitchFamily="2" charset="0"/>
              </a:defRPr>
            </a:lvl1pPr>
          </a:lstStyle>
          <a:p>
            <a:pPr defTabSz="467539"/>
            <a:fld id="{4387ED0C-AA8A-2244-8C38-E08A1AACED54}" type="slidenum">
              <a:rPr lang="pl-PL" smtClean="0">
                <a:solidFill>
                  <a:srgbClr val="ED1B2F"/>
                </a:solidFill>
              </a:rPr>
              <a:pPr defTabSz="467539"/>
              <a:t>‹#›</a:t>
            </a:fld>
            <a:r>
              <a:rPr lang="pl-PL">
                <a:solidFill>
                  <a:srgbClr val="ED1B2F"/>
                </a:solidFill>
              </a:rPr>
              <a:t> </a:t>
            </a:r>
            <a:endParaRPr lang="pl-PL" dirty="0">
              <a:solidFill>
                <a:srgbClr val="ED1B2F"/>
              </a:solidFill>
            </a:endParaRPr>
          </a:p>
        </p:txBody>
      </p:sp>
    </p:spTree>
    <p:extLst>
      <p:ext uri="{BB962C8B-B14F-4D97-AF65-F5344CB8AC3E}">
        <p14:creationId xmlns:p14="http://schemas.microsoft.com/office/powerpoint/2010/main" val="1223403405"/>
      </p:ext>
    </p:extLst>
  </p:cSld>
  <p:clrMapOvr>
    <a:masterClrMapping/>
  </p:clrMapOvr>
  <p:extLst>
    <p:ext uri="{DCECCB84-F9BA-43D5-87BE-67443E8EF086}">
      <p15:sldGuideLst xmlns:p15="http://schemas.microsoft.com/office/powerpoint/2012/main">
        <p15:guide id="1" orient="horz" pos="346">
          <p15:clr>
            <a:srgbClr val="FBAE40"/>
          </p15:clr>
        </p15:guide>
        <p15:guide id="2" pos="438">
          <p15:clr>
            <a:srgbClr val="FBAE40"/>
          </p15:clr>
        </p15:guide>
        <p15:guide id="3" pos="7242">
          <p15:clr>
            <a:srgbClr val="FBAE40"/>
          </p15:clr>
        </p15:guide>
        <p15:guide id="4" orient="horz" pos="3974">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SLIDE 6">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sz="3200"/>
            </a:lvl1pPr>
          </a:lstStyle>
          <a:p>
            <a:r>
              <a:rPr lang="de-DE" dirty="0"/>
              <a:t>Titelmasterformat durch Klicken bearbeiten</a:t>
            </a:r>
            <a:endParaRPr lang="en-US" dirty="0"/>
          </a:p>
        </p:txBody>
      </p:sp>
      <p:sp>
        <p:nvSpPr>
          <p:cNvPr id="4" name="Fußzeilenplatzhalter 3"/>
          <p:cNvSpPr>
            <a:spLocks noGrp="1"/>
          </p:cNvSpPr>
          <p:nvPr>
            <p:ph type="ftr" sz="quarter" idx="11"/>
          </p:nvPr>
        </p:nvSpPr>
        <p:spPr/>
        <p:txBody>
          <a:bodyPr/>
          <a:lstStyle/>
          <a:p>
            <a:pPr defTabSz="914354">
              <a:defRPr/>
            </a:pPr>
            <a:endParaRPr lang="en-US" dirty="0">
              <a:solidFill>
                <a:srgbClr val="000000"/>
              </a:solidFill>
            </a:endParaRPr>
          </a:p>
        </p:txBody>
      </p:sp>
      <p:sp>
        <p:nvSpPr>
          <p:cNvPr id="5" name="Foliennummernplatzhalter 4"/>
          <p:cNvSpPr>
            <a:spLocks noGrp="1"/>
          </p:cNvSpPr>
          <p:nvPr>
            <p:ph type="sldNum" sz="quarter" idx="12"/>
          </p:nvPr>
        </p:nvSpPr>
        <p:spPr/>
        <p:txBody>
          <a:bodyPr/>
          <a:lstStyle/>
          <a:p>
            <a:pPr defTabSz="914354">
              <a:defRPr/>
            </a:pPr>
            <a:fld id="{75A4F164-3A46-4CEE-A25C-CA523D5E42F3}" type="slidenum">
              <a:rPr lang="en-US" smtClean="0"/>
              <a:pPr defTabSz="914354">
                <a:defRPr/>
              </a:pPr>
              <a:t>‹#›</a:t>
            </a:fld>
            <a:endParaRPr lang="en-US" dirty="0"/>
          </a:p>
        </p:txBody>
      </p:sp>
      <p:sp>
        <p:nvSpPr>
          <p:cNvPr id="6" name="Textplatzhalter 12"/>
          <p:cNvSpPr>
            <a:spLocks noGrp="1"/>
          </p:cNvSpPr>
          <p:nvPr>
            <p:ph type="body" sz="quarter" idx="13" hasCustomPrompt="1"/>
          </p:nvPr>
        </p:nvSpPr>
        <p:spPr>
          <a:xfrm>
            <a:off x="516321" y="942477"/>
            <a:ext cx="11134587" cy="541475"/>
          </a:xfrm>
        </p:spPr>
        <p:txBody>
          <a:bodyPr lIns="10800" anchor="t" anchorCtr="0"/>
          <a:lstStyle>
            <a:lvl1pPr marL="0" indent="0">
              <a:buNone/>
              <a:defRPr sz="2000">
                <a:solidFill>
                  <a:schemeClr val="bg1">
                    <a:lumMod val="50000"/>
                  </a:schemeClr>
                </a:solidFill>
              </a:defRPr>
            </a:lvl1pPr>
          </a:lstStyle>
          <a:p>
            <a:r>
              <a:rPr lang="en-US" noProof="1">
                <a:latin typeface="Calibri Light" panose="020F0302020204030204" pitchFamily="34" charset="0"/>
              </a:rPr>
              <a:t>Enter your subheadline here</a:t>
            </a:r>
          </a:p>
        </p:txBody>
      </p:sp>
    </p:spTree>
    <p:extLst>
      <p:ext uri="{BB962C8B-B14F-4D97-AF65-F5344CB8AC3E}">
        <p14:creationId xmlns:p14="http://schemas.microsoft.com/office/powerpoint/2010/main" val="95671839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Strona tytułowa ze zdjęciem">
    <p:bg>
      <p:bgPr>
        <a:solidFill>
          <a:srgbClr val="FFFFFF"/>
        </a:solidFill>
        <a:effectLst/>
      </p:bgPr>
    </p:bg>
    <p:spTree>
      <p:nvGrpSpPr>
        <p:cNvPr id="1" name=""/>
        <p:cNvGrpSpPr/>
        <p:nvPr/>
      </p:nvGrpSpPr>
      <p:grpSpPr>
        <a:xfrm>
          <a:off x="0" y="0"/>
          <a:ext cx="0" cy="0"/>
          <a:chOff x="0" y="0"/>
          <a:chExt cx="0" cy="0"/>
        </a:xfrm>
      </p:grpSpPr>
      <p:sp>
        <p:nvSpPr>
          <p:cNvPr id="12" name="Titre 1"/>
          <p:cNvSpPr>
            <a:spLocks noGrp="1"/>
          </p:cNvSpPr>
          <p:nvPr>
            <p:ph type="title" hasCustomPrompt="1"/>
          </p:nvPr>
        </p:nvSpPr>
        <p:spPr bwMode="gray">
          <a:xfrm>
            <a:off x="6280731" y="2361347"/>
            <a:ext cx="5575333" cy="1440000"/>
          </a:xfrm>
        </p:spPr>
        <p:txBody>
          <a:bodyPr tIns="180000" anchor="ctr" anchorCtr="0"/>
          <a:lstStyle>
            <a:lvl1pPr algn="l">
              <a:lnSpc>
                <a:spcPct val="80000"/>
              </a:lnSpc>
              <a:spcBef>
                <a:spcPts val="0"/>
              </a:spcBef>
              <a:spcAft>
                <a:spcPts val="0"/>
              </a:spcAft>
              <a:defRPr sz="3733" b="1" cap="all" baseline="0">
                <a:solidFill>
                  <a:srgbClr val="009597"/>
                </a:solidFill>
              </a:defRPr>
            </a:lvl1pPr>
          </a:lstStyle>
          <a:p>
            <a:r>
              <a:rPr lang="pl-PL" noProof="0" dirty="0"/>
              <a:t>TYTUŁ PREZENTACJI </a:t>
            </a:r>
            <a:br>
              <a:rPr lang="pl-PL" noProof="0" dirty="0"/>
            </a:br>
            <a:r>
              <a:rPr lang="pl-PL" noProof="0" dirty="0"/>
              <a:t>– Slajd ze zdjęciem</a:t>
            </a:r>
          </a:p>
        </p:txBody>
      </p:sp>
      <p:sp>
        <p:nvSpPr>
          <p:cNvPr id="11" name="Symbol zastępczy tekstu 2"/>
          <p:cNvSpPr>
            <a:spLocks noGrp="1"/>
          </p:cNvSpPr>
          <p:nvPr>
            <p:ph type="body" sz="quarter" idx="20" hasCustomPrompt="1"/>
          </p:nvPr>
        </p:nvSpPr>
        <p:spPr>
          <a:xfrm>
            <a:off x="6280731" y="4615519"/>
            <a:ext cx="4997672" cy="168000"/>
          </a:xfrm>
          <a:noFill/>
          <a:ln>
            <a:noFill/>
          </a:ln>
          <a:effectLst/>
        </p:spPr>
        <p:txBody>
          <a:bodyPr anchor="t"/>
          <a:lstStyle>
            <a:lvl1pPr marL="0" indent="0">
              <a:lnSpc>
                <a:spcPct val="80000"/>
              </a:lnSpc>
              <a:buFontTx/>
              <a:buNone/>
              <a:defRPr sz="1467" b="0">
                <a:ln>
                  <a:noFill/>
                </a:ln>
                <a:solidFill>
                  <a:srgbClr val="009597"/>
                </a:solidFill>
                <a:latin typeface="+mj-lt"/>
              </a:defRPr>
            </a:lvl1pPr>
            <a:lvl2pPr marL="575986" indent="0">
              <a:buFontTx/>
              <a:buNone/>
              <a:defRPr sz="1600"/>
            </a:lvl2pPr>
            <a:lvl3pPr marL="1151971" indent="0">
              <a:buFontTx/>
              <a:buNone/>
              <a:defRPr sz="1600"/>
            </a:lvl3pPr>
            <a:lvl4pPr marL="1727957" indent="0">
              <a:buFontTx/>
              <a:buNone/>
              <a:defRPr sz="1600"/>
            </a:lvl4pPr>
            <a:lvl5pPr marL="2303942" indent="0">
              <a:buFontTx/>
              <a:buNone/>
              <a:defRPr sz="1600"/>
            </a:lvl5pPr>
          </a:lstStyle>
          <a:p>
            <a:pPr lvl="0"/>
            <a:r>
              <a:rPr lang="pl-PL" dirty="0" err="1"/>
              <a:t>xxxxxxxxxxxxxxxxx</a:t>
            </a:r>
            <a:endParaRPr lang="pl-PL" dirty="0"/>
          </a:p>
        </p:txBody>
      </p:sp>
      <p:sp>
        <p:nvSpPr>
          <p:cNvPr id="10" name="Symbol zastępczy obrazu 9">
            <a:extLst>
              <a:ext uri="{FF2B5EF4-FFF2-40B4-BE49-F238E27FC236}">
                <a16:creationId xmlns:a16="http://schemas.microsoft.com/office/drawing/2014/main" id="{71BB64A8-5201-560B-036C-DD2C167D1242}"/>
              </a:ext>
            </a:extLst>
          </p:cNvPr>
          <p:cNvSpPr>
            <a:spLocks noGrp="1"/>
          </p:cNvSpPr>
          <p:nvPr>
            <p:ph type="pic" sz="quarter" idx="24"/>
          </p:nvPr>
        </p:nvSpPr>
        <p:spPr>
          <a:xfrm>
            <a:off x="575939" y="788971"/>
            <a:ext cx="5216423" cy="5178788"/>
          </a:xfrm>
        </p:spPr>
        <p:txBody>
          <a:bodyPr/>
          <a:lstStyle>
            <a:lvl1pPr marL="0" indent="0">
              <a:buNone/>
              <a:defRPr>
                <a:solidFill>
                  <a:schemeClr val="bg1"/>
                </a:solidFill>
              </a:defRPr>
            </a:lvl1pPr>
          </a:lstStyle>
          <a:p>
            <a:endParaRPr lang="pl-PL" noProof="0" dirty="0"/>
          </a:p>
        </p:txBody>
      </p:sp>
      <p:sp>
        <p:nvSpPr>
          <p:cNvPr id="7" name="pole tekstowe 6">
            <a:extLst>
              <a:ext uri="{FF2B5EF4-FFF2-40B4-BE49-F238E27FC236}">
                <a16:creationId xmlns:a16="http://schemas.microsoft.com/office/drawing/2014/main" id="{619EA351-D5B5-7F01-11D2-2725DC11DB3F}"/>
              </a:ext>
            </a:extLst>
          </p:cNvPr>
          <p:cNvSpPr txBox="1"/>
          <p:nvPr userDrawn="1"/>
        </p:nvSpPr>
        <p:spPr>
          <a:xfrm>
            <a:off x="8616029" y="188869"/>
            <a:ext cx="3240036" cy="7217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spAutoFit/>
          </a:bodyPr>
          <a:lstStyle/>
          <a:p>
            <a:pPr marL="0" marR="0" lvl="0" indent="0" algn="r" defTabSz="1100639" rtl="0" eaLnBrk="1" fontAlgn="auto" latinLnBrk="0" hangingPunct="0">
              <a:lnSpc>
                <a:spcPct val="100000"/>
              </a:lnSpc>
              <a:spcBef>
                <a:spcPts val="0"/>
              </a:spcBef>
              <a:spcAft>
                <a:spcPts val="0"/>
              </a:spcAft>
              <a:buClrTx/>
              <a:buSzTx/>
              <a:buFontTx/>
              <a:buNone/>
              <a:tabLst/>
              <a:defRPr sz="4000">
                <a:solidFill>
                  <a:srgbClr val="199FA1"/>
                </a:solidFill>
              </a:defRPr>
            </a:pPr>
            <a:r>
              <a:rPr kumimoji="0" lang="pl-PL" sz="1267" b="1" i="0" u="none" strike="noStrike" kern="0" cap="none" spc="0" normalizeH="0" baseline="0" noProof="0" dirty="0">
                <a:ln>
                  <a:noFill/>
                </a:ln>
                <a:solidFill>
                  <a:srgbClr val="009597"/>
                </a:solidFill>
                <a:effectLst/>
                <a:uLnTx/>
                <a:uFillTx/>
                <a:latin typeface="+mj-lt"/>
                <a:sym typeface="Helvetica Neue Medium"/>
              </a:rPr>
              <a:t>Codziennie działamy na rzecz</a:t>
            </a:r>
            <a:br>
              <a:rPr kumimoji="0" lang="pl-PL" sz="1267" b="1" i="0" u="none" strike="noStrike" kern="0" cap="none" spc="0" normalizeH="0" baseline="0" noProof="0" dirty="0">
                <a:ln>
                  <a:noFill/>
                </a:ln>
                <a:solidFill>
                  <a:srgbClr val="009597"/>
                </a:solidFill>
                <a:effectLst/>
                <a:uLnTx/>
                <a:uFillTx/>
                <a:latin typeface="+mj-lt"/>
                <a:sym typeface="Helvetica Neue Medium"/>
              </a:rPr>
            </a:br>
            <a:r>
              <a:rPr kumimoji="0" lang="pl-PL" sz="1267" b="1" i="0" u="none" strike="noStrike" kern="0" cap="none" spc="0" normalizeH="0" baseline="0" noProof="0" dirty="0">
                <a:ln>
                  <a:noFill/>
                </a:ln>
                <a:solidFill>
                  <a:srgbClr val="009597"/>
                </a:solidFill>
                <a:effectLst/>
                <a:uLnTx/>
                <a:uFillTx/>
                <a:latin typeface="+mj-lt"/>
                <a:sym typeface="Helvetica Neue Medium"/>
              </a:rPr>
              <a:t>naszych Klientów oraz społeczeństwa</a:t>
            </a:r>
          </a:p>
          <a:p>
            <a:pPr marL="0" marR="0" indent="0" algn="r" defTabSz="1100639" rtl="0" fontAlgn="auto" latinLnBrk="0" hangingPunct="0">
              <a:lnSpc>
                <a:spcPct val="100000"/>
              </a:lnSpc>
              <a:spcBef>
                <a:spcPts val="0"/>
              </a:spcBef>
              <a:spcAft>
                <a:spcPts val="0"/>
              </a:spcAft>
              <a:buClrTx/>
              <a:buSzTx/>
              <a:buFontTx/>
              <a:buNone/>
              <a:tabLst/>
            </a:pPr>
            <a:endParaRPr kumimoji="0" lang="pl-PL" sz="1267" b="1" i="0" u="none" strike="noStrike" cap="none" spc="0" normalizeH="0" baseline="0" dirty="0">
              <a:ln>
                <a:noFill/>
              </a:ln>
              <a:solidFill>
                <a:srgbClr val="009597"/>
              </a:solidFill>
              <a:effectLst/>
              <a:uFillTx/>
              <a:latin typeface="+mj-lt"/>
              <a:sym typeface="Helvetica Neue Medium"/>
            </a:endParaRPr>
          </a:p>
        </p:txBody>
      </p:sp>
      <p:pic>
        <p:nvPicPr>
          <p:cNvPr id="9" name="Obraz 8">
            <a:extLst>
              <a:ext uri="{FF2B5EF4-FFF2-40B4-BE49-F238E27FC236}">
                <a16:creationId xmlns:a16="http://schemas.microsoft.com/office/drawing/2014/main" id="{4E2A0DB4-C391-F51E-8244-4C5C553553A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696041" y="5709026"/>
            <a:ext cx="2274847" cy="1137177"/>
          </a:xfrm>
          <a:prstGeom prst="rect">
            <a:avLst/>
          </a:prstGeom>
        </p:spPr>
      </p:pic>
    </p:spTree>
    <p:extLst>
      <p:ext uri="{BB962C8B-B14F-4D97-AF65-F5344CB8AC3E}">
        <p14:creationId xmlns:p14="http://schemas.microsoft.com/office/powerpoint/2010/main" val="81350748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Strona tytułowa bez zdjęcia">
    <p:bg>
      <p:bgPr>
        <a:solidFill>
          <a:srgbClr val="009597"/>
        </a:solidFill>
        <a:effectLst/>
      </p:bgPr>
    </p:bg>
    <p:spTree>
      <p:nvGrpSpPr>
        <p:cNvPr id="1" name=""/>
        <p:cNvGrpSpPr/>
        <p:nvPr/>
      </p:nvGrpSpPr>
      <p:grpSpPr>
        <a:xfrm>
          <a:off x="0" y="0"/>
          <a:ext cx="0" cy="0"/>
          <a:chOff x="0" y="0"/>
          <a:chExt cx="0" cy="0"/>
        </a:xfrm>
      </p:grpSpPr>
      <p:sp>
        <p:nvSpPr>
          <p:cNvPr id="12" name="Titre 1"/>
          <p:cNvSpPr>
            <a:spLocks noGrp="1"/>
          </p:cNvSpPr>
          <p:nvPr>
            <p:ph type="title" hasCustomPrompt="1"/>
          </p:nvPr>
        </p:nvSpPr>
        <p:spPr bwMode="gray">
          <a:xfrm>
            <a:off x="455938" y="2228987"/>
            <a:ext cx="6360071" cy="1440000"/>
          </a:xfrm>
        </p:spPr>
        <p:txBody>
          <a:bodyPr tIns="180000" anchor="ctr" anchorCtr="0"/>
          <a:lstStyle>
            <a:lvl1pPr algn="l">
              <a:lnSpc>
                <a:spcPct val="80000"/>
              </a:lnSpc>
              <a:spcBef>
                <a:spcPts val="0"/>
              </a:spcBef>
              <a:spcAft>
                <a:spcPts val="0"/>
              </a:spcAft>
              <a:defRPr sz="3733" b="1" cap="all" baseline="0">
                <a:solidFill>
                  <a:schemeClr val="bg1"/>
                </a:solidFill>
              </a:defRPr>
            </a:lvl1pPr>
          </a:lstStyle>
          <a:p>
            <a:r>
              <a:rPr lang="pl-PL" noProof="0" dirty="0"/>
              <a:t>TYTUŁ PREZENTACJI </a:t>
            </a:r>
            <a:br>
              <a:rPr lang="pl-PL" noProof="0" dirty="0"/>
            </a:br>
            <a:r>
              <a:rPr lang="pl-PL" noProof="0" dirty="0"/>
              <a:t>– Slajd bez zdjęcia</a:t>
            </a:r>
          </a:p>
        </p:txBody>
      </p:sp>
      <p:sp>
        <p:nvSpPr>
          <p:cNvPr id="11" name="Symbol zastępczy tekstu 2"/>
          <p:cNvSpPr>
            <a:spLocks noGrp="1"/>
          </p:cNvSpPr>
          <p:nvPr>
            <p:ph type="body" sz="quarter" idx="20" hasCustomPrompt="1"/>
          </p:nvPr>
        </p:nvSpPr>
        <p:spPr>
          <a:xfrm>
            <a:off x="455937" y="4869016"/>
            <a:ext cx="4997672" cy="168000"/>
          </a:xfrm>
          <a:noFill/>
          <a:ln>
            <a:noFill/>
          </a:ln>
          <a:effectLst/>
        </p:spPr>
        <p:txBody>
          <a:bodyPr anchor="t"/>
          <a:lstStyle>
            <a:lvl1pPr marL="0" indent="0">
              <a:lnSpc>
                <a:spcPct val="80000"/>
              </a:lnSpc>
              <a:buFontTx/>
              <a:buNone/>
              <a:defRPr sz="1467" b="0">
                <a:ln>
                  <a:noFill/>
                </a:ln>
                <a:solidFill>
                  <a:schemeClr val="bg1"/>
                </a:solidFill>
                <a:latin typeface="+mj-lt"/>
              </a:defRPr>
            </a:lvl1pPr>
            <a:lvl2pPr marL="575986" indent="0">
              <a:buFontTx/>
              <a:buNone/>
              <a:defRPr sz="1600"/>
            </a:lvl2pPr>
            <a:lvl3pPr marL="1151971" indent="0">
              <a:buFontTx/>
              <a:buNone/>
              <a:defRPr sz="1600"/>
            </a:lvl3pPr>
            <a:lvl4pPr marL="1727957" indent="0">
              <a:buFontTx/>
              <a:buNone/>
              <a:defRPr sz="1600"/>
            </a:lvl4pPr>
            <a:lvl5pPr marL="2303942" indent="0">
              <a:buFontTx/>
              <a:buNone/>
              <a:defRPr sz="1600"/>
            </a:lvl5pPr>
          </a:lstStyle>
          <a:p>
            <a:pPr lvl="0"/>
            <a:r>
              <a:rPr lang="pl-PL" dirty="0" err="1"/>
              <a:t>xxxxxxxxxxxxxxxxx</a:t>
            </a:r>
            <a:endParaRPr lang="pl-PL" dirty="0"/>
          </a:p>
        </p:txBody>
      </p:sp>
      <p:sp>
        <p:nvSpPr>
          <p:cNvPr id="4" name="Prostokąt 3">
            <a:extLst>
              <a:ext uri="{FF2B5EF4-FFF2-40B4-BE49-F238E27FC236}">
                <a16:creationId xmlns:a16="http://schemas.microsoft.com/office/drawing/2014/main" id="{F89DDC0A-C8A3-D16B-6C20-24F73F60C148}"/>
              </a:ext>
            </a:extLst>
          </p:cNvPr>
          <p:cNvSpPr/>
          <p:nvPr userDrawn="1"/>
        </p:nvSpPr>
        <p:spPr>
          <a:xfrm>
            <a:off x="11376059" y="6257116"/>
            <a:ext cx="720008" cy="5489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2400"/>
          </a:p>
        </p:txBody>
      </p:sp>
      <p:pic>
        <p:nvPicPr>
          <p:cNvPr id="7" name="Obraz 6">
            <a:extLst>
              <a:ext uri="{FF2B5EF4-FFF2-40B4-BE49-F238E27FC236}">
                <a16:creationId xmlns:a16="http://schemas.microsoft.com/office/drawing/2014/main" id="{879354D9-10E9-75FC-A7C3-07B26F2F45F2}"/>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9563339" y="5597691"/>
            <a:ext cx="2653335" cy="1327864"/>
          </a:xfrm>
          <a:prstGeom prst="rect">
            <a:avLst/>
          </a:prstGeom>
        </p:spPr>
      </p:pic>
      <p:sp>
        <p:nvSpPr>
          <p:cNvPr id="8" name="pole tekstowe 7">
            <a:extLst>
              <a:ext uri="{FF2B5EF4-FFF2-40B4-BE49-F238E27FC236}">
                <a16:creationId xmlns:a16="http://schemas.microsoft.com/office/drawing/2014/main" id="{8ACB1BDD-6445-8BEB-AF5D-6D12348970EE}"/>
              </a:ext>
            </a:extLst>
          </p:cNvPr>
          <p:cNvSpPr txBox="1"/>
          <p:nvPr userDrawn="1"/>
        </p:nvSpPr>
        <p:spPr>
          <a:xfrm>
            <a:off x="8736031" y="188869"/>
            <a:ext cx="3120035" cy="7217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spAutoFit/>
          </a:bodyPr>
          <a:lstStyle/>
          <a:p>
            <a:pPr marL="0" marR="0" lvl="0" indent="0" algn="r" defTabSz="1100639" rtl="0" eaLnBrk="1" fontAlgn="auto" latinLnBrk="0" hangingPunct="0">
              <a:lnSpc>
                <a:spcPct val="100000"/>
              </a:lnSpc>
              <a:spcBef>
                <a:spcPts val="0"/>
              </a:spcBef>
              <a:spcAft>
                <a:spcPts val="0"/>
              </a:spcAft>
              <a:buClrTx/>
              <a:buSzTx/>
              <a:buFontTx/>
              <a:buNone/>
              <a:tabLst/>
              <a:defRPr sz="4000">
                <a:solidFill>
                  <a:srgbClr val="199FA1"/>
                </a:solidFill>
              </a:defRPr>
            </a:pPr>
            <a:r>
              <a:rPr kumimoji="0" lang="pl-PL" sz="1267" b="1" i="0" u="none" strike="noStrike" kern="0" cap="none" spc="0" normalizeH="0" baseline="0" noProof="0" dirty="0">
                <a:ln>
                  <a:noFill/>
                </a:ln>
                <a:solidFill>
                  <a:schemeClr val="bg1"/>
                </a:solidFill>
                <a:effectLst/>
                <a:uLnTx/>
                <a:uFillTx/>
                <a:latin typeface="+mj-lt"/>
                <a:sym typeface="Helvetica Neue Medium"/>
              </a:rPr>
              <a:t>Codziennie działamy na rzecz</a:t>
            </a:r>
            <a:br>
              <a:rPr kumimoji="0" lang="pl-PL" sz="1267" b="1" i="0" u="none" strike="noStrike" kern="0" cap="none" spc="0" normalizeH="0" baseline="0" noProof="0" dirty="0">
                <a:ln>
                  <a:noFill/>
                </a:ln>
                <a:solidFill>
                  <a:schemeClr val="bg1"/>
                </a:solidFill>
                <a:effectLst/>
                <a:uLnTx/>
                <a:uFillTx/>
                <a:latin typeface="+mj-lt"/>
                <a:sym typeface="Helvetica Neue Medium"/>
              </a:rPr>
            </a:br>
            <a:r>
              <a:rPr kumimoji="0" lang="pl-PL" sz="1267" b="1" i="0" u="none" strike="noStrike" kern="0" cap="none" spc="0" normalizeH="0" baseline="0" noProof="0" dirty="0">
                <a:ln>
                  <a:noFill/>
                </a:ln>
                <a:solidFill>
                  <a:schemeClr val="bg1"/>
                </a:solidFill>
                <a:effectLst/>
                <a:uLnTx/>
                <a:uFillTx/>
                <a:latin typeface="+mj-lt"/>
                <a:sym typeface="Helvetica Neue Medium"/>
              </a:rPr>
              <a:t>naszych Klientów oraz społeczeństwa</a:t>
            </a:r>
          </a:p>
          <a:p>
            <a:pPr marL="0" marR="0" indent="0" algn="r" defTabSz="1100639" rtl="0" fontAlgn="auto" latinLnBrk="0" hangingPunct="0">
              <a:lnSpc>
                <a:spcPct val="100000"/>
              </a:lnSpc>
              <a:spcBef>
                <a:spcPts val="0"/>
              </a:spcBef>
              <a:spcAft>
                <a:spcPts val="0"/>
              </a:spcAft>
              <a:buClrTx/>
              <a:buSzTx/>
              <a:buFontTx/>
              <a:buNone/>
              <a:tabLst/>
            </a:pPr>
            <a:endParaRPr kumimoji="0" lang="pl-PL" sz="1267" b="1" i="0" u="none" strike="noStrike" cap="none" spc="0" normalizeH="0" baseline="0" dirty="0">
              <a:ln>
                <a:noFill/>
              </a:ln>
              <a:solidFill>
                <a:schemeClr val="bg1"/>
              </a:solidFill>
              <a:effectLst/>
              <a:uFillTx/>
              <a:latin typeface="+mj-lt"/>
              <a:sym typeface="Helvetica Neue Medium"/>
            </a:endParaRPr>
          </a:p>
        </p:txBody>
      </p:sp>
    </p:spTree>
    <p:extLst>
      <p:ext uri="{BB962C8B-B14F-4D97-AF65-F5344CB8AC3E}">
        <p14:creationId xmlns:p14="http://schemas.microsoft.com/office/powerpoint/2010/main" val="4166621359"/>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Strona tytułowa ze zdjęciem">
    <p:bg>
      <p:bgPr>
        <a:solidFill>
          <a:srgbClr val="FFFFFF"/>
        </a:solidFill>
        <a:effectLst/>
      </p:bgPr>
    </p:bg>
    <p:spTree>
      <p:nvGrpSpPr>
        <p:cNvPr id="1" name=""/>
        <p:cNvGrpSpPr/>
        <p:nvPr/>
      </p:nvGrpSpPr>
      <p:grpSpPr>
        <a:xfrm>
          <a:off x="0" y="0"/>
          <a:ext cx="0" cy="0"/>
          <a:chOff x="0" y="0"/>
          <a:chExt cx="0" cy="0"/>
        </a:xfrm>
      </p:grpSpPr>
      <p:sp>
        <p:nvSpPr>
          <p:cNvPr id="12" name="Titre 1"/>
          <p:cNvSpPr>
            <a:spLocks noGrp="1"/>
          </p:cNvSpPr>
          <p:nvPr>
            <p:ph type="title" hasCustomPrompt="1"/>
          </p:nvPr>
        </p:nvSpPr>
        <p:spPr bwMode="gray">
          <a:xfrm>
            <a:off x="6280731" y="2361347"/>
            <a:ext cx="5575333" cy="1440000"/>
          </a:xfrm>
        </p:spPr>
        <p:txBody>
          <a:bodyPr tIns="180000" anchor="ctr" anchorCtr="0"/>
          <a:lstStyle>
            <a:lvl1pPr algn="l">
              <a:lnSpc>
                <a:spcPct val="80000"/>
              </a:lnSpc>
              <a:spcBef>
                <a:spcPts val="0"/>
              </a:spcBef>
              <a:spcAft>
                <a:spcPts val="0"/>
              </a:spcAft>
              <a:defRPr sz="3733" b="1" cap="all" baseline="0">
                <a:solidFill>
                  <a:srgbClr val="009597"/>
                </a:solidFill>
              </a:defRPr>
            </a:lvl1pPr>
          </a:lstStyle>
          <a:p>
            <a:r>
              <a:rPr lang="pl-PL" noProof="0" dirty="0"/>
              <a:t>TYTUŁ PREZENTACJI </a:t>
            </a:r>
            <a:br>
              <a:rPr lang="pl-PL" noProof="0" dirty="0"/>
            </a:br>
            <a:r>
              <a:rPr lang="pl-PL" noProof="0" dirty="0"/>
              <a:t>– Slajd ze zdjęciem</a:t>
            </a:r>
          </a:p>
        </p:txBody>
      </p:sp>
      <p:sp>
        <p:nvSpPr>
          <p:cNvPr id="11" name="Symbol zastępczy tekstu 2"/>
          <p:cNvSpPr>
            <a:spLocks noGrp="1"/>
          </p:cNvSpPr>
          <p:nvPr>
            <p:ph type="body" sz="quarter" idx="20" hasCustomPrompt="1"/>
          </p:nvPr>
        </p:nvSpPr>
        <p:spPr>
          <a:xfrm>
            <a:off x="6280731" y="4615519"/>
            <a:ext cx="4997672" cy="168000"/>
          </a:xfrm>
          <a:noFill/>
          <a:ln>
            <a:noFill/>
          </a:ln>
          <a:effectLst/>
        </p:spPr>
        <p:txBody>
          <a:bodyPr anchor="t"/>
          <a:lstStyle>
            <a:lvl1pPr marL="0" indent="0">
              <a:lnSpc>
                <a:spcPct val="80000"/>
              </a:lnSpc>
              <a:buFontTx/>
              <a:buNone/>
              <a:defRPr sz="1467" b="0">
                <a:ln>
                  <a:noFill/>
                </a:ln>
                <a:solidFill>
                  <a:srgbClr val="009597"/>
                </a:solidFill>
                <a:latin typeface="+mj-lt"/>
              </a:defRPr>
            </a:lvl1pPr>
            <a:lvl2pPr marL="575986" indent="0">
              <a:buFontTx/>
              <a:buNone/>
              <a:defRPr sz="1600"/>
            </a:lvl2pPr>
            <a:lvl3pPr marL="1151971" indent="0">
              <a:buFontTx/>
              <a:buNone/>
              <a:defRPr sz="1600"/>
            </a:lvl3pPr>
            <a:lvl4pPr marL="1727957" indent="0">
              <a:buFontTx/>
              <a:buNone/>
              <a:defRPr sz="1600"/>
            </a:lvl4pPr>
            <a:lvl5pPr marL="2303942" indent="0">
              <a:buFontTx/>
              <a:buNone/>
              <a:defRPr sz="1600"/>
            </a:lvl5pPr>
          </a:lstStyle>
          <a:p>
            <a:pPr lvl="0"/>
            <a:r>
              <a:rPr lang="pl-PL" dirty="0" err="1"/>
              <a:t>xxxxxxxxxxxxxxxxx</a:t>
            </a:r>
            <a:endParaRPr lang="pl-PL" dirty="0"/>
          </a:p>
        </p:txBody>
      </p:sp>
      <p:sp>
        <p:nvSpPr>
          <p:cNvPr id="10" name="Symbol zastępczy obrazu 9">
            <a:extLst>
              <a:ext uri="{FF2B5EF4-FFF2-40B4-BE49-F238E27FC236}">
                <a16:creationId xmlns:a16="http://schemas.microsoft.com/office/drawing/2014/main" id="{71BB64A8-5201-560B-036C-DD2C167D1242}"/>
              </a:ext>
            </a:extLst>
          </p:cNvPr>
          <p:cNvSpPr>
            <a:spLocks noGrp="1"/>
          </p:cNvSpPr>
          <p:nvPr>
            <p:ph type="pic" sz="quarter" idx="24"/>
          </p:nvPr>
        </p:nvSpPr>
        <p:spPr>
          <a:xfrm>
            <a:off x="575939" y="788971"/>
            <a:ext cx="5216423" cy="5178788"/>
          </a:xfrm>
        </p:spPr>
        <p:txBody>
          <a:bodyPr/>
          <a:lstStyle>
            <a:lvl1pPr marL="0" indent="0">
              <a:buNone/>
              <a:defRPr>
                <a:solidFill>
                  <a:schemeClr val="bg1"/>
                </a:solidFill>
              </a:defRPr>
            </a:lvl1pPr>
          </a:lstStyle>
          <a:p>
            <a:endParaRPr lang="pl-PL" noProof="0" dirty="0"/>
          </a:p>
        </p:txBody>
      </p:sp>
      <p:sp>
        <p:nvSpPr>
          <p:cNvPr id="7" name="pole tekstowe 6">
            <a:extLst>
              <a:ext uri="{FF2B5EF4-FFF2-40B4-BE49-F238E27FC236}">
                <a16:creationId xmlns:a16="http://schemas.microsoft.com/office/drawing/2014/main" id="{619EA351-D5B5-7F01-11D2-2725DC11DB3F}"/>
              </a:ext>
            </a:extLst>
          </p:cNvPr>
          <p:cNvSpPr txBox="1"/>
          <p:nvPr userDrawn="1"/>
        </p:nvSpPr>
        <p:spPr>
          <a:xfrm>
            <a:off x="8856032" y="91374"/>
            <a:ext cx="3000033" cy="91674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spAutoFit/>
          </a:bodyPr>
          <a:lstStyle/>
          <a:p>
            <a:pPr marL="0" marR="0" lvl="0" indent="0" algn="r" defTabSz="1100639" rtl="0" eaLnBrk="1" fontAlgn="auto" latinLnBrk="0" hangingPunct="0">
              <a:lnSpc>
                <a:spcPct val="100000"/>
              </a:lnSpc>
              <a:spcBef>
                <a:spcPts val="0"/>
              </a:spcBef>
              <a:spcAft>
                <a:spcPts val="0"/>
              </a:spcAft>
              <a:buClrTx/>
              <a:buSzTx/>
              <a:buFontTx/>
              <a:buNone/>
              <a:tabLst/>
              <a:defRPr sz="4000">
                <a:solidFill>
                  <a:srgbClr val="199FA1"/>
                </a:solidFill>
              </a:defRPr>
            </a:pPr>
            <a:r>
              <a:rPr kumimoji="0" lang="pl-PL" sz="1267" b="1" i="0" u="none" strike="noStrike" kern="0" cap="none" spc="0" normalizeH="0" baseline="0" noProof="0" dirty="0">
                <a:ln>
                  <a:noFill/>
                </a:ln>
                <a:solidFill>
                  <a:srgbClr val="009597"/>
                </a:solidFill>
                <a:effectLst/>
                <a:uLnTx/>
                <a:uFillTx/>
                <a:latin typeface="+mj-lt"/>
                <a:sym typeface="Helvetica Neue Medium"/>
              </a:rPr>
              <a:t>Codziennie działamy na rzecz</a:t>
            </a:r>
            <a:br>
              <a:rPr kumimoji="0" lang="pl-PL" sz="1267" b="1" i="0" u="none" strike="noStrike" kern="0" cap="none" spc="0" normalizeH="0" baseline="0" noProof="0" dirty="0">
                <a:ln>
                  <a:noFill/>
                </a:ln>
                <a:solidFill>
                  <a:srgbClr val="009597"/>
                </a:solidFill>
                <a:effectLst/>
                <a:uLnTx/>
                <a:uFillTx/>
                <a:latin typeface="+mj-lt"/>
                <a:sym typeface="Helvetica Neue Medium"/>
              </a:rPr>
            </a:br>
            <a:r>
              <a:rPr kumimoji="0" lang="pl-PL" sz="1267" b="1" i="0" u="none" strike="noStrike" kern="0" cap="none" spc="0" normalizeH="0" baseline="0" noProof="0" dirty="0">
                <a:ln>
                  <a:noFill/>
                </a:ln>
                <a:solidFill>
                  <a:srgbClr val="009597"/>
                </a:solidFill>
                <a:effectLst/>
                <a:uLnTx/>
                <a:uFillTx/>
                <a:latin typeface="+mj-lt"/>
                <a:sym typeface="Helvetica Neue Medium"/>
              </a:rPr>
              <a:t>naszych klientów oraz społeczeństwa</a:t>
            </a:r>
          </a:p>
          <a:p>
            <a:pPr marL="0" marR="0" indent="0" algn="r" defTabSz="1100639" rtl="0" fontAlgn="auto" latinLnBrk="0" hangingPunct="0">
              <a:lnSpc>
                <a:spcPct val="100000"/>
              </a:lnSpc>
              <a:spcBef>
                <a:spcPts val="0"/>
              </a:spcBef>
              <a:spcAft>
                <a:spcPts val="0"/>
              </a:spcAft>
              <a:buClrTx/>
              <a:buSzTx/>
              <a:buFontTx/>
              <a:buNone/>
              <a:tabLst/>
            </a:pPr>
            <a:endParaRPr kumimoji="0" lang="pl-PL" sz="1267" b="1" i="0" u="none" strike="noStrike" cap="none" spc="0" normalizeH="0" baseline="0" dirty="0">
              <a:ln>
                <a:noFill/>
              </a:ln>
              <a:solidFill>
                <a:srgbClr val="009597"/>
              </a:solidFill>
              <a:effectLst/>
              <a:uFillTx/>
              <a:latin typeface="+mj-lt"/>
              <a:sym typeface="Helvetica Neue Medium"/>
            </a:endParaRPr>
          </a:p>
        </p:txBody>
      </p:sp>
      <p:pic>
        <p:nvPicPr>
          <p:cNvPr id="9" name="Obraz 8">
            <a:extLst>
              <a:ext uri="{FF2B5EF4-FFF2-40B4-BE49-F238E27FC236}">
                <a16:creationId xmlns:a16="http://schemas.microsoft.com/office/drawing/2014/main" id="{4E2A0DB4-C391-F51E-8244-4C5C553553A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696041" y="5709026"/>
            <a:ext cx="2274847" cy="1137177"/>
          </a:xfrm>
          <a:prstGeom prst="rect">
            <a:avLst/>
          </a:prstGeom>
        </p:spPr>
      </p:pic>
    </p:spTree>
    <p:extLst>
      <p:ext uri="{BB962C8B-B14F-4D97-AF65-F5344CB8AC3E}">
        <p14:creationId xmlns:p14="http://schemas.microsoft.com/office/powerpoint/2010/main" val="485181257"/>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_Strona tytułowa bez zdjęcia">
    <p:bg>
      <p:bgPr>
        <a:solidFill>
          <a:srgbClr val="009597"/>
        </a:solidFill>
        <a:effectLst/>
      </p:bgPr>
    </p:bg>
    <p:spTree>
      <p:nvGrpSpPr>
        <p:cNvPr id="1" name=""/>
        <p:cNvGrpSpPr/>
        <p:nvPr/>
      </p:nvGrpSpPr>
      <p:grpSpPr>
        <a:xfrm>
          <a:off x="0" y="0"/>
          <a:ext cx="0" cy="0"/>
          <a:chOff x="0" y="0"/>
          <a:chExt cx="0" cy="0"/>
        </a:xfrm>
      </p:grpSpPr>
      <p:sp>
        <p:nvSpPr>
          <p:cNvPr id="12" name="Titre 1"/>
          <p:cNvSpPr>
            <a:spLocks noGrp="1"/>
          </p:cNvSpPr>
          <p:nvPr>
            <p:ph type="title" hasCustomPrompt="1"/>
          </p:nvPr>
        </p:nvSpPr>
        <p:spPr bwMode="gray">
          <a:xfrm>
            <a:off x="455938" y="2228987"/>
            <a:ext cx="6360071" cy="1440000"/>
          </a:xfrm>
        </p:spPr>
        <p:txBody>
          <a:bodyPr tIns="180000" anchor="ctr" anchorCtr="0"/>
          <a:lstStyle>
            <a:lvl1pPr algn="l">
              <a:lnSpc>
                <a:spcPct val="80000"/>
              </a:lnSpc>
              <a:spcBef>
                <a:spcPts val="0"/>
              </a:spcBef>
              <a:spcAft>
                <a:spcPts val="0"/>
              </a:spcAft>
              <a:defRPr sz="3733" b="1" cap="all" baseline="0">
                <a:solidFill>
                  <a:schemeClr val="bg1"/>
                </a:solidFill>
              </a:defRPr>
            </a:lvl1pPr>
          </a:lstStyle>
          <a:p>
            <a:r>
              <a:rPr lang="pl-PL" noProof="0" dirty="0"/>
              <a:t>TYTUŁ PREZENTACJI </a:t>
            </a:r>
            <a:br>
              <a:rPr lang="pl-PL" noProof="0" dirty="0"/>
            </a:br>
            <a:r>
              <a:rPr lang="pl-PL" noProof="0" dirty="0"/>
              <a:t>– Slajd bez zdjęcia</a:t>
            </a:r>
          </a:p>
        </p:txBody>
      </p:sp>
      <p:sp>
        <p:nvSpPr>
          <p:cNvPr id="11" name="Symbol zastępczy tekstu 2"/>
          <p:cNvSpPr>
            <a:spLocks noGrp="1"/>
          </p:cNvSpPr>
          <p:nvPr>
            <p:ph type="body" sz="quarter" idx="20" hasCustomPrompt="1"/>
          </p:nvPr>
        </p:nvSpPr>
        <p:spPr>
          <a:xfrm>
            <a:off x="455937" y="4869016"/>
            <a:ext cx="4997672" cy="168000"/>
          </a:xfrm>
          <a:noFill/>
          <a:ln>
            <a:noFill/>
          </a:ln>
          <a:effectLst/>
        </p:spPr>
        <p:txBody>
          <a:bodyPr anchor="t"/>
          <a:lstStyle>
            <a:lvl1pPr marL="0" indent="0">
              <a:lnSpc>
                <a:spcPct val="80000"/>
              </a:lnSpc>
              <a:buFontTx/>
              <a:buNone/>
              <a:defRPr sz="1467" b="0">
                <a:ln>
                  <a:noFill/>
                </a:ln>
                <a:solidFill>
                  <a:schemeClr val="bg1"/>
                </a:solidFill>
                <a:latin typeface="+mj-lt"/>
              </a:defRPr>
            </a:lvl1pPr>
            <a:lvl2pPr marL="575986" indent="0">
              <a:buFontTx/>
              <a:buNone/>
              <a:defRPr sz="1600"/>
            </a:lvl2pPr>
            <a:lvl3pPr marL="1151971" indent="0">
              <a:buFontTx/>
              <a:buNone/>
              <a:defRPr sz="1600"/>
            </a:lvl3pPr>
            <a:lvl4pPr marL="1727957" indent="0">
              <a:buFontTx/>
              <a:buNone/>
              <a:defRPr sz="1600"/>
            </a:lvl4pPr>
            <a:lvl5pPr marL="2303942" indent="0">
              <a:buFontTx/>
              <a:buNone/>
              <a:defRPr sz="1600"/>
            </a:lvl5pPr>
          </a:lstStyle>
          <a:p>
            <a:pPr lvl="0"/>
            <a:r>
              <a:rPr lang="pl-PL" dirty="0" err="1"/>
              <a:t>xxxxxxxxxxxxxxxxx</a:t>
            </a:r>
            <a:endParaRPr lang="pl-PL" dirty="0"/>
          </a:p>
        </p:txBody>
      </p:sp>
      <p:sp>
        <p:nvSpPr>
          <p:cNvPr id="4" name="Prostokąt 3">
            <a:extLst>
              <a:ext uri="{FF2B5EF4-FFF2-40B4-BE49-F238E27FC236}">
                <a16:creationId xmlns:a16="http://schemas.microsoft.com/office/drawing/2014/main" id="{F89DDC0A-C8A3-D16B-6C20-24F73F60C148}"/>
              </a:ext>
            </a:extLst>
          </p:cNvPr>
          <p:cNvSpPr/>
          <p:nvPr userDrawn="1"/>
        </p:nvSpPr>
        <p:spPr>
          <a:xfrm>
            <a:off x="11376059" y="6257116"/>
            <a:ext cx="720008" cy="5489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2400"/>
          </a:p>
        </p:txBody>
      </p:sp>
      <p:pic>
        <p:nvPicPr>
          <p:cNvPr id="7" name="Obraz 6">
            <a:extLst>
              <a:ext uri="{FF2B5EF4-FFF2-40B4-BE49-F238E27FC236}">
                <a16:creationId xmlns:a16="http://schemas.microsoft.com/office/drawing/2014/main" id="{879354D9-10E9-75FC-A7C3-07B26F2F45F2}"/>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9563339" y="5597691"/>
            <a:ext cx="2653335" cy="1327864"/>
          </a:xfrm>
          <a:prstGeom prst="rect">
            <a:avLst/>
          </a:prstGeom>
        </p:spPr>
      </p:pic>
      <p:sp>
        <p:nvSpPr>
          <p:cNvPr id="8" name="pole tekstowe 7">
            <a:extLst>
              <a:ext uri="{FF2B5EF4-FFF2-40B4-BE49-F238E27FC236}">
                <a16:creationId xmlns:a16="http://schemas.microsoft.com/office/drawing/2014/main" id="{8ACB1BDD-6445-8BEB-AF5D-6D12348970EE}"/>
              </a:ext>
            </a:extLst>
          </p:cNvPr>
          <p:cNvSpPr txBox="1"/>
          <p:nvPr userDrawn="1"/>
        </p:nvSpPr>
        <p:spPr>
          <a:xfrm>
            <a:off x="8856032" y="91374"/>
            <a:ext cx="3000033" cy="91674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spAutoFit/>
          </a:bodyPr>
          <a:lstStyle/>
          <a:p>
            <a:pPr marL="0" marR="0" lvl="0" indent="0" algn="r" defTabSz="1100639" rtl="0" eaLnBrk="1" fontAlgn="auto" latinLnBrk="0" hangingPunct="0">
              <a:lnSpc>
                <a:spcPct val="100000"/>
              </a:lnSpc>
              <a:spcBef>
                <a:spcPts val="0"/>
              </a:spcBef>
              <a:spcAft>
                <a:spcPts val="0"/>
              </a:spcAft>
              <a:buClrTx/>
              <a:buSzTx/>
              <a:buFontTx/>
              <a:buNone/>
              <a:tabLst/>
              <a:defRPr sz="4000">
                <a:solidFill>
                  <a:srgbClr val="199FA1"/>
                </a:solidFill>
              </a:defRPr>
            </a:pPr>
            <a:r>
              <a:rPr kumimoji="0" lang="pl-PL" sz="1267" b="1" i="0" u="none" strike="noStrike" kern="0" cap="none" spc="0" normalizeH="0" baseline="0" noProof="0" dirty="0">
                <a:ln>
                  <a:noFill/>
                </a:ln>
                <a:solidFill>
                  <a:schemeClr val="bg1"/>
                </a:solidFill>
                <a:effectLst/>
                <a:uLnTx/>
                <a:uFillTx/>
                <a:latin typeface="+mj-lt"/>
                <a:sym typeface="Helvetica Neue Medium"/>
              </a:rPr>
              <a:t>Codziennie działamy na rzecz</a:t>
            </a:r>
            <a:br>
              <a:rPr kumimoji="0" lang="pl-PL" sz="1267" b="1" i="0" u="none" strike="noStrike" kern="0" cap="none" spc="0" normalizeH="0" baseline="0" noProof="0" dirty="0">
                <a:ln>
                  <a:noFill/>
                </a:ln>
                <a:solidFill>
                  <a:schemeClr val="bg1"/>
                </a:solidFill>
                <a:effectLst/>
                <a:uLnTx/>
                <a:uFillTx/>
                <a:latin typeface="+mj-lt"/>
                <a:sym typeface="Helvetica Neue Medium"/>
              </a:rPr>
            </a:br>
            <a:r>
              <a:rPr kumimoji="0" lang="pl-PL" sz="1267" b="1" i="0" u="none" strike="noStrike" kern="0" cap="none" spc="0" normalizeH="0" baseline="0" noProof="0" dirty="0">
                <a:ln>
                  <a:noFill/>
                </a:ln>
                <a:solidFill>
                  <a:schemeClr val="bg1"/>
                </a:solidFill>
                <a:effectLst/>
                <a:uLnTx/>
                <a:uFillTx/>
                <a:latin typeface="+mj-lt"/>
                <a:sym typeface="Helvetica Neue Medium"/>
              </a:rPr>
              <a:t>naszych klientów oraz społeczeństwa</a:t>
            </a:r>
          </a:p>
          <a:p>
            <a:pPr marL="0" marR="0" indent="0" algn="r" defTabSz="1100639" rtl="0" fontAlgn="auto" latinLnBrk="0" hangingPunct="0">
              <a:lnSpc>
                <a:spcPct val="100000"/>
              </a:lnSpc>
              <a:spcBef>
                <a:spcPts val="0"/>
              </a:spcBef>
              <a:spcAft>
                <a:spcPts val="0"/>
              </a:spcAft>
              <a:buClrTx/>
              <a:buSzTx/>
              <a:buFontTx/>
              <a:buNone/>
              <a:tabLst/>
            </a:pPr>
            <a:endParaRPr kumimoji="0" lang="pl-PL" sz="1267" b="1" i="0" u="none" strike="noStrike" cap="none" spc="0" normalizeH="0" baseline="0" dirty="0">
              <a:ln>
                <a:noFill/>
              </a:ln>
              <a:solidFill>
                <a:schemeClr val="bg1"/>
              </a:solidFill>
              <a:effectLst/>
              <a:uFillTx/>
              <a:latin typeface="+mj-lt"/>
              <a:sym typeface="Helvetica Neue Medium"/>
            </a:endParaRPr>
          </a:p>
        </p:txBody>
      </p:sp>
    </p:spTree>
    <p:extLst>
      <p:ext uri="{BB962C8B-B14F-4D97-AF65-F5344CB8AC3E}">
        <p14:creationId xmlns:p14="http://schemas.microsoft.com/office/powerpoint/2010/main" val="3187031584"/>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Strona przekładkowa 1">
    <p:bg>
      <p:bgPr>
        <a:solidFill>
          <a:srgbClr val="009597"/>
        </a:solid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695940" y="673100"/>
            <a:ext cx="7816499" cy="5511800"/>
          </a:xfrm>
        </p:spPr>
        <p:txBody>
          <a:bodyPr anchor="ctr" anchorCtr="0"/>
          <a:lstStyle>
            <a:lvl1pPr>
              <a:defRPr sz="3733" b="1" cap="all" baseline="0">
                <a:solidFill>
                  <a:schemeClr val="bg1"/>
                </a:solidFill>
              </a:defRPr>
            </a:lvl1pPr>
          </a:lstStyle>
          <a:p>
            <a:r>
              <a:rPr lang="pl-PL" noProof="0" dirty="0"/>
              <a:t>Slajd przekładkowy</a:t>
            </a:r>
          </a:p>
        </p:txBody>
      </p:sp>
      <p:sp>
        <p:nvSpPr>
          <p:cNvPr id="3" name="Prostokąt 2">
            <a:extLst>
              <a:ext uri="{FF2B5EF4-FFF2-40B4-BE49-F238E27FC236}">
                <a16:creationId xmlns:a16="http://schemas.microsoft.com/office/drawing/2014/main" id="{E1D126D6-0B64-6919-8837-ED74CA354962}"/>
              </a:ext>
            </a:extLst>
          </p:cNvPr>
          <p:cNvSpPr/>
          <p:nvPr userDrawn="1"/>
        </p:nvSpPr>
        <p:spPr>
          <a:xfrm>
            <a:off x="11376059" y="6309032"/>
            <a:ext cx="720008" cy="48000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2400"/>
          </a:p>
        </p:txBody>
      </p:sp>
    </p:spTree>
    <p:extLst>
      <p:ext uri="{BB962C8B-B14F-4D97-AF65-F5344CB8AC3E}">
        <p14:creationId xmlns:p14="http://schemas.microsoft.com/office/powerpoint/2010/main" val="352674496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1CB366D-AFE7-1479-E062-E7A4D82C8DB7}"/>
              </a:ext>
            </a:extLst>
          </p:cNvPr>
          <p:cNvGraphicFramePr>
            <a:graphicFrameLocks noChangeAspect="1"/>
          </p:cNvGraphicFramePr>
          <p:nvPr userDrawn="1">
            <p:custDataLst>
              <p:tags r:id="rId1"/>
            </p:custDataLst>
            <p:extLst>
              <p:ext uri="{D42A27DB-BD31-4B8C-83A1-F6EECF244321}">
                <p14:modId xmlns:p14="http://schemas.microsoft.com/office/powerpoint/2010/main" val="7334998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D1CB366D-AFE7-1479-E062-E7A4D82C8DB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8FBC9EFA-59D8-6AAB-0D6D-2493432893EB}"/>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 y="0"/>
            <a:ext cx="5426920" cy="6858000"/>
          </a:xfrm>
          <a:custGeom>
            <a:avLst/>
            <a:gdLst>
              <a:gd name="connsiteX0" fmla="*/ 0 w 5426920"/>
              <a:gd name="connsiteY0" fmla="*/ 0 h 6858000"/>
              <a:gd name="connsiteX1" fmla="*/ 4724731 w 5426920"/>
              <a:gd name="connsiteY1" fmla="*/ 0 h 6858000"/>
              <a:gd name="connsiteX2" fmla="*/ 5426920 w 5426920"/>
              <a:gd name="connsiteY2" fmla="*/ 3429000 h 6858000"/>
              <a:gd name="connsiteX3" fmla="*/ 4724731 w 5426920"/>
              <a:gd name="connsiteY3" fmla="*/ 6858000 h 6858000"/>
              <a:gd name="connsiteX4" fmla="*/ 0 w 542692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6920" h="6858000">
                <a:moveTo>
                  <a:pt x="0" y="0"/>
                </a:moveTo>
                <a:lnTo>
                  <a:pt x="4724731" y="0"/>
                </a:lnTo>
                <a:lnTo>
                  <a:pt x="5426920" y="3429000"/>
                </a:lnTo>
                <a:lnTo>
                  <a:pt x="4724731" y="6858000"/>
                </a:lnTo>
                <a:lnTo>
                  <a:pt x="0" y="6858000"/>
                </a:lnTo>
                <a:close/>
              </a:path>
            </a:pathLst>
          </a:custGeom>
          <a:gradFill>
            <a:gsLst>
              <a:gs pos="0">
                <a:schemeClr val="tx2"/>
              </a:gs>
              <a:gs pos="100000">
                <a:schemeClr val="accent2"/>
              </a:gs>
            </a:gsLst>
            <a:lin ang="8100000" scaled="1"/>
          </a:gradFill>
        </p:spPr>
      </p:pic>
      <p:sp>
        <p:nvSpPr>
          <p:cNvPr id="3" name="Freeform 2">
            <a:extLst>
              <a:ext uri="{FF2B5EF4-FFF2-40B4-BE49-F238E27FC236}">
                <a16:creationId xmlns:a16="http://schemas.microsoft.com/office/drawing/2014/main" id="{A5D713FF-12FC-F561-E16B-BB500165F670}"/>
              </a:ext>
            </a:extLst>
          </p:cNvPr>
          <p:cNvSpPr/>
          <p:nvPr userDrawn="1">
            <p:custDataLst>
              <p:tags r:id="rId2"/>
            </p:custDataLst>
          </p:nvPr>
        </p:nvSpPr>
        <p:spPr>
          <a:xfrm>
            <a:off x="1" y="0"/>
            <a:ext cx="5426920" cy="6858000"/>
          </a:xfrm>
          <a:custGeom>
            <a:avLst/>
            <a:gdLst>
              <a:gd name="connsiteX0" fmla="*/ 0 w 5426920"/>
              <a:gd name="connsiteY0" fmla="*/ 0 h 6858000"/>
              <a:gd name="connsiteX1" fmla="*/ 4724731 w 5426920"/>
              <a:gd name="connsiteY1" fmla="*/ 0 h 6858000"/>
              <a:gd name="connsiteX2" fmla="*/ 5426920 w 5426920"/>
              <a:gd name="connsiteY2" fmla="*/ 3429000 h 6858000"/>
              <a:gd name="connsiteX3" fmla="*/ 4724731 w 5426920"/>
              <a:gd name="connsiteY3" fmla="*/ 6858000 h 6858000"/>
              <a:gd name="connsiteX4" fmla="*/ 0 w 542692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6920" h="6858000">
                <a:moveTo>
                  <a:pt x="0" y="0"/>
                </a:moveTo>
                <a:lnTo>
                  <a:pt x="4724731" y="0"/>
                </a:lnTo>
                <a:lnTo>
                  <a:pt x="5426920" y="3429000"/>
                </a:lnTo>
                <a:lnTo>
                  <a:pt x="4724731" y="6858000"/>
                </a:lnTo>
                <a:lnTo>
                  <a:pt x="0" y="6858000"/>
                </a:lnTo>
                <a:close/>
              </a:path>
            </a:pathLst>
          </a:custGeom>
          <a:gradFill>
            <a:gsLst>
              <a:gs pos="0">
                <a:srgbClr val="009B9D">
                  <a:alpha val="21000"/>
                </a:srgbClr>
              </a:gs>
              <a:gs pos="100000">
                <a:srgbClr val="006F4E">
                  <a:alpha val="8897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lnSpc>
                <a:spcPct val="90000"/>
              </a:lnSpc>
              <a:spcAft>
                <a:spcPts val="1000"/>
              </a:spcAft>
            </a:pPr>
            <a:endParaRPr lang="en-US" sz="1200" dirty="0">
              <a:solidFill>
                <a:schemeClr val="bg1"/>
              </a:solidFill>
              <a:cs typeface="+mn-cs"/>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rtl="0">
              <a:defRPr sz="4400" b="0">
                <a:solidFill>
                  <a:srgbClr val="FFFFFF"/>
                </a:solidFill>
                <a:latin typeface="+mj-lt"/>
                <a:cs typeface="+mj-cs"/>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cs typeface="+mn-cs"/>
                <a:sym typeface="Trebuchet MS" panose="020B0603020202020204" pitchFamily="34" charset="0"/>
              </a:defRPr>
            </a:lvl1pPr>
          </a:lstStyle>
          <a:p>
            <a:endParaRPr lang="en-US" dirty="0"/>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cs typeface="+mn-cs"/>
                <a:sym typeface="Trebuchet MS" panose="020B0603020202020204" pitchFamily="34" charset="0"/>
              </a:rPr>
              <a:t>Copyright © 2024 by Boston Consulting Group. All rights reserved.</a:t>
            </a:r>
          </a:p>
        </p:txBody>
      </p:sp>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6469232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lajd z tekstem 1">
    <p:spTree>
      <p:nvGrpSpPr>
        <p:cNvPr id="1" name=""/>
        <p:cNvGrpSpPr/>
        <p:nvPr/>
      </p:nvGrpSpPr>
      <p:grpSpPr>
        <a:xfrm>
          <a:off x="0" y="0"/>
          <a:ext cx="0" cy="0"/>
          <a:chOff x="0" y="0"/>
          <a:chExt cx="0" cy="0"/>
        </a:xfrm>
      </p:grpSpPr>
      <p:sp>
        <p:nvSpPr>
          <p:cNvPr id="7" name="Tytuł 1"/>
          <p:cNvSpPr>
            <a:spLocks noGrp="1"/>
          </p:cNvSpPr>
          <p:nvPr>
            <p:ph type="title" hasCustomPrompt="1"/>
          </p:nvPr>
        </p:nvSpPr>
        <p:spPr>
          <a:xfrm>
            <a:off x="935568" y="334435"/>
            <a:ext cx="10824633" cy="753533"/>
          </a:xfrm>
        </p:spPr>
        <p:txBody>
          <a:bodyPr/>
          <a:lstStyle>
            <a:lvl1pPr>
              <a:defRPr>
                <a:solidFill>
                  <a:srgbClr val="009597"/>
                </a:solidFill>
              </a:defRPr>
            </a:lvl1pPr>
          </a:lstStyle>
          <a:p>
            <a:r>
              <a:rPr lang="pl-PL" dirty="0">
                <a:solidFill>
                  <a:srgbClr val="008789"/>
                </a:solidFill>
              </a:rPr>
              <a:t>Tytuł</a:t>
            </a:r>
          </a:p>
        </p:txBody>
      </p:sp>
      <p:sp>
        <p:nvSpPr>
          <p:cNvPr id="3" name="Symbol zastępczy zawartości 2"/>
          <p:cNvSpPr>
            <a:spLocks noGrp="1"/>
          </p:cNvSpPr>
          <p:nvPr>
            <p:ph sz="quarter" idx="13" hasCustomPrompt="1"/>
          </p:nvPr>
        </p:nvSpPr>
        <p:spPr>
          <a:xfrm>
            <a:off x="924984" y="1629833"/>
            <a:ext cx="10835216" cy="4438651"/>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2" name="Symbol zastępczy numeru slajdu 1">
            <a:extLst>
              <a:ext uri="{FF2B5EF4-FFF2-40B4-BE49-F238E27FC236}">
                <a16:creationId xmlns:a16="http://schemas.microsoft.com/office/drawing/2014/main" id="{62A1738F-BB0C-3D7B-C370-D2453226EFA9}"/>
              </a:ext>
            </a:extLst>
          </p:cNvPr>
          <p:cNvSpPr>
            <a:spLocks noGrp="1"/>
          </p:cNvSpPr>
          <p:nvPr>
            <p:ph type="sldNum" sz="quarter" idx="14"/>
          </p:nvPr>
        </p:nvSpPr>
        <p:spPr/>
        <p:txBody>
          <a:bodyPr/>
          <a:lstStyle/>
          <a:p>
            <a:fld id="{332DF002-2E43-485C-89F8-8DCEF59D6C4F}" type="slidenum">
              <a:rPr lang="pl-PL" smtClean="0"/>
              <a:pPr/>
              <a:t>‹#›</a:t>
            </a:fld>
            <a:endParaRPr lang="pl-PL" dirty="0"/>
          </a:p>
        </p:txBody>
      </p:sp>
    </p:spTree>
    <p:extLst>
      <p:ext uri="{BB962C8B-B14F-4D97-AF65-F5344CB8AC3E}">
        <p14:creationId xmlns:p14="http://schemas.microsoft.com/office/powerpoint/2010/main" val="2033511013"/>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Slajd z tekstem 2 linie">
    <p:spTree>
      <p:nvGrpSpPr>
        <p:cNvPr id="1" name=""/>
        <p:cNvGrpSpPr/>
        <p:nvPr/>
      </p:nvGrpSpPr>
      <p:grpSpPr>
        <a:xfrm>
          <a:off x="0" y="0"/>
          <a:ext cx="0" cy="0"/>
          <a:chOff x="0" y="0"/>
          <a:chExt cx="0" cy="0"/>
        </a:xfrm>
      </p:grpSpPr>
      <p:sp>
        <p:nvSpPr>
          <p:cNvPr id="7" name="Tytuł 1"/>
          <p:cNvSpPr>
            <a:spLocks noGrp="1"/>
          </p:cNvSpPr>
          <p:nvPr>
            <p:ph type="title" hasCustomPrompt="1"/>
          </p:nvPr>
        </p:nvSpPr>
        <p:spPr>
          <a:xfrm>
            <a:off x="935568" y="333582"/>
            <a:ext cx="10824633" cy="1295399"/>
          </a:xfrm>
        </p:spPr>
        <p:txBody>
          <a:bodyPr/>
          <a:lstStyle>
            <a:lvl1pPr>
              <a:defRPr>
                <a:solidFill>
                  <a:srgbClr val="009597"/>
                </a:solidFill>
              </a:defRPr>
            </a:lvl1pPr>
          </a:lstStyle>
          <a:p>
            <a:r>
              <a:rPr lang="pl-PL" dirty="0">
                <a:solidFill>
                  <a:srgbClr val="008789"/>
                </a:solidFill>
              </a:rPr>
              <a:t>Tytuł </a:t>
            </a:r>
            <a:br>
              <a:rPr lang="pl-PL" dirty="0">
                <a:solidFill>
                  <a:srgbClr val="008789"/>
                </a:solidFill>
              </a:rPr>
            </a:br>
            <a:r>
              <a:rPr lang="pl-PL" dirty="0">
                <a:solidFill>
                  <a:srgbClr val="008789"/>
                </a:solidFill>
              </a:rPr>
              <a:t>na dwie linie</a:t>
            </a:r>
          </a:p>
        </p:txBody>
      </p:sp>
      <p:sp>
        <p:nvSpPr>
          <p:cNvPr id="3" name="Symbol zastępczy zawartości 2"/>
          <p:cNvSpPr>
            <a:spLocks noGrp="1"/>
          </p:cNvSpPr>
          <p:nvPr>
            <p:ph sz="quarter" idx="13" hasCustomPrompt="1"/>
          </p:nvPr>
        </p:nvSpPr>
        <p:spPr>
          <a:xfrm>
            <a:off x="924984" y="2108985"/>
            <a:ext cx="10835216" cy="3959499"/>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2" name="Symbol zastępczy numeru slajdu 1">
            <a:extLst>
              <a:ext uri="{FF2B5EF4-FFF2-40B4-BE49-F238E27FC236}">
                <a16:creationId xmlns:a16="http://schemas.microsoft.com/office/drawing/2014/main" id="{A89FAB4E-5FFF-5BF4-4C4D-D184B9D007B0}"/>
              </a:ext>
            </a:extLst>
          </p:cNvPr>
          <p:cNvSpPr>
            <a:spLocks noGrp="1"/>
          </p:cNvSpPr>
          <p:nvPr>
            <p:ph type="sldNum" sz="quarter" idx="14"/>
          </p:nvPr>
        </p:nvSpPr>
        <p:spPr/>
        <p:txBody>
          <a:bodyPr/>
          <a:lstStyle/>
          <a:p>
            <a:fld id="{332DF002-2E43-485C-89F8-8DCEF59D6C4F}" type="slidenum">
              <a:rPr lang="pl-PL" smtClean="0"/>
              <a:pPr/>
              <a:t>‹#›</a:t>
            </a:fld>
            <a:endParaRPr lang="pl-PL" dirty="0"/>
          </a:p>
        </p:txBody>
      </p:sp>
    </p:spTree>
    <p:extLst>
      <p:ext uri="{BB962C8B-B14F-4D97-AF65-F5344CB8AC3E}">
        <p14:creationId xmlns:p14="http://schemas.microsoft.com/office/powerpoint/2010/main" val="939369841"/>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lajd z tekstem 2">
    <p:spTree>
      <p:nvGrpSpPr>
        <p:cNvPr id="1" name=""/>
        <p:cNvGrpSpPr/>
        <p:nvPr/>
      </p:nvGrpSpPr>
      <p:grpSpPr>
        <a:xfrm>
          <a:off x="0" y="0"/>
          <a:ext cx="0" cy="0"/>
          <a:chOff x="0" y="0"/>
          <a:chExt cx="0" cy="0"/>
        </a:xfrm>
      </p:grpSpPr>
      <p:sp>
        <p:nvSpPr>
          <p:cNvPr id="15" name="Symbol zastępczy zawartości 2"/>
          <p:cNvSpPr>
            <a:spLocks noGrp="1"/>
          </p:cNvSpPr>
          <p:nvPr>
            <p:ph sz="quarter" idx="13" hasCustomPrompt="1"/>
          </p:nvPr>
        </p:nvSpPr>
        <p:spPr>
          <a:xfrm>
            <a:off x="924984" y="1962383"/>
            <a:ext cx="10835216" cy="4106100"/>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1" y="1457657"/>
            <a:ext cx="10801351" cy="298449"/>
          </a:xfrm>
        </p:spPr>
        <p:txBody>
          <a:bodyPr/>
          <a:lstStyle>
            <a:lvl1pPr marL="0" indent="0">
              <a:buFont typeface="Wingdings" pitchFamily="2" charset="2"/>
              <a:buNone/>
              <a:defRPr>
                <a:solidFill>
                  <a:srgbClr val="81BC00"/>
                </a:solidFill>
              </a:defRPr>
            </a:lvl1pPr>
          </a:lstStyle>
          <a:p>
            <a:pPr marL="0" indent="0">
              <a:buFont typeface="Wingdings" pitchFamily="2" charset="2"/>
              <a:buNone/>
            </a:pPr>
            <a:r>
              <a:rPr lang="pl-PL" b="1" dirty="0">
                <a:solidFill>
                  <a:schemeClr val="bg2"/>
                </a:solidFill>
              </a:rPr>
              <a:t>PODTYTUŁ</a:t>
            </a:r>
            <a:endParaRPr lang="pl-PL" dirty="0"/>
          </a:p>
        </p:txBody>
      </p:sp>
      <p:sp>
        <p:nvSpPr>
          <p:cNvPr id="7" name="Tytuł 1">
            <a:extLst>
              <a:ext uri="{FF2B5EF4-FFF2-40B4-BE49-F238E27FC236}">
                <a16:creationId xmlns:a16="http://schemas.microsoft.com/office/drawing/2014/main" id="{3CA16B62-741F-3138-CDB8-71B2887FB201}"/>
              </a:ext>
            </a:extLst>
          </p:cNvPr>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2" name="Symbol zastępczy numeru slajdu 1">
            <a:extLst>
              <a:ext uri="{FF2B5EF4-FFF2-40B4-BE49-F238E27FC236}">
                <a16:creationId xmlns:a16="http://schemas.microsoft.com/office/drawing/2014/main" id="{810D10B6-E01F-72B7-C0C1-C28761959954}"/>
              </a:ext>
            </a:extLst>
          </p:cNvPr>
          <p:cNvSpPr>
            <a:spLocks noGrp="1"/>
          </p:cNvSpPr>
          <p:nvPr>
            <p:ph type="sldNum" sz="quarter" idx="15"/>
          </p:nvPr>
        </p:nvSpPr>
        <p:spPr/>
        <p:txBody>
          <a:bodyPr/>
          <a:lstStyle/>
          <a:p>
            <a:fld id="{332DF002-2E43-485C-89F8-8DCEF59D6C4F}" type="slidenum">
              <a:rPr lang="pl-PL" smtClean="0"/>
              <a:pPr/>
              <a:t>‹#›</a:t>
            </a:fld>
            <a:endParaRPr lang="pl-PL" dirty="0"/>
          </a:p>
        </p:txBody>
      </p:sp>
    </p:spTree>
    <p:extLst>
      <p:ext uri="{BB962C8B-B14F-4D97-AF65-F5344CB8AC3E}">
        <p14:creationId xmlns:p14="http://schemas.microsoft.com/office/powerpoint/2010/main" val="1340628481"/>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lajd z tekstem 3 - dwie kolumny">
    <p:spTree>
      <p:nvGrpSpPr>
        <p:cNvPr id="1" name=""/>
        <p:cNvGrpSpPr/>
        <p:nvPr/>
      </p:nvGrpSpPr>
      <p:grpSpPr>
        <a:xfrm>
          <a:off x="0" y="0"/>
          <a:ext cx="0" cy="0"/>
          <a:chOff x="0" y="0"/>
          <a:chExt cx="0" cy="0"/>
        </a:xfrm>
      </p:grpSpPr>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3"/>
            <a:ext cx="10835216" cy="4106100"/>
          </a:xfrm>
        </p:spPr>
        <p:txBody>
          <a:bodyPr numCol="2" spcCol="180000"/>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1" y="1457657"/>
            <a:ext cx="10801351"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
        <p:nvSpPr>
          <p:cNvPr id="2" name="Symbol zastępczy numeru slajdu 1">
            <a:extLst>
              <a:ext uri="{FF2B5EF4-FFF2-40B4-BE49-F238E27FC236}">
                <a16:creationId xmlns:a16="http://schemas.microsoft.com/office/drawing/2014/main" id="{C441EEDD-7CF9-9BDA-9361-3C8F32B1F91D}"/>
              </a:ext>
            </a:extLst>
          </p:cNvPr>
          <p:cNvSpPr>
            <a:spLocks noGrp="1"/>
          </p:cNvSpPr>
          <p:nvPr>
            <p:ph type="sldNum" sz="quarter" idx="15"/>
          </p:nvPr>
        </p:nvSpPr>
        <p:spPr/>
        <p:txBody>
          <a:bodyPr/>
          <a:lstStyle/>
          <a:p>
            <a:fld id="{332DF002-2E43-485C-89F8-8DCEF59D6C4F}" type="slidenum">
              <a:rPr lang="pl-PL" smtClean="0"/>
              <a:pPr/>
              <a:t>‹#›</a:t>
            </a:fld>
            <a:endParaRPr lang="pl-PL" dirty="0"/>
          </a:p>
        </p:txBody>
      </p:sp>
    </p:spTree>
    <p:extLst>
      <p:ext uri="{BB962C8B-B14F-4D97-AF65-F5344CB8AC3E}">
        <p14:creationId xmlns:p14="http://schemas.microsoft.com/office/powerpoint/2010/main" val="13480282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lajd z tekstem 4">
    <p:spTree>
      <p:nvGrpSpPr>
        <p:cNvPr id="1" name=""/>
        <p:cNvGrpSpPr/>
        <p:nvPr/>
      </p:nvGrpSpPr>
      <p:grpSpPr>
        <a:xfrm>
          <a:off x="0" y="0"/>
          <a:ext cx="0" cy="0"/>
          <a:chOff x="0" y="0"/>
          <a:chExt cx="0" cy="0"/>
        </a:xfrm>
      </p:grpSpPr>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3"/>
            <a:ext cx="5291019" cy="4106100"/>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2" y="1457657"/>
            <a:ext cx="5291691"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 1</a:t>
            </a:r>
            <a:endParaRPr lang="pl-PL" dirty="0"/>
          </a:p>
        </p:txBody>
      </p:sp>
      <p:sp>
        <p:nvSpPr>
          <p:cNvPr id="8" name="Symbol zastępczy zawartości 2"/>
          <p:cNvSpPr>
            <a:spLocks noGrp="1"/>
          </p:cNvSpPr>
          <p:nvPr>
            <p:ph sz="quarter" idx="15" hasCustomPrompt="1"/>
          </p:nvPr>
        </p:nvSpPr>
        <p:spPr>
          <a:xfrm>
            <a:off x="6464429" y="1962383"/>
            <a:ext cx="5291019" cy="4106100"/>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13" name="Symbol zastępczy zawartości 4"/>
          <p:cNvSpPr>
            <a:spLocks noGrp="1"/>
          </p:cNvSpPr>
          <p:nvPr>
            <p:ph sz="quarter" idx="16" hasCustomPrompt="1"/>
          </p:nvPr>
        </p:nvSpPr>
        <p:spPr>
          <a:xfrm>
            <a:off x="6463757" y="1457657"/>
            <a:ext cx="5291691"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 1</a:t>
            </a:r>
            <a:endParaRPr lang="pl-PL" dirty="0"/>
          </a:p>
        </p:txBody>
      </p:sp>
      <p:sp>
        <p:nvSpPr>
          <p:cNvPr id="2" name="Symbol zastępczy numeru slajdu 1">
            <a:extLst>
              <a:ext uri="{FF2B5EF4-FFF2-40B4-BE49-F238E27FC236}">
                <a16:creationId xmlns:a16="http://schemas.microsoft.com/office/drawing/2014/main" id="{7715A34D-679C-4AC9-9D2F-A4CE67AAB6C6}"/>
              </a:ext>
            </a:extLst>
          </p:cNvPr>
          <p:cNvSpPr>
            <a:spLocks noGrp="1"/>
          </p:cNvSpPr>
          <p:nvPr>
            <p:ph type="sldNum" sz="quarter" idx="17"/>
          </p:nvPr>
        </p:nvSpPr>
        <p:spPr/>
        <p:txBody>
          <a:bodyPr/>
          <a:lstStyle/>
          <a:p>
            <a:fld id="{332DF002-2E43-485C-89F8-8DCEF59D6C4F}" type="slidenum">
              <a:rPr lang="pl-PL" smtClean="0"/>
              <a:pPr/>
              <a:t>‹#›</a:t>
            </a:fld>
            <a:endParaRPr lang="pl-PL" dirty="0"/>
          </a:p>
        </p:txBody>
      </p:sp>
    </p:spTree>
    <p:extLst>
      <p:ext uri="{BB962C8B-B14F-4D97-AF65-F5344CB8AC3E}">
        <p14:creationId xmlns:p14="http://schemas.microsoft.com/office/powerpoint/2010/main" val="335819784"/>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ytat">
    <p:spTree>
      <p:nvGrpSpPr>
        <p:cNvPr id="1" name=""/>
        <p:cNvGrpSpPr/>
        <p:nvPr/>
      </p:nvGrpSpPr>
      <p:grpSpPr>
        <a:xfrm>
          <a:off x="0" y="0"/>
          <a:ext cx="0" cy="0"/>
          <a:chOff x="0" y="0"/>
          <a:chExt cx="0" cy="0"/>
        </a:xfrm>
      </p:grpSpPr>
      <p:sp>
        <p:nvSpPr>
          <p:cNvPr id="18" name="Tytuł 1"/>
          <p:cNvSpPr>
            <a:spLocks noGrp="1"/>
          </p:cNvSpPr>
          <p:nvPr>
            <p:ph type="title" hasCustomPrompt="1"/>
          </p:nvPr>
        </p:nvSpPr>
        <p:spPr>
          <a:xfrm>
            <a:off x="935568" y="334435"/>
            <a:ext cx="10824633" cy="753533"/>
          </a:xfrm>
        </p:spPr>
        <p:txBody>
          <a:bodyPr/>
          <a:lstStyle>
            <a:lvl1pPr>
              <a:defRPr>
                <a:solidFill>
                  <a:srgbClr val="009597"/>
                </a:solidFill>
              </a:defRPr>
            </a:lvl1pPr>
          </a:lstStyle>
          <a:p>
            <a:r>
              <a:rPr lang="pl-PL" dirty="0">
                <a:solidFill>
                  <a:schemeClr val="accent1"/>
                </a:solidFill>
              </a:rPr>
              <a:t>Cytat</a:t>
            </a:r>
          </a:p>
        </p:txBody>
      </p:sp>
      <p:pic>
        <p:nvPicPr>
          <p:cNvPr id="21" name="Obraz 20">
            <a:extLst>
              <a:ext uri="{FF2B5EF4-FFF2-40B4-BE49-F238E27FC236}">
                <a16:creationId xmlns:a16="http://schemas.microsoft.com/office/drawing/2014/main" id="{51216647-0973-469E-890C-D049E1B05327}"/>
              </a:ext>
            </a:extLst>
          </p:cNvPr>
          <p:cNvPicPr>
            <a:picLocks noChangeAspect="1"/>
          </p:cNvPicPr>
          <p:nvPr userDrawn="1"/>
        </p:nvPicPr>
        <p:blipFill>
          <a:blip r:embed="rId2"/>
          <a:stretch>
            <a:fillRect/>
          </a:stretch>
        </p:blipFill>
        <p:spPr>
          <a:xfrm>
            <a:off x="1539343" y="2063798"/>
            <a:ext cx="390099" cy="1710429"/>
          </a:xfrm>
          <a:prstGeom prst="rect">
            <a:avLst/>
          </a:prstGeom>
        </p:spPr>
      </p:pic>
      <p:sp>
        <p:nvSpPr>
          <p:cNvPr id="3" name="Symbol zastępczy zawartości 2"/>
          <p:cNvSpPr>
            <a:spLocks noGrp="1"/>
          </p:cNvSpPr>
          <p:nvPr>
            <p:ph sz="quarter" idx="14" hasCustomPrompt="1"/>
          </p:nvPr>
        </p:nvSpPr>
        <p:spPr>
          <a:xfrm>
            <a:off x="2237317" y="2063751"/>
            <a:ext cx="9499600" cy="1710267"/>
          </a:xfrm>
        </p:spPr>
        <p:txBody>
          <a:bodyPr/>
          <a:lstStyle>
            <a:lvl1pPr marL="0" indent="0">
              <a:buNone/>
              <a:defRPr sz="3733" b="0" i="1">
                <a:solidFill>
                  <a:srgbClr val="009597"/>
                </a:solidFill>
              </a:defRPr>
            </a:lvl1pPr>
          </a:lstStyle>
          <a:p>
            <a:pPr lvl="0"/>
            <a:r>
              <a:rPr lang="pl-PL" dirty="0" err="1"/>
              <a:t>Lorem</a:t>
            </a:r>
            <a:r>
              <a:rPr lang="pl-PL" dirty="0"/>
              <a:t> </a:t>
            </a:r>
            <a:r>
              <a:rPr lang="pl-PL" dirty="0" err="1"/>
              <a:t>ipsum</a:t>
            </a:r>
            <a:r>
              <a:rPr lang="pl-PL" dirty="0"/>
              <a:t> </a:t>
            </a:r>
            <a:r>
              <a:rPr lang="pl-PL" dirty="0" err="1"/>
              <a:t>dolor</a:t>
            </a:r>
            <a:r>
              <a:rPr lang="pl-PL" dirty="0"/>
              <a:t> sit </a:t>
            </a:r>
            <a:r>
              <a:rPr lang="pl-PL" dirty="0" err="1"/>
              <a:t>amet</a:t>
            </a:r>
            <a:r>
              <a:rPr lang="pl-PL" dirty="0"/>
              <a:t>, </a:t>
            </a:r>
            <a:r>
              <a:rPr lang="pl-PL" dirty="0" err="1"/>
              <a:t>consectetur</a:t>
            </a:r>
            <a:r>
              <a:rPr lang="pl-PL" dirty="0"/>
              <a:t> </a:t>
            </a:r>
            <a:r>
              <a:rPr lang="pl-PL" dirty="0" err="1"/>
              <a:t>adipiscing</a:t>
            </a:r>
            <a:r>
              <a:rPr lang="pl-PL" dirty="0"/>
              <a:t> elit, </a:t>
            </a:r>
            <a:r>
              <a:rPr lang="pl-PL" dirty="0" err="1"/>
              <a:t>sed</a:t>
            </a:r>
            <a:r>
              <a:rPr lang="pl-PL" dirty="0"/>
              <a:t> do </a:t>
            </a:r>
            <a:r>
              <a:rPr lang="pl-PL" dirty="0" err="1"/>
              <a:t>eiusmod</a:t>
            </a:r>
            <a:r>
              <a:rPr lang="pl-PL" dirty="0"/>
              <a:t> </a:t>
            </a:r>
            <a:r>
              <a:rPr lang="pl-PL" dirty="0" err="1"/>
              <a:t>tempor</a:t>
            </a:r>
            <a:r>
              <a:rPr lang="pl-PL" dirty="0"/>
              <a:t> </a:t>
            </a:r>
            <a:r>
              <a:rPr lang="pl-PL" dirty="0" err="1"/>
              <a:t>incididunt</a:t>
            </a:r>
            <a:r>
              <a:rPr lang="pl-PL" dirty="0"/>
              <a:t> </a:t>
            </a:r>
            <a:r>
              <a:rPr lang="pl-PL" dirty="0" err="1"/>
              <a:t>ut</a:t>
            </a:r>
            <a:r>
              <a:rPr lang="pl-PL" dirty="0"/>
              <a:t> </a:t>
            </a:r>
            <a:r>
              <a:rPr lang="pl-PL" dirty="0" err="1"/>
              <a:t>labore</a:t>
            </a:r>
            <a:r>
              <a:rPr lang="pl-PL" dirty="0"/>
              <a:t> et </a:t>
            </a:r>
            <a:r>
              <a:rPr lang="pl-PL" dirty="0" err="1"/>
              <a:t>dolore</a:t>
            </a:r>
            <a:r>
              <a:rPr lang="pl-PL" dirty="0"/>
              <a:t> </a:t>
            </a:r>
            <a:r>
              <a:rPr lang="pl-PL" dirty="0" err="1"/>
              <a:t>magna</a:t>
            </a:r>
            <a:r>
              <a:rPr lang="pl-PL" dirty="0"/>
              <a:t> </a:t>
            </a:r>
            <a:r>
              <a:rPr lang="pl-PL" dirty="0" err="1"/>
              <a:t>aliqua</a:t>
            </a:r>
            <a:endParaRPr lang="pl-PL" dirty="0"/>
          </a:p>
        </p:txBody>
      </p:sp>
      <p:sp>
        <p:nvSpPr>
          <p:cNvPr id="5" name="Symbol zastępczy zawartości 4"/>
          <p:cNvSpPr>
            <a:spLocks noGrp="1"/>
          </p:cNvSpPr>
          <p:nvPr>
            <p:ph sz="quarter" idx="15" hasCustomPrompt="1"/>
          </p:nvPr>
        </p:nvSpPr>
        <p:spPr>
          <a:xfrm>
            <a:off x="2236597" y="4411361"/>
            <a:ext cx="9457267" cy="1176867"/>
          </a:xfrm>
        </p:spPr>
        <p:txBody>
          <a:bodyPr/>
          <a:lstStyle>
            <a:lvl1pPr marL="0" indent="0">
              <a:buNone/>
              <a:defRPr sz="2400" b="1">
                <a:solidFill>
                  <a:schemeClr val="accent3"/>
                </a:solidFill>
              </a:defRPr>
            </a:lvl1pPr>
          </a:lstStyle>
          <a:p>
            <a:pPr lvl="0"/>
            <a:r>
              <a:rPr lang="pl-PL" dirty="0" err="1"/>
              <a:t>Lorem</a:t>
            </a:r>
            <a:r>
              <a:rPr lang="pl-PL" dirty="0"/>
              <a:t> </a:t>
            </a:r>
            <a:r>
              <a:rPr lang="pl-PL" dirty="0" err="1"/>
              <a:t>ipsum</a:t>
            </a:r>
            <a:endParaRPr lang="pl-PL" dirty="0"/>
          </a:p>
          <a:p>
            <a:pPr lvl="0"/>
            <a:r>
              <a:rPr lang="pl-PL" dirty="0" err="1"/>
              <a:t>Lorem</a:t>
            </a:r>
            <a:r>
              <a:rPr lang="pl-PL" dirty="0"/>
              <a:t> </a:t>
            </a:r>
            <a:r>
              <a:rPr lang="pl-PL" dirty="0" err="1"/>
              <a:t>ipsum</a:t>
            </a:r>
            <a:r>
              <a:rPr lang="pl-PL" dirty="0"/>
              <a:t> </a:t>
            </a:r>
            <a:r>
              <a:rPr lang="pl-PL" dirty="0" err="1"/>
              <a:t>dolor</a:t>
            </a:r>
            <a:r>
              <a:rPr lang="pl-PL" dirty="0"/>
              <a:t> sit </a:t>
            </a:r>
            <a:r>
              <a:rPr lang="pl-PL" dirty="0" err="1"/>
              <a:t>amet</a:t>
            </a:r>
            <a:r>
              <a:rPr lang="pl-PL" dirty="0"/>
              <a:t>, </a:t>
            </a:r>
            <a:r>
              <a:rPr lang="pl-PL" dirty="0" err="1"/>
              <a:t>consectetur</a:t>
            </a:r>
            <a:r>
              <a:rPr lang="pl-PL" dirty="0"/>
              <a:t> </a:t>
            </a:r>
            <a:r>
              <a:rPr lang="pl-PL" dirty="0" err="1"/>
              <a:t>adipiscing</a:t>
            </a:r>
            <a:endParaRPr lang="pl-PL" dirty="0"/>
          </a:p>
        </p:txBody>
      </p:sp>
      <p:sp>
        <p:nvSpPr>
          <p:cNvPr id="2" name="Symbol zastępczy numeru slajdu 1">
            <a:extLst>
              <a:ext uri="{FF2B5EF4-FFF2-40B4-BE49-F238E27FC236}">
                <a16:creationId xmlns:a16="http://schemas.microsoft.com/office/drawing/2014/main" id="{867D99D1-2028-B6E8-E491-A5E301624B4A}"/>
              </a:ext>
            </a:extLst>
          </p:cNvPr>
          <p:cNvSpPr>
            <a:spLocks noGrp="1"/>
          </p:cNvSpPr>
          <p:nvPr>
            <p:ph type="sldNum" sz="quarter" idx="16"/>
          </p:nvPr>
        </p:nvSpPr>
        <p:spPr/>
        <p:txBody>
          <a:bodyPr/>
          <a:lstStyle/>
          <a:p>
            <a:fld id="{332DF002-2E43-485C-89F8-8DCEF59D6C4F}" type="slidenum">
              <a:rPr lang="pl-PL" smtClean="0"/>
              <a:pPr/>
              <a:t>‹#›</a:t>
            </a:fld>
            <a:endParaRPr lang="pl-PL" dirty="0"/>
          </a:p>
        </p:txBody>
      </p:sp>
    </p:spTree>
    <p:extLst>
      <p:ext uri="{BB962C8B-B14F-4D97-AF65-F5344CB8AC3E}">
        <p14:creationId xmlns:p14="http://schemas.microsoft.com/office/powerpoint/2010/main" val="305689171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lajd ze zdjęciem 1">
    <p:spTree>
      <p:nvGrpSpPr>
        <p:cNvPr id="1" name=""/>
        <p:cNvGrpSpPr/>
        <p:nvPr/>
      </p:nvGrpSpPr>
      <p:grpSpPr>
        <a:xfrm>
          <a:off x="0" y="0"/>
          <a:ext cx="0" cy="0"/>
          <a:chOff x="0" y="0"/>
          <a:chExt cx="0" cy="0"/>
        </a:xfrm>
      </p:grpSpPr>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4"/>
            <a:ext cx="4931013" cy="3746643"/>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1" y="1457657"/>
            <a:ext cx="4931687"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
        <p:nvSpPr>
          <p:cNvPr id="8" name="Symbol zastępczy obrazu 4"/>
          <p:cNvSpPr>
            <a:spLocks noGrp="1"/>
          </p:cNvSpPr>
          <p:nvPr>
            <p:ph type="pic" sz="quarter" idx="15" hasCustomPrompt="1"/>
          </p:nvPr>
        </p:nvSpPr>
        <p:spPr>
          <a:xfrm>
            <a:off x="6032501" y="1454151"/>
            <a:ext cx="5727700" cy="4254875"/>
          </a:xfrm>
        </p:spPr>
        <p:txBody>
          <a:bodyPr/>
          <a:lstStyle>
            <a:lvl1pPr marL="0" indent="0" algn="ctr">
              <a:buFontTx/>
              <a:buNone/>
              <a:defRPr b="0">
                <a:solidFill>
                  <a:schemeClr val="accent3"/>
                </a:solidFill>
              </a:defRPr>
            </a:lvl1pPr>
          </a:lstStyle>
          <a:p>
            <a:r>
              <a:rPr lang="pl-PL" dirty="0"/>
              <a:t>Wstaw obraz</a:t>
            </a:r>
          </a:p>
        </p:txBody>
      </p:sp>
      <p:sp>
        <p:nvSpPr>
          <p:cNvPr id="2" name="Symbol zastępczy numeru slajdu 1">
            <a:extLst>
              <a:ext uri="{FF2B5EF4-FFF2-40B4-BE49-F238E27FC236}">
                <a16:creationId xmlns:a16="http://schemas.microsoft.com/office/drawing/2014/main" id="{7814CC9E-C65F-165E-0604-3A6392D28D7C}"/>
              </a:ext>
            </a:extLst>
          </p:cNvPr>
          <p:cNvSpPr>
            <a:spLocks noGrp="1"/>
          </p:cNvSpPr>
          <p:nvPr>
            <p:ph type="sldNum" sz="quarter" idx="16"/>
          </p:nvPr>
        </p:nvSpPr>
        <p:spPr/>
        <p:txBody>
          <a:bodyPr/>
          <a:lstStyle/>
          <a:p>
            <a:fld id="{332DF002-2E43-485C-89F8-8DCEF59D6C4F}" type="slidenum">
              <a:rPr lang="pl-PL" smtClean="0"/>
              <a:pPr/>
              <a:t>‹#›</a:t>
            </a:fld>
            <a:endParaRPr lang="pl-PL" dirty="0"/>
          </a:p>
        </p:txBody>
      </p:sp>
    </p:spTree>
    <p:extLst>
      <p:ext uri="{BB962C8B-B14F-4D97-AF65-F5344CB8AC3E}">
        <p14:creationId xmlns:p14="http://schemas.microsoft.com/office/powerpoint/2010/main" val="3043199049"/>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lajd ze zdjęciem 2">
    <p:spTree>
      <p:nvGrpSpPr>
        <p:cNvPr id="1" name=""/>
        <p:cNvGrpSpPr/>
        <p:nvPr/>
      </p:nvGrpSpPr>
      <p:grpSpPr>
        <a:xfrm>
          <a:off x="0" y="0"/>
          <a:ext cx="0" cy="0"/>
          <a:chOff x="0" y="0"/>
          <a:chExt cx="0" cy="0"/>
        </a:xfrm>
      </p:grpSpPr>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6829187" y="1962384"/>
            <a:ext cx="4931013" cy="3866643"/>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6828514" y="1457657"/>
            <a:ext cx="4931687"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
        <p:nvSpPr>
          <p:cNvPr id="8" name="Symbol zastępczy obrazu 4"/>
          <p:cNvSpPr>
            <a:spLocks noGrp="1"/>
          </p:cNvSpPr>
          <p:nvPr>
            <p:ph type="pic" sz="quarter" idx="15" hasCustomPrompt="1"/>
          </p:nvPr>
        </p:nvSpPr>
        <p:spPr>
          <a:xfrm>
            <a:off x="944105" y="1454150"/>
            <a:ext cx="5511900" cy="4374876"/>
          </a:xfrm>
        </p:spPr>
        <p:txBody>
          <a:bodyPr/>
          <a:lstStyle>
            <a:lvl1pPr marL="0" indent="0" algn="ctr">
              <a:buFontTx/>
              <a:buNone/>
              <a:defRPr b="0">
                <a:solidFill>
                  <a:schemeClr val="accent3"/>
                </a:solidFill>
              </a:defRPr>
            </a:lvl1pPr>
          </a:lstStyle>
          <a:p>
            <a:r>
              <a:rPr lang="pl-PL" dirty="0"/>
              <a:t>Wstaw obraz</a:t>
            </a:r>
          </a:p>
        </p:txBody>
      </p:sp>
      <p:sp>
        <p:nvSpPr>
          <p:cNvPr id="2" name="Symbol zastępczy numeru slajdu 1">
            <a:extLst>
              <a:ext uri="{FF2B5EF4-FFF2-40B4-BE49-F238E27FC236}">
                <a16:creationId xmlns:a16="http://schemas.microsoft.com/office/drawing/2014/main" id="{EBCA5C9C-CE6F-B4C4-7578-B6C3BC9C6128}"/>
              </a:ext>
            </a:extLst>
          </p:cNvPr>
          <p:cNvSpPr>
            <a:spLocks noGrp="1"/>
          </p:cNvSpPr>
          <p:nvPr>
            <p:ph type="sldNum" sz="quarter" idx="16"/>
          </p:nvPr>
        </p:nvSpPr>
        <p:spPr/>
        <p:txBody>
          <a:bodyPr/>
          <a:lstStyle/>
          <a:p>
            <a:fld id="{332DF002-2E43-485C-89F8-8DCEF59D6C4F}" type="slidenum">
              <a:rPr lang="pl-PL" smtClean="0"/>
              <a:pPr/>
              <a:t>‹#›</a:t>
            </a:fld>
            <a:endParaRPr lang="pl-PL" dirty="0"/>
          </a:p>
        </p:txBody>
      </p:sp>
    </p:spTree>
    <p:extLst>
      <p:ext uri="{BB962C8B-B14F-4D97-AF65-F5344CB8AC3E}">
        <p14:creationId xmlns:p14="http://schemas.microsoft.com/office/powerpoint/2010/main" val="3614171177"/>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Slajd z tytułem pusty">
    <p:spTree>
      <p:nvGrpSpPr>
        <p:cNvPr id="1" name=""/>
        <p:cNvGrpSpPr/>
        <p:nvPr/>
      </p:nvGrpSpPr>
      <p:grpSpPr>
        <a:xfrm>
          <a:off x="0" y="0"/>
          <a:ext cx="0" cy="0"/>
          <a:chOff x="0" y="0"/>
          <a:chExt cx="0" cy="0"/>
        </a:xfrm>
      </p:grpSpPr>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2" name="Symbol zastępczy numeru slajdu 1">
            <a:extLst>
              <a:ext uri="{FF2B5EF4-FFF2-40B4-BE49-F238E27FC236}">
                <a16:creationId xmlns:a16="http://schemas.microsoft.com/office/drawing/2014/main" id="{B7427E44-54E6-E838-7FF3-8BDA8E814DDB}"/>
              </a:ext>
            </a:extLst>
          </p:cNvPr>
          <p:cNvSpPr>
            <a:spLocks noGrp="1"/>
          </p:cNvSpPr>
          <p:nvPr>
            <p:ph type="sldNum" sz="quarter" idx="10"/>
          </p:nvPr>
        </p:nvSpPr>
        <p:spPr/>
        <p:txBody>
          <a:bodyPr/>
          <a:lstStyle/>
          <a:p>
            <a:fld id="{332DF002-2E43-485C-89F8-8DCEF59D6C4F}" type="slidenum">
              <a:rPr lang="pl-PL" smtClean="0"/>
              <a:pPr/>
              <a:t>‹#›</a:t>
            </a:fld>
            <a:endParaRPr lang="pl-PL" dirty="0"/>
          </a:p>
        </p:txBody>
      </p:sp>
    </p:spTree>
    <p:extLst>
      <p:ext uri="{BB962C8B-B14F-4D97-AF65-F5344CB8AC3E}">
        <p14:creationId xmlns:p14="http://schemas.microsoft.com/office/powerpoint/2010/main" val="37230747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p:cSld name="2_Strona zamykająca 2">
    <p:bg bwMode="gray">
      <p:bgPr>
        <a:solidFill>
          <a:schemeClr val="accent3"/>
        </a:solidFill>
        <a:effectLst/>
      </p:bgPr>
    </p:bg>
    <p:spTree>
      <p:nvGrpSpPr>
        <p:cNvPr id="1" name=""/>
        <p:cNvGrpSpPr/>
        <p:nvPr/>
      </p:nvGrpSpPr>
      <p:grpSpPr>
        <a:xfrm>
          <a:off x="0" y="0"/>
          <a:ext cx="0" cy="0"/>
          <a:chOff x="0" y="0"/>
          <a:chExt cx="0" cy="0"/>
        </a:xfrm>
      </p:grpSpPr>
      <p:pic>
        <p:nvPicPr>
          <p:cNvPr id="6" name="Obraz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115127" y="5255491"/>
            <a:ext cx="7952509" cy="1089891"/>
          </a:xfrm>
          <a:prstGeom prst="rect">
            <a:avLst/>
          </a:prstGeom>
        </p:spPr>
      </p:pic>
    </p:spTree>
    <p:extLst>
      <p:ext uri="{BB962C8B-B14F-4D97-AF65-F5344CB8AC3E}">
        <p14:creationId xmlns:p14="http://schemas.microsoft.com/office/powerpoint/2010/main" val="309104680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3708366-7178-0B4A-F1AC-1F51EEA68DCF}"/>
              </a:ext>
            </a:extLst>
          </p:cNvPr>
          <p:cNvGraphicFramePr>
            <a:graphicFrameLocks noChangeAspect="1"/>
          </p:cNvGraphicFramePr>
          <p:nvPr userDrawn="1">
            <p:custDataLst>
              <p:tags r:id="rId1"/>
            </p:custDataLst>
            <p:extLst>
              <p:ext uri="{D42A27DB-BD31-4B8C-83A1-F6EECF244321}">
                <p14:modId xmlns:p14="http://schemas.microsoft.com/office/powerpoint/2010/main" val="100788528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33708366-7178-0B4A-F1AC-1F51EEA68DC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E193B254-3B98-4A5E-847A-7738CB914921}"/>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2467155" y="0"/>
            <a:ext cx="9724845" cy="6858000"/>
          </a:xfrm>
          <a:prstGeom prst="rect">
            <a:avLst/>
          </a:prstGeom>
          <a:gradFill>
            <a:gsLst>
              <a:gs pos="0">
                <a:srgbClr val="29BA74"/>
              </a:gs>
              <a:gs pos="100000">
                <a:srgbClr val="197A56"/>
              </a:gs>
            </a:gsLst>
            <a:lin ang="8100000" scaled="1"/>
          </a:gradFill>
        </p:spPr>
      </p:pic>
      <p:sp>
        <p:nvSpPr>
          <p:cNvPr id="12" name="Overlay">
            <a:extLst>
              <a:ext uri="{FF2B5EF4-FFF2-40B4-BE49-F238E27FC236}">
                <a16:creationId xmlns:a16="http://schemas.microsoft.com/office/drawing/2014/main" id="{0AC07568-78CE-4DE5-BE66-9A481908A096}"/>
              </a:ext>
            </a:extLst>
          </p:cNvPr>
          <p:cNvSpPr/>
          <p:nvPr userDrawn="1">
            <p:custDataLst>
              <p:tags r:id="rId2"/>
            </p:custDataLst>
          </p:nvPr>
        </p:nvSpPr>
        <p:spPr>
          <a:xfrm>
            <a:off x="2794001" y="0"/>
            <a:ext cx="9397999" cy="6858000"/>
          </a:xfrm>
          <a:prstGeom prst="rect">
            <a:avLst/>
          </a:prstGeom>
          <a:gradFill>
            <a:gsLst>
              <a:gs pos="0">
                <a:srgbClr val="009B9D">
                  <a:alpha val="21000"/>
                </a:srgbClr>
              </a:gs>
              <a:gs pos="100000">
                <a:srgbClr val="006F4E">
                  <a:alpha val="88979"/>
                </a:srgbClr>
              </a:gs>
            </a:gsLst>
            <a:lin ang="8100000" scaled="1"/>
          </a:gradFill>
          <a:ln w="9525" cap="flat" cmpd="sng" algn="ctr">
            <a:noFill/>
            <a:prstDash val="solid"/>
            <a:miter lim="800000"/>
          </a:ln>
          <a:effectLst/>
        </p:spPr>
        <p:txBody>
          <a:bodyPr rtlCol="0" anchor="t"/>
          <a:lstStyle/>
          <a:p>
            <a:pPr marL="0" marR="0" lvl="0" indent="0"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Trebuchet MS"/>
              <a:ea typeface="+mn-ea"/>
              <a:cs typeface="+mn-cs"/>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rtl="0">
              <a:defRPr>
                <a:solidFill>
                  <a:schemeClr val="bg1"/>
                </a:solidFill>
                <a:latin typeface="+mn-lt"/>
                <a:cs typeface="+mn-cs"/>
                <a:sym typeface="Trebuchet MS" panose="020B0603020202020204" pitchFamily="34" charset="0"/>
              </a:defRPr>
            </a:lvl1pPr>
          </a:lstStyle>
          <a:p>
            <a:endParaRPr lang="en-US" dirty="0"/>
          </a:p>
        </p:txBody>
      </p:sp>
      <p:sp>
        <p:nvSpPr>
          <p:cNvPr id="18"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cs typeface="+mn-cs"/>
                <a:sym typeface="Trebuchet MS" panose="020B0603020202020204" pitchFamily="34" charset="0"/>
              </a:rPr>
              <a:t>Copyright © 2024 by Boston Consulting Group. All rights reserved.</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US" sz="1200" dirty="0">
              <a:solidFill>
                <a:prstClr val="white"/>
              </a:solidFill>
              <a:latin typeface="+mn-lt"/>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400" b="0" i="0" u="none" kern="1200" spc="0">
                <a:solidFill>
                  <a:schemeClr val="tx2">
                    <a:lumMod val="100000"/>
                  </a:schemeClr>
                </a:solidFill>
                <a:latin typeface="+mj-lt"/>
                <a:cs typeface="+mj-cs"/>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33539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p:cSld name="Strona zamykająca 1">
    <p:spTree>
      <p:nvGrpSpPr>
        <p:cNvPr id="1" name=""/>
        <p:cNvGrpSpPr/>
        <p:nvPr/>
      </p:nvGrpSpPr>
      <p:grpSpPr>
        <a:xfrm>
          <a:off x="0" y="0"/>
          <a:ext cx="0" cy="0"/>
          <a:chOff x="0" y="0"/>
          <a:chExt cx="0" cy="0"/>
        </a:xfrm>
      </p:grpSpPr>
      <p:pic>
        <p:nvPicPr>
          <p:cNvPr id="3" name="Obraz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124364" y="5273964"/>
            <a:ext cx="7961745" cy="1071419"/>
          </a:xfrm>
          <a:prstGeom prst="rect">
            <a:avLst/>
          </a:prstGeom>
        </p:spPr>
      </p:pic>
    </p:spTree>
    <p:extLst>
      <p:ext uri="{BB962C8B-B14F-4D97-AF65-F5344CB8AC3E}">
        <p14:creationId xmlns:p14="http://schemas.microsoft.com/office/powerpoint/2010/main" val="2866424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633A325-8F8B-7F48-3E44-364736DB439A}"/>
              </a:ext>
            </a:extLst>
          </p:cNvPr>
          <p:cNvGraphicFramePr>
            <a:graphicFrameLocks noChangeAspect="1"/>
          </p:cNvGraphicFramePr>
          <p:nvPr userDrawn="1">
            <p:custDataLst>
              <p:tags r:id="rId1"/>
            </p:custDataLst>
            <p:extLst>
              <p:ext uri="{D42A27DB-BD31-4B8C-83A1-F6EECF244321}">
                <p14:modId xmlns:p14="http://schemas.microsoft.com/office/powerpoint/2010/main" val="30198093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5633A325-8F8B-7F48-3E44-364736DB439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5BEC2C79-F917-11D3-A86F-AC9C8D646540}"/>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6363546" cy="6858000"/>
          </a:xfrm>
          <a:custGeom>
            <a:avLst/>
            <a:gdLst>
              <a:gd name="connsiteX0" fmla="*/ 0 w 6363546"/>
              <a:gd name="connsiteY0" fmla="*/ 0 h 6858000"/>
              <a:gd name="connsiteX1" fmla="*/ 5540167 w 6363546"/>
              <a:gd name="connsiteY1" fmla="*/ 0 h 6858000"/>
              <a:gd name="connsiteX2" fmla="*/ 6363546 w 6363546"/>
              <a:gd name="connsiteY2" fmla="*/ 3429000 h 6858000"/>
              <a:gd name="connsiteX3" fmla="*/ 5540167 w 6363546"/>
              <a:gd name="connsiteY3" fmla="*/ 6858000 h 6858000"/>
              <a:gd name="connsiteX4" fmla="*/ 0 w 6363546"/>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3546" h="6858000">
                <a:moveTo>
                  <a:pt x="0" y="0"/>
                </a:moveTo>
                <a:lnTo>
                  <a:pt x="5540167" y="0"/>
                </a:lnTo>
                <a:lnTo>
                  <a:pt x="6363546" y="3429000"/>
                </a:lnTo>
                <a:lnTo>
                  <a:pt x="5540167" y="6858000"/>
                </a:lnTo>
                <a:lnTo>
                  <a:pt x="0" y="6858000"/>
                </a:lnTo>
                <a:close/>
              </a:path>
            </a:pathLst>
          </a:custGeom>
          <a:gradFill>
            <a:gsLst>
              <a:gs pos="0">
                <a:schemeClr val="tx2"/>
              </a:gs>
              <a:gs pos="100000">
                <a:schemeClr val="accent2"/>
              </a:gs>
            </a:gsLst>
            <a:lin ang="8100000" scaled="1"/>
          </a:gradFill>
        </p:spPr>
      </p:pic>
      <p:sp>
        <p:nvSpPr>
          <p:cNvPr id="3" name="Freeform 2">
            <a:extLst>
              <a:ext uri="{FF2B5EF4-FFF2-40B4-BE49-F238E27FC236}">
                <a16:creationId xmlns:a16="http://schemas.microsoft.com/office/drawing/2014/main" id="{C3BE90BD-C619-6782-6DB4-4FD9CBD5E192}"/>
              </a:ext>
            </a:extLst>
          </p:cNvPr>
          <p:cNvSpPr/>
          <p:nvPr userDrawn="1">
            <p:custDataLst>
              <p:tags r:id="rId2"/>
            </p:custDataLst>
          </p:nvPr>
        </p:nvSpPr>
        <p:spPr>
          <a:xfrm>
            <a:off x="0" y="0"/>
            <a:ext cx="6363546" cy="6858000"/>
          </a:xfrm>
          <a:custGeom>
            <a:avLst/>
            <a:gdLst>
              <a:gd name="connsiteX0" fmla="*/ 0 w 6363546"/>
              <a:gd name="connsiteY0" fmla="*/ 0 h 6858000"/>
              <a:gd name="connsiteX1" fmla="*/ 5540167 w 6363546"/>
              <a:gd name="connsiteY1" fmla="*/ 0 h 6858000"/>
              <a:gd name="connsiteX2" fmla="*/ 6363546 w 6363546"/>
              <a:gd name="connsiteY2" fmla="*/ 3429000 h 6858000"/>
              <a:gd name="connsiteX3" fmla="*/ 5540167 w 6363546"/>
              <a:gd name="connsiteY3" fmla="*/ 6858000 h 6858000"/>
              <a:gd name="connsiteX4" fmla="*/ 0 w 6363546"/>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3546" h="6858000">
                <a:moveTo>
                  <a:pt x="0" y="0"/>
                </a:moveTo>
                <a:lnTo>
                  <a:pt x="5540167" y="0"/>
                </a:lnTo>
                <a:lnTo>
                  <a:pt x="6363546" y="3429000"/>
                </a:lnTo>
                <a:lnTo>
                  <a:pt x="5540167" y="6858000"/>
                </a:lnTo>
                <a:lnTo>
                  <a:pt x="0" y="6858000"/>
                </a:lnTo>
                <a:close/>
              </a:path>
            </a:pathLst>
          </a:custGeom>
          <a:gradFill>
            <a:gsLst>
              <a:gs pos="0">
                <a:srgbClr val="009B9D">
                  <a:alpha val="21000"/>
                </a:srgbClr>
              </a:gs>
              <a:gs pos="100000">
                <a:srgbClr val="006F4E">
                  <a:alpha val="8897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lnSpc>
                <a:spcPct val="90000"/>
              </a:lnSpc>
              <a:spcAft>
                <a:spcPts val="1000"/>
              </a:spcAft>
            </a:pPr>
            <a:endParaRPr lang="en-US" sz="1200" dirty="0">
              <a:solidFill>
                <a:schemeClr val="bg1"/>
              </a:solidFill>
              <a:cs typeface="+mn-cs"/>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400" b="0" i="0" u="none" kern="1200" spc="0">
                <a:solidFill>
                  <a:srgbClr val="FFFFFF"/>
                </a:solidFill>
                <a:latin typeface="+mj-lt"/>
                <a:cs typeface="+mj-cs"/>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cs typeface="+mn-cs"/>
                <a:sym typeface="Trebuchet MS" panose="020B0603020202020204" pitchFamily="34" charset="0"/>
              </a:defRPr>
            </a:lvl1pPr>
          </a:lstStyle>
          <a:p>
            <a:endParaRPr lang="en-US" dirty="0"/>
          </a:p>
        </p:txBody>
      </p:sp>
      <p:sp>
        <p:nvSpPr>
          <p:cNvPr id="13" name="TextBox 1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cs typeface="+mn-cs"/>
                <a:sym typeface="Trebuchet MS" panose="020B0603020202020204" pitchFamily="34" charset="0"/>
              </a:rPr>
              <a:t>Copyright © 2024 by Boston Consulting Group. All rights reserved.</a:t>
            </a:r>
          </a:p>
        </p:txBody>
      </p:sp>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5608800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44EC7B8-CB30-9CDF-7BD9-6323C51CA058}"/>
              </a:ext>
            </a:extLst>
          </p:cNvPr>
          <p:cNvGraphicFramePr>
            <a:graphicFrameLocks noChangeAspect="1"/>
          </p:cNvGraphicFramePr>
          <p:nvPr userDrawn="1">
            <p:custDataLst>
              <p:tags r:id="rId1"/>
            </p:custDataLst>
            <p:extLst>
              <p:ext uri="{D42A27DB-BD31-4B8C-83A1-F6EECF244321}">
                <p14:modId xmlns:p14="http://schemas.microsoft.com/office/powerpoint/2010/main" val="160595371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344EC7B8-CB30-9CDF-7BD9-6323C51CA05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3955295E-A771-4BDA-B735-E12857D72BE6}"/>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2467155" y="0"/>
            <a:ext cx="9724845" cy="6858000"/>
          </a:xfrm>
          <a:prstGeom prst="rect">
            <a:avLst/>
          </a:prstGeom>
          <a:gradFill>
            <a:gsLst>
              <a:gs pos="0">
                <a:srgbClr val="29BA74"/>
              </a:gs>
              <a:gs pos="100000">
                <a:srgbClr val="197A56"/>
              </a:gs>
            </a:gsLst>
            <a:lin ang="8100000" scaled="1"/>
          </a:gradFill>
        </p:spPr>
      </p:pic>
      <p:sp>
        <p:nvSpPr>
          <p:cNvPr id="17" name="Overlay">
            <a:extLst>
              <a:ext uri="{FF2B5EF4-FFF2-40B4-BE49-F238E27FC236}">
                <a16:creationId xmlns:a16="http://schemas.microsoft.com/office/drawing/2014/main" id="{A21B70ED-7653-4330-AEC3-5119E1768C2E}"/>
              </a:ext>
            </a:extLst>
          </p:cNvPr>
          <p:cNvSpPr/>
          <p:nvPr userDrawn="1">
            <p:custDataLst>
              <p:tags r:id="rId2"/>
            </p:custDataLst>
          </p:nvPr>
        </p:nvSpPr>
        <p:spPr>
          <a:xfrm>
            <a:off x="2794001" y="0"/>
            <a:ext cx="9397999" cy="6858000"/>
          </a:xfrm>
          <a:prstGeom prst="rect">
            <a:avLst/>
          </a:prstGeom>
          <a:gradFill>
            <a:gsLst>
              <a:gs pos="0">
                <a:srgbClr val="009B9D">
                  <a:alpha val="21000"/>
                </a:srgbClr>
              </a:gs>
              <a:gs pos="100000">
                <a:srgbClr val="006F4E">
                  <a:alpha val="88979"/>
                </a:srgbClr>
              </a:gs>
            </a:gsLst>
            <a:lin ang="8100000" scaled="1"/>
          </a:gradFill>
          <a:ln w="9525" cap="flat" cmpd="sng" algn="ctr">
            <a:noFill/>
            <a:prstDash val="solid"/>
            <a:miter lim="800000"/>
          </a:ln>
          <a:effectLst/>
        </p:spPr>
        <p:txBody>
          <a:bodyPr rtlCol="0" anchor="t"/>
          <a:lstStyle/>
          <a:p>
            <a:pPr marL="0" marR="0" lvl="0" indent="0"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Trebuchet MS"/>
              <a:ea typeface="+mn-ea"/>
              <a:cs typeface="+mn-cs"/>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latin typeface="+mn-lt"/>
              <a:cs typeface="+mn-cs"/>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cs typeface="+mn-cs"/>
                <a:sym typeface="Trebuchet MS" panose="020B0603020202020204" pitchFamily="34" charset="0"/>
              </a:defRPr>
            </a:lvl1pPr>
          </a:lstStyle>
          <a:p>
            <a:endParaRPr lang="en-US" dirty="0"/>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cs typeface="+mn-cs"/>
                <a:sym typeface="Trebuchet MS" panose="020B0603020202020204" pitchFamily="34" charset="0"/>
              </a:rPr>
              <a:t>Copyright © 2024 by Boston Consulting Group. All rights reserved.</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400" b="0" i="0" u="none" kern="1200" spc="0">
                <a:solidFill>
                  <a:schemeClr val="tx2">
                    <a:lumMod val="100000"/>
                  </a:schemeClr>
                </a:solidFill>
                <a:latin typeface="+mj-lt"/>
                <a:cs typeface="+mj-cs"/>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076698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5C72321E-CBB6-4A55-BB18-3152317ED08A}"/>
              </a:ext>
            </a:extLst>
          </p:cNvPr>
          <p:cNvGraphicFramePr>
            <a:graphicFrameLocks noChangeAspect="1"/>
          </p:cNvGraphicFramePr>
          <p:nvPr userDrawn="1">
            <p:custDataLst>
              <p:tags r:id="rId1"/>
            </p:custDataLst>
            <p:extLst>
              <p:ext uri="{D42A27DB-BD31-4B8C-83A1-F6EECF244321}">
                <p14:modId xmlns:p14="http://schemas.microsoft.com/office/powerpoint/2010/main" val="21035707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1" name="think-cell data - do not delete" hidden="1">
                        <a:extLst>
                          <a:ext uri="{FF2B5EF4-FFF2-40B4-BE49-F238E27FC236}">
                            <a16:creationId xmlns:a16="http://schemas.microsoft.com/office/drawing/2014/main" id="{5C72321E-CBB6-4A55-BB18-3152317ED08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85376EF5-F47A-4A4A-9D20-C98184E77EAE}"/>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 y="0"/>
            <a:ext cx="12192001" cy="2062633"/>
          </a:xfrm>
          <a:prstGeom prst="round2SameRect">
            <a:avLst>
              <a:gd name="adj1" fmla="val 0"/>
              <a:gd name="adj2" fmla="val 11274"/>
            </a:avLst>
          </a:prstGeom>
          <a:gradFill>
            <a:gsLst>
              <a:gs pos="0">
                <a:schemeClr val="tx2"/>
              </a:gs>
              <a:gs pos="100000">
                <a:schemeClr val="accent2"/>
              </a:gs>
            </a:gsLst>
            <a:lin ang="8100000" scaled="1"/>
          </a:gradFill>
          <a:effectLst>
            <a:outerShdw blurRad="254000" algn="ctr" rotWithShape="0">
              <a:prstClr val="black">
                <a:alpha val="27000"/>
              </a:prstClr>
            </a:outerShdw>
          </a:effectLst>
        </p:spPr>
      </p:pic>
      <p:sp>
        <p:nvSpPr>
          <p:cNvPr id="15" name="Overlay">
            <a:extLst>
              <a:ext uri="{FF2B5EF4-FFF2-40B4-BE49-F238E27FC236}">
                <a16:creationId xmlns:a16="http://schemas.microsoft.com/office/drawing/2014/main" id="{04288243-D7AE-4ABD-BB70-0FECF8B67379}"/>
              </a:ext>
            </a:extLst>
          </p:cNvPr>
          <p:cNvSpPr/>
          <p:nvPr userDrawn="1">
            <p:custDataLst>
              <p:tags r:id="rId2"/>
            </p:custDataLst>
          </p:nvPr>
        </p:nvSpPr>
        <p:spPr>
          <a:xfrm>
            <a:off x="0" y="-1"/>
            <a:ext cx="12192001" cy="2062633"/>
          </a:xfrm>
          <a:prstGeom prst="round2SameRect">
            <a:avLst>
              <a:gd name="adj1" fmla="val 0"/>
              <a:gd name="adj2" fmla="val 11274"/>
            </a:avLst>
          </a:prstGeom>
          <a:gradFill>
            <a:gsLst>
              <a:gs pos="0">
                <a:srgbClr val="009B9D">
                  <a:alpha val="21000"/>
                </a:srgbClr>
              </a:gs>
              <a:gs pos="100000">
                <a:srgbClr val="006F4E">
                  <a:alpha val="8897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cs typeface="+mn-cs"/>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latin typeface="+mn-lt"/>
                <a:cs typeface="+mn-cs"/>
                <a:sym typeface="Trebuchet MS" panose="020B0603020202020204" pitchFamily="34" charset="0"/>
              </a:defRPr>
            </a:lvl1pPr>
          </a:lstStyle>
          <a:p>
            <a:endParaRPr lang="en-US" dirty="0"/>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400" b="0" i="0" u="none" kern="1200" spc="0">
                <a:solidFill>
                  <a:srgbClr val="FFFFFF"/>
                </a:solidFill>
                <a:latin typeface="+mj-lt"/>
                <a:cs typeface="+mj-cs"/>
                <a:sym typeface="Trebuchet MS" panose="020B0603020202020204" pitchFamily="34" charset="0"/>
              </a:defRPr>
            </a:lvl1pPr>
          </a:lstStyle>
          <a:p>
            <a:pPr lvl="0"/>
            <a:r>
              <a:rPr lang="en-US" dirty="0"/>
              <a:t>Click to add title</a:t>
            </a:r>
          </a:p>
        </p:txBody>
      </p:sp>
      <p:grpSp>
        <p:nvGrpSpPr>
          <p:cNvPr id="2" name="Group 1">
            <a:extLst>
              <a:ext uri="{FF2B5EF4-FFF2-40B4-BE49-F238E27FC236}">
                <a16:creationId xmlns:a16="http://schemas.microsoft.com/office/drawing/2014/main" id="{07330958-3166-D349-7042-6F93412AA39B}"/>
              </a:ext>
            </a:extLst>
          </p:cNvPr>
          <p:cNvGrpSpPr/>
          <p:nvPr userDrawn="1"/>
        </p:nvGrpSpPr>
        <p:grpSpPr>
          <a:xfrm>
            <a:off x="-1" y="2388697"/>
            <a:ext cx="12192001" cy="4451557"/>
            <a:chOff x="-1" y="2388697"/>
            <a:chExt cx="12192001" cy="4451557"/>
          </a:xfrm>
        </p:grpSpPr>
        <p:sp>
          <p:nvSpPr>
            <p:cNvPr id="4" name="Freeform 3">
              <a:extLst>
                <a:ext uri="{FF2B5EF4-FFF2-40B4-BE49-F238E27FC236}">
                  <a16:creationId xmlns:a16="http://schemas.microsoft.com/office/drawing/2014/main" id="{898A19BF-5D0B-28C0-E742-10235393AD13}"/>
                </a:ext>
              </a:extLst>
            </p:cNvPr>
            <p:cNvSpPr/>
            <p:nvPr/>
          </p:nvSpPr>
          <p:spPr>
            <a:xfrm>
              <a:off x="7747933" y="2388697"/>
              <a:ext cx="4444067" cy="3417775"/>
            </a:xfrm>
            <a:custGeom>
              <a:avLst/>
              <a:gdLst>
                <a:gd name="connsiteX0" fmla="*/ 4432804 w 4444067"/>
                <a:gd name="connsiteY0" fmla="*/ 0 h 3417775"/>
                <a:gd name="connsiteX1" fmla="*/ 4432804 w 4444067"/>
                <a:gd name="connsiteY1" fmla="*/ 0 h 3417775"/>
                <a:gd name="connsiteX2" fmla="*/ 3756900 w 4444067"/>
                <a:gd name="connsiteY2" fmla="*/ 360864 h 3417775"/>
                <a:gd name="connsiteX3" fmla="*/ 1357441 w 4444067"/>
                <a:gd name="connsiteY3" fmla="*/ 1623888 h 3417775"/>
                <a:gd name="connsiteX4" fmla="*/ 0 w 4444067"/>
                <a:gd name="connsiteY4" fmla="*/ 2182099 h 3417775"/>
                <a:gd name="connsiteX5" fmla="*/ 5633 w 4444067"/>
                <a:gd name="connsiteY5" fmla="*/ 2187737 h 3417775"/>
                <a:gd name="connsiteX6" fmla="*/ 0 w 4444067"/>
                <a:gd name="connsiteY6" fmla="*/ 2182099 h 3417775"/>
                <a:gd name="connsiteX7" fmla="*/ 433705 w 4444067"/>
                <a:gd name="connsiteY7" fmla="*/ 3163198 h 3417775"/>
                <a:gd name="connsiteX8" fmla="*/ 602681 w 4444067"/>
                <a:gd name="connsiteY8" fmla="*/ 3326714 h 3417775"/>
                <a:gd name="connsiteX9" fmla="*/ 901205 w 4444067"/>
                <a:gd name="connsiteY9" fmla="*/ 3416930 h 3417775"/>
                <a:gd name="connsiteX10" fmla="*/ 1216627 w 4444067"/>
                <a:gd name="connsiteY10" fmla="*/ 3349268 h 3417775"/>
                <a:gd name="connsiteX11" fmla="*/ 4444068 w 4444067"/>
                <a:gd name="connsiteY11" fmla="*/ 1612611 h 341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44067" h="3417775">
                  <a:moveTo>
                    <a:pt x="4432804" y="0"/>
                  </a:moveTo>
                  <a:lnTo>
                    <a:pt x="4432804" y="0"/>
                  </a:lnTo>
                  <a:lnTo>
                    <a:pt x="3756900" y="360864"/>
                  </a:lnTo>
                  <a:lnTo>
                    <a:pt x="1357441" y="1623888"/>
                  </a:lnTo>
                  <a:cubicBezTo>
                    <a:pt x="1357441" y="1623888"/>
                    <a:pt x="529458" y="2069329"/>
                    <a:pt x="0" y="2182099"/>
                  </a:cubicBezTo>
                  <a:lnTo>
                    <a:pt x="5633" y="2187737"/>
                  </a:lnTo>
                  <a:lnTo>
                    <a:pt x="0" y="2182099"/>
                  </a:lnTo>
                  <a:cubicBezTo>
                    <a:pt x="146446" y="2638817"/>
                    <a:pt x="292892" y="2932019"/>
                    <a:pt x="433705" y="3163198"/>
                  </a:cubicBezTo>
                  <a:cubicBezTo>
                    <a:pt x="473132" y="3230860"/>
                    <a:pt x="535091" y="3287245"/>
                    <a:pt x="602681" y="3326714"/>
                  </a:cubicBezTo>
                  <a:cubicBezTo>
                    <a:pt x="692802" y="3383099"/>
                    <a:pt x="794187" y="3411292"/>
                    <a:pt x="901205" y="3416930"/>
                  </a:cubicBezTo>
                  <a:cubicBezTo>
                    <a:pt x="1008223" y="3422569"/>
                    <a:pt x="1115241" y="3400015"/>
                    <a:pt x="1216627" y="3349268"/>
                  </a:cubicBezTo>
                  <a:lnTo>
                    <a:pt x="4444068" y="1612611"/>
                  </a:lnTo>
                  <a:close/>
                </a:path>
              </a:pathLst>
            </a:custGeom>
            <a:solidFill>
              <a:srgbClr val="009B9D">
                <a:alpha val="7000"/>
              </a:srgbClr>
            </a:solidFill>
            <a:ln w="56300" cap="flat">
              <a:noFill/>
              <a:prstDash val="solid"/>
              <a:miter/>
            </a:ln>
          </p:spPr>
          <p:txBody>
            <a:bodyPr rtlCol="0" anchor="ctr"/>
            <a:lstStyle/>
            <a:p>
              <a:pPr rtl="0"/>
              <a:endParaRPr lang="en-US" dirty="0">
                <a:cs typeface="+mn-cs"/>
              </a:endParaRPr>
            </a:p>
          </p:txBody>
        </p:sp>
        <p:sp>
          <p:nvSpPr>
            <p:cNvPr id="6" name="Freeform 5">
              <a:extLst>
                <a:ext uri="{FF2B5EF4-FFF2-40B4-BE49-F238E27FC236}">
                  <a16:creationId xmlns:a16="http://schemas.microsoft.com/office/drawing/2014/main" id="{6AA30185-3841-582E-4514-794F315A5A7F}"/>
                </a:ext>
              </a:extLst>
            </p:cNvPr>
            <p:cNvSpPr/>
            <p:nvPr/>
          </p:nvSpPr>
          <p:spPr>
            <a:xfrm>
              <a:off x="-1" y="3259761"/>
              <a:ext cx="12192001" cy="3580493"/>
            </a:xfrm>
            <a:custGeom>
              <a:avLst/>
              <a:gdLst>
                <a:gd name="connsiteX0" fmla="*/ 12192001 w 12192001"/>
                <a:gd name="connsiteY0" fmla="*/ 1687383 h 3580493"/>
                <a:gd name="connsiteX1" fmla="*/ 12181807 w 12192001"/>
                <a:gd name="connsiteY1" fmla="*/ 3580493 h 3580493"/>
                <a:gd name="connsiteX2" fmla="*/ 8662888 w 12192001"/>
                <a:gd name="connsiteY2" fmla="*/ 3580493 h 3580493"/>
                <a:gd name="connsiteX3" fmla="*/ 781415 w 12192001"/>
                <a:gd name="connsiteY3" fmla="*/ 374 h 3580493"/>
                <a:gd name="connsiteX4" fmla="*/ 2025283 w 12192001"/>
                <a:gd name="connsiteY4" fmla="*/ 1850899 h 3580493"/>
                <a:gd name="connsiteX5" fmla="*/ 2036547 w 12192001"/>
                <a:gd name="connsiteY5" fmla="*/ 1901646 h 3580493"/>
                <a:gd name="connsiteX6" fmla="*/ 1676065 w 12192001"/>
                <a:gd name="connsiteY6" fmla="*/ 1862175 h 3580493"/>
                <a:gd name="connsiteX7" fmla="*/ 192135 w 12192001"/>
                <a:gd name="connsiteY7" fmla="*/ 2129365 h 3580493"/>
                <a:gd name="connsiteX8" fmla="*/ 0 w 12192001"/>
                <a:gd name="connsiteY8" fmla="*/ 2193947 h 3580493"/>
                <a:gd name="connsiteX9" fmla="*/ 0 w 12192001"/>
                <a:gd name="connsiteY9" fmla="*/ 70220 h 3580493"/>
                <a:gd name="connsiteX10" fmla="*/ 294330 w 12192001"/>
                <a:gd name="connsiteY10" fmla="*/ 27516 h 3580493"/>
                <a:gd name="connsiteX11" fmla="*/ 656576 w 12192001"/>
                <a:gd name="connsiteY11" fmla="*/ 1471 h 3580493"/>
                <a:gd name="connsiteX12" fmla="*/ 781415 w 12192001"/>
                <a:gd name="connsiteY12" fmla="*/ 374 h 3580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1" h="3580493">
                  <a:moveTo>
                    <a:pt x="12192001" y="1687383"/>
                  </a:moveTo>
                  <a:lnTo>
                    <a:pt x="12181807" y="3580493"/>
                  </a:lnTo>
                  <a:lnTo>
                    <a:pt x="8662888" y="3580493"/>
                  </a:lnTo>
                  <a:close/>
                  <a:moveTo>
                    <a:pt x="781415" y="374"/>
                  </a:moveTo>
                  <a:cubicBezTo>
                    <a:pt x="1390963" y="12000"/>
                    <a:pt x="1782379" y="302073"/>
                    <a:pt x="2025283" y="1850899"/>
                  </a:cubicBezTo>
                  <a:cubicBezTo>
                    <a:pt x="2030914" y="1867815"/>
                    <a:pt x="2036547" y="1884729"/>
                    <a:pt x="2036547" y="1901646"/>
                  </a:cubicBezTo>
                  <a:cubicBezTo>
                    <a:pt x="1940794" y="1873453"/>
                    <a:pt x="1811245" y="1862175"/>
                    <a:pt x="1676065" y="1862175"/>
                  </a:cubicBezTo>
                  <a:cubicBezTo>
                    <a:pt x="1183218" y="1886844"/>
                    <a:pt x="716246" y="1963316"/>
                    <a:pt x="192135" y="2129365"/>
                  </a:cubicBezTo>
                  <a:lnTo>
                    <a:pt x="0" y="2193947"/>
                  </a:lnTo>
                  <a:lnTo>
                    <a:pt x="0" y="70220"/>
                  </a:lnTo>
                  <a:lnTo>
                    <a:pt x="294330" y="27516"/>
                  </a:lnTo>
                  <a:cubicBezTo>
                    <a:pt x="416710" y="14114"/>
                    <a:pt x="537589" y="5348"/>
                    <a:pt x="656576" y="1471"/>
                  </a:cubicBezTo>
                  <a:cubicBezTo>
                    <a:pt x="699172" y="62"/>
                    <a:pt x="740778" y="-401"/>
                    <a:pt x="781415" y="374"/>
                  </a:cubicBezTo>
                  <a:close/>
                </a:path>
              </a:pathLst>
            </a:custGeom>
            <a:solidFill>
              <a:srgbClr val="009B9D">
                <a:alpha val="7000"/>
              </a:srgbClr>
            </a:solidFill>
            <a:ln w="56300" cap="flat">
              <a:noFill/>
              <a:prstDash val="solid"/>
              <a:miter/>
            </a:ln>
          </p:spPr>
          <p:txBody>
            <a:bodyPr rtlCol="0" anchor="ctr"/>
            <a:lstStyle/>
            <a:p>
              <a:pPr rtl="0"/>
              <a:endParaRPr lang="en-US" dirty="0">
                <a:cs typeface="+mn-cs"/>
              </a:endParaRPr>
            </a:p>
          </p:txBody>
        </p:sp>
      </p:grpSp>
    </p:spTree>
    <p:extLst>
      <p:ext uri="{BB962C8B-B14F-4D97-AF65-F5344CB8AC3E}">
        <p14:creationId xmlns:p14="http://schemas.microsoft.com/office/powerpoint/2010/main" val="32169398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9DEE2E1-E8D5-BDD4-A75B-67CF270B6BE9}"/>
              </a:ext>
            </a:extLst>
          </p:cNvPr>
          <p:cNvGraphicFramePr>
            <a:graphicFrameLocks noChangeAspect="1"/>
          </p:cNvGraphicFramePr>
          <p:nvPr userDrawn="1">
            <p:custDataLst>
              <p:tags r:id="rId1"/>
            </p:custDataLst>
            <p:extLst>
              <p:ext uri="{D42A27DB-BD31-4B8C-83A1-F6EECF244321}">
                <p14:modId xmlns:p14="http://schemas.microsoft.com/office/powerpoint/2010/main" val="262041242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19DEE2E1-E8D5-BDD4-A75B-67CF270B6BE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73CAFB28-2E64-901A-BA7D-A0F01763B5D8}"/>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46239" h="6858000">
                <a:moveTo>
                  <a:pt x="0" y="0"/>
                </a:moveTo>
                <a:lnTo>
                  <a:pt x="7645979" y="0"/>
                </a:lnTo>
                <a:lnTo>
                  <a:pt x="8446239" y="3429000"/>
                </a:lnTo>
                <a:lnTo>
                  <a:pt x="7645979" y="6858000"/>
                </a:lnTo>
                <a:lnTo>
                  <a:pt x="0" y="6858000"/>
                </a:lnTo>
                <a:close/>
              </a:path>
            </a:pathLst>
          </a:custGeom>
          <a:gradFill>
            <a:gsLst>
              <a:gs pos="0">
                <a:schemeClr val="tx2"/>
              </a:gs>
              <a:gs pos="100000">
                <a:schemeClr val="accent2"/>
              </a:gs>
            </a:gsLst>
            <a:lin ang="8100000" scaled="1"/>
          </a:gradFill>
        </p:spPr>
      </p:pic>
      <p:sp>
        <p:nvSpPr>
          <p:cNvPr id="13" name="Freeform: Shape 12">
            <a:extLst>
              <a:ext uri="{FF2B5EF4-FFF2-40B4-BE49-F238E27FC236}">
                <a16:creationId xmlns:a16="http://schemas.microsoft.com/office/drawing/2014/main" id="{72C9A079-BCE7-496A-8A7B-1773C31906CA}"/>
              </a:ext>
            </a:extLst>
          </p:cNvPr>
          <p:cNvSpPr/>
          <p:nvPr userDrawn="1">
            <p:custDataLst>
              <p:tags r:id="rId2"/>
            </p:custDataLst>
          </p:nvPr>
        </p:nvSpPr>
        <p:spPr>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46239" h="6858000">
                <a:moveTo>
                  <a:pt x="0" y="0"/>
                </a:moveTo>
                <a:lnTo>
                  <a:pt x="7645979" y="0"/>
                </a:lnTo>
                <a:lnTo>
                  <a:pt x="8446239" y="3429000"/>
                </a:lnTo>
                <a:lnTo>
                  <a:pt x="7645979" y="6858000"/>
                </a:lnTo>
                <a:lnTo>
                  <a:pt x="0" y="6858000"/>
                </a:lnTo>
                <a:close/>
              </a:path>
            </a:pathLst>
          </a:custGeom>
          <a:gradFill>
            <a:gsLst>
              <a:gs pos="0">
                <a:srgbClr val="009B9D">
                  <a:alpha val="75000"/>
                </a:srgbClr>
              </a:gs>
              <a:gs pos="100000">
                <a:srgbClr val="006F4E">
                  <a:alpha val="9506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rtl="0">
              <a:lnSpc>
                <a:spcPct val="90000"/>
              </a:lnSpc>
              <a:spcAft>
                <a:spcPts val="1000"/>
              </a:spcAft>
            </a:pPr>
            <a:endParaRPr lang="en-US" sz="1200" dirty="0">
              <a:solidFill>
                <a:schemeClr val="bg1"/>
              </a:solidFill>
              <a:cs typeface="+mn-cs"/>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400" b="0" i="0" u="none" kern="1200" spc="0">
                <a:solidFill>
                  <a:srgbClr val="FFFFFF"/>
                </a:solidFill>
                <a:latin typeface="+mj-lt"/>
                <a:cs typeface="+mj-cs"/>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cs typeface="+mn-cs"/>
                <a:sym typeface="Trebuchet MS" panose="020B0603020202020204" pitchFamily="34" charset="0"/>
              </a:defRPr>
            </a:lvl1pPr>
          </a:lstStyle>
          <a:p>
            <a:endParaRPr lang="en-US" dirty="0"/>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cs typeface="+mn-cs"/>
                <a:sym typeface="Trebuchet MS" panose="020B0603020202020204" pitchFamily="34" charset="0"/>
              </a:rPr>
              <a:t>Copyright © 2024 by Boston Consulting Group. All rights reserved.</a:t>
            </a:r>
          </a:p>
        </p:txBody>
      </p:sp>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5092218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EAF99F2-E334-8DB3-50B8-141546607313}"/>
              </a:ext>
            </a:extLst>
          </p:cNvPr>
          <p:cNvGraphicFramePr>
            <a:graphicFrameLocks noChangeAspect="1"/>
          </p:cNvGraphicFramePr>
          <p:nvPr userDrawn="1">
            <p:custDataLst>
              <p:tags r:id="rId1"/>
            </p:custDataLst>
            <p:extLst>
              <p:ext uri="{D42A27DB-BD31-4B8C-83A1-F6EECF244321}">
                <p14:modId xmlns:p14="http://schemas.microsoft.com/office/powerpoint/2010/main" val="126042798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4EAF99F2-E334-8DB3-50B8-14154660731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2" name="Picture 11">
            <a:extLst>
              <a:ext uri="{FF2B5EF4-FFF2-40B4-BE49-F238E27FC236}">
                <a16:creationId xmlns:a16="http://schemas.microsoft.com/office/drawing/2014/main" id="{285E734B-54DA-42F0-B29D-FDBCA83862C6}"/>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12192000" cy="6858000"/>
          </a:xfrm>
          <a:prstGeom prst="rect">
            <a:avLst/>
          </a:prstGeom>
          <a:gradFill>
            <a:gsLst>
              <a:gs pos="0">
                <a:schemeClr val="tx2"/>
              </a:gs>
              <a:gs pos="100000">
                <a:schemeClr val="accent2"/>
              </a:gs>
            </a:gsLst>
            <a:lin ang="8100000" scaled="1"/>
          </a:gradFill>
        </p:spPr>
      </p:pic>
      <p:sp>
        <p:nvSpPr>
          <p:cNvPr id="13" name="Overlay">
            <a:extLst>
              <a:ext uri="{FF2B5EF4-FFF2-40B4-BE49-F238E27FC236}">
                <a16:creationId xmlns:a16="http://schemas.microsoft.com/office/drawing/2014/main" id="{D9CFB965-58C5-48C2-A175-83BE4AB90434}"/>
              </a:ext>
            </a:extLst>
          </p:cNvPr>
          <p:cNvSpPr/>
          <p:nvPr userDrawn="1">
            <p:custDataLst>
              <p:tags r:id="rId2"/>
            </p:custDataLst>
          </p:nvPr>
        </p:nvSpPr>
        <p:spPr>
          <a:xfrm>
            <a:off x="0" y="0"/>
            <a:ext cx="12192000" cy="6858000"/>
          </a:xfrm>
          <a:prstGeom prst="rect">
            <a:avLst/>
          </a:prstGeom>
          <a:gradFill>
            <a:gsLst>
              <a:gs pos="0">
                <a:srgbClr val="009B9D">
                  <a:alpha val="75000"/>
                </a:srgbClr>
              </a:gs>
              <a:gs pos="100000">
                <a:srgbClr val="006F4E">
                  <a:alpha val="9506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lnSpc>
                <a:spcPct val="90000"/>
              </a:lnSpc>
              <a:spcAft>
                <a:spcPts val="1000"/>
              </a:spcAft>
            </a:pPr>
            <a:endParaRPr lang="en-US" sz="1200" dirty="0">
              <a:solidFill>
                <a:schemeClr val="bg1"/>
              </a:solidFill>
              <a:cs typeface="+mn-cs"/>
            </a:endParaRPr>
          </a:p>
        </p:txBody>
      </p:sp>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cs typeface="+mn-cs"/>
                <a:sym typeface="Trebuchet MS" panose="020B0603020202020204" pitchFamily="34" charset="0"/>
              </a:defRPr>
            </a:lvl1pPr>
          </a:lstStyle>
          <a:p>
            <a:endParaRPr lang="en-US" dirty="0"/>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cs typeface="+mn-cs"/>
                <a:sym typeface="Trebuchet MS" panose="020B0603020202020204" pitchFamily="34" charset="0"/>
              </a:rPr>
              <a:t>Copyright © 2024 by Boston Consulting Group. All rights reserved.</a:t>
            </a: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mj-cs"/>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6779478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526758D-8197-4720-A62D-3555217B3287}"/>
              </a:ext>
            </a:extLst>
          </p:cNvPr>
          <p:cNvGraphicFramePr>
            <a:graphicFrameLocks noChangeAspect="1"/>
          </p:cNvGraphicFramePr>
          <p:nvPr userDrawn="1">
            <p:custDataLst>
              <p:tags r:id="rId1"/>
            </p:custDataLst>
            <p:extLst>
              <p:ext uri="{D42A27DB-BD31-4B8C-83A1-F6EECF244321}">
                <p14:modId xmlns:p14="http://schemas.microsoft.com/office/powerpoint/2010/main" val="4240439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6" imgH="367" progId="TCLayout.ActiveDocument.1">
                  <p:embed/>
                </p:oleObj>
              </mc:Choice>
              <mc:Fallback>
                <p:oleObj name="think-cell Slide" r:id="rId3" imgW="366" imgH="367" progId="TCLayout.ActiveDocument.1">
                  <p:embed/>
                  <p:pic>
                    <p:nvPicPr>
                      <p:cNvPr id="4" name="think-cell data - do not delete" hidden="1">
                        <a:extLst>
                          <a:ext uri="{FF2B5EF4-FFF2-40B4-BE49-F238E27FC236}">
                            <a16:creationId xmlns:a16="http://schemas.microsoft.com/office/drawing/2014/main" id="{4526758D-8197-4720-A62D-3555217B32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solidFill>
                  <a:schemeClr val="bg1">
                    <a:lumMod val="50000"/>
                  </a:schemeClr>
                </a:solidFill>
                <a:latin typeface="+mn-lt"/>
                <a:cs typeface="+mn-cs"/>
                <a:sym typeface="Trebuchet MS" panose="020B0603020202020204" pitchFamily="34" charset="0"/>
              </a:defRPr>
            </a:lvl1pPr>
          </a:lstStyle>
          <a:p>
            <a:endParaRPr lang="en-US" dirty="0"/>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cs typeface="+mn-cs"/>
                <a:sym typeface="Trebuchet MS" panose="020B0603020202020204" pitchFamily="34" charset="0"/>
              </a:rPr>
              <a:t>Copyright © 2024 by Boston Consulting Group. All rights reserved.</a:t>
            </a:r>
          </a:p>
        </p:txBody>
      </p:sp>
      <p:sp>
        <p:nvSpPr>
          <p:cNvPr id="6" name="Rectangle 5"/>
          <p:cNvSpPr/>
          <p:nvPr/>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en-US" sz="1200" dirty="0">
              <a:solidFill>
                <a:schemeClr val="bg1"/>
              </a:solidFill>
              <a:latin typeface="+mn-lt"/>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3EAD92"/>
                </a:solidFill>
                <a:latin typeface="+mj-lt"/>
                <a:ea typeface="+mn-ea"/>
                <a:cs typeface="+mj-cs"/>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2305922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5778679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p:nvPicPr>
        <p:blipFill rotWithShape="1">
          <a:blip r:embed="rId5" cstate="hqprint">
            <a:extLst>
              <a:ext uri="{28A0092B-C50C-407E-A947-70E740481C1C}">
                <a14:useLocalDpi xmlns:a14="http://schemas.microsoft.com/office/drawing/2010/main"/>
              </a:ext>
            </a:extLst>
          </a:blip>
          <a:srcRect r="-511" b="-40"/>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3EAD92"/>
          </a:solidFill>
          <a:ln>
            <a:noFill/>
          </a:ln>
          <a:effectLst/>
        </p:spPr>
        <p:txBody>
          <a:bodyPr vert="horz" wrap="square" lIns="91440" tIns="45720" rIns="91440" bIns="45720" numCol="1" anchor="t" anchorCtr="0" compatLnSpc="1">
            <a:prstTxWarp prst="textNoShape">
              <a:avLst/>
            </a:prstTxWarp>
            <a:noAutofit/>
          </a:bodyPr>
          <a:lstStyle/>
          <a:p>
            <a:pPr rtl="0"/>
            <a:endParaRPr lang="en-US" dirty="0">
              <a:latin typeface="+mn-lt"/>
              <a:cs typeface="+mn-cs"/>
              <a:sym typeface="Trebuchet MS" panose="020B0603020202020204" pitchFamily="34" charset="0"/>
            </a:endParaRPr>
          </a:p>
        </p:txBody>
      </p:sp>
    </p:spTree>
    <p:extLst>
      <p:ext uri="{BB962C8B-B14F-4D97-AF65-F5344CB8AC3E}">
        <p14:creationId xmlns:p14="http://schemas.microsoft.com/office/powerpoint/2010/main" val="41728153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657897F-51AF-4357-83AC-1BF6BB1C068F}"/>
              </a:ext>
            </a:extLst>
          </p:cNvPr>
          <p:cNvGraphicFramePr>
            <a:graphicFrameLocks noChangeAspect="1"/>
          </p:cNvGraphicFramePr>
          <p:nvPr userDrawn="1">
            <p:custDataLst>
              <p:tags r:id="rId1"/>
            </p:custDataLst>
            <p:extLst>
              <p:ext uri="{D42A27DB-BD31-4B8C-83A1-F6EECF244321}">
                <p14:modId xmlns:p14="http://schemas.microsoft.com/office/powerpoint/2010/main" val="445599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2" name="think-cell data - do not delete" hidden="1">
                        <a:extLst>
                          <a:ext uri="{FF2B5EF4-FFF2-40B4-BE49-F238E27FC236}">
                            <a16:creationId xmlns:a16="http://schemas.microsoft.com/office/drawing/2014/main" id="{3657897F-51AF-4357-83AC-1BF6BB1C06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rtl="0">
              <a:defRPr>
                <a:solidFill>
                  <a:schemeClr val="bg1">
                    <a:lumMod val="50000"/>
                  </a:schemeClr>
                </a:solidFill>
                <a:latin typeface="+mn-lt"/>
                <a:cs typeface="+mn-cs"/>
                <a:sym typeface="Trebuchet MS" panose="020B0603020202020204" pitchFamily="34" charset="0"/>
              </a:defRPr>
            </a:lvl1pPr>
          </a:lstStyle>
          <a:p>
            <a:endParaRPr lang="en-US" dirty="0"/>
          </a:p>
        </p:txBody>
      </p:sp>
      <p:sp>
        <p:nvSpPr>
          <p:cNvPr id="7"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cs typeface="+mn-cs"/>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34323066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9C8ECB8-2147-4B8F-DCBE-9BA3B1DC95D9}"/>
              </a:ext>
            </a:extLst>
          </p:cNvPr>
          <p:cNvGraphicFramePr>
            <a:graphicFrameLocks noChangeAspect="1"/>
          </p:cNvGraphicFramePr>
          <p:nvPr userDrawn="1">
            <p:custDataLst>
              <p:tags r:id="rId1"/>
            </p:custDataLst>
            <p:extLst>
              <p:ext uri="{D42A27DB-BD31-4B8C-83A1-F6EECF244321}">
                <p14:modId xmlns:p14="http://schemas.microsoft.com/office/powerpoint/2010/main" val="30933918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89C8ECB8-2147-4B8F-DCBE-9BA3B1DC95D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2" name="Picture 11">
            <a:extLst>
              <a:ext uri="{FF2B5EF4-FFF2-40B4-BE49-F238E27FC236}">
                <a16:creationId xmlns:a16="http://schemas.microsoft.com/office/drawing/2014/main" id="{2DAB185C-8771-44D0-8378-88124AB92F8D}"/>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12192000" cy="6858000"/>
          </a:xfrm>
          <a:prstGeom prst="rect">
            <a:avLst/>
          </a:prstGeom>
          <a:gradFill>
            <a:gsLst>
              <a:gs pos="0">
                <a:schemeClr val="tx2"/>
              </a:gs>
              <a:gs pos="100000">
                <a:schemeClr val="accent2"/>
              </a:gs>
            </a:gsLst>
            <a:lin ang="8100000" scaled="1"/>
          </a:gradFill>
        </p:spPr>
      </p:pic>
      <p:sp>
        <p:nvSpPr>
          <p:cNvPr id="13" name="Overlay">
            <a:extLst>
              <a:ext uri="{FF2B5EF4-FFF2-40B4-BE49-F238E27FC236}">
                <a16:creationId xmlns:a16="http://schemas.microsoft.com/office/drawing/2014/main" id="{2EB71B81-D2A1-45AC-9581-3258FDDD904D}"/>
              </a:ext>
            </a:extLst>
          </p:cNvPr>
          <p:cNvSpPr/>
          <p:nvPr userDrawn="1">
            <p:custDataLst>
              <p:tags r:id="rId2"/>
            </p:custDataLst>
          </p:nvPr>
        </p:nvSpPr>
        <p:spPr>
          <a:xfrm>
            <a:off x="0" y="0"/>
            <a:ext cx="12192000" cy="6858000"/>
          </a:xfrm>
          <a:prstGeom prst="rect">
            <a:avLst/>
          </a:prstGeom>
          <a:gradFill>
            <a:gsLst>
              <a:gs pos="0">
                <a:srgbClr val="009B9D">
                  <a:alpha val="75000"/>
                </a:srgbClr>
              </a:gs>
              <a:gs pos="100000">
                <a:srgbClr val="006F4E">
                  <a:alpha val="9506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lnSpc>
                <a:spcPct val="90000"/>
              </a:lnSpc>
              <a:spcAft>
                <a:spcPts val="1000"/>
              </a:spcAft>
            </a:pPr>
            <a:endParaRPr lang="en-US" sz="1200" dirty="0">
              <a:solidFill>
                <a:schemeClr val="bg1"/>
              </a:solidFill>
              <a:cs typeface="+mn-cs"/>
            </a:endParaRPr>
          </a:p>
        </p:txBody>
      </p:sp>
      <p:sp>
        <p:nvSpPr>
          <p:cNvPr id="7" name="TextBox 6"/>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rtl="0">
              <a:defRPr>
                <a:solidFill>
                  <a:schemeClr val="bg1"/>
                </a:solidFill>
                <a:latin typeface="+mn-lt"/>
                <a:cs typeface="+mn-cs"/>
                <a:sym typeface="Trebuchet MS" panose="020B0603020202020204" pitchFamily="34" charset="0"/>
              </a:defRPr>
            </a:lvl1pPr>
          </a:lstStyle>
          <a:p>
            <a:endParaRPr lang="en-US" dirty="0"/>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cs typeface="+mn-cs"/>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2243385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C936640-4659-4C5A-A3E0-1FDD2CDE798C}"/>
              </a:ext>
            </a:extLst>
          </p:cNvPr>
          <p:cNvGraphicFramePr>
            <a:graphicFrameLocks noChangeAspect="1"/>
          </p:cNvGraphicFramePr>
          <p:nvPr userDrawn="1">
            <p:custDataLst>
              <p:tags r:id="rId1"/>
            </p:custDataLst>
            <p:extLst>
              <p:ext uri="{D42A27DB-BD31-4B8C-83A1-F6EECF244321}">
                <p14:modId xmlns:p14="http://schemas.microsoft.com/office/powerpoint/2010/main" val="1757388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EC936640-4659-4C5A-A3E0-1FDD2CDE79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6" y="1664256"/>
            <a:ext cx="6209072" cy="3323987"/>
          </a:xfrm>
          <a:prstGeom prst="rect">
            <a:avLst/>
          </a:prstGeom>
        </p:spPr>
        <p:txBody>
          <a:bodyPr wrap="square" lIns="0" tIns="0" rIns="0" bIns="0" anchor="ctr">
            <a:spAutoFit/>
          </a:bodyPr>
          <a:lstStyle/>
          <a:p>
            <a:pPr indent="0" rtl="0">
              <a:lnSpc>
                <a:spcPct val="100000"/>
              </a:lnSpc>
            </a:pPr>
            <a:r>
              <a:rPr lang="en-US" sz="900" b="0" dirty="0">
                <a:latin typeface="+mn-lt"/>
                <a:cs typeface="+mn-cs"/>
                <a:sym typeface="Trebuchet MS" panose="020B0603020202020204" pitchFamily="34" charset="0"/>
              </a:rPr>
              <a:t>The services and materials provided by Boston Consulting Group (BCG) are subject to BCG's Standard Terms </a:t>
            </a:r>
            <a:br>
              <a:rPr lang="en-US" sz="900" b="0" dirty="0">
                <a:latin typeface="+mn-lt"/>
                <a:cs typeface="+mn-cs"/>
                <a:sym typeface="Trebuchet MS" panose="020B0603020202020204" pitchFamily="34" charset="0"/>
              </a:rPr>
            </a:br>
            <a:r>
              <a:rPr lang="en-US" sz="900" b="0" dirty="0">
                <a:latin typeface="+mn-lt"/>
                <a:cs typeface="+mn-cs"/>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cs typeface="+mn-cs"/>
                <a:sym typeface="Trebuchet MS" panose="020B0603020202020204" pitchFamily="34" charset="0"/>
              </a:rPr>
            </a:br>
            <a:r>
              <a:rPr lang="en-US" sz="900" b="0" dirty="0">
                <a:latin typeface="+mn-lt"/>
                <a:cs typeface="+mn-cs"/>
                <a:sym typeface="Trebuchet MS" panose="020B0603020202020204" pitchFamily="34" charset="0"/>
              </a:rPr>
              <a:t>to update these materials after the date hereof, notwithstanding that such information may become outdated </a:t>
            </a:r>
            <a:br>
              <a:rPr lang="en-US" sz="900" b="0" dirty="0">
                <a:latin typeface="+mn-lt"/>
                <a:cs typeface="+mn-cs"/>
                <a:sym typeface="Trebuchet MS" panose="020B0603020202020204" pitchFamily="34" charset="0"/>
              </a:rPr>
            </a:br>
            <a:r>
              <a:rPr lang="en-US" sz="900" b="0" dirty="0">
                <a:latin typeface="+mn-lt"/>
                <a:cs typeface="+mn-cs"/>
                <a:sym typeface="Trebuchet MS" panose="020B0603020202020204" pitchFamily="34" charset="0"/>
              </a:rPr>
              <a:t>or inaccurate.</a:t>
            </a:r>
          </a:p>
          <a:p>
            <a:pPr indent="0" rtl="0">
              <a:lnSpc>
                <a:spcPct val="100000"/>
              </a:lnSpc>
            </a:pPr>
            <a:r>
              <a:rPr lang="en-US" sz="900" b="0" dirty="0">
                <a:latin typeface="+mn-lt"/>
                <a:cs typeface="+mn-cs"/>
                <a:sym typeface="Trebuchet MS" panose="020B0603020202020204" pitchFamily="34" charset="0"/>
              </a:rPr>
              <a:t> </a:t>
            </a:r>
          </a:p>
          <a:p>
            <a:pPr indent="0" rtl="0">
              <a:lnSpc>
                <a:spcPct val="100000"/>
              </a:lnSpc>
            </a:pPr>
            <a:r>
              <a:rPr lang="en-US" sz="900" b="0" dirty="0">
                <a:latin typeface="+mn-lt"/>
                <a:cs typeface="+mn-cs"/>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rtl="0">
              <a:lnSpc>
                <a:spcPct val="100000"/>
              </a:lnSpc>
            </a:pPr>
            <a:endParaRPr lang="en-US" sz="900" b="0" dirty="0">
              <a:latin typeface="+mn-lt"/>
              <a:cs typeface="+mn-cs"/>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cs typeface="+mn-cs"/>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pPr rtl="0"/>
            <a:r>
              <a:rPr lang="en-US" sz="5100" dirty="0">
                <a:gradFill>
                  <a:gsLst>
                    <a:gs pos="100000">
                      <a:schemeClr val="tx2"/>
                    </a:gs>
                    <a:gs pos="2000">
                      <a:schemeClr val="accent2"/>
                    </a:gs>
                  </a:gsLst>
                  <a:lin ang="2700000" scaled="0"/>
                </a:gradFill>
                <a:latin typeface="+mn-lt"/>
                <a:cs typeface="+mn-cs"/>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rtl="0">
              <a:defRPr>
                <a:solidFill>
                  <a:schemeClr val="bg1">
                    <a:lumMod val="50000"/>
                  </a:schemeClr>
                </a:solidFill>
                <a:latin typeface="+mn-lt"/>
                <a:cs typeface="+mn-cs"/>
                <a:sym typeface="Trebuchet MS" panose="020B0603020202020204" pitchFamily="34" charset="0"/>
              </a:defRPr>
            </a:lvl1pPr>
          </a:lstStyle>
          <a:p>
            <a:endParaRPr lang="en-US" dirty="0"/>
          </a:p>
        </p:txBody>
      </p:sp>
      <p:sp>
        <p:nvSpPr>
          <p:cNvPr id="10"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cs typeface="+mn-cs"/>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26514756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6C031D8-3CA7-4F28-89C2-97EA003FEABB}"/>
              </a:ext>
            </a:extLst>
          </p:cNvPr>
          <p:cNvGraphicFramePr>
            <a:graphicFrameLocks noChangeAspect="1"/>
          </p:cNvGraphicFramePr>
          <p:nvPr userDrawn="1">
            <p:custDataLst>
              <p:tags r:id="rId1"/>
            </p:custDataLst>
            <p:extLst>
              <p:ext uri="{D42A27DB-BD31-4B8C-83A1-F6EECF244321}">
                <p14:modId xmlns:p14="http://schemas.microsoft.com/office/powerpoint/2010/main" val="2728985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6" name="think-cell data - do not delete" hidden="1">
                        <a:extLst>
                          <a:ext uri="{FF2B5EF4-FFF2-40B4-BE49-F238E27FC236}">
                            <a16:creationId xmlns:a16="http://schemas.microsoft.com/office/drawing/2014/main" id="{06C031D8-3CA7-4F28-89C2-97EA003FEA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rtl="0">
              <a:defRPr>
                <a:solidFill>
                  <a:schemeClr val="bg1"/>
                </a:solidFill>
                <a:latin typeface="+mn-lt"/>
                <a:cs typeface="+mn-cs"/>
                <a:sym typeface="Trebuchet MS" panose="020B0603020202020204" pitchFamily="34" charset="0"/>
              </a:defRPr>
            </a:lvl1pPr>
          </a:lstStyle>
          <a:p>
            <a:endParaRPr lang="en-US" dirty="0"/>
          </a:p>
        </p:txBody>
      </p:sp>
      <p:sp>
        <p:nvSpPr>
          <p:cNvPr id="11"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cs typeface="+mn-cs"/>
                <a:sym typeface="Trebuchet MS" panose="020B0603020202020204" pitchFamily="34" charset="0"/>
              </a:rPr>
              <a:t>Copyright © 2024 by Boston Consulting Group. All rights reserved.</a:t>
            </a:r>
          </a:p>
        </p:txBody>
      </p:sp>
      <p:sp>
        <p:nvSpPr>
          <p:cNvPr id="4" name="Title 3"/>
          <p:cNvSpPr>
            <a:spLocks noGrp="1"/>
          </p:cNvSpPr>
          <p:nvPr>
            <p:ph type="title" hasCustomPrompt="1"/>
          </p:nvPr>
        </p:nvSpPr>
        <p:spPr>
          <a:xfrm>
            <a:off x="630000" y="622800"/>
            <a:ext cx="10933200" cy="470898"/>
          </a:xfrm>
        </p:spPr>
        <p:txBody>
          <a:bodyPr vert="horz"/>
          <a:lstStyle>
            <a:lvl1pPr rtl="0">
              <a:defRPr sz="3400">
                <a:solidFill>
                  <a:schemeClr val="bg1"/>
                </a:solidFill>
                <a:latin typeface="+mj-lt"/>
                <a:cs typeface="+mj-cs"/>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5503671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1877813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84" imgH="384" progId="TCLayout.ActiveDocument.1">
                  <p:embed/>
                </p:oleObj>
              </mc:Choice>
              <mc:Fallback>
                <p:oleObj name="think-cell Slide" r:id="rId7" imgW="384" imgH="384" progId="TCLayout.ActiveDocument.1">
                  <p:embed/>
                  <p:pic>
                    <p:nvPicPr>
                      <p:cNvPr id="2" name="Object 1"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780B2538-03F3-4689-9FC3-D34E5DBA9497}"/>
              </a:ext>
            </a:extLst>
          </p:cNvPr>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US" sz="1200" dirty="0">
              <a:solidFill>
                <a:prstClr val="white"/>
              </a:solidFill>
              <a:cs typeface="+mn-cs"/>
              <a:sym typeface="Trebuchet MS" panose="020B0603020202020204" pitchFamily="34" charset="0"/>
            </a:endParaRPr>
          </a:p>
        </p:txBody>
      </p:sp>
      <p:pic>
        <p:nvPicPr>
          <p:cNvPr id="11" name="Picture 10">
            <a:extLst>
              <a:ext uri="{FF2B5EF4-FFF2-40B4-BE49-F238E27FC236}">
                <a16:creationId xmlns:a16="http://schemas.microsoft.com/office/drawing/2014/main" id="{D5A88F1F-CF59-45A8-A1AF-B490E81425ED}"/>
              </a:ext>
            </a:extLst>
          </p:cNvPr>
          <p:cNvPicPr>
            <a:picLocks noChangeAspect="1"/>
          </p:cNvPicPr>
          <p:nvPr userDrawn="1"/>
        </p:nvPicPr>
        <p:blipFill rotWithShape="1">
          <a:blip r:embed="rId9" cstate="hqprint">
            <a:extLst>
              <a:ext uri="{28A0092B-C50C-407E-A947-70E740481C1C}">
                <a14:useLocalDpi xmlns:a14="http://schemas.microsoft.com/office/drawing/2010/main"/>
              </a:ext>
            </a:extLst>
          </a:blip>
          <a:srcRect r="-234"/>
          <a:stretch/>
        </p:blipFill>
        <p:spPr>
          <a:xfrm rot="16200000" flipH="1">
            <a:off x="8471925" y="2172355"/>
            <a:ext cx="580573" cy="6858000"/>
          </a:xfrm>
          <a:prstGeom prst="rect">
            <a:avLst/>
          </a:prstGeom>
        </p:spPr>
      </p:pic>
      <p:pic>
        <p:nvPicPr>
          <p:cNvPr id="12" name="Picture 2" descr="Design a landscape-oriented image of a future bank branch interior focusing on enhanced client relationships and personalized advisory. This modern, multifunctional space should be equipped for co-working, hosting social events, and private consultations, featuring a welcoming cafe area. It must include cutting-edge digital and GenAI technology tools for superior customer support. The layout is arranged so the most important elements are prominent, especially considering the landscape A4 format where the lower part might be less visible. The design combines professionalism with a cozy atmosphere, integrating comfortable seating, indoor greenery, and a modern aesthetic. Ensure the scene is photorealistic, emphasizing the innovative and multifunctional nature of the branch, without including any text. The composition should adapt well to a landscape A4 presentation, making sure the key aspects are clearly visible even if part of the image is obscured.">
            <a:extLst>
              <a:ext uri="{FF2B5EF4-FFF2-40B4-BE49-F238E27FC236}">
                <a16:creationId xmlns:a16="http://schemas.microsoft.com/office/drawing/2014/main" id="{244194DB-D1C1-4005-ABF9-F126C827446D}"/>
              </a:ext>
            </a:extLst>
          </p:cNvPr>
          <p:cNvPicPr>
            <a:picLocks noChangeAspect="1" noChangeArrowheads="1"/>
          </p:cNvPicPr>
          <p:nvPr userDrawn="1"/>
        </p:nvPicPr>
        <p:blipFill rotWithShape="1">
          <a:blip r:embed="rId10" cstate="screen">
            <a:extLst>
              <a:ext uri="{28A0092B-C50C-407E-A947-70E740481C1C}">
                <a14:useLocalDpi xmlns:a14="http://schemas.microsoft.com/office/drawing/2010/main"/>
              </a:ext>
            </a:extLst>
          </a:blip>
          <a:srcRect/>
          <a:stretch/>
        </p:blipFill>
        <p:spPr bwMode="auto">
          <a:xfrm>
            <a:off x="1" y="0"/>
            <a:ext cx="12192000" cy="6858000"/>
          </a:xfrm>
          <a:prstGeom prst="rect">
            <a:avLst/>
          </a:prstGeom>
          <a:noFill/>
          <a:extLst>
            <a:ext uri="{909E8E84-426E-40DD-AFC4-6F175D3DCCD1}">
              <a14:hiddenFill xmlns:a14="http://schemas.microsoft.com/office/drawing/2010/main">
                <a:solidFill>
                  <a:srgbClr val="FFFFFF"/>
                </a:solidFill>
              </a14:hiddenFill>
            </a:ext>
          </a:extLst>
        </p:spPr>
      </p:pic>
      <p:grpSp>
        <p:nvGrpSpPr>
          <p:cNvPr id="55" name="Group 54">
            <a:extLst>
              <a:ext uri="{FF2B5EF4-FFF2-40B4-BE49-F238E27FC236}">
                <a16:creationId xmlns:a16="http://schemas.microsoft.com/office/drawing/2014/main" id="{D79B754B-8630-46F2-AEF9-C6C3D56CD58A}"/>
              </a:ext>
            </a:extLst>
          </p:cNvPr>
          <p:cNvGrpSpPr/>
          <p:nvPr userDrawn="1"/>
        </p:nvGrpSpPr>
        <p:grpSpPr>
          <a:xfrm>
            <a:off x="-464617" y="0"/>
            <a:ext cx="13994863" cy="6858001"/>
            <a:chOff x="-469420" y="7117574"/>
            <a:chExt cx="13994863" cy="6858001"/>
          </a:xfrm>
        </p:grpSpPr>
        <p:sp>
          <p:nvSpPr>
            <p:cNvPr id="56" name="Freeform: Shape 55">
              <a:extLst>
                <a:ext uri="{FF2B5EF4-FFF2-40B4-BE49-F238E27FC236}">
                  <a16:creationId xmlns:a16="http://schemas.microsoft.com/office/drawing/2014/main" id="{70FB10C6-7C69-4A5B-BE1D-B9F84A6C6857}"/>
                </a:ext>
              </a:extLst>
            </p:cNvPr>
            <p:cNvSpPr/>
            <p:nvPr userDrawn="1"/>
          </p:nvSpPr>
          <p:spPr>
            <a:xfrm>
              <a:off x="-469420" y="7117574"/>
              <a:ext cx="827649" cy="859748"/>
            </a:xfrm>
            <a:custGeom>
              <a:avLst/>
              <a:gdLst>
                <a:gd name="connsiteX0" fmla="*/ 0 w 827649"/>
                <a:gd name="connsiteY0" fmla="*/ 0 h 859748"/>
                <a:gd name="connsiteX1" fmla="*/ 827649 w 827649"/>
                <a:gd name="connsiteY1" fmla="*/ 0 h 859748"/>
                <a:gd name="connsiteX2" fmla="*/ 469420 w 827649"/>
                <a:gd name="connsiteY2" fmla="*/ 859748 h 859748"/>
                <a:gd name="connsiteX3" fmla="*/ 469420 w 827649"/>
                <a:gd name="connsiteY3" fmla="*/ 1 h 859748"/>
                <a:gd name="connsiteX4" fmla="*/ 0 w 827649"/>
                <a:gd name="connsiteY4" fmla="*/ 1 h 859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649" h="859748">
                  <a:moveTo>
                    <a:pt x="0" y="0"/>
                  </a:moveTo>
                  <a:lnTo>
                    <a:pt x="827649" y="0"/>
                  </a:lnTo>
                  <a:lnTo>
                    <a:pt x="469420" y="859748"/>
                  </a:lnTo>
                  <a:lnTo>
                    <a:pt x="469420" y="1"/>
                  </a:lnTo>
                  <a:lnTo>
                    <a:pt x="0" y="1"/>
                  </a:lnTo>
                  <a:close/>
                </a:path>
              </a:pathLst>
            </a:cu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57" name="Parallelogram 56">
              <a:extLst>
                <a:ext uri="{FF2B5EF4-FFF2-40B4-BE49-F238E27FC236}">
                  <a16:creationId xmlns:a16="http://schemas.microsoft.com/office/drawing/2014/main" id="{25E515BB-1337-47A1-900B-E4B4546E9F1F}"/>
                </a:ext>
              </a:extLst>
            </p:cNvPr>
            <p:cNvSpPr/>
            <p:nvPr userDrawn="1"/>
          </p:nvSpPr>
          <p:spPr>
            <a:xfrm>
              <a:off x="1062144" y="7117574"/>
              <a:ext cx="3685157" cy="6858000"/>
            </a:xfrm>
            <a:prstGeom prst="parallelogram">
              <a:avLst>
                <a:gd name="adj" fmla="val 77541"/>
              </a:avLst>
            </a:pr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58" name="Freeform: Shape 57">
              <a:extLst>
                <a:ext uri="{FF2B5EF4-FFF2-40B4-BE49-F238E27FC236}">
                  <a16:creationId xmlns:a16="http://schemas.microsoft.com/office/drawing/2014/main" id="{EFBF0E38-3885-43AC-BFD8-4C6035C5EA5D}"/>
                </a:ext>
              </a:extLst>
            </p:cNvPr>
            <p:cNvSpPr/>
            <p:nvPr userDrawn="1"/>
          </p:nvSpPr>
          <p:spPr>
            <a:xfrm>
              <a:off x="0" y="7117574"/>
              <a:ext cx="3650033" cy="6858000"/>
            </a:xfrm>
            <a:custGeom>
              <a:avLst/>
              <a:gdLst>
                <a:gd name="connsiteX0" fmla="*/ 2822384 w 3650033"/>
                <a:gd name="connsiteY0" fmla="*/ 0 h 6858000"/>
                <a:gd name="connsiteX1" fmla="*/ 3650033 w 3650033"/>
                <a:gd name="connsiteY1" fmla="*/ 0 h 6858000"/>
                <a:gd name="connsiteX2" fmla="*/ 792525 w 3650033"/>
                <a:gd name="connsiteY2" fmla="*/ 6858000 h 6858000"/>
                <a:gd name="connsiteX3" fmla="*/ 0 w 3650033"/>
                <a:gd name="connsiteY3" fmla="*/ 6858000 h 6858000"/>
                <a:gd name="connsiteX4" fmla="*/ 0 w 3650033"/>
                <a:gd name="connsiteY4" fmla="*/ 6773703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0033" h="6858000">
                  <a:moveTo>
                    <a:pt x="2822384" y="0"/>
                  </a:moveTo>
                  <a:lnTo>
                    <a:pt x="3650033" y="0"/>
                  </a:lnTo>
                  <a:lnTo>
                    <a:pt x="792525" y="6858000"/>
                  </a:lnTo>
                  <a:lnTo>
                    <a:pt x="0" y="6858000"/>
                  </a:lnTo>
                  <a:lnTo>
                    <a:pt x="0" y="6773703"/>
                  </a:lnTo>
                  <a:close/>
                </a:path>
              </a:pathLst>
            </a:cu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59" name="Freeform: Shape 58">
              <a:extLst>
                <a:ext uri="{FF2B5EF4-FFF2-40B4-BE49-F238E27FC236}">
                  <a16:creationId xmlns:a16="http://schemas.microsoft.com/office/drawing/2014/main" id="{FCA89D43-698A-470A-9D13-CCBD23783992}"/>
                </a:ext>
              </a:extLst>
            </p:cNvPr>
            <p:cNvSpPr/>
            <p:nvPr userDrawn="1"/>
          </p:nvSpPr>
          <p:spPr>
            <a:xfrm>
              <a:off x="0" y="7117575"/>
              <a:ext cx="2552765" cy="6126619"/>
            </a:xfrm>
            <a:custGeom>
              <a:avLst/>
              <a:gdLst>
                <a:gd name="connsiteX0" fmla="*/ 1725116 w 2552765"/>
                <a:gd name="connsiteY0" fmla="*/ 0 h 6126619"/>
                <a:gd name="connsiteX1" fmla="*/ 2552765 w 2552765"/>
                <a:gd name="connsiteY1" fmla="*/ 0 h 6126619"/>
                <a:gd name="connsiteX2" fmla="*/ 0 w 2552765"/>
                <a:gd name="connsiteY2" fmla="*/ 6126619 h 6126619"/>
                <a:gd name="connsiteX3" fmla="*/ 0 w 2552765"/>
                <a:gd name="connsiteY3" fmla="*/ 4140267 h 6126619"/>
              </a:gdLst>
              <a:ahLst/>
              <a:cxnLst>
                <a:cxn ang="0">
                  <a:pos x="connsiteX0" y="connsiteY0"/>
                </a:cxn>
                <a:cxn ang="0">
                  <a:pos x="connsiteX1" y="connsiteY1"/>
                </a:cxn>
                <a:cxn ang="0">
                  <a:pos x="connsiteX2" y="connsiteY2"/>
                </a:cxn>
                <a:cxn ang="0">
                  <a:pos x="connsiteX3" y="connsiteY3"/>
                </a:cxn>
              </a:cxnLst>
              <a:rect l="l" t="t" r="r" b="b"/>
              <a:pathLst>
                <a:path w="2552765" h="6126619">
                  <a:moveTo>
                    <a:pt x="1725116" y="0"/>
                  </a:moveTo>
                  <a:lnTo>
                    <a:pt x="2552765" y="0"/>
                  </a:lnTo>
                  <a:lnTo>
                    <a:pt x="0" y="6126619"/>
                  </a:lnTo>
                  <a:lnTo>
                    <a:pt x="0" y="4140267"/>
                  </a:lnTo>
                  <a:close/>
                </a:path>
              </a:pathLst>
            </a:cu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60" name="Freeform: Shape 59">
              <a:extLst>
                <a:ext uri="{FF2B5EF4-FFF2-40B4-BE49-F238E27FC236}">
                  <a16:creationId xmlns:a16="http://schemas.microsoft.com/office/drawing/2014/main" id="{49C6D994-74D7-4805-B786-E8B59E759D89}"/>
                </a:ext>
              </a:extLst>
            </p:cNvPr>
            <p:cNvSpPr/>
            <p:nvPr userDrawn="1"/>
          </p:nvSpPr>
          <p:spPr>
            <a:xfrm>
              <a:off x="0" y="7117575"/>
              <a:ext cx="1455497" cy="3493183"/>
            </a:xfrm>
            <a:custGeom>
              <a:avLst/>
              <a:gdLst>
                <a:gd name="connsiteX0" fmla="*/ 627848 w 1455497"/>
                <a:gd name="connsiteY0" fmla="*/ 0 h 3493183"/>
                <a:gd name="connsiteX1" fmla="*/ 1455497 w 1455497"/>
                <a:gd name="connsiteY1" fmla="*/ 0 h 3493183"/>
                <a:gd name="connsiteX2" fmla="*/ 0 w 1455497"/>
                <a:gd name="connsiteY2" fmla="*/ 3493183 h 3493183"/>
                <a:gd name="connsiteX3" fmla="*/ 0 w 1455497"/>
                <a:gd name="connsiteY3" fmla="*/ 1506831 h 3493183"/>
              </a:gdLst>
              <a:ahLst/>
              <a:cxnLst>
                <a:cxn ang="0">
                  <a:pos x="connsiteX0" y="connsiteY0"/>
                </a:cxn>
                <a:cxn ang="0">
                  <a:pos x="connsiteX1" y="connsiteY1"/>
                </a:cxn>
                <a:cxn ang="0">
                  <a:pos x="connsiteX2" y="connsiteY2"/>
                </a:cxn>
                <a:cxn ang="0">
                  <a:pos x="connsiteX3" y="connsiteY3"/>
                </a:cxn>
              </a:cxnLst>
              <a:rect l="l" t="t" r="r" b="b"/>
              <a:pathLst>
                <a:path w="1455497" h="3493183">
                  <a:moveTo>
                    <a:pt x="627848" y="0"/>
                  </a:moveTo>
                  <a:lnTo>
                    <a:pt x="1455497" y="0"/>
                  </a:lnTo>
                  <a:lnTo>
                    <a:pt x="0" y="3493183"/>
                  </a:lnTo>
                  <a:lnTo>
                    <a:pt x="0" y="1506831"/>
                  </a:lnTo>
                  <a:close/>
                </a:path>
              </a:pathLst>
            </a:cu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61" name="Parallelogram 60">
              <a:extLst>
                <a:ext uri="{FF2B5EF4-FFF2-40B4-BE49-F238E27FC236}">
                  <a16:creationId xmlns:a16="http://schemas.microsoft.com/office/drawing/2014/main" id="{BE897109-82E2-43EF-88A1-2D63DB779DA1}"/>
                </a:ext>
              </a:extLst>
            </p:cNvPr>
            <p:cNvSpPr/>
            <p:nvPr userDrawn="1"/>
          </p:nvSpPr>
          <p:spPr>
            <a:xfrm>
              <a:off x="5451215" y="7117574"/>
              <a:ext cx="3685157" cy="6858000"/>
            </a:xfrm>
            <a:prstGeom prst="parallelogram">
              <a:avLst>
                <a:gd name="adj" fmla="val 77541"/>
              </a:avLst>
            </a:pr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62" name="Parallelogram 61">
              <a:extLst>
                <a:ext uri="{FF2B5EF4-FFF2-40B4-BE49-F238E27FC236}">
                  <a16:creationId xmlns:a16="http://schemas.microsoft.com/office/drawing/2014/main" id="{E5FAF060-EC06-481A-B2FC-7CBFA6B04877}"/>
                </a:ext>
              </a:extLst>
            </p:cNvPr>
            <p:cNvSpPr/>
            <p:nvPr userDrawn="1"/>
          </p:nvSpPr>
          <p:spPr>
            <a:xfrm>
              <a:off x="4353947" y="7117574"/>
              <a:ext cx="3685157" cy="6858000"/>
            </a:xfrm>
            <a:prstGeom prst="parallelogram">
              <a:avLst>
                <a:gd name="adj" fmla="val 77541"/>
              </a:avLst>
            </a:pr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63" name="Parallelogram 62">
              <a:extLst>
                <a:ext uri="{FF2B5EF4-FFF2-40B4-BE49-F238E27FC236}">
                  <a16:creationId xmlns:a16="http://schemas.microsoft.com/office/drawing/2014/main" id="{DDB4DA55-B255-4BF9-AC2D-67070DD7E0A3}"/>
                </a:ext>
              </a:extLst>
            </p:cNvPr>
            <p:cNvSpPr/>
            <p:nvPr userDrawn="1"/>
          </p:nvSpPr>
          <p:spPr>
            <a:xfrm>
              <a:off x="3256679" y="7117574"/>
              <a:ext cx="3685157" cy="6858000"/>
            </a:xfrm>
            <a:prstGeom prst="parallelogram">
              <a:avLst>
                <a:gd name="adj" fmla="val 77541"/>
              </a:avLst>
            </a:pr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64" name="Parallelogram 63">
              <a:extLst>
                <a:ext uri="{FF2B5EF4-FFF2-40B4-BE49-F238E27FC236}">
                  <a16:creationId xmlns:a16="http://schemas.microsoft.com/office/drawing/2014/main" id="{F1992D17-1ADA-47F8-9B4D-3B38C5C8E48D}"/>
                </a:ext>
              </a:extLst>
            </p:cNvPr>
            <p:cNvSpPr/>
            <p:nvPr userDrawn="1"/>
          </p:nvSpPr>
          <p:spPr>
            <a:xfrm>
              <a:off x="2159411" y="7117574"/>
              <a:ext cx="3685157" cy="6858000"/>
            </a:xfrm>
            <a:prstGeom prst="parallelogram">
              <a:avLst>
                <a:gd name="adj" fmla="val 77541"/>
              </a:avLst>
            </a:pr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65" name="Parallelogram 64">
              <a:extLst>
                <a:ext uri="{FF2B5EF4-FFF2-40B4-BE49-F238E27FC236}">
                  <a16:creationId xmlns:a16="http://schemas.microsoft.com/office/drawing/2014/main" id="{33A0C8BC-84AF-4A4C-86A3-A8CF6B649C7B}"/>
                </a:ext>
              </a:extLst>
            </p:cNvPr>
            <p:cNvSpPr/>
            <p:nvPr userDrawn="1"/>
          </p:nvSpPr>
          <p:spPr>
            <a:xfrm>
              <a:off x="7645750" y="7117574"/>
              <a:ext cx="3685157" cy="6858000"/>
            </a:xfrm>
            <a:prstGeom prst="parallelogram">
              <a:avLst>
                <a:gd name="adj" fmla="val 77541"/>
              </a:avLst>
            </a:pr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66" name="Parallelogram 65">
              <a:extLst>
                <a:ext uri="{FF2B5EF4-FFF2-40B4-BE49-F238E27FC236}">
                  <a16:creationId xmlns:a16="http://schemas.microsoft.com/office/drawing/2014/main" id="{8BEB1A19-093E-4DE3-8EAC-ABF3A65C55E6}"/>
                </a:ext>
              </a:extLst>
            </p:cNvPr>
            <p:cNvSpPr/>
            <p:nvPr userDrawn="1"/>
          </p:nvSpPr>
          <p:spPr>
            <a:xfrm>
              <a:off x="6548483" y="7117574"/>
              <a:ext cx="3685157" cy="6858000"/>
            </a:xfrm>
            <a:prstGeom prst="parallelogram">
              <a:avLst>
                <a:gd name="adj" fmla="val 77541"/>
              </a:avLst>
            </a:pr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67" name="Freeform: Shape 66">
              <a:extLst>
                <a:ext uri="{FF2B5EF4-FFF2-40B4-BE49-F238E27FC236}">
                  <a16:creationId xmlns:a16="http://schemas.microsoft.com/office/drawing/2014/main" id="{2037FD04-D060-40B6-85F1-FCA446FF1147}"/>
                </a:ext>
              </a:extLst>
            </p:cNvPr>
            <p:cNvSpPr/>
            <p:nvPr userDrawn="1"/>
          </p:nvSpPr>
          <p:spPr>
            <a:xfrm>
              <a:off x="9840286" y="7117574"/>
              <a:ext cx="3685157" cy="6858000"/>
            </a:xfrm>
            <a:custGeom>
              <a:avLst/>
              <a:gdLst>
                <a:gd name="connsiteX0" fmla="*/ 2351713 w 3685157"/>
                <a:gd name="connsiteY0" fmla="*/ 1213905 h 6858000"/>
                <a:gd name="connsiteX1" fmla="*/ 2351713 w 3685157"/>
                <a:gd name="connsiteY1" fmla="*/ 3200257 h 6858000"/>
                <a:gd name="connsiteX2" fmla="*/ 827649 w 3685157"/>
                <a:gd name="connsiteY2" fmla="*/ 6858000 h 6858000"/>
                <a:gd name="connsiteX3" fmla="*/ 0 w 3685157"/>
                <a:gd name="connsiteY3" fmla="*/ 6858000 h 6858000"/>
                <a:gd name="connsiteX4" fmla="*/ 2857508 w 3685157"/>
                <a:gd name="connsiteY4" fmla="*/ 0 h 6858000"/>
                <a:gd name="connsiteX5" fmla="*/ 3685157 w 3685157"/>
                <a:gd name="connsiteY5" fmla="*/ 0 h 6858000"/>
                <a:gd name="connsiteX6" fmla="*/ 3685157 w 3685157"/>
                <a:gd name="connsiteY6" fmla="*/ 1 h 6858000"/>
                <a:gd name="connsiteX7" fmla="*/ 2857508 w 3685157"/>
                <a:gd name="connsiteY7"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85157" h="6858000">
                  <a:moveTo>
                    <a:pt x="2351713" y="1213905"/>
                  </a:moveTo>
                  <a:lnTo>
                    <a:pt x="2351713" y="3200257"/>
                  </a:lnTo>
                  <a:lnTo>
                    <a:pt x="827649" y="6858000"/>
                  </a:lnTo>
                  <a:lnTo>
                    <a:pt x="0" y="6858000"/>
                  </a:lnTo>
                  <a:close/>
                  <a:moveTo>
                    <a:pt x="2857508" y="0"/>
                  </a:moveTo>
                  <a:lnTo>
                    <a:pt x="3685157" y="0"/>
                  </a:lnTo>
                  <a:lnTo>
                    <a:pt x="3685157" y="1"/>
                  </a:lnTo>
                  <a:lnTo>
                    <a:pt x="2857508" y="1"/>
                  </a:lnTo>
                  <a:close/>
                </a:path>
              </a:pathLst>
            </a:cu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68" name="Freeform: Shape 67">
              <a:extLst>
                <a:ext uri="{FF2B5EF4-FFF2-40B4-BE49-F238E27FC236}">
                  <a16:creationId xmlns:a16="http://schemas.microsoft.com/office/drawing/2014/main" id="{76A6565B-15B9-4A67-A1BF-95ABCDE68578}"/>
                </a:ext>
              </a:extLst>
            </p:cNvPr>
            <p:cNvSpPr/>
            <p:nvPr userDrawn="1"/>
          </p:nvSpPr>
          <p:spPr>
            <a:xfrm>
              <a:off x="8743018" y="7117574"/>
              <a:ext cx="3685157" cy="6858000"/>
            </a:xfrm>
            <a:custGeom>
              <a:avLst/>
              <a:gdLst>
                <a:gd name="connsiteX0" fmla="*/ 2857508 w 3685157"/>
                <a:gd name="connsiteY0" fmla="*/ 0 h 6858000"/>
                <a:gd name="connsiteX1" fmla="*/ 3685157 w 3685157"/>
                <a:gd name="connsiteY1" fmla="*/ 0 h 6858000"/>
                <a:gd name="connsiteX2" fmla="*/ 3685157 w 3685157"/>
                <a:gd name="connsiteY2" fmla="*/ 1 h 6858000"/>
                <a:gd name="connsiteX3" fmla="*/ 3448981 w 3685157"/>
                <a:gd name="connsiteY3" fmla="*/ 1 h 6858000"/>
                <a:gd name="connsiteX4" fmla="*/ 3448981 w 3685157"/>
                <a:gd name="connsiteY4" fmla="*/ 566821 h 6858000"/>
                <a:gd name="connsiteX5" fmla="*/ 827649 w 3685157"/>
                <a:gd name="connsiteY5" fmla="*/ 6858000 h 6858000"/>
                <a:gd name="connsiteX6" fmla="*/ 0 w 3685157"/>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85157" h="6858000">
                  <a:moveTo>
                    <a:pt x="2857508" y="0"/>
                  </a:moveTo>
                  <a:lnTo>
                    <a:pt x="3685157" y="0"/>
                  </a:lnTo>
                  <a:lnTo>
                    <a:pt x="3685157" y="1"/>
                  </a:lnTo>
                  <a:lnTo>
                    <a:pt x="3448981" y="1"/>
                  </a:lnTo>
                  <a:lnTo>
                    <a:pt x="3448981" y="566821"/>
                  </a:lnTo>
                  <a:lnTo>
                    <a:pt x="827649" y="6858000"/>
                  </a:lnTo>
                  <a:lnTo>
                    <a:pt x="0" y="6858000"/>
                  </a:lnTo>
                  <a:close/>
                </a:path>
              </a:pathLst>
            </a:cu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69" name="Freeform: Shape 68">
              <a:extLst>
                <a:ext uri="{FF2B5EF4-FFF2-40B4-BE49-F238E27FC236}">
                  <a16:creationId xmlns:a16="http://schemas.microsoft.com/office/drawing/2014/main" id="{F7BF7989-F870-4091-B126-E05DE0F450EC}"/>
                </a:ext>
              </a:extLst>
            </p:cNvPr>
            <p:cNvSpPr/>
            <p:nvPr userDrawn="1"/>
          </p:nvSpPr>
          <p:spPr>
            <a:xfrm>
              <a:off x="10937544" y="10964892"/>
              <a:ext cx="1254455" cy="3010683"/>
            </a:xfrm>
            <a:custGeom>
              <a:avLst/>
              <a:gdLst>
                <a:gd name="connsiteX0" fmla="*/ 1254455 w 1254455"/>
                <a:gd name="connsiteY0" fmla="*/ 0 h 3010683"/>
                <a:gd name="connsiteX1" fmla="*/ 1254455 w 1254455"/>
                <a:gd name="connsiteY1" fmla="*/ 1986352 h 3010683"/>
                <a:gd name="connsiteX2" fmla="*/ 827649 w 1254455"/>
                <a:gd name="connsiteY2" fmla="*/ 3010683 h 3010683"/>
                <a:gd name="connsiteX3" fmla="*/ 0 w 1254455"/>
                <a:gd name="connsiteY3" fmla="*/ 3010683 h 3010683"/>
              </a:gdLst>
              <a:ahLst/>
              <a:cxnLst>
                <a:cxn ang="0">
                  <a:pos x="connsiteX0" y="connsiteY0"/>
                </a:cxn>
                <a:cxn ang="0">
                  <a:pos x="connsiteX1" y="connsiteY1"/>
                </a:cxn>
                <a:cxn ang="0">
                  <a:pos x="connsiteX2" y="connsiteY2"/>
                </a:cxn>
                <a:cxn ang="0">
                  <a:pos x="connsiteX3" y="connsiteY3"/>
                </a:cxn>
              </a:cxnLst>
              <a:rect l="l" t="t" r="r" b="b"/>
              <a:pathLst>
                <a:path w="1254455" h="3010683">
                  <a:moveTo>
                    <a:pt x="1254455" y="0"/>
                  </a:moveTo>
                  <a:lnTo>
                    <a:pt x="1254455" y="1986352"/>
                  </a:lnTo>
                  <a:lnTo>
                    <a:pt x="827649" y="3010683"/>
                  </a:lnTo>
                  <a:lnTo>
                    <a:pt x="0" y="3010683"/>
                  </a:lnTo>
                  <a:close/>
                </a:path>
              </a:pathLst>
            </a:cu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grpSp>
      <p:sp>
        <p:nvSpPr>
          <p:cNvPr id="32" name="Round Same-side Corner of Rectangle 28">
            <a:extLst>
              <a:ext uri="{FF2B5EF4-FFF2-40B4-BE49-F238E27FC236}">
                <a16:creationId xmlns:a16="http://schemas.microsoft.com/office/drawing/2014/main" id="{82C94529-8F3E-40CE-8B2D-23ACC3D604DE}"/>
              </a:ext>
            </a:extLst>
          </p:cNvPr>
          <p:cNvSpPr/>
          <p:nvPr userDrawn="1"/>
        </p:nvSpPr>
        <p:spPr bwMode="black">
          <a:xfrm>
            <a:off x="630936" y="2393157"/>
            <a:ext cx="8125200" cy="2943394"/>
          </a:xfrm>
          <a:prstGeom prst="round2SameRect">
            <a:avLst>
              <a:gd name="adj1" fmla="val 9182"/>
              <a:gd name="adj2" fmla="val 11037"/>
            </a:avLst>
          </a:prstGeom>
          <a:solidFill>
            <a:schemeClr val="bg1">
              <a:alpha val="92969"/>
            </a:schemeClr>
          </a:solidFill>
          <a:ln>
            <a:noFill/>
          </a:ln>
          <a:effectLst>
            <a:outerShdw blurRad="381000" algn="ctr" rotWithShape="0">
              <a:schemeClr val="bg2">
                <a:lumMod val="10000"/>
                <a:alpha val="29973"/>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lnSpc>
                <a:spcPct val="95000"/>
              </a:lnSpc>
            </a:pPr>
            <a:endParaRPr lang="en-US" sz="2000" dirty="0">
              <a:solidFill>
                <a:prstClr val="white"/>
              </a:solidFill>
              <a:cs typeface="+mn-cs"/>
              <a:sym typeface="Trebuchet MS" panose="020B0603020202020204" pitchFamily="34" charset="0"/>
            </a:endParaRPr>
          </a:p>
        </p:txBody>
      </p:sp>
      <p:sp>
        <p:nvSpPr>
          <p:cNvPr id="33" name="Round Same-side Corner of Rectangle 33">
            <a:extLst>
              <a:ext uri="{FF2B5EF4-FFF2-40B4-BE49-F238E27FC236}">
                <a16:creationId xmlns:a16="http://schemas.microsoft.com/office/drawing/2014/main" id="{FCBA1DD2-CBD7-41FF-A0EC-5943EC7A4853}"/>
              </a:ext>
            </a:extLst>
          </p:cNvPr>
          <p:cNvSpPr/>
          <p:nvPr userDrawn="1"/>
        </p:nvSpPr>
        <p:spPr bwMode="black">
          <a:xfrm>
            <a:off x="630936" y="2393157"/>
            <a:ext cx="8125200" cy="2943394"/>
          </a:xfrm>
          <a:prstGeom prst="round2SameRect">
            <a:avLst>
              <a:gd name="adj1" fmla="val 4277"/>
              <a:gd name="adj2" fmla="val 0"/>
            </a:avLst>
          </a:prstGeom>
          <a:gradFill flip="none" rotWithShape="1">
            <a:gsLst>
              <a:gs pos="0">
                <a:srgbClr val="006F4E">
                  <a:alpha val="10000"/>
                </a:srgbClr>
              </a:gs>
              <a:gs pos="100000">
                <a:srgbClr val="009B9D">
                  <a:alpha val="4937"/>
                </a:srgb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lnSpc>
                <a:spcPct val="95000"/>
              </a:lnSpc>
            </a:pPr>
            <a:endParaRPr lang="en-US" sz="2000" dirty="0">
              <a:solidFill>
                <a:prstClr val="white"/>
              </a:solidFill>
              <a:cs typeface="+mn-cs"/>
              <a:sym typeface="Trebuchet MS" panose="020B0603020202020204" pitchFamily="34" charset="0"/>
            </a:endParaRPr>
          </a:p>
        </p:txBody>
      </p:sp>
      <p:sp>
        <p:nvSpPr>
          <p:cNvPr id="34" name="Overlay">
            <a:extLst>
              <a:ext uri="{FF2B5EF4-FFF2-40B4-BE49-F238E27FC236}">
                <a16:creationId xmlns:a16="http://schemas.microsoft.com/office/drawing/2014/main" id="{FE54E5D0-CBA8-4C72-AD52-20170FC84DA4}"/>
              </a:ext>
            </a:extLst>
          </p:cNvPr>
          <p:cNvSpPr/>
          <p:nvPr userDrawn="1">
            <p:custDataLst>
              <p:tags r:id="rId2"/>
            </p:custDataLst>
          </p:nvPr>
        </p:nvSpPr>
        <p:spPr>
          <a:xfrm>
            <a:off x="9340639" y="0"/>
            <a:ext cx="2242259" cy="2081213"/>
          </a:xfrm>
          <a:prstGeom prst="round2SameRect">
            <a:avLst>
              <a:gd name="adj1" fmla="val 0"/>
              <a:gd name="adj2" fmla="val 12079"/>
            </a:avLst>
          </a:prstGeom>
          <a:gradFill>
            <a:gsLst>
              <a:gs pos="0">
                <a:srgbClr val="009B9D">
                  <a:alpha val="21000"/>
                </a:srgbClr>
              </a:gs>
              <a:gs pos="100000">
                <a:srgbClr val="006F4E">
                  <a:alpha val="8897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cs typeface="+mn-cs"/>
            </a:endParaRPr>
          </a:p>
        </p:txBody>
      </p:sp>
      <p:sp>
        <p:nvSpPr>
          <p:cNvPr id="35" name="Freeform 32">
            <a:extLst>
              <a:ext uri="{FF2B5EF4-FFF2-40B4-BE49-F238E27FC236}">
                <a16:creationId xmlns:a16="http://schemas.microsoft.com/office/drawing/2014/main" id="{6B3A2F74-4BE5-4D17-9039-E0C854F4B7BD}"/>
              </a:ext>
            </a:extLst>
          </p:cNvPr>
          <p:cNvSpPr>
            <a:spLocks noChangeAspect="1"/>
          </p:cNvSpPr>
          <p:nvPr userDrawn="1"/>
        </p:nvSpPr>
        <p:spPr bwMode="auto">
          <a:xfrm>
            <a:off x="2810190" y="3471233"/>
            <a:ext cx="3766692" cy="787241"/>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177B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dirty="0">
              <a:cs typeface="+mn-cs"/>
            </a:endParaRPr>
          </a:p>
        </p:txBody>
      </p:sp>
      <p:sp>
        <p:nvSpPr>
          <p:cNvPr id="36" name="TextBox 35">
            <a:extLst>
              <a:ext uri="{FF2B5EF4-FFF2-40B4-BE49-F238E27FC236}">
                <a16:creationId xmlns:a16="http://schemas.microsoft.com/office/drawing/2014/main" id="{380B9B63-C710-4909-8300-696CD87561D7}"/>
              </a:ext>
            </a:extLst>
          </p:cNvPr>
          <p:cNvSpPr txBox="1"/>
          <p:nvPr userDrawn="1"/>
        </p:nvSpPr>
        <p:spPr bwMode="white">
          <a:xfrm>
            <a:off x="924979" y="4921094"/>
            <a:ext cx="840801" cy="170110"/>
          </a:xfrm>
          <a:prstGeom prst="rect">
            <a:avLst/>
          </a:prstGeom>
          <a:noFill/>
        </p:spPr>
        <p:txBody>
          <a:bodyPr wrap="none" lIns="0" tIns="0" rIns="0" bIns="0" rtlCol="0" anchor="b">
            <a:noAutofit/>
          </a:bodyPr>
          <a:lstStyle/>
          <a:p>
            <a:pPr rtl="0">
              <a:lnSpc>
                <a:spcPct val="90000"/>
              </a:lnSpc>
              <a:spcAft>
                <a:spcPts val="600"/>
              </a:spcAft>
            </a:pPr>
            <a:r>
              <a:rPr lang="en-US" sz="1200" dirty="0">
                <a:solidFill>
                  <a:srgbClr val="03522D"/>
                </a:solidFill>
                <a:latin typeface="+mn-lt"/>
                <a:cs typeface="+mn-cs"/>
                <a:sym typeface="Trebuchet MS" panose="020B0603020202020204" pitchFamily="34" charset="0"/>
              </a:rPr>
              <a:t>bcg.com</a:t>
            </a:r>
          </a:p>
        </p:txBody>
      </p:sp>
      <p:sp>
        <p:nvSpPr>
          <p:cNvPr id="37" name="Overlay">
            <a:extLst>
              <a:ext uri="{FF2B5EF4-FFF2-40B4-BE49-F238E27FC236}">
                <a16:creationId xmlns:a16="http://schemas.microsoft.com/office/drawing/2014/main" id="{07BB1B53-E3F8-4219-81FA-93C22A7B626D}"/>
              </a:ext>
            </a:extLst>
          </p:cNvPr>
          <p:cNvSpPr/>
          <p:nvPr userDrawn="1">
            <p:custDataLst>
              <p:tags r:id="rId3"/>
            </p:custDataLst>
          </p:nvPr>
        </p:nvSpPr>
        <p:spPr>
          <a:xfrm>
            <a:off x="630936" y="0"/>
            <a:ext cx="8112082" cy="1147011"/>
          </a:xfrm>
          <a:prstGeom prst="round2SameRect">
            <a:avLst>
              <a:gd name="adj1" fmla="val 0"/>
              <a:gd name="adj2" fmla="val 18373"/>
            </a:avLst>
          </a:prstGeom>
          <a:gradFill>
            <a:gsLst>
              <a:gs pos="0">
                <a:srgbClr val="009B9D">
                  <a:alpha val="21000"/>
                </a:srgbClr>
              </a:gs>
              <a:gs pos="100000">
                <a:srgbClr val="006F4E">
                  <a:alpha val="8897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cs typeface="+mn-cs"/>
            </a:endParaRPr>
          </a:p>
        </p:txBody>
      </p:sp>
      <p:sp>
        <p:nvSpPr>
          <p:cNvPr id="38" name="Overlay">
            <a:extLst>
              <a:ext uri="{FF2B5EF4-FFF2-40B4-BE49-F238E27FC236}">
                <a16:creationId xmlns:a16="http://schemas.microsoft.com/office/drawing/2014/main" id="{7382825D-15D2-4164-B327-1937D951EB61}"/>
              </a:ext>
            </a:extLst>
          </p:cNvPr>
          <p:cNvSpPr/>
          <p:nvPr userDrawn="1">
            <p:custDataLst>
              <p:tags r:id="rId4"/>
            </p:custDataLst>
          </p:nvPr>
        </p:nvSpPr>
        <p:spPr>
          <a:xfrm flipV="1">
            <a:off x="630936" y="5962750"/>
            <a:ext cx="8112082" cy="901664"/>
          </a:xfrm>
          <a:prstGeom prst="round2SameRect">
            <a:avLst>
              <a:gd name="adj1" fmla="val 0"/>
              <a:gd name="adj2" fmla="val 30760"/>
            </a:avLst>
          </a:prstGeom>
          <a:gradFill>
            <a:gsLst>
              <a:gs pos="0">
                <a:srgbClr val="009B9D">
                  <a:alpha val="21000"/>
                </a:srgbClr>
              </a:gs>
              <a:gs pos="100000">
                <a:srgbClr val="006F4E">
                  <a:alpha val="8897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cs typeface="+mn-cs"/>
            </a:endParaRPr>
          </a:p>
        </p:txBody>
      </p:sp>
      <p:sp>
        <p:nvSpPr>
          <p:cNvPr id="39" name="Overlay">
            <a:extLst>
              <a:ext uri="{FF2B5EF4-FFF2-40B4-BE49-F238E27FC236}">
                <a16:creationId xmlns:a16="http://schemas.microsoft.com/office/drawing/2014/main" id="{96440585-16F5-44AB-A7FD-0C7C037B6A18}"/>
              </a:ext>
            </a:extLst>
          </p:cNvPr>
          <p:cNvSpPr/>
          <p:nvPr userDrawn="1">
            <p:custDataLst>
              <p:tags r:id="rId5"/>
            </p:custDataLst>
          </p:nvPr>
        </p:nvSpPr>
        <p:spPr>
          <a:xfrm flipV="1">
            <a:off x="9340639" y="3101922"/>
            <a:ext cx="2242259" cy="3756078"/>
          </a:xfrm>
          <a:prstGeom prst="round2SameRect">
            <a:avLst>
              <a:gd name="adj1" fmla="val 0"/>
              <a:gd name="adj2" fmla="val 17445"/>
            </a:avLst>
          </a:prstGeom>
          <a:gradFill>
            <a:gsLst>
              <a:gs pos="0">
                <a:srgbClr val="009B9D">
                  <a:alpha val="21000"/>
                </a:srgbClr>
              </a:gs>
              <a:gs pos="100000">
                <a:srgbClr val="006F4E">
                  <a:alpha val="8897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cs typeface="+mn-cs"/>
            </a:endParaRPr>
          </a:p>
        </p:txBody>
      </p:sp>
    </p:spTree>
    <p:extLst>
      <p:ext uri="{BB962C8B-B14F-4D97-AF65-F5344CB8AC3E}">
        <p14:creationId xmlns:p14="http://schemas.microsoft.com/office/powerpoint/2010/main" val="4285947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E01C8DC-D1CB-42CF-96E7-4D321F19F9BA}"/>
              </a:ext>
            </a:extLst>
          </p:cNvPr>
          <p:cNvGraphicFramePr>
            <a:graphicFrameLocks noChangeAspect="1"/>
          </p:cNvGraphicFramePr>
          <p:nvPr userDrawn="1">
            <p:custDataLst>
              <p:tags r:id="rId1"/>
            </p:custDataLst>
            <p:extLst>
              <p:ext uri="{D42A27DB-BD31-4B8C-83A1-F6EECF244321}">
                <p14:modId xmlns:p14="http://schemas.microsoft.com/office/powerpoint/2010/main" val="352357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4" name="think-cell data - do not delete" hidden="1">
                        <a:extLst>
                          <a:ext uri="{FF2B5EF4-FFF2-40B4-BE49-F238E27FC236}">
                            <a16:creationId xmlns:a16="http://schemas.microsoft.com/office/drawing/2014/main" id="{4E01C8DC-D1CB-42CF-96E7-4D321F19F9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rtl="0">
              <a:defRPr>
                <a:solidFill>
                  <a:schemeClr val="bg1">
                    <a:lumMod val="50000"/>
                  </a:schemeClr>
                </a:solidFill>
                <a:latin typeface="+mn-lt"/>
                <a:cs typeface="+mn-cs"/>
                <a:sym typeface="Trebuchet MS" panose="020B0603020202020204" pitchFamily="34" charset="0"/>
              </a:defRPr>
            </a:lvl1pPr>
          </a:lstStyle>
          <a:p>
            <a:endParaRPr lang="en-US" dirty="0"/>
          </a:p>
        </p:txBody>
      </p:sp>
      <p:grpSp>
        <p:nvGrpSpPr>
          <p:cNvPr id="3" name="Group 2">
            <a:extLst>
              <a:ext uri="{FF2B5EF4-FFF2-40B4-BE49-F238E27FC236}">
                <a16:creationId xmlns:a16="http://schemas.microsoft.com/office/drawing/2014/main" id="{13BC1689-D7A0-40B2-9D32-33D85BE1622D}"/>
              </a:ext>
            </a:extLst>
          </p:cNvPr>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solidFill>
                  <a:schemeClr val="tx1"/>
                </a:solidFill>
                <a:latin typeface="+mn-lt"/>
                <a:cs typeface="+mn-cs"/>
              </a:endParaRPr>
            </a:p>
          </p:txBody>
        </p:sp>
        <p:grpSp>
          <p:nvGrpSpPr>
            <p:cNvPr id="51" name="Baselines / anchors"/>
            <p:cNvGrpSpPr/>
            <p:nvPr/>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sp>
          <p:nvSpPr>
            <p:cNvPr id="57" name="Whitespace measure"/>
            <p:cNvSpPr>
              <a:spLocks noChangeArrowheads="1"/>
            </p:cNvSpPr>
            <p:nvPr/>
          </p:nvSpPr>
          <p:spPr bwMode="auto">
            <a:xfrm>
              <a:off x="629400" y="1931399"/>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grpSp>
          <p:nvGrpSpPr>
            <p:cNvPr id="58" name="Five column measure"/>
            <p:cNvGrpSpPr/>
            <p:nvPr/>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grpSp>
        <p:sp>
          <p:nvSpPr>
            <p:cNvPr id="59" name="Live area"/>
            <p:cNvSpPr/>
            <p:nvPr/>
          </p:nvSpPr>
          <p:spPr>
            <a:xfrm>
              <a:off x="629400" y="2514599"/>
              <a:ext cx="10933200" cy="3645001"/>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US" sz="1200" dirty="0">
                <a:solidFill>
                  <a:schemeClr val="bg1"/>
                </a:solidFill>
                <a:latin typeface="+mn-lt"/>
                <a:cs typeface="+mn-cs"/>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sp>
          <p:nvSpPr>
            <p:cNvPr id="56"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cs typeface="+mn-cs"/>
                  <a:sym typeface="Trebuchet MS" panose="020B0603020202020204" pitchFamily="34" charset="0"/>
                </a:rPr>
                <a:t>Copyright © 2024 by Boston Consulting Group. All rights reserved.</a:t>
              </a:r>
            </a:p>
          </p:txBody>
        </p:sp>
      </p:grpSp>
    </p:spTree>
    <p:extLst>
      <p:ext uri="{BB962C8B-B14F-4D97-AF65-F5344CB8AC3E}">
        <p14:creationId xmlns:p14="http://schemas.microsoft.com/office/powerpoint/2010/main" val="24091608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4B9476F-8984-AD94-A3F0-BC95A9102405}"/>
              </a:ext>
            </a:extLst>
          </p:cNvPr>
          <p:cNvGraphicFramePr>
            <a:graphicFrameLocks noChangeAspect="1"/>
          </p:cNvGraphicFramePr>
          <p:nvPr userDrawn="1">
            <p:custDataLst>
              <p:tags r:id="rId1"/>
            </p:custDataLst>
            <p:extLst>
              <p:ext uri="{D42A27DB-BD31-4B8C-83A1-F6EECF244321}">
                <p14:modId xmlns:p14="http://schemas.microsoft.com/office/powerpoint/2010/main" val="23265410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think-cell data - do not delete" hidden="1">
                        <a:extLst>
                          <a:ext uri="{FF2B5EF4-FFF2-40B4-BE49-F238E27FC236}">
                            <a16:creationId xmlns:a16="http://schemas.microsoft.com/office/drawing/2014/main" id="{14B9476F-8984-AD94-A3F0-BC95A910240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D6F9CA99-4BEB-44EE-A77E-79C021A80B4A}"/>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 y="0"/>
            <a:ext cx="12192001" cy="2062633"/>
          </a:xfrm>
          <a:prstGeom prst="round2SameRect">
            <a:avLst>
              <a:gd name="adj1" fmla="val 0"/>
              <a:gd name="adj2" fmla="val 11274"/>
            </a:avLst>
          </a:prstGeom>
          <a:gradFill>
            <a:gsLst>
              <a:gs pos="0">
                <a:schemeClr val="tx2"/>
              </a:gs>
              <a:gs pos="100000">
                <a:schemeClr val="accent2"/>
              </a:gs>
            </a:gsLst>
            <a:lin ang="8100000" scaled="1"/>
          </a:gradFill>
          <a:effectLst>
            <a:outerShdw blurRad="254000" algn="ctr" rotWithShape="0">
              <a:prstClr val="black">
                <a:alpha val="27000"/>
              </a:prstClr>
            </a:outerShdw>
          </a:effectLst>
        </p:spPr>
      </p:pic>
      <p:sp>
        <p:nvSpPr>
          <p:cNvPr id="15" name="Overlay">
            <a:extLst>
              <a:ext uri="{FF2B5EF4-FFF2-40B4-BE49-F238E27FC236}">
                <a16:creationId xmlns:a16="http://schemas.microsoft.com/office/drawing/2014/main" id="{90D95C17-E013-43D7-803A-4A8ECF5DD977}"/>
              </a:ext>
            </a:extLst>
          </p:cNvPr>
          <p:cNvSpPr/>
          <p:nvPr userDrawn="1">
            <p:custDataLst>
              <p:tags r:id="rId2"/>
            </p:custDataLst>
          </p:nvPr>
        </p:nvSpPr>
        <p:spPr>
          <a:xfrm>
            <a:off x="-1" y="0"/>
            <a:ext cx="12192001" cy="2062633"/>
          </a:xfrm>
          <a:prstGeom prst="round2SameRect">
            <a:avLst>
              <a:gd name="adj1" fmla="val 0"/>
              <a:gd name="adj2" fmla="val 11274"/>
            </a:avLst>
          </a:prstGeom>
          <a:gradFill>
            <a:gsLst>
              <a:gs pos="0">
                <a:srgbClr val="009B9D">
                  <a:alpha val="21000"/>
                </a:srgbClr>
              </a:gs>
              <a:gs pos="100000">
                <a:srgbClr val="006F4E">
                  <a:alpha val="8897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cs typeface="+mn-cs"/>
            </a:endParaRPr>
          </a:p>
        </p:txBody>
      </p:sp>
      <p:grpSp>
        <p:nvGrpSpPr>
          <p:cNvPr id="3" name="Group 2">
            <a:extLst>
              <a:ext uri="{FF2B5EF4-FFF2-40B4-BE49-F238E27FC236}">
                <a16:creationId xmlns:a16="http://schemas.microsoft.com/office/drawing/2014/main" id="{78C50F01-9374-C394-0EFA-3C0F01F989D4}"/>
              </a:ext>
            </a:extLst>
          </p:cNvPr>
          <p:cNvGrpSpPr/>
          <p:nvPr userDrawn="1"/>
        </p:nvGrpSpPr>
        <p:grpSpPr>
          <a:xfrm>
            <a:off x="0" y="2382673"/>
            <a:ext cx="12192001" cy="4475327"/>
            <a:chOff x="0" y="2382673"/>
            <a:chExt cx="12192001" cy="4475327"/>
          </a:xfrm>
        </p:grpSpPr>
        <p:sp>
          <p:nvSpPr>
            <p:cNvPr id="4" name="Freeform 3">
              <a:extLst>
                <a:ext uri="{FF2B5EF4-FFF2-40B4-BE49-F238E27FC236}">
                  <a16:creationId xmlns:a16="http://schemas.microsoft.com/office/drawing/2014/main" id="{C88D6A92-52DA-B6B5-46F8-1D27B865F2E4}"/>
                </a:ext>
              </a:extLst>
            </p:cNvPr>
            <p:cNvSpPr/>
            <p:nvPr/>
          </p:nvSpPr>
          <p:spPr>
            <a:xfrm>
              <a:off x="7747933" y="2382673"/>
              <a:ext cx="4444067" cy="3417775"/>
            </a:xfrm>
            <a:custGeom>
              <a:avLst/>
              <a:gdLst>
                <a:gd name="connsiteX0" fmla="*/ 4432804 w 4444067"/>
                <a:gd name="connsiteY0" fmla="*/ 0 h 3417775"/>
                <a:gd name="connsiteX1" fmla="*/ 4432804 w 4444067"/>
                <a:gd name="connsiteY1" fmla="*/ 0 h 3417775"/>
                <a:gd name="connsiteX2" fmla="*/ 3756900 w 4444067"/>
                <a:gd name="connsiteY2" fmla="*/ 360864 h 3417775"/>
                <a:gd name="connsiteX3" fmla="*/ 1357441 w 4444067"/>
                <a:gd name="connsiteY3" fmla="*/ 1623888 h 3417775"/>
                <a:gd name="connsiteX4" fmla="*/ 0 w 4444067"/>
                <a:gd name="connsiteY4" fmla="*/ 2182099 h 3417775"/>
                <a:gd name="connsiteX5" fmla="*/ 5633 w 4444067"/>
                <a:gd name="connsiteY5" fmla="*/ 2187737 h 3417775"/>
                <a:gd name="connsiteX6" fmla="*/ 0 w 4444067"/>
                <a:gd name="connsiteY6" fmla="*/ 2182099 h 3417775"/>
                <a:gd name="connsiteX7" fmla="*/ 433705 w 4444067"/>
                <a:gd name="connsiteY7" fmla="*/ 3163198 h 3417775"/>
                <a:gd name="connsiteX8" fmla="*/ 602681 w 4444067"/>
                <a:gd name="connsiteY8" fmla="*/ 3326714 h 3417775"/>
                <a:gd name="connsiteX9" fmla="*/ 901205 w 4444067"/>
                <a:gd name="connsiteY9" fmla="*/ 3416930 h 3417775"/>
                <a:gd name="connsiteX10" fmla="*/ 1216627 w 4444067"/>
                <a:gd name="connsiteY10" fmla="*/ 3349268 h 3417775"/>
                <a:gd name="connsiteX11" fmla="*/ 4444068 w 4444067"/>
                <a:gd name="connsiteY11" fmla="*/ 1612611 h 341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44067" h="3417775">
                  <a:moveTo>
                    <a:pt x="4432804" y="0"/>
                  </a:moveTo>
                  <a:lnTo>
                    <a:pt x="4432804" y="0"/>
                  </a:lnTo>
                  <a:lnTo>
                    <a:pt x="3756900" y="360864"/>
                  </a:lnTo>
                  <a:lnTo>
                    <a:pt x="1357441" y="1623888"/>
                  </a:lnTo>
                  <a:cubicBezTo>
                    <a:pt x="1357441" y="1623888"/>
                    <a:pt x="529458" y="2069329"/>
                    <a:pt x="0" y="2182099"/>
                  </a:cubicBezTo>
                  <a:lnTo>
                    <a:pt x="5633" y="2187737"/>
                  </a:lnTo>
                  <a:lnTo>
                    <a:pt x="0" y="2182099"/>
                  </a:lnTo>
                  <a:cubicBezTo>
                    <a:pt x="146446" y="2638817"/>
                    <a:pt x="292892" y="2932019"/>
                    <a:pt x="433705" y="3163198"/>
                  </a:cubicBezTo>
                  <a:cubicBezTo>
                    <a:pt x="473132" y="3230860"/>
                    <a:pt x="535091" y="3287245"/>
                    <a:pt x="602681" y="3326714"/>
                  </a:cubicBezTo>
                  <a:cubicBezTo>
                    <a:pt x="692802" y="3383099"/>
                    <a:pt x="794187" y="3411292"/>
                    <a:pt x="901205" y="3416930"/>
                  </a:cubicBezTo>
                  <a:cubicBezTo>
                    <a:pt x="1008223" y="3422569"/>
                    <a:pt x="1115241" y="3400015"/>
                    <a:pt x="1216627" y="3349268"/>
                  </a:cubicBezTo>
                  <a:lnTo>
                    <a:pt x="4444068" y="1612611"/>
                  </a:lnTo>
                  <a:close/>
                </a:path>
              </a:pathLst>
            </a:custGeom>
            <a:solidFill>
              <a:srgbClr val="009B9D">
                <a:alpha val="7000"/>
              </a:srgbClr>
            </a:solidFill>
            <a:ln w="56300" cap="flat">
              <a:noFill/>
              <a:prstDash val="solid"/>
              <a:miter/>
            </a:ln>
          </p:spPr>
          <p:txBody>
            <a:bodyPr rtlCol="0" anchor="ctr"/>
            <a:lstStyle/>
            <a:p>
              <a:pPr rtl="0"/>
              <a:endParaRPr lang="en-US" dirty="0">
                <a:cs typeface="+mn-cs"/>
              </a:endParaRPr>
            </a:p>
          </p:txBody>
        </p:sp>
        <p:sp>
          <p:nvSpPr>
            <p:cNvPr id="6" name="Freeform 5">
              <a:extLst>
                <a:ext uri="{FF2B5EF4-FFF2-40B4-BE49-F238E27FC236}">
                  <a16:creationId xmlns:a16="http://schemas.microsoft.com/office/drawing/2014/main" id="{CCC72F63-9AF1-8382-FD29-A2A3379D7098}"/>
                </a:ext>
              </a:extLst>
            </p:cNvPr>
            <p:cNvSpPr/>
            <p:nvPr/>
          </p:nvSpPr>
          <p:spPr>
            <a:xfrm>
              <a:off x="0" y="3277507"/>
              <a:ext cx="12192001" cy="3580493"/>
            </a:xfrm>
            <a:custGeom>
              <a:avLst/>
              <a:gdLst>
                <a:gd name="connsiteX0" fmla="*/ 12192001 w 12192001"/>
                <a:gd name="connsiteY0" fmla="*/ 1687383 h 3580493"/>
                <a:gd name="connsiteX1" fmla="*/ 12181807 w 12192001"/>
                <a:gd name="connsiteY1" fmla="*/ 3580493 h 3580493"/>
                <a:gd name="connsiteX2" fmla="*/ 8662888 w 12192001"/>
                <a:gd name="connsiteY2" fmla="*/ 3580493 h 3580493"/>
                <a:gd name="connsiteX3" fmla="*/ 781415 w 12192001"/>
                <a:gd name="connsiteY3" fmla="*/ 374 h 3580493"/>
                <a:gd name="connsiteX4" fmla="*/ 2025283 w 12192001"/>
                <a:gd name="connsiteY4" fmla="*/ 1850899 h 3580493"/>
                <a:gd name="connsiteX5" fmla="*/ 2036547 w 12192001"/>
                <a:gd name="connsiteY5" fmla="*/ 1901646 h 3580493"/>
                <a:gd name="connsiteX6" fmla="*/ 1676065 w 12192001"/>
                <a:gd name="connsiteY6" fmla="*/ 1862175 h 3580493"/>
                <a:gd name="connsiteX7" fmla="*/ 192135 w 12192001"/>
                <a:gd name="connsiteY7" fmla="*/ 2129365 h 3580493"/>
                <a:gd name="connsiteX8" fmla="*/ 0 w 12192001"/>
                <a:gd name="connsiteY8" fmla="*/ 2193947 h 3580493"/>
                <a:gd name="connsiteX9" fmla="*/ 0 w 12192001"/>
                <a:gd name="connsiteY9" fmla="*/ 70220 h 3580493"/>
                <a:gd name="connsiteX10" fmla="*/ 294330 w 12192001"/>
                <a:gd name="connsiteY10" fmla="*/ 27516 h 3580493"/>
                <a:gd name="connsiteX11" fmla="*/ 656576 w 12192001"/>
                <a:gd name="connsiteY11" fmla="*/ 1471 h 3580493"/>
                <a:gd name="connsiteX12" fmla="*/ 781415 w 12192001"/>
                <a:gd name="connsiteY12" fmla="*/ 374 h 3580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1" h="3580493">
                  <a:moveTo>
                    <a:pt x="12192001" y="1687383"/>
                  </a:moveTo>
                  <a:lnTo>
                    <a:pt x="12181807" y="3580493"/>
                  </a:lnTo>
                  <a:lnTo>
                    <a:pt x="8662888" y="3580493"/>
                  </a:lnTo>
                  <a:close/>
                  <a:moveTo>
                    <a:pt x="781415" y="374"/>
                  </a:moveTo>
                  <a:cubicBezTo>
                    <a:pt x="1390963" y="12000"/>
                    <a:pt x="1782379" y="302073"/>
                    <a:pt x="2025283" y="1850899"/>
                  </a:cubicBezTo>
                  <a:cubicBezTo>
                    <a:pt x="2030914" y="1867815"/>
                    <a:pt x="2036547" y="1884729"/>
                    <a:pt x="2036547" y="1901646"/>
                  </a:cubicBezTo>
                  <a:cubicBezTo>
                    <a:pt x="1940794" y="1873453"/>
                    <a:pt x="1811245" y="1862175"/>
                    <a:pt x="1676065" y="1862175"/>
                  </a:cubicBezTo>
                  <a:cubicBezTo>
                    <a:pt x="1183218" y="1886844"/>
                    <a:pt x="716246" y="1963316"/>
                    <a:pt x="192135" y="2129365"/>
                  </a:cubicBezTo>
                  <a:lnTo>
                    <a:pt x="0" y="2193947"/>
                  </a:lnTo>
                  <a:lnTo>
                    <a:pt x="0" y="70220"/>
                  </a:lnTo>
                  <a:lnTo>
                    <a:pt x="294330" y="27516"/>
                  </a:lnTo>
                  <a:cubicBezTo>
                    <a:pt x="416710" y="14114"/>
                    <a:pt x="537589" y="5348"/>
                    <a:pt x="656576" y="1471"/>
                  </a:cubicBezTo>
                  <a:cubicBezTo>
                    <a:pt x="699172" y="62"/>
                    <a:pt x="740778" y="-401"/>
                    <a:pt x="781415" y="374"/>
                  </a:cubicBezTo>
                  <a:close/>
                </a:path>
              </a:pathLst>
            </a:custGeom>
            <a:solidFill>
              <a:srgbClr val="009B9D">
                <a:alpha val="7000"/>
              </a:srgbClr>
            </a:solidFill>
            <a:ln w="56300" cap="flat">
              <a:noFill/>
              <a:prstDash val="solid"/>
              <a:miter/>
            </a:ln>
          </p:spPr>
          <p:txBody>
            <a:bodyPr rtlCol="0" anchor="ctr"/>
            <a:lstStyle/>
            <a:p>
              <a:pPr rtl="0"/>
              <a:endParaRPr lang="en-US" dirty="0">
                <a:cs typeface="+mn-cs"/>
              </a:endParaRPr>
            </a:p>
          </p:txBody>
        </p:sp>
      </p:grpSp>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vert="horz"/>
          <a:lstStyle>
            <a:lvl1pPr rtl="0">
              <a:defRPr sz="3400">
                <a:solidFill>
                  <a:srgbClr val="FFFFFF"/>
                </a:solidFill>
                <a:cs typeface="+mj-cs"/>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514599"/>
            <a:ext cx="10933801" cy="3660159"/>
          </a:xfrm>
        </p:spPr>
        <p:txBody>
          <a:bodyPr/>
          <a:lstStyle>
            <a:lvl1pPr rtl="0">
              <a:lnSpc>
                <a:spcPct val="100000"/>
              </a:lnSpc>
              <a:spcBef>
                <a:spcPts val="0"/>
              </a:spcBef>
              <a:spcAft>
                <a:spcPts val="0"/>
              </a:spcAft>
              <a:defRPr sz="2000">
                <a:cs typeface="+mn-cs"/>
              </a:defRPr>
            </a:lvl1pPr>
            <a:lvl2pPr rtl="0">
              <a:lnSpc>
                <a:spcPct val="100000"/>
              </a:lnSpc>
              <a:spcBef>
                <a:spcPts val="0"/>
              </a:spcBef>
              <a:spcAft>
                <a:spcPts val="0"/>
              </a:spcAft>
              <a:defRPr sz="2000">
                <a:cs typeface="+mn-cs"/>
              </a:defRPr>
            </a:lvl2pPr>
            <a:lvl3pPr rtl="0">
              <a:lnSpc>
                <a:spcPct val="100000"/>
              </a:lnSpc>
              <a:spcBef>
                <a:spcPts val="0"/>
              </a:spcBef>
              <a:spcAft>
                <a:spcPts val="0"/>
              </a:spcAft>
              <a:defRPr sz="2000">
                <a:cs typeface="+mn-cs"/>
              </a:defRPr>
            </a:lvl3pPr>
            <a:lvl4pPr rtl="0">
              <a:lnSpc>
                <a:spcPct val="100000"/>
              </a:lnSpc>
              <a:spcBef>
                <a:spcPts val="0"/>
              </a:spcBef>
              <a:spcAft>
                <a:spcPts val="0"/>
              </a:spcAft>
              <a:defRPr sz="2800">
                <a:cs typeface="+mn-cs"/>
              </a:defRPr>
            </a:lvl4pPr>
            <a:lvl5pPr rtl="0">
              <a:lnSpc>
                <a:spcPct val="100000"/>
              </a:lnSpc>
              <a:spcBef>
                <a:spcPts val="0"/>
              </a:spcBef>
              <a:spcAft>
                <a:spcPts val="0"/>
              </a:spcAft>
              <a:defRPr sz="2800">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cs typeface="+mn-cs"/>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13535294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632679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rtl="0">
              <a:lnSpc>
                <a:spcPct val="93000"/>
              </a:lnSpc>
              <a:spcBef>
                <a:spcPct val="0"/>
              </a:spcBef>
              <a:spcAft>
                <a:spcPct val="0"/>
              </a:spcAft>
            </a:pPr>
            <a:endParaRPr lang="en-US" sz="5400" dirty="0">
              <a:solidFill>
                <a:srgbClr val="FFFFFF"/>
              </a:solidFill>
              <a:cs typeface="+mn-cs"/>
              <a:sym typeface="Trebuchet MS" panose="020B0603020202020204" pitchFamily="34" charset="0"/>
            </a:endParaRPr>
          </a:p>
        </p:txBody>
      </p:sp>
      <p:sp>
        <p:nvSpPr>
          <p:cNvPr id="40" name="Rectangle 39">
            <a:extLst>
              <a:ext uri="{FF2B5EF4-FFF2-40B4-BE49-F238E27FC236}">
                <a16:creationId xmlns:a16="http://schemas.microsoft.com/office/drawing/2014/main" id="{E50CF26F-D796-4464-81B0-D724B131D230}"/>
              </a:ext>
            </a:extLst>
          </p:cNvPr>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US" sz="1200" dirty="0">
              <a:solidFill>
                <a:prstClr val="white"/>
              </a:solidFill>
              <a:cs typeface="+mn-cs"/>
              <a:sym typeface="Trebuchet MS" panose="020B0603020202020204" pitchFamily="34" charset="0"/>
            </a:endParaRPr>
          </a:p>
        </p:txBody>
      </p:sp>
      <p:pic>
        <p:nvPicPr>
          <p:cNvPr id="41" name="Picture 40">
            <a:extLst>
              <a:ext uri="{FF2B5EF4-FFF2-40B4-BE49-F238E27FC236}">
                <a16:creationId xmlns:a16="http://schemas.microsoft.com/office/drawing/2014/main" id="{B4DB8E74-37A3-4BE6-ADD3-ACF19ECFFE8F}"/>
              </a:ext>
            </a:extLst>
          </p:cNvPr>
          <p:cNvPicPr>
            <a:picLocks noChangeAspect="1"/>
          </p:cNvPicPr>
          <p:nvPr userDrawn="1"/>
        </p:nvPicPr>
        <p:blipFill rotWithShape="1">
          <a:blip r:embed="rId8" cstate="hqprint">
            <a:extLst>
              <a:ext uri="{28A0092B-C50C-407E-A947-70E740481C1C}">
                <a14:useLocalDpi xmlns:a14="http://schemas.microsoft.com/office/drawing/2010/main"/>
              </a:ext>
            </a:extLst>
          </a:blip>
          <a:srcRect r="-234"/>
          <a:stretch/>
        </p:blipFill>
        <p:spPr>
          <a:xfrm rot="16200000" flipH="1">
            <a:off x="8471925" y="2172355"/>
            <a:ext cx="580573" cy="6858000"/>
          </a:xfrm>
          <a:prstGeom prst="rect">
            <a:avLst/>
          </a:prstGeom>
        </p:spPr>
      </p:pic>
      <p:pic>
        <p:nvPicPr>
          <p:cNvPr id="42" name="Picture 2" descr="Design a landscape-oriented image of a future bank branch interior focusing on enhanced client relationships and personalized advisory. This modern, multifunctional space should be equipped for co-working, hosting social events, and private consultations, featuring a welcoming cafe area. It must include cutting-edge digital and GenAI technology tools for superior customer support. The layout is arranged so the most important elements are prominent, especially considering the landscape A4 format where the lower part might be less visible. The design combines professionalism with a cozy atmosphere, integrating comfortable seating, indoor greenery, and a modern aesthetic. Ensure the scene is photorealistic, emphasizing the innovative and multifunctional nature of the branch, without including any text. The composition should adapt well to a landscape A4 presentation, making sure the key aspects are clearly visible even if part of the image is obscured.">
            <a:extLst>
              <a:ext uri="{FF2B5EF4-FFF2-40B4-BE49-F238E27FC236}">
                <a16:creationId xmlns:a16="http://schemas.microsoft.com/office/drawing/2014/main" id="{580AF632-44F0-4A40-B7BA-D30802749C6A}"/>
              </a:ext>
            </a:extLst>
          </p:cNvPr>
          <p:cNvPicPr>
            <a:picLocks noChangeAspect="1" noChangeArrowheads="1"/>
          </p:cNvPicPr>
          <p:nvPr userDrawn="1"/>
        </p:nvPicPr>
        <p:blipFill rotWithShape="1">
          <a:blip r:embed="rId9" cstate="screen">
            <a:extLst>
              <a:ext uri="{28A0092B-C50C-407E-A947-70E740481C1C}">
                <a14:useLocalDpi xmlns:a14="http://schemas.microsoft.com/office/drawing/2010/main"/>
              </a:ext>
            </a:extLst>
          </a:blip>
          <a:srcRect/>
          <a:stretch/>
        </p:blipFill>
        <p:spPr bwMode="auto">
          <a:xfrm flipH="1">
            <a:off x="1"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6" name="Overlay">
            <a:extLst>
              <a:ext uri="{FF2B5EF4-FFF2-40B4-BE49-F238E27FC236}">
                <a16:creationId xmlns:a16="http://schemas.microsoft.com/office/drawing/2014/main" id="{3D0E53E5-F0E7-41B7-9171-FC98056C8F41}"/>
              </a:ext>
            </a:extLst>
          </p:cNvPr>
          <p:cNvSpPr/>
          <p:nvPr userDrawn="1">
            <p:custDataLst>
              <p:tags r:id="rId3"/>
            </p:custDataLst>
          </p:nvPr>
        </p:nvSpPr>
        <p:spPr>
          <a:xfrm>
            <a:off x="630936" y="0"/>
            <a:ext cx="8112082" cy="1147011"/>
          </a:xfrm>
          <a:prstGeom prst="round2SameRect">
            <a:avLst>
              <a:gd name="adj1" fmla="val 0"/>
              <a:gd name="adj2" fmla="val 12079"/>
            </a:avLst>
          </a:prstGeom>
          <a:gradFill>
            <a:gsLst>
              <a:gs pos="0">
                <a:srgbClr val="009B9D">
                  <a:alpha val="21000"/>
                </a:srgbClr>
              </a:gs>
              <a:gs pos="100000">
                <a:srgbClr val="006F4E">
                  <a:alpha val="8897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cs typeface="+mn-cs"/>
            </a:endParaRPr>
          </a:p>
        </p:txBody>
      </p:sp>
      <p:grpSp>
        <p:nvGrpSpPr>
          <p:cNvPr id="47" name="Group 46">
            <a:extLst>
              <a:ext uri="{FF2B5EF4-FFF2-40B4-BE49-F238E27FC236}">
                <a16:creationId xmlns:a16="http://schemas.microsoft.com/office/drawing/2014/main" id="{41BD51F4-48F2-476F-930B-CC05F81A552B}"/>
              </a:ext>
            </a:extLst>
          </p:cNvPr>
          <p:cNvGrpSpPr/>
          <p:nvPr userDrawn="1"/>
        </p:nvGrpSpPr>
        <p:grpSpPr>
          <a:xfrm>
            <a:off x="-464617" y="0"/>
            <a:ext cx="13994863" cy="6858001"/>
            <a:chOff x="-469420" y="7117574"/>
            <a:chExt cx="13994863" cy="6858001"/>
          </a:xfrm>
        </p:grpSpPr>
        <p:sp>
          <p:nvSpPr>
            <p:cNvPr id="48" name="Freeform: Shape 47">
              <a:extLst>
                <a:ext uri="{FF2B5EF4-FFF2-40B4-BE49-F238E27FC236}">
                  <a16:creationId xmlns:a16="http://schemas.microsoft.com/office/drawing/2014/main" id="{88C2BD42-5D78-40A8-876D-819C435EF279}"/>
                </a:ext>
              </a:extLst>
            </p:cNvPr>
            <p:cNvSpPr/>
            <p:nvPr userDrawn="1"/>
          </p:nvSpPr>
          <p:spPr>
            <a:xfrm>
              <a:off x="-469420" y="7117574"/>
              <a:ext cx="827649" cy="859748"/>
            </a:xfrm>
            <a:custGeom>
              <a:avLst/>
              <a:gdLst>
                <a:gd name="connsiteX0" fmla="*/ 0 w 827649"/>
                <a:gd name="connsiteY0" fmla="*/ 0 h 859748"/>
                <a:gd name="connsiteX1" fmla="*/ 827649 w 827649"/>
                <a:gd name="connsiteY1" fmla="*/ 0 h 859748"/>
                <a:gd name="connsiteX2" fmla="*/ 469420 w 827649"/>
                <a:gd name="connsiteY2" fmla="*/ 859748 h 859748"/>
                <a:gd name="connsiteX3" fmla="*/ 469420 w 827649"/>
                <a:gd name="connsiteY3" fmla="*/ 1 h 859748"/>
                <a:gd name="connsiteX4" fmla="*/ 0 w 827649"/>
                <a:gd name="connsiteY4" fmla="*/ 1 h 859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649" h="859748">
                  <a:moveTo>
                    <a:pt x="0" y="0"/>
                  </a:moveTo>
                  <a:lnTo>
                    <a:pt x="827649" y="0"/>
                  </a:lnTo>
                  <a:lnTo>
                    <a:pt x="469420" y="859748"/>
                  </a:lnTo>
                  <a:lnTo>
                    <a:pt x="469420" y="1"/>
                  </a:lnTo>
                  <a:lnTo>
                    <a:pt x="0" y="1"/>
                  </a:lnTo>
                  <a:close/>
                </a:path>
              </a:pathLst>
            </a:cu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49" name="Parallelogram 48">
              <a:extLst>
                <a:ext uri="{FF2B5EF4-FFF2-40B4-BE49-F238E27FC236}">
                  <a16:creationId xmlns:a16="http://schemas.microsoft.com/office/drawing/2014/main" id="{70413E84-D647-4673-80FA-A22D913C4977}"/>
                </a:ext>
              </a:extLst>
            </p:cNvPr>
            <p:cNvSpPr/>
            <p:nvPr userDrawn="1"/>
          </p:nvSpPr>
          <p:spPr>
            <a:xfrm>
              <a:off x="1062144" y="7117574"/>
              <a:ext cx="3685157" cy="6858000"/>
            </a:xfrm>
            <a:prstGeom prst="parallelogram">
              <a:avLst>
                <a:gd name="adj" fmla="val 77541"/>
              </a:avLst>
            </a:pr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50" name="Freeform: Shape 49">
              <a:extLst>
                <a:ext uri="{FF2B5EF4-FFF2-40B4-BE49-F238E27FC236}">
                  <a16:creationId xmlns:a16="http://schemas.microsoft.com/office/drawing/2014/main" id="{8B13443B-4DC9-4C7A-A991-5C72F75ED3F7}"/>
                </a:ext>
              </a:extLst>
            </p:cNvPr>
            <p:cNvSpPr/>
            <p:nvPr userDrawn="1"/>
          </p:nvSpPr>
          <p:spPr>
            <a:xfrm>
              <a:off x="0" y="7117574"/>
              <a:ext cx="3650033" cy="6858000"/>
            </a:xfrm>
            <a:custGeom>
              <a:avLst/>
              <a:gdLst>
                <a:gd name="connsiteX0" fmla="*/ 2822384 w 3650033"/>
                <a:gd name="connsiteY0" fmla="*/ 0 h 6858000"/>
                <a:gd name="connsiteX1" fmla="*/ 3650033 w 3650033"/>
                <a:gd name="connsiteY1" fmla="*/ 0 h 6858000"/>
                <a:gd name="connsiteX2" fmla="*/ 792525 w 3650033"/>
                <a:gd name="connsiteY2" fmla="*/ 6858000 h 6858000"/>
                <a:gd name="connsiteX3" fmla="*/ 0 w 3650033"/>
                <a:gd name="connsiteY3" fmla="*/ 6858000 h 6858000"/>
                <a:gd name="connsiteX4" fmla="*/ 0 w 3650033"/>
                <a:gd name="connsiteY4" fmla="*/ 6773703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0033" h="6858000">
                  <a:moveTo>
                    <a:pt x="2822384" y="0"/>
                  </a:moveTo>
                  <a:lnTo>
                    <a:pt x="3650033" y="0"/>
                  </a:lnTo>
                  <a:lnTo>
                    <a:pt x="792525" y="6858000"/>
                  </a:lnTo>
                  <a:lnTo>
                    <a:pt x="0" y="6858000"/>
                  </a:lnTo>
                  <a:lnTo>
                    <a:pt x="0" y="6773703"/>
                  </a:lnTo>
                  <a:close/>
                </a:path>
              </a:pathLst>
            </a:cu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51" name="Freeform: Shape 50">
              <a:extLst>
                <a:ext uri="{FF2B5EF4-FFF2-40B4-BE49-F238E27FC236}">
                  <a16:creationId xmlns:a16="http://schemas.microsoft.com/office/drawing/2014/main" id="{68BC0CA4-9F05-4F5F-94FD-A51B7394D48A}"/>
                </a:ext>
              </a:extLst>
            </p:cNvPr>
            <p:cNvSpPr/>
            <p:nvPr userDrawn="1"/>
          </p:nvSpPr>
          <p:spPr>
            <a:xfrm>
              <a:off x="0" y="7117575"/>
              <a:ext cx="2552765" cy="6126619"/>
            </a:xfrm>
            <a:custGeom>
              <a:avLst/>
              <a:gdLst>
                <a:gd name="connsiteX0" fmla="*/ 1725116 w 2552765"/>
                <a:gd name="connsiteY0" fmla="*/ 0 h 6126619"/>
                <a:gd name="connsiteX1" fmla="*/ 2552765 w 2552765"/>
                <a:gd name="connsiteY1" fmla="*/ 0 h 6126619"/>
                <a:gd name="connsiteX2" fmla="*/ 0 w 2552765"/>
                <a:gd name="connsiteY2" fmla="*/ 6126619 h 6126619"/>
                <a:gd name="connsiteX3" fmla="*/ 0 w 2552765"/>
                <a:gd name="connsiteY3" fmla="*/ 4140267 h 6126619"/>
              </a:gdLst>
              <a:ahLst/>
              <a:cxnLst>
                <a:cxn ang="0">
                  <a:pos x="connsiteX0" y="connsiteY0"/>
                </a:cxn>
                <a:cxn ang="0">
                  <a:pos x="connsiteX1" y="connsiteY1"/>
                </a:cxn>
                <a:cxn ang="0">
                  <a:pos x="connsiteX2" y="connsiteY2"/>
                </a:cxn>
                <a:cxn ang="0">
                  <a:pos x="connsiteX3" y="connsiteY3"/>
                </a:cxn>
              </a:cxnLst>
              <a:rect l="l" t="t" r="r" b="b"/>
              <a:pathLst>
                <a:path w="2552765" h="6126619">
                  <a:moveTo>
                    <a:pt x="1725116" y="0"/>
                  </a:moveTo>
                  <a:lnTo>
                    <a:pt x="2552765" y="0"/>
                  </a:lnTo>
                  <a:lnTo>
                    <a:pt x="0" y="6126619"/>
                  </a:lnTo>
                  <a:lnTo>
                    <a:pt x="0" y="4140267"/>
                  </a:lnTo>
                  <a:close/>
                </a:path>
              </a:pathLst>
            </a:cu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52" name="Freeform: Shape 51">
              <a:extLst>
                <a:ext uri="{FF2B5EF4-FFF2-40B4-BE49-F238E27FC236}">
                  <a16:creationId xmlns:a16="http://schemas.microsoft.com/office/drawing/2014/main" id="{05A0F3CA-3ADA-4E9B-A337-E4DB4219E78D}"/>
                </a:ext>
              </a:extLst>
            </p:cNvPr>
            <p:cNvSpPr/>
            <p:nvPr userDrawn="1"/>
          </p:nvSpPr>
          <p:spPr>
            <a:xfrm>
              <a:off x="0" y="7117575"/>
              <a:ext cx="1455497" cy="3493183"/>
            </a:xfrm>
            <a:custGeom>
              <a:avLst/>
              <a:gdLst>
                <a:gd name="connsiteX0" fmla="*/ 627848 w 1455497"/>
                <a:gd name="connsiteY0" fmla="*/ 0 h 3493183"/>
                <a:gd name="connsiteX1" fmla="*/ 1455497 w 1455497"/>
                <a:gd name="connsiteY1" fmla="*/ 0 h 3493183"/>
                <a:gd name="connsiteX2" fmla="*/ 0 w 1455497"/>
                <a:gd name="connsiteY2" fmla="*/ 3493183 h 3493183"/>
                <a:gd name="connsiteX3" fmla="*/ 0 w 1455497"/>
                <a:gd name="connsiteY3" fmla="*/ 1506831 h 3493183"/>
              </a:gdLst>
              <a:ahLst/>
              <a:cxnLst>
                <a:cxn ang="0">
                  <a:pos x="connsiteX0" y="connsiteY0"/>
                </a:cxn>
                <a:cxn ang="0">
                  <a:pos x="connsiteX1" y="connsiteY1"/>
                </a:cxn>
                <a:cxn ang="0">
                  <a:pos x="connsiteX2" y="connsiteY2"/>
                </a:cxn>
                <a:cxn ang="0">
                  <a:pos x="connsiteX3" y="connsiteY3"/>
                </a:cxn>
              </a:cxnLst>
              <a:rect l="l" t="t" r="r" b="b"/>
              <a:pathLst>
                <a:path w="1455497" h="3493183">
                  <a:moveTo>
                    <a:pt x="627848" y="0"/>
                  </a:moveTo>
                  <a:lnTo>
                    <a:pt x="1455497" y="0"/>
                  </a:lnTo>
                  <a:lnTo>
                    <a:pt x="0" y="3493183"/>
                  </a:lnTo>
                  <a:lnTo>
                    <a:pt x="0" y="1506831"/>
                  </a:lnTo>
                  <a:close/>
                </a:path>
              </a:pathLst>
            </a:cu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53" name="Parallelogram 52">
              <a:extLst>
                <a:ext uri="{FF2B5EF4-FFF2-40B4-BE49-F238E27FC236}">
                  <a16:creationId xmlns:a16="http://schemas.microsoft.com/office/drawing/2014/main" id="{7416519B-EA76-42ED-B5F0-DBFDF7F6EE87}"/>
                </a:ext>
              </a:extLst>
            </p:cNvPr>
            <p:cNvSpPr/>
            <p:nvPr userDrawn="1"/>
          </p:nvSpPr>
          <p:spPr>
            <a:xfrm>
              <a:off x="5451215" y="7117574"/>
              <a:ext cx="3685157" cy="6858000"/>
            </a:xfrm>
            <a:prstGeom prst="parallelogram">
              <a:avLst>
                <a:gd name="adj" fmla="val 77541"/>
              </a:avLst>
            </a:pr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54" name="Parallelogram 53">
              <a:extLst>
                <a:ext uri="{FF2B5EF4-FFF2-40B4-BE49-F238E27FC236}">
                  <a16:creationId xmlns:a16="http://schemas.microsoft.com/office/drawing/2014/main" id="{B8D3F0A0-54F5-489D-B25E-00E7E74AE6B1}"/>
                </a:ext>
              </a:extLst>
            </p:cNvPr>
            <p:cNvSpPr/>
            <p:nvPr userDrawn="1"/>
          </p:nvSpPr>
          <p:spPr>
            <a:xfrm>
              <a:off x="4353947" y="7117574"/>
              <a:ext cx="3685157" cy="6858000"/>
            </a:xfrm>
            <a:prstGeom prst="parallelogram">
              <a:avLst>
                <a:gd name="adj" fmla="val 77541"/>
              </a:avLst>
            </a:pr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55" name="Parallelogram 54">
              <a:extLst>
                <a:ext uri="{FF2B5EF4-FFF2-40B4-BE49-F238E27FC236}">
                  <a16:creationId xmlns:a16="http://schemas.microsoft.com/office/drawing/2014/main" id="{3BB7C043-95C7-4030-A921-6A1889920CF9}"/>
                </a:ext>
              </a:extLst>
            </p:cNvPr>
            <p:cNvSpPr/>
            <p:nvPr userDrawn="1"/>
          </p:nvSpPr>
          <p:spPr>
            <a:xfrm>
              <a:off x="3256679" y="7117574"/>
              <a:ext cx="3685157" cy="6858000"/>
            </a:xfrm>
            <a:prstGeom prst="parallelogram">
              <a:avLst>
                <a:gd name="adj" fmla="val 77541"/>
              </a:avLst>
            </a:pr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56" name="Parallelogram 55">
              <a:extLst>
                <a:ext uri="{FF2B5EF4-FFF2-40B4-BE49-F238E27FC236}">
                  <a16:creationId xmlns:a16="http://schemas.microsoft.com/office/drawing/2014/main" id="{1FB704F8-3A11-47A5-B2DF-EB36536BD8EA}"/>
                </a:ext>
              </a:extLst>
            </p:cNvPr>
            <p:cNvSpPr/>
            <p:nvPr userDrawn="1"/>
          </p:nvSpPr>
          <p:spPr>
            <a:xfrm>
              <a:off x="2159411" y="7117574"/>
              <a:ext cx="3685157" cy="6858000"/>
            </a:xfrm>
            <a:prstGeom prst="parallelogram">
              <a:avLst>
                <a:gd name="adj" fmla="val 77541"/>
              </a:avLst>
            </a:pr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57" name="Parallelogram 56">
              <a:extLst>
                <a:ext uri="{FF2B5EF4-FFF2-40B4-BE49-F238E27FC236}">
                  <a16:creationId xmlns:a16="http://schemas.microsoft.com/office/drawing/2014/main" id="{D43F8C7A-610B-438C-BBF3-7E01FBB53086}"/>
                </a:ext>
              </a:extLst>
            </p:cNvPr>
            <p:cNvSpPr/>
            <p:nvPr userDrawn="1"/>
          </p:nvSpPr>
          <p:spPr>
            <a:xfrm>
              <a:off x="7645750" y="7117574"/>
              <a:ext cx="3685157" cy="6858000"/>
            </a:xfrm>
            <a:prstGeom prst="parallelogram">
              <a:avLst>
                <a:gd name="adj" fmla="val 77541"/>
              </a:avLst>
            </a:pr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58" name="Parallelogram 57">
              <a:extLst>
                <a:ext uri="{FF2B5EF4-FFF2-40B4-BE49-F238E27FC236}">
                  <a16:creationId xmlns:a16="http://schemas.microsoft.com/office/drawing/2014/main" id="{A589AE33-DD88-4482-A839-DC77DE561FC2}"/>
                </a:ext>
              </a:extLst>
            </p:cNvPr>
            <p:cNvSpPr/>
            <p:nvPr userDrawn="1"/>
          </p:nvSpPr>
          <p:spPr>
            <a:xfrm>
              <a:off x="6548483" y="7117574"/>
              <a:ext cx="3685157" cy="6858000"/>
            </a:xfrm>
            <a:prstGeom prst="parallelogram">
              <a:avLst>
                <a:gd name="adj" fmla="val 77541"/>
              </a:avLst>
            </a:pr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59" name="Freeform: Shape 58">
              <a:extLst>
                <a:ext uri="{FF2B5EF4-FFF2-40B4-BE49-F238E27FC236}">
                  <a16:creationId xmlns:a16="http://schemas.microsoft.com/office/drawing/2014/main" id="{DC2D5883-A39D-489B-AE48-D82314ABF0DF}"/>
                </a:ext>
              </a:extLst>
            </p:cNvPr>
            <p:cNvSpPr/>
            <p:nvPr userDrawn="1"/>
          </p:nvSpPr>
          <p:spPr>
            <a:xfrm>
              <a:off x="9840286" y="7117574"/>
              <a:ext cx="3685157" cy="6858000"/>
            </a:xfrm>
            <a:custGeom>
              <a:avLst/>
              <a:gdLst>
                <a:gd name="connsiteX0" fmla="*/ 2351713 w 3685157"/>
                <a:gd name="connsiteY0" fmla="*/ 1213905 h 6858000"/>
                <a:gd name="connsiteX1" fmla="*/ 2351713 w 3685157"/>
                <a:gd name="connsiteY1" fmla="*/ 3200257 h 6858000"/>
                <a:gd name="connsiteX2" fmla="*/ 827649 w 3685157"/>
                <a:gd name="connsiteY2" fmla="*/ 6858000 h 6858000"/>
                <a:gd name="connsiteX3" fmla="*/ 0 w 3685157"/>
                <a:gd name="connsiteY3" fmla="*/ 6858000 h 6858000"/>
                <a:gd name="connsiteX4" fmla="*/ 2857508 w 3685157"/>
                <a:gd name="connsiteY4" fmla="*/ 0 h 6858000"/>
                <a:gd name="connsiteX5" fmla="*/ 3685157 w 3685157"/>
                <a:gd name="connsiteY5" fmla="*/ 0 h 6858000"/>
                <a:gd name="connsiteX6" fmla="*/ 3685157 w 3685157"/>
                <a:gd name="connsiteY6" fmla="*/ 1 h 6858000"/>
                <a:gd name="connsiteX7" fmla="*/ 2857508 w 3685157"/>
                <a:gd name="connsiteY7"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85157" h="6858000">
                  <a:moveTo>
                    <a:pt x="2351713" y="1213905"/>
                  </a:moveTo>
                  <a:lnTo>
                    <a:pt x="2351713" y="3200257"/>
                  </a:lnTo>
                  <a:lnTo>
                    <a:pt x="827649" y="6858000"/>
                  </a:lnTo>
                  <a:lnTo>
                    <a:pt x="0" y="6858000"/>
                  </a:lnTo>
                  <a:close/>
                  <a:moveTo>
                    <a:pt x="2857508" y="0"/>
                  </a:moveTo>
                  <a:lnTo>
                    <a:pt x="3685157" y="0"/>
                  </a:lnTo>
                  <a:lnTo>
                    <a:pt x="3685157" y="1"/>
                  </a:lnTo>
                  <a:lnTo>
                    <a:pt x="2857508" y="1"/>
                  </a:lnTo>
                  <a:close/>
                </a:path>
              </a:pathLst>
            </a:cu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60" name="Freeform: Shape 59">
              <a:extLst>
                <a:ext uri="{FF2B5EF4-FFF2-40B4-BE49-F238E27FC236}">
                  <a16:creationId xmlns:a16="http://schemas.microsoft.com/office/drawing/2014/main" id="{2471CBCF-B1E6-4ECB-B84F-E9B8320C2F16}"/>
                </a:ext>
              </a:extLst>
            </p:cNvPr>
            <p:cNvSpPr/>
            <p:nvPr userDrawn="1"/>
          </p:nvSpPr>
          <p:spPr>
            <a:xfrm>
              <a:off x="8743018" y="7117574"/>
              <a:ext cx="3685157" cy="6858000"/>
            </a:xfrm>
            <a:custGeom>
              <a:avLst/>
              <a:gdLst>
                <a:gd name="connsiteX0" fmla="*/ 2857508 w 3685157"/>
                <a:gd name="connsiteY0" fmla="*/ 0 h 6858000"/>
                <a:gd name="connsiteX1" fmla="*/ 3685157 w 3685157"/>
                <a:gd name="connsiteY1" fmla="*/ 0 h 6858000"/>
                <a:gd name="connsiteX2" fmla="*/ 3685157 w 3685157"/>
                <a:gd name="connsiteY2" fmla="*/ 1 h 6858000"/>
                <a:gd name="connsiteX3" fmla="*/ 3448981 w 3685157"/>
                <a:gd name="connsiteY3" fmla="*/ 1 h 6858000"/>
                <a:gd name="connsiteX4" fmla="*/ 3448981 w 3685157"/>
                <a:gd name="connsiteY4" fmla="*/ 566821 h 6858000"/>
                <a:gd name="connsiteX5" fmla="*/ 827649 w 3685157"/>
                <a:gd name="connsiteY5" fmla="*/ 6858000 h 6858000"/>
                <a:gd name="connsiteX6" fmla="*/ 0 w 3685157"/>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85157" h="6858000">
                  <a:moveTo>
                    <a:pt x="2857508" y="0"/>
                  </a:moveTo>
                  <a:lnTo>
                    <a:pt x="3685157" y="0"/>
                  </a:lnTo>
                  <a:lnTo>
                    <a:pt x="3685157" y="1"/>
                  </a:lnTo>
                  <a:lnTo>
                    <a:pt x="3448981" y="1"/>
                  </a:lnTo>
                  <a:lnTo>
                    <a:pt x="3448981" y="566821"/>
                  </a:lnTo>
                  <a:lnTo>
                    <a:pt x="827649" y="6858000"/>
                  </a:lnTo>
                  <a:lnTo>
                    <a:pt x="0" y="6858000"/>
                  </a:lnTo>
                  <a:close/>
                </a:path>
              </a:pathLst>
            </a:cu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61" name="Freeform: Shape 60">
              <a:extLst>
                <a:ext uri="{FF2B5EF4-FFF2-40B4-BE49-F238E27FC236}">
                  <a16:creationId xmlns:a16="http://schemas.microsoft.com/office/drawing/2014/main" id="{24C388FD-804B-4EFD-A368-9250F47BF4A5}"/>
                </a:ext>
              </a:extLst>
            </p:cNvPr>
            <p:cNvSpPr/>
            <p:nvPr userDrawn="1"/>
          </p:nvSpPr>
          <p:spPr>
            <a:xfrm>
              <a:off x="10937544" y="10964892"/>
              <a:ext cx="1254455" cy="3010683"/>
            </a:xfrm>
            <a:custGeom>
              <a:avLst/>
              <a:gdLst>
                <a:gd name="connsiteX0" fmla="*/ 1254455 w 1254455"/>
                <a:gd name="connsiteY0" fmla="*/ 0 h 3010683"/>
                <a:gd name="connsiteX1" fmla="*/ 1254455 w 1254455"/>
                <a:gd name="connsiteY1" fmla="*/ 1986352 h 3010683"/>
                <a:gd name="connsiteX2" fmla="*/ 827649 w 1254455"/>
                <a:gd name="connsiteY2" fmla="*/ 3010683 h 3010683"/>
                <a:gd name="connsiteX3" fmla="*/ 0 w 1254455"/>
                <a:gd name="connsiteY3" fmla="*/ 3010683 h 3010683"/>
              </a:gdLst>
              <a:ahLst/>
              <a:cxnLst>
                <a:cxn ang="0">
                  <a:pos x="connsiteX0" y="connsiteY0"/>
                </a:cxn>
                <a:cxn ang="0">
                  <a:pos x="connsiteX1" y="connsiteY1"/>
                </a:cxn>
                <a:cxn ang="0">
                  <a:pos x="connsiteX2" y="connsiteY2"/>
                </a:cxn>
                <a:cxn ang="0">
                  <a:pos x="connsiteX3" y="connsiteY3"/>
                </a:cxn>
              </a:cxnLst>
              <a:rect l="l" t="t" r="r" b="b"/>
              <a:pathLst>
                <a:path w="1254455" h="3010683">
                  <a:moveTo>
                    <a:pt x="1254455" y="0"/>
                  </a:moveTo>
                  <a:lnTo>
                    <a:pt x="1254455" y="1986352"/>
                  </a:lnTo>
                  <a:lnTo>
                    <a:pt x="827649" y="3010683"/>
                  </a:lnTo>
                  <a:lnTo>
                    <a:pt x="0" y="3010683"/>
                  </a:lnTo>
                  <a:close/>
                </a:path>
              </a:pathLst>
            </a:cu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grpSp>
      <p:sp>
        <p:nvSpPr>
          <p:cNvPr id="62" name="Round Same-side Corner of Rectangle 38">
            <a:extLst>
              <a:ext uri="{FF2B5EF4-FFF2-40B4-BE49-F238E27FC236}">
                <a16:creationId xmlns:a16="http://schemas.microsoft.com/office/drawing/2014/main" id="{29F66231-00E1-4D57-A796-987287446C27}"/>
              </a:ext>
            </a:extLst>
          </p:cNvPr>
          <p:cNvSpPr/>
          <p:nvPr userDrawn="1"/>
        </p:nvSpPr>
        <p:spPr bwMode="black">
          <a:xfrm>
            <a:off x="630936" y="2393157"/>
            <a:ext cx="8125200" cy="4464844"/>
          </a:xfrm>
          <a:prstGeom prst="round2SameRect">
            <a:avLst>
              <a:gd name="adj1" fmla="val 4277"/>
              <a:gd name="adj2" fmla="val 0"/>
            </a:avLst>
          </a:prstGeom>
          <a:solidFill>
            <a:schemeClr val="bg1">
              <a:alpha val="92969"/>
            </a:schemeClr>
          </a:solidFill>
          <a:ln>
            <a:noFill/>
          </a:ln>
          <a:effectLst>
            <a:outerShdw blurRad="381000" algn="ctr" rotWithShape="0">
              <a:schemeClr val="bg2">
                <a:lumMod val="10000"/>
                <a:alpha val="29973"/>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lnSpc>
                <a:spcPct val="95000"/>
              </a:lnSpc>
            </a:pPr>
            <a:endParaRPr lang="en-US" sz="2000" dirty="0">
              <a:solidFill>
                <a:prstClr val="white"/>
              </a:solidFill>
              <a:cs typeface="+mn-cs"/>
              <a:sym typeface="Trebuchet MS" panose="020B0603020202020204" pitchFamily="34" charset="0"/>
            </a:endParaRPr>
          </a:p>
        </p:txBody>
      </p:sp>
      <p:sp>
        <p:nvSpPr>
          <p:cNvPr id="63" name="Round Same-side Corner of Rectangle 43">
            <a:extLst>
              <a:ext uri="{FF2B5EF4-FFF2-40B4-BE49-F238E27FC236}">
                <a16:creationId xmlns:a16="http://schemas.microsoft.com/office/drawing/2014/main" id="{38093347-C94C-45A0-9D94-6F820F373DE3}"/>
              </a:ext>
            </a:extLst>
          </p:cNvPr>
          <p:cNvSpPr/>
          <p:nvPr userDrawn="1"/>
        </p:nvSpPr>
        <p:spPr bwMode="black">
          <a:xfrm>
            <a:off x="414328" y="2393157"/>
            <a:ext cx="8125200" cy="4464844"/>
          </a:xfrm>
          <a:prstGeom prst="round2SameRect">
            <a:avLst>
              <a:gd name="adj1" fmla="val 4277"/>
              <a:gd name="adj2" fmla="val 0"/>
            </a:avLst>
          </a:prstGeom>
          <a:gradFill flip="none" rotWithShape="1">
            <a:gsLst>
              <a:gs pos="0">
                <a:srgbClr val="006F4E">
                  <a:alpha val="10000"/>
                </a:srgbClr>
              </a:gs>
              <a:gs pos="100000">
                <a:srgbClr val="009B9D">
                  <a:alpha val="4937"/>
                </a:srgb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lnSpc>
                <a:spcPct val="95000"/>
              </a:lnSpc>
            </a:pPr>
            <a:endParaRPr lang="en-US" sz="2000" dirty="0">
              <a:solidFill>
                <a:prstClr val="white"/>
              </a:solidFill>
              <a:cs typeface="+mn-cs"/>
              <a:sym typeface="Trebuchet MS" panose="020B0603020202020204" pitchFamily="34" charset="0"/>
            </a:endParaRPr>
          </a:p>
        </p:txBody>
      </p:sp>
      <p:sp>
        <p:nvSpPr>
          <p:cNvPr id="64" name="Round Same-side Corner of Rectangle 44">
            <a:extLst>
              <a:ext uri="{FF2B5EF4-FFF2-40B4-BE49-F238E27FC236}">
                <a16:creationId xmlns:a16="http://schemas.microsoft.com/office/drawing/2014/main" id="{E228D9C0-8627-47D5-A7FA-0AFFFBFAD522}"/>
              </a:ext>
            </a:extLst>
          </p:cNvPr>
          <p:cNvSpPr/>
          <p:nvPr userDrawn="1"/>
        </p:nvSpPr>
        <p:spPr bwMode="black">
          <a:xfrm>
            <a:off x="9340638" y="5084617"/>
            <a:ext cx="2242259" cy="1773383"/>
          </a:xfrm>
          <a:prstGeom prst="round2SameRect">
            <a:avLst>
              <a:gd name="adj1" fmla="val 8183"/>
              <a:gd name="adj2" fmla="val 0"/>
            </a:avLst>
          </a:prstGeom>
          <a:solidFill>
            <a:schemeClr val="bg1">
              <a:alpha val="92969"/>
            </a:schemeClr>
          </a:solidFill>
          <a:ln>
            <a:noFill/>
          </a:ln>
          <a:effectLst>
            <a:outerShdw blurRad="381000" algn="ctr" rotWithShape="0">
              <a:schemeClr val="bg2">
                <a:lumMod val="10000"/>
                <a:alpha val="29973"/>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lnSpc>
                <a:spcPct val="95000"/>
              </a:lnSpc>
            </a:pPr>
            <a:endParaRPr lang="en-US" sz="2000" dirty="0">
              <a:solidFill>
                <a:prstClr val="white"/>
              </a:solidFill>
              <a:cs typeface="+mn-cs"/>
              <a:sym typeface="Trebuchet MS" panose="020B0603020202020204" pitchFamily="34" charset="0"/>
            </a:endParaRPr>
          </a:p>
        </p:txBody>
      </p:sp>
      <p:sp>
        <p:nvSpPr>
          <p:cNvPr id="65" name="Picture Placeholder 8">
            <a:extLst>
              <a:ext uri="{FF2B5EF4-FFF2-40B4-BE49-F238E27FC236}">
                <a16:creationId xmlns:a16="http://schemas.microsoft.com/office/drawing/2014/main" id="{32B5118D-CE41-40EF-B688-D1C029A27D68}"/>
              </a:ext>
            </a:extLst>
          </p:cNvPr>
          <p:cNvSpPr>
            <a:spLocks noGrp="1"/>
          </p:cNvSpPr>
          <p:nvPr>
            <p:ph type="pic" sz="quarter" idx="13" hasCustomPrompt="1"/>
          </p:nvPr>
        </p:nvSpPr>
        <p:spPr>
          <a:xfrm>
            <a:off x="9527801" y="5570642"/>
            <a:ext cx="1867935" cy="896833"/>
          </a:xfrm>
          <a:prstGeom prst="rect">
            <a:avLst/>
          </a:prstGeom>
        </p:spPr>
        <p:txBody>
          <a:bodyPr anchor="b"/>
          <a:lstStyle>
            <a:lvl1pPr algn="ctr" rtl="0">
              <a:defRPr sz="1600">
                <a:solidFill>
                  <a:schemeClr val="tx1"/>
                </a:solidFill>
                <a:latin typeface="Trebuchet MS" panose="020B0603020202020204" pitchFamily="34" charset="0"/>
                <a:cs typeface="+mn-cs"/>
                <a:sym typeface="Trebuchet MS" panose="020B0603020202020204" pitchFamily="34" charset="0"/>
              </a:defRPr>
            </a:lvl1pPr>
          </a:lstStyle>
          <a:p>
            <a:r>
              <a:rPr lang="en-US" dirty="0"/>
              <a:t>Logo</a:t>
            </a:r>
          </a:p>
        </p:txBody>
      </p:sp>
      <p:sp>
        <p:nvSpPr>
          <p:cNvPr id="66" name="Overlay">
            <a:extLst>
              <a:ext uri="{FF2B5EF4-FFF2-40B4-BE49-F238E27FC236}">
                <a16:creationId xmlns:a16="http://schemas.microsoft.com/office/drawing/2014/main" id="{10631BFD-98A9-4E66-81B6-9179F8477110}"/>
              </a:ext>
            </a:extLst>
          </p:cNvPr>
          <p:cNvSpPr/>
          <p:nvPr userDrawn="1">
            <p:custDataLst>
              <p:tags r:id="rId4"/>
            </p:custDataLst>
          </p:nvPr>
        </p:nvSpPr>
        <p:spPr>
          <a:xfrm>
            <a:off x="9340639" y="0"/>
            <a:ext cx="2242259" cy="2081213"/>
          </a:xfrm>
          <a:prstGeom prst="round2SameRect">
            <a:avLst>
              <a:gd name="adj1" fmla="val 0"/>
              <a:gd name="adj2" fmla="val 12079"/>
            </a:avLst>
          </a:prstGeom>
          <a:gradFill>
            <a:gsLst>
              <a:gs pos="0">
                <a:srgbClr val="009B9D">
                  <a:alpha val="21000"/>
                </a:srgbClr>
              </a:gs>
              <a:gs pos="100000">
                <a:srgbClr val="006F4E">
                  <a:alpha val="8897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cs typeface="+mn-cs"/>
            </a:endParaRPr>
          </a:p>
        </p:txBody>
      </p:sp>
      <p:sp>
        <p:nvSpPr>
          <p:cNvPr id="67" name="Text Placeholder 6">
            <a:extLst>
              <a:ext uri="{FF2B5EF4-FFF2-40B4-BE49-F238E27FC236}">
                <a16:creationId xmlns:a16="http://schemas.microsoft.com/office/drawing/2014/main" id="{F3917426-D77A-4508-B37D-8AB9CF6D4DCA}"/>
              </a:ext>
            </a:extLst>
          </p:cNvPr>
          <p:cNvSpPr>
            <a:spLocks noGrp="1"/>
          </p:cNvSpPr>
          <p:nvPr>
            <p:ph type="body" sz="quarter" idx="12" hasCustomPrompt="1"/>
          </p:nvPr>
        </p:nvSpPr>
        <p:spPr bwMode="black">
          <a:xfrm>
            <a:off x="1117415" y="6207842"/>
            <a:ext cx="6868800" cy="327148"/>
          </a:xfrm>
          <a:prstGeom prst="rect">
            <a:avLst/>
          </a:prstGeom>
          <a:noFill/>
        </p:spPr>
        <p:txBody>
          <a:bodyPr anchor="ctr"/>
          <a:lstStyle>
            <a:lvl1pPr algn="l" rtl="0">
              <a:lnSpc>
                <a:spcPct val="110000"/>
              </a:lnSpc>
              <a:buNone/>
              <a:defRPr sz="1000" b="1" cap="all" baseline="0">
                <a:solidFill>
                  <a:srgbClr val="7F7F7F"/>
                </a:solidFill>
                <a:latin typeface="+mn-lt"/>
                <a:cs typeface="+mn-cs"/>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68" name="Subtitle 2">
            <a:extLst>
              <a:ext uri="{FF2B5EF4-FFF2-40B4-BE49-F238E27FC236}">
                <a16:creationId xmlns:a16="http://schemas.microsoft.com/office/drawing/2014/main" id="{89DBE637-EF0A-4D65-9948-DD0630674891}"/>
              </a:ext>
            </a:extLst>
          </p:cNvPr>
          <p:cNvSpPr>
            <a:spLocks noGrp="1"/>
          </p:cNvSpPr>
          <p:nvPr>
            <p:ph type="subTitle" idx="1" hasCustomPrompt="1"/>
          </p:nvPr>
        </p:nvSpPr>
        <p:spPr bwMode="white">
          <a:xfrm>
            <a:off x="1117415" y="5607063"/>
            <a:ext cx="6868800" cy="436195"/>
          </a:xfrm>
          <a:prstGeom prst="rect">
            <a:avLst/>
          </a:prstGeom>
        </p:spPr>
        <p:txBody>
          <a:bodyPr anchor="ctr"/>
          <a:lstStyle>
            <a:lvl1pPr marL="0" indent="0" algn="l" rtl="0">
              <a:lnSpc>
                <a:spcPct val="110000"/>
              </a:lnSpc>
              <a:buNone/>
              <a:defRPr sz="1400" baseline="0">
                <a:solidFill>
                  <a:srgbClr val="03522D"/>
                </a:solidFill>
                <a:latin typeface="+mn-lt"/>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69" name="Title 1">
            <a:extLst>
              <a:ext uri="{FF2B5EF4-FFF2-40B4-BE49-F238E27FC236}">
                <a16:creationId xmlns:a16="http://schemas.microsoft.com/office/drawing/2014/main" id="{3AF68955-93C5-4DE0-A8E0-DA967B36C35F}"/>
              </a:ext>
            </a:extLst>
          </p:cNvPr>
          <p:cNvSpPr>
            <a:spLocks noGrp="1"/>
          </p:cNvSpPr>
          <p:nvPr>
            <p:ph type="ctrTitle" hasCustomPrompt="1"/>
          </p:nvPr>
        </p:nvSpPr>
        <p:spPr bwMode="ltGray">
          <a:xfrm>
            <a:off x="1117415" y="2242851"/>
            <a:ext cx="6868800" cy="3138423"/>
          </a:xfrm>
          <a:prstGeom prst="rect">
            <a:avLst/>
          </a:prstGeom>
        </p:spPr>
        <p:txBody>
          <a:bodyPr vert="horz" anchor="b">
            <a:normAutofit/>
          </a:bodyPr>
          <a:lstStyle>
            <a:lvl1pPr algn="l" rtl="0">
              <a:lnSpc>
                <a:spcPct val="93000"/>
              </a:lnSpc>
              <a:defRPr sz="4800" baseline="0">
                <a:solidFill>
                  <a:srgbClr val="03522D"/>
                </a:solidFill>
                <a:latin typeface="+mj-lt"/>
                <a:cs typeface="+mj-cs"/>
                <a:sym typeface="Trebuchet MS" panose="020B0603020202020204" pitchFamily="34" charset="0"/>
              </a:defRPr>
            </a:lvl1pPr>
          </a:lstStyle>
          <a:p>
            <a:r>
              <a:rPr lang="en-US" dirty="0"/>
              <a:t>Title in Title Case</a:t>
            </a:r>
          </a:p>
        </p:txBody>
      </p:sp>
      <p:sp>
        <p:nvSpPr>
          <p:cNvPr id="70" name="Freeform 42">
            <a:extLst>
              <a:ext uri="{FF2B5EF4-FFF2-40B4-BE49-F238E27FC236}">
                <a16:creationId xmlns:a16="http://schemas.microsoft.com/office/drawing/2014/main" id="{03C2BC69-71D9-4B03-8F98-1CBD3A1EA268}"/>
              </a:ext>
            </a:extLst>
          </p:cNvPr>
          <p:cNvSpPr>
            <a:spLocks noChangeAspect="1"/>
          </p:cNvSpPr>
          <p:nvPr userDrawn="1"/>
        </p:nvSpPr>
        <p:spPr bwMode="auto">
          <a:xfrm>
            <a:off x="1115178" y="2752927"/>
            <a:ext cx="2049190" cy="428282"/>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177B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dirty="0">
              <a:cs typeface="+mn-cs"/>
            </a:endParaRPr>
          </a:p>
        </p:txBody>
      </p:sp>
    </p:spTree>
    <p:extLst>
      <p:ext uri="{BB962C8B-B14F-4D97-AF65-F5344CB8AC3E}">
        <p14:creationId xmlns:p14="http://schemas.microsoft.com/office/powerpoint/2010/main" val="8274812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D. Title Only">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D9A30557-EC7F-4173-080C-1AAA90A57264}"/>
              </a:ext>
            </a:extLst>
          </p:cNvPr>
          <p:cNvGraphicFramePr>
            <a:graphicFrameLocks noChangeAspect="1"/>
          </p:cNvGraphicFramePr>
          <p:nvPr userDrawn="1">
            <p:custDataLst>
              <p:tags r:id="rId1"/>
            </p:custDataLst>
            <p:extLst>
              <p:ext uri="{D42A27DB-BD31-4B8C-83A1-F6EECF244321}">
                <p14:modId xmlns:p14="http://schemas.microsoft.com/office/powerpoint/2010/main" val="153115896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1" name="think-cell data - do not delete" hidden="1">
                        <a:extLst>
                          <a:ext uri="{FF2B5EF4-FFF2-40B4-BE49-F238E27FC236}">
                            <a16:creationId xmlns:a16="http://schemas.microsoft.com/office/drawing/2014/main" id="{D9A30557-EC7F-4173-080C-1AAA90A5726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3207BAE6-483E-A5B6-2144-6227595737AB}"/>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 y="0"/>
            <a:ext cx="12192001" cy="1756247"/>
          </a:xfrm>
          <a:prstGeom prst="round2SameRect">
            <a:avLst>
              <a:gd name="adj1" fmla="val 0"/>
              <a:gd name="adj2" fmla="val 11274"/>
            </a:avLst>
          </a:prstGeom>
          <a:gradFill>
            <a:gsLst>
              <a:gs pos="0">
                <a:schemeClr val="tx2"/>
              </a:gs>
              <a:gs pos="100000">
                <a:schemeClr val="accent2"/>
              </a:gs>
            </a:gsLst>
            <a:lin ang="8100000" scaled="1"/>
          </a:gradFill>
          <a:effectLst>
            <a:outerShdw blurRad="254000" algn="ctr" rotWithShape="0">
              <a:prstClr val="black">
                <a:alpha val="27000"/>
              </a:prstClr>
            </a:outerShdw>
          </a:effectLst>
        </p:spPr>
      </p:pic>
      <p:sp>
        <p:nvSpPr>
          <p:cNvPr id="13" name="Overlay">
            <a:extLst>
              <a:ext uri="{FF2B5EF4-FFF2-40B4-BE49-F238E27FC236}">
                <a16:creationId xmlns:a16="http://schemas.microsoft.com/office/drawing/2014/main" id="{F3680353-6F3E-B798-2BE2-7BA3F0FC83DA}"/>
              </a:ext>
            </a:extLst>
          </p:cNvPr>
          <p:cNvSpPr/>
          <p:nvPr userDrawn="1">
            <p:custDataLst>
              <p:tags r:id="rId2"/>
            </p:custDataLst>
          </p:nvPr>
        </p:nvSpPr>
        <p:spPr>
          <a:xfrm>
            <a:off x="-1" y="0"/>
            <a:ext cx="12192001" cy="1756247"/>
          </a:xfrm>
          <a:prstGeom prst="round2SameRect">
            <a:avLst>
              <a:gd name="adj1" fmla="val 0"/>
              <a:gd name="adj2" fmla="val 11274"/>
            </a:avLst>
          </a:prstGeom>
          <a:gradFill>
            <a:gsLst>
              <a:gs pos="0">
                <a:srgbClr val="009B9D">
                  <a:alpha val="21000"/>
                </a:srgbClr>
              </a:gs>
              <a:gs pos="100000">
                <a:srgbClr val="006F4E">
                  <a:alpha val="8897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cs typeface="+mn-cs"/>
            </a:endParaRPr>
          </a:p>
        </p:txBody>
      </p:sp>
      <p:sp>
        <p:nvSpPr>
          <p:cNvPr id="57" name="Date Placeholder 56"/>
          <p:cNvSpPr>
            <a:spLocks noGrp="1"/>
          </p:cNvSpPr>
          <p:nvPr>
            <p:ph type="dt" sz="half" idx="14"/>
          </p:nvPr>
        </p:nvSpPr>
        <p:spPr/>
        <p:txBody>
          <a:bodyPr/>
          <a:lstStyle>
            <a:lvl1pPr rtl="0">
              <a:defRPr>
                <a:solidFill>
                  <a:schemeClr val="bg1">
                    <a:lumMod val="50000"/>
                  </a:schemeClr>
                </a:solidFill>
                <a:latin typeface="+mn-lt"/>
                <a:cs typeface="+mn-cs"/>
                <a:sym typeface="Trebuchet MS" panose="020B0603020202020204" pitchFamily="34" charset="0"/>
              </a:defRPr>
            </a:lvl1pPr>
          </a:lstStyle>
          <a:p>
            <a:endParaRPr lang="en-US" dirty="0"/>
          </a:p>
        </p:txBody>
      </p:sp>
      <p:sp>
        <p:nvSpPr>
          <p:cNvPr id="7"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cs typeface="+mn-cs"/>
                <a:sym typeface="Trebuchet MS" panose="020B0603020202020204" pitchFamily="34" charset="0"/>
              </a:rPr>
              <a:t>Copyright © 2024 by Boston Consulting Group. All rights reserved.</a:t>
            </a:r>
          </a:p>
        </p:txBody>
      </p:sp>
      <p:sp>
        <p:nvSpPr>
          <p:cNvPr id="8" name="Title 7"/>
          <p:cNvSpPr>
            <a:spLocks noGrp="1"/>
          </p:cNvSpPr>
          <p:nvPr>
            <p:ph type="title" hasCustomPrompt="1"/>
          </p:nvPr>
        </p:nvSpPr>
        <p:spPr>
          <a:xfrm>
            <a:off x="630000" y="622800"/>
            <a:ext cx="10933350" cy="332399"/>
          </a:xfrm>
        </p:spPr>
        <p:txBody>
          <a:bodyPr vert="horz"/>
          <a:lstStyle>
            <a:lvl1pPr rtl="0">
              <a:defRPr>
                <a:solidFill>
                  <a:schemeClr val="bg1"/>
                </a:solidFill>
                <a:latin typeface="+mj-lt"/>
                <a:cs typeface="+mj-cs"/>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9640088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15">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D.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39D6D5D8-E017-8676-9928-E5B3D1692479}"/>
              </a:ext>
            </a:extLst>
          </p:cNvPr>
          <p:cNvGraphicFramePr>
            <a:graphicFrameLocks noChangeAspect="1"/>
          </p:cNvGraphicFramePr>
          <p:nvPr userDrawn="1">
            <p:custDataLst>
              <p:tags r:id="rId1"/>
            </p:custDataLst>
            <p:extLst>
              <p:ext uri="{D42A27DB-BD31-4B8C-83A1-F6EECF244321}">
                <p14:modId xmlns:p14="http://schemas.microsoft.com/office/powerpoint/2010/main" val="28467296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think-cell data - do not delete" hidden="1">
                        <a:extLst>
                          <a:ext uri="{FF2B5EF4-FFF2-40B4-BE49-F238E27FC236}">
                            <a16:creationId xmlns:a16="http://schemas.microsoft.com/office/drawing/2014/main" id="{39D6D5D8-E017-8676-9928-E5B3D169247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0AA69619-63C6-0945-D824-6A2FA3E7EDBD}"/>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 y="0"/>
            <a:ext cx="12192001" cy="1756247"/>
          </a:xfrm>
          <a:prstGeom prst="round2SameRect">
            <a:avLst>
              <a:gd name="adj1" fmla="val 0"/>
              <a:gd name="adj2" fmla="val 11274"/>
            </a:avLst>
          </a:prstGeom>
          <a:gradFill>
            <a:gsLst>
              <a:gs pos="0">
                <a:schemeClr val="tx2"/>
              </a:gs>
              <a:gs pos="100000">
                <a:schemeClr val="accent2"/>
              </a:gs>
            </a:gsLst>
            <a:lin ang="8100000" scaled="1"/>
          </a:gradFill>
          <a:effectLst>
            <a:outerShdw blurRad="254000" algn="ctr" rotWithShape="0">
              <a:prstClr val="black">
                <a:alpha val="27000"/>
              </a:prstClr>
            </a:outerShdw>
          </a:effectLst>
        </p:spPr>
      </p:pic>
      <p:sp>
        <p:nvSpPr>
          <p:cNvPr id="11" name="Overlay">
            <a:extLst>
              <a:ext uri="{FF2B5EF4-FFF2-40B4-BE49-F238E27FC236}">
                <a16:creationId xmlns:a16="http://schemas.microsoft.com/office/drawing/2014/main" id="{61A3DA20-3017-5C9A-B69E-5BE34C935D35}"/>
              </a:ext>
            </a:extLst>
          </p:cNvPr>
          <p:cNvSpPr/>
          <p:nvPr userDrawn="1">
            <p:custDataLst>
              <p:tags r:id="rId2"/>
            </p:custDataLst>
          </p:nvPr>
        </p:nvSpPr>
        <p:spPr>
          <a:xfrm>
            <a:off x="-1" y="0"/>
            <a:ext cx="12192001" cy="1756247"/>
          </a:xfrm>
          <a:prstGeom prst="round2SameRect">
            <a:avLst>
              <a:gd name="adj1" fmla="val 0"/>
              <a:gd name="adj2" fmla="val 11274"/>
            </a:avLst>
          </a:prstGeom>
          <a:gradFill>
            <a:gsLst>
              <a:gs pos="0">
                <a:srgbClr val="009B9D">
                  <a:alpha val="21000"/>
                </a:srgbClr>
              </a:gs>
              <a:gs pos="100000">
                <a:srgbClr val="006F4E">
                  <a:alpha val="8897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cs typeface="+mn-cs"/>
            </a:endParaRPr>
          </a:p>
        </p:txBody>
      </p:sp>
      <p:grpSp>
        <p:nvGrpSpPr>
          <p:cNvPr id="3" name="Group 2">
            <a:extLst>
              <a:ext uri="{FF2B5EF4-FFF2-40B4-BE49-F238E27FC236}">
                <a16:creationId xmlns:a16="http://schemas.microsoft.com/office/drawing/2014/main" id="{C0FEA121-9B31-9A1D-7D3F-26067190BD66}"/>
              </a:ext>
            </a:extLst>
          </p:cNvPr>
          <p:cNvGrpSpPr/>
          <p:nvPr userDrawn="1"/>
        </p:nvGrpSpPr>
        <p:grpSpPr>
          <a:xfrm>
            <a:off x="0" y="2382673"/>
            <a:ext cx="12192001" cy="4475327"/>
            <a:chOff x="0" y="2382673"/>
            <a:chExt cx="12192001" cy="4475327"/>
          </a:xfrm>
        </p:grpSpPr>
        <p:sp>
          <p:nvSpPr>
            <p:cNvPr id="5" name="Freeform 4">
              <a:extLst>
                <a:ext uri="{FF2B5EF4-FFF2-40B4-BE49-F238E27FC236}">
                  <a16:creationId xmlns:a16="http://schemas.microsoft.com/office/drawing/2014/main" id="{28BA6B85-F921-63B2-92AA-BBCD9C586EBA}"/>
                </a:ext>
              </a:extLst>
            </p:cNvPr>
            <p:cNvSpPr/>
            <p:nvPr/>
          </p:nvSpPr>
          <p:spPr>
            <a:xfrm>
              <a:off x="7747933" y="2382673"/>
              <a:ext cx="4444067" cy="3417775"/>
            </a:xfrm>
            <a:custGeom>
              <a:avLst/>
              <a:gdLst>
                <a:gd name="connsiteX0" fmla="*/ 4432804 w 4444067"/>
                <a:gd name="connsiteY0" fmla="*/ 0 h 3417775"/>
                <a:gd name="connsiteX1" fmla="*/ 4432804 w 4444067"/>
                <a:gd name="connsiteY1" fmla="*/ 0 h 3417775"/>
                <a:gd name="connsiteX2" fmla="*/ 3756900 w 4444067"/>
                <a:gd name="connsiteY2" fmla="*/ 360864 h 3417775"/>
                <a:gd name="connsiteX3" fmla="*/ 1357441 w 4444067"/>
                <a:gd name="connsiteY3" fmla="*/ 1623888 h 3417775"/>
                <a:gd name="connsiteX4" fmla="*/ 0 w 4444067"/>
                <a:gd name="connsiteY4" fmla="*/ 2182099 h 3417775"/>
                <a:gd name="connsiteX5" fmla="*/ 5633 w 4444067"/>
                <a:gd name="connsiteY5" fmla="*/ 2187737 h 3417775"/>
                <a:gd name="connsiteX6" fmla="*/ 0 w 4444067"/>
                <a:gd name="connsiteY6" fmla="*/ 2182099 h 3417775"/>
                <a:gd name="connsiteX7" fmla="*/ 433705 w 4444067"/>
                <a:gd name="connsiteY7" fmla="*/ 3163198 h 3417775"/>
                <a:gd name="connsiteX8" fmla="*/ 602681 w 4444067"/>
                <a:gd name="connsiteY8" fmla="*/ 3326714 h 3417775"/>
                <a:gd name="connsiteX9" fmla="*/ 901205 w 4444067"/>
                <a:gd name="connsiteY9" fmla="*/ 3416930 h 3417775"/>
                <a:gd name="connsiteX10" fmla="*/ 1216627 w 4444067"/>
                <a:gd name="connsiteY10" fmla="*/ 3349268 h 3417775"/>
                <a:gd name="connsiteX11" fmla="*/ 4444068 w 4444067"/>
                <a:gd name="connsiteY11" fmla="*/ 1612611 h 341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44067" h="3417775">
                  <a:moveTo>
                    <a:pt x="4432804" y="0"/>
                  </a:moveTo>
                  <a:lnTo>
                    <a:pt x="4432804" y="0"/>
                  </a:lnTo>
                  <a:lnTo>
                    <a:pt x="3756900" y="360864"/>
                  </a:lnTo>
                  <a:lnTo>
                    <a:pt x="1357441" y="1623888"/>
                  </a:lnTo>
                  <a:cubicBezTo>
                    <a:pt x="1357441" y="1623888"/>
                    <a:pt x="529458" y="2069329"/>
                    <a:pt x="0" y="2182099"/>
                  </a:cubicBezTo>
                  <a:lnTo>
                    <a:pt x="5633" y="2187737"/>
                  </a:lnTo>
                  <a:lnTo>
                    <a:pt x="0" y="2182099"/>
                  </a:lnTo>
                  <a:cubicBezTo>
                    <a:pt x="146446" y="2638817"/>
                    <a:pt x="292892" y="2932019"/>
                    <a:pt x="433705" y="3163198"/>
                  </a:cubicBezTo>
                  <a:cubicBezTo>
                    <a:pt x="473132" y="3230860"/>
                    <a:pt x="535091" y="3287245"/>
                    <a:pt x="602681" y="3326714"/>
                  </a:cubicBezTo>
                  <a:cubicBezTo>
                    <a:pt x="692802" y="3383099"/>
                    <a:pt x="794187" y="3411292"/>
                    <a:pt x="901205" y="3416930"/>
                  </a:cubicBezTo>
                  <a:cubicBezTo>
                    <a:pt x="1008223" y="3422569"/>
                    <a:pt x="1115241" y="3400015"/>
                    <a:pt x="1216627" y="3349268"/>
                  </a:cubicBezTo>
                  <a:lnTo>
                    <a:pt x="4444068" y="1612611"/>
                  </a:lnTo>
                  <a:close/>
                </a:path>
              </a:pathLst>
            </a:custGeom>
            <a:solidFill>
              <a:srgbClr val="009B9D">
                <a:alpha val="7000"/>
              </a:srgbClr>
            </a:solidFill>
            <a:ln w="56300" cap="flat">
              <a:noFill/>
              <a:prstDash val="solid"/>
              <a:miter/>
            </a:ln>
          </p:spPr>
          <p:txBody>
            <a:bodyPr rtlCol="0" anchor="ctr"/>
            <a:lstStyle/>
            <a:p>
              <a:pPr rtl="0"/>
              <a:endParaRPr lang="en-US" dirty="0">
                <a:cs typeface="+mn-cs"/>
              </a:endParaRPr>
            </a:p>
          </p:txBody>
        </p:sp>
        <p:sp>
          <p:nvSpPr>
            <p:cNvPr id="7" name="Freeform 6">
              <a:extLst>
                <a:ext uri="{FF2B5EF4-FFF2-40B4-BE49-F238E27FC236}">
                  <a16:creationId xmlns:a16="http://schemas.microsoft.com/office/drawing/2014/main" id="{47CA0E08-286E-FD7E-E936-ECB9F36504CC}"/>
                </a:ext>
              </a:extLst>
            </p:cNvPr>
            <p:cNvSpPr/>
            <p:nvPr/>
          </p:nvSpPr>
          <p:spPr>
            <a:xfrm>
              <a:off x="0" y="3277507"/>
              <a:ext cx="12192001" cy="3580493"/>
            </a:xfrm>
            <a:custGeom>
              <a:avLst/>
              <a:gdLst>
                <a:gd name="connsiteX0" fmla="*/ 12192001 w 12192001"/>
                <a:gd name="connsiteY0" fmla="*/ 1687383 h 3580493"/>
                <a:gd name="connsiteX1" fmla="*/ 12181807 w 12192001"/>
                <a:gd name="connsiteY1" fmla="*/ 3580493 h 3580493"/>
                <a:gd name="connsiteX2" fmla="*/ 8662888 w 12192001"/>
                <a:gd name="connsiteY2" fmla="*/ 3580493 h 3580493"/>
                <a:gd name="connsiteX3" fmla="*/ 781415 w 12192001"/>
                <a:gd name="connsiteY3" fmla="*/ 374 h 3580493"/>
                <a:gd name="connsiteX4" fmla="*/ 2025283 w 12192001"/>
                <a:gd name="connsiteY4" fmla="*/ 1850899 h 3580493"/>
                <a:gd name="connsiteX5" fmla="*/ 2036547 w 12192001"/>
                <a:gd name="connsiteY5" fmla="*/ 1901646 h 3580493"/>
                <a:gd name="connsiteX6" fmla="*/ 1676065 w 12192001"/>
                <a:gd name="connsiteY6" fmla="*/ 1862175 h 3580493"/>
                <a:gd name="connsiteX7" fmla="*/ 192135 w 12192001"/>
                <a:gd name="connsiteY7" fmla="*/ 2129365 h 3580493"/>
                <a:gd name="connsiteX8" fmla="*/ 0 w 12192001"/>
                <a:gd name="connsiteY8" fmla="*/ 2193947 h 3580493"/>
                <a:gd name="connsiteX9" fmla="*/ 0 w 12192001"/>
                <a:gd name="connsiteY9" fmla="*/ 70220 h 3580493"/>
                <a:gd name="connsiteX10" fmla="*/ 294330 w 12192001"/>
                <a:gd name="connsiteY10" fmla="*/ 27516 h 3580493"/>
                <a:gd name="connsiteX11" fmla="*/ 656576 w 12192001"/>
                <a:gd name="connsiteY11" fmla="*/ 1471 h 3580493"/>
                <a:gd name="connsiteX12" fmla="*/ 781415 w 12192001"/>
                <a:gd name="connsiteY12" fmla="*/ 374 h 3580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1" h="3580493">
                  <a:moveTo>
                    <a:pt x="12192001" y="1687383"/>
                  </a:moveTo>
                  <a:lnTo>
                    <a:pt x="12181807" y="3580493"/>
                  </a:lnTo>
                  <a:lnTo>
                    <a:pt x="8662888" y="3580493"/>
                  </a:lnTo>
                  <a:close/>
                  <a:moveTo>
                    <a:pt x="781415" y="374"/>
                  </a:moveTo>
                  <a:cubicBezTo>
                    <a:pt x="1390963" y="12000"/>
                    <a:pt x="1782379" y="302073"/>
                    <a:pt x="2025283" y="1850899"/>
                  </a:cubicBezTo>
                  <a:cubicBezTo>
                    <a:pt x="2030914" y="1867815"/>
                    <a:pt x="2036547" y="1884729"/>
                    <a:pt x="2036547" y="1901646"/>
                  </a:cubicBezTo>
                  <a:cubicBezTo>
                    <a:pt x="1940794" y="1873453"/>
                    <a:pt x="1811245" y="1862175"/>
                    <a:pt x="1676065" y="1862175"/>
                  </a:cubicBezTo>
                  <a:cubicBezTo>
                    <a:pt x="1183218" y="1886844"/>
                    <a:pt x="716246" y="1963316"/>
                    <a:pt x="192135" y="2129365"/>
                  </a:cubicBezTo>
                  <a:lnTo>
                    <a:pt x="0" y="2193947"/>
                  </a:lnTo>
                  <a:lnTo>
                    <a:pt x="0" y="70220"/>
                  </a:lnTo>
                  <a:lnTo>
                    <a:pt x="294330" y="27516"/>
                  </a:lnTo>
                  <a:cubicBezTo>
                    <a:pt x="416710" y="14114"/>
                    <a:pt x="537589" y="5348"/>
                    <a:pt x="656576" y="1471"/>
                  </a:cubicBezTo>
                  <a:cubicBezTo>
                    <a:pt x="699172" y="62"/>
                    <a:pt x="740778" y="-401"/>
                    <a:pt x="781415" y="374"/>
                  </a:cubicBezTo>
                  <a:close/>
                </a:path>
              </a:pathLst>
            </a:custGeom>
            <a:solidFill>
              <a:srgbClr val="009B9D">
                <a:alpha val="7000"/>
              </a:srgbClr>
            </a:solidFill>
            <a:ln w="56300" cap="flat">
              <a:noFill/>
              <a:prstDash val="solid"/>
              <a:miter/>
            </a:ln>
          </p:spPr>
          <p:txBody>
            <a:bodyPr rtlCol="0" anchor="ctr"/>
            <a:lstStyle/>
            <a:p>
              <a:pPr rtl="0"/>
              <a:endParaRPr lang="en-US" dirty="0">
                <a:cs typeface="+mn-cs"/>
              </a:endParaRPr>
            </a:p>
          </p:txBody>
        </p:sp>
      </p:gr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rtl="0">
              <a:defRPr>
                <a:solidFill>
                  <a:srgbClr val="FFFFFF"/>
                </a:solidFill>
                <a:cs typeface="+mj-cs"/>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514600"/>
            <a:ext cx="10933950" cy="3644004"/>
          </a:xfrm>
        </p:spPr>
        <p:txBody>
          <a:bodyPr/>
          <a:lstStyle>
            <a:lvl1pPr rtl="0">
              <a:lnSpc>
                <a:spcPct val="100000"/>
              </a:lnSpc>
              <a:spcBef>
                <a:spcPts val="0"/>
              </a:spcBef>
              <a:spcAft>
                <a:spcPts val="0"/>
              </a:spcAft>
              <a:defRPr>
                <a:cs typeface="+mn-cs"/>
              </a:defRPr>
            </a:lvl1pPr>
            <a:lvl2pPr rtl="0">
              <a:lnSpc>
                <a:spcPct val="100000"/>
              </a:lnSpc>
              <a:spcBef>
                <a:spcPts val="0"/>
              </a:spcBef>
              <a:spcAft>
                <a:spcPts val="0"/>
              </a:spcAft>
              <a:defRPr>
                <a:cs typeface="+mn-cs"/>
              </a:defRPr>
            </a:lvl2pPr>
            <a:lvl3pPr rtl="0">
              <a:lnSpc>
                <a:spcPct val="100000"/>
              </a:lnSpc>
              <a:spcBef>
                <a:spcPts val="0"/>
              </a:spcBef>
              <a:spcAft>
                <a:spcPts val="0"/>
              </a:spcAft>
              <a:defRPr>
                <a:cs typeface="+mn-cs"/>
              </a:defRPr>
            </a:lvl3pPr>
            <a:lvl4pPr rtl="0">
              <a:lnSpc>
                <a:spcPct val="100000"/>
              </a:lnSpc>
              <a:spcBef>
                <a:spcPts val="0"/>
              </a:spcBef>
              <a:spcAft>
                <a:spcPts val="0"/>
              </a:spcAft>
              <a:defRPr>
                <a:cs typeface="+mn-cs"/>
              </a:defRPr>
            </a:lvl4pPr>
            <a:lvl5pPr rtl="0">
              <a:lnSpc>
                <a:spcPct val="100000"/>
              </a:lnSpc>
              <a:spcBef>
                <a:spcPts val="0"/>
              </a:spcBef>
              <a:spcAft>
                <a:spcPts val="0"/>
              </a:spcAft>
              <a:defRPr>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cs typeface="+mn-cs"/>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32924722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1DF2B54-D45D-431F-B584-503B05AF523C}"/>
              </a:ext>
            </a:extLst>
          </p:cNvPr>
          <p:cNvGraphicFramePr>
            <a:graphicFrameLocks noChangeAspect="1"/>
          </p:cNvGraphicFramePr>
          <p:nvPr userDrawn="1">
            <p:custDataLst>
              <p:tags r:id="rId1"/>
            </p:custDataLst>
            <p:extLst>
              <p:ext uri="{D42A27DB-BD31-4B8C-83A1-F6EECF244321}">
                <p14:modId xmlns:p14="http://schemas.microsoft.com/office/powerpoint/2010/main" val="22526429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91DF2B54-D45D-431F-B584-503B05AF52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rtl="0">
              <a:defRPr>
                <a:solidFill>
                  <a:schemeClr val="bg1">
                    <a:lumMod val="50000"/>
                  </a:schemeClr>
                </a:solidFill>
                <a:latin typeface="+mn-lt"/>
                <a:cs typeface="+mn-cs"/>
                <a:sym typeface="Trebuchet MS" panose="020B0603020202020204" pitchFamily="34" charset="0"/>
              </a:defRPr>
            </a:lvl1pPr>
          </a:lstStyle>
          <a:p>
            <a:endParaRPr lang="en-US" dirty="0"/>
          </a:p>
        </p:txBody>
      </p:sp>
      <p:sp>
        <p:nvSpPr>
          <p:cNvPr id="11"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cs typeface="+mn-cs"/>
                <a:sym typeface="Trebuchet MS" panose="020B0603020202020204" pitchFamily="34" charset="0"/>
              </a:rPr>
              <a:t>Copyright © 2024 by Boston Consulting Group. All rights reserved.</a:t>
            </a:r>
          </a:p>
        </p:txBody>
      </p:sp>
      <p:sp>
        <p:nvSpPr>
          <p:cNvPr id="7" name="Rectangle 6"/>
          <p:cNvSpPr/>
          <p:nvPr/>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lnSpc>
                <a:spcPct val="90000"/>
              </a:lnSpc>
              <a:spcAft>
                <a:spcPts val="1000"/>
              </a:spcAft>
            </a:pPr>
            <a:endParaRPr lang="en-US" sz="1200" dirty="0">
              <a:solidFill>
                <a:schemeClr val="bg1"/>
              </a:solidFill>
              <a:latin typeface="+mn-lt"/>
              <a:cs typeface="+mn-cs"/>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rtl="0">
              <a:buNone/>
              <a:defRPr sz="1600">
                <a:solidFill>
                  <a:schemeClr val="tx2"/>
                </a:solidFill>
                <a:latin typeface="+mn-lt"/>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vert="horz" anchor="t">
            <a:noAutofit/>
          </a:bodyPr>
          <a:lstStyle>
            <a:lvl1pPr rtl="0">
              <a:defRPr sz="2400">
                <a:solidFill>
                  <a:schemeClr val="tx2"/>
                </a:solidFill>
                <a:latin typeface="+mj-lt"/>
                <a:cs typeface="+mj-cs"/>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206865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D. Section header box">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B3954EF-0308-42FE-AFE0-1EB59E8FCF2E}"/>
              </a:ext>
            </a:extLst>
          </p:cNvPr>
          <p:cNvGraphicFramePr>
            <a:graphicFrameLocks noChangeAspect="1"/>
          </p:cNvGraphicFramePr>
          <p:nvPr userDrawn="1">
            <p:custDataLst>
              <p:tags r:id="rId1"/>
            </p:custDataLst>
            <p:extLst>
              <p:ext uri="{D42A27DB-BD31-4B8C-83A1-F6EECF244321}">
                <p14:modId xmlns:p14="http://schemas.microsoft.com/office/powerpoint/2010/main" val="3660980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6" imgH="367" progId="TCLayout.ActiveDocument.1">
                  <p:embed/>
                </p:oleObj>
              </mc:Choice>
              <mc:Fallback>
                <p:oleObj name="think-cell Slide" r:id="rId3" imgW="366" imgH="367" progId="TCLayout.ActiveDocument.1">
                  <p:embed/>
                  <p:pic>
                    <p:nvPicPr>
                      <p:cNvPr id="3" name="think-cell data - do not delete" hidden="1">
                        <a:extLst>
                          <a:ext uri="{FF2B5EF4-FFF2-40B4-BE49-F238E27FC236}">
                            <a16:creationId xmlns:a16="http://schemas.microsoft.com/office/drawing/2014/main" id="{4B3954EF-0308-42FE-AFE0-1EB59E8FCF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rtl="0">
              <a:defRPr>
                <a:solidFill>
                  <a:schemeClr val="bg1">
                    <a:lumMod val="50000"/>
                  </a:schemeClr>
                </a:solidFill>
                <a:latin typeface="+mn-lt"/>
                <a:cs typeface="+mn-cs"/>
                <a:sym typeface="Trebuchet MS" panose="020B0603020202020204" pitchFamily="34" charset="0"/>
              </a:defRPr>
            </a:lvl1pPr>
          </a:lstStyle>
          <a:p>
            <a:endParaRPr lang="en-US" dirty="0"/>
          </a:p>
        </p:txBody>
      </p:sp>
      <p:sp>
        <p:nvSpPr>
          <p:cNvPr id="12"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cs typeface="+mn-cs"/>
                <a:sym typeface="Trebuchet MS" panose="020B0603020202020204" pitchFamily="34" charset="0"/>
              </a:rPr>
              <a:t>Copyright © 2024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mj-cs"/>
                <a:sym typeface="Trebuchet MS" panose="020B0603020202020204" pitchFamily="34" charset="0"/>
              </a:defRPr>
            </a:lvl1pPr>
          </a:lstStyle>
          <a:p>
            <a:r>
              <a:rPr lang="en-US" dirty="0"/>
              <a:t>Click to add section title</a:t>
            </a:r>
          </a:p>
        </p:txBody>
      </p:sp>
      <p:sp>
        <p:nvSpPr>
          <p:cNvPr id="11" name="Rectangle 10"/>
          <p:cNvSpPr/>
          <p:nvPr/>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en-US" sz="1200" dirty="0">
              <a:solidFill>
                <a:schemeClr val="bg1"/>
              </a:solidFill>
              <a:latin typeface="+mn-lt"/>
              <a:cs typeface="+mn-cs"/>
              <a:sym typeface="Trebuchet MS" panose="020B0603020202020204" pitchFamily="34" charset="0"/>
            </a:endParaRPr>
          </a:p>
        </p:txBody>
      </p:sp>
    </p:spTree>
    <p:extLst>
      <p:ext uri="{BB962C8B-B14F-4D97-AF65-F5344CB8AC3E}">
        <p14:creationId xmlns:p14="http://schemas.microsoft.com/office/powerpoint/2010/main" val="24872490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E3D2E8F-B543-4283-886C-3F6280F15612}"/>
              </a:ext>
            </a:extLst>
          </p:cNvPr>
          <p:cNvGraphicFramePr>
            <a:graphicFrameLocks noChangeAspect="1"/>
          </p:cNvGraphicFramePr>
          <p:nvPr userDrawn="1">
            <p:custDataLst>
              <p:tags r:id="rId1"/>
            </p:custDataLst>
            <p:extLst>
              <p:ext uri="{D42A27DB-BD31-4B8C-83A1-F6EECF244321}">
                <p14:modId xmlns:p14="http://schemas.microsoft.com/office/powerpoint/2010/main" val="284494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6E3D2E8F-B543-4283-886C-3F6280F156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rtl="0">
              <a:defRPr>
                <a:solidFill>
                  <a:schemeClr val="bg1">
                    <a:lumMod val="50000"/>
                  </a:schemeClr>
                </a:solidFill>
                <a:latin typeface="+mn-lt"/>
                <a:cs typeface="+mn-cs"/>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rtl="0">
              <a:defRPr sz="5400">
                <a:solidFill>
                  <a:schemeClr val="tx2"/>
                </a:solidFill>
                <a:latin typeface="+mj-lt"/>
                <a:cs typeface="+mj-cs"/>
                <a:sym typeface="Trebuchet MS" panose="020B0603020202020204" pitchFamily="34" charset="0"/>
              </a:defRPr>
            </a:lvl1pPr>
          </a:lstStyle>
          <a:p>
            <a:r>
              <a:rPr lang="en-US" dirty="0"/>
              <a:t>Click to add section title</a:t>
            </a:r>
          </a:p>
        </p:txBody>
      </p:sp>
      <p:cxnSp>
        <p:nvCxnSpPr>
          <p:cNvPr id="10" name="Straight Connector 9"/>
          <p:cNvCxnSpPr/>
          <p:nvPr/>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018938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005818E-B352-BDF0-76ED-33C26F048202}"/>
              </a:ext>
            </a:extLst>
          </p:cNvPr>
          <p:cNvGraphicFramePr>
            <a:graphicFrameLocks noChangeAspect="1"/>
          </p:cNvGraphicFramePr>
          <p:nvPr userDrawn="1">
            <p:custDataLst>
              <p:tags r:id="rId1"/>
            </p:custDataLst>
            <p:extLst>
              <p:ext uri="{D42A27DB-BD31-4B8C-83A1-F6EECF244321}">
                <p14:modId xmlns:p14="http://schemas.microsoft.com/office/powerpoint/2010/main" val="317206078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0005818E-B352-BDF0-76ED-33C26F04820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F6781CF6-9E98-4A34-82F4-C83184C3B3E3}"/>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2467155" y="0"/>
            <a:ext cx="9724845" cy="6858000"/>
          </a:xfrm>
          <a:prstGeom prst="rect">
            <a:avLst/>
          </a:prstGeom>
          <a:gradFill>
            <a:gsLst>
              <a:gs pos="0">
                <a:srgbClr val="29BA74"/>
              </a:gs>
              <a:gs pos="100000">
                <a:srgbClr val="197A56"/>
              </a:gs>
            </a:gsLst>
            <a:lin ang="8100000" scaled="1"/>
          </a:gradFill>
        </p:spPr>
      </p:pic>
      <p:sp>
        <p:nvSpPr>
          <p:cNvPr id="12" name="Overlay">
            <a:extLst>
              <a:ext uri="{FF2B5EF4-FFF2-40B4-BE49-F238E27FC236}">
                <a16:creationId xmlns:a16="http://schemas.microsoft.com/office/drawing/2014/main" id="{C4C1A7FA-C0C5-4BCC-87E1-862AC62F8E74}"/>
              </a:ext>
            </a:extLst>
          </p:cNvPr>
          <p:cNvSpPr/>
          <p:nvPr userDrawn="1">
            <p:custDataLst>
              <p:tags r:id="rId2"/>
            </p:custDataLst>
          </p:nvPr>
        </p:nvSpPr>
        <p:spPr>
          <a:xfrm>
            <a:off x="2794001" y="0"/>
            <a:ext cx="9397999" cy="6858000"/>
          </a:xfrm>
          <a:prstGeom prst="rect">
            <a:avLst/>
          </a:prstGeom>
          <a:gradFill>
            <a:gsLst>
              <a:gs pos="0">
                <a:srgbClr val="009B9D">
                  <a:alpha val="21000"/>
                </a:srgbClr>
              </a:gs>
              <a:gs pos="100000">
                <a:srgbClr val="006F4E">
                  <a:alpha val="88979"/>
                </a:srgbClr>
              </a:gs>
            </a:gsLst>
            <a:lin ang="8100000" scaled="1"/>
          </a:gradFill>
          <a:ln w="9525" cap="flat" cmpd="sng" algn="ctr">
            <a:noFill/>
            <a:prstDash val="solid"/>
            <a:miter lim="800000"/>
          </a:ln>
          <a:effectLst/>
        </p:spPr>
        <p:txBody>
          <a:bodyPr rtlCol="0" anchor="t"/>
          <a:lstStyle/>
          <a:p>
            <a:pPr marL="0" marR="0" lvl="0" indent="0"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Trebuchet MS"/>
              <a:ea typeface="+mn-ea"/>
              <a:cs typeface="+mn-cs"/>
            </a:endParaRPr>
          </a:p>
        </p:txBody>
      </p:sp>
      <p:pic>
        <p:nvPicPr>
          <p:cNvPr id="10" name="Picture 9"/>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rtl="0">
              <a:defRPr>
                <a:solidFill>
                  <a:schemeClr val="bg1"/>
                </a:solidFill>
                <a:latin typeface="+mn-lt"/>
                <a:cs typeface="+mn-cs"/>
                <a:sym typeface="Trebuchet MS" panose="020B0603020202020204" pitchFamily="34" charset="0"/>
              </a:defRPr>
            </a:lvl1pPr>
          </a:lstStyle>
          <a:p>
            <a:endParaRPr lang="en-US" dirty="0"/>
          </a:p>
        </p:txBody>
      </p:sp>
      <p:sp>
        <p:nvSpPr>
          <p:cNvPr id="20" name="TextBox 19"/>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cs typeface="+mn-cs"/>
                <a:sym typeface="Trebuchet MS" panose="020B0603020202020204" pitchFamily="34" charset="0"/>
              </a:rPr>
              <a:t>Copyright © 2024 by Boston Consulting Group. All rights reserved.</a:t>
            </a:r>
          </a:p>
        </p:txBody>
      </p:sp>
      <p:sp>
        <p:nvSpPr>
          <p:cNvPr id="24" name="Rectangle 23"/>
          <p:cNvSpPr/>
          <p:nvPr/>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US" sz="1200" dirty="0">
              <a:solidFill>
                <a:schemeClr val="bg1"/>
              </a:solidFill>
              <a:latin typeface="+mn-lt"/>
              <a:cs typeface="+mn-cs"/>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rtl="0">
              <a:defRPr sz="2400">
                <a:solidFill>
                  <a:schemeClr val="tx2"/>
                </a:solidFill>
                <a:latin typeface="+mj-lt"/>
                <a:cs typeface="+mj-cs"/>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9548616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B52EE9B-6C95-DE01-CCD6-31F17A420855}"/>
              </a:ext>
            </a:extLst>
          </p:cNvPr>
          <p:cNvGraphicFramePr>
            <a:graphicFrameLocks noChangeAspect="1"/>
          </p:cNvGraphicFramePr>
          <p:nvPr userDrawn="1">
            <p:custDataLst>
              <p:tags r:id="rId1"/>
            </p:custDataLst>
            <p:extLst>
              <p:ext uri="{D42A27DB-BD31-4B8C-83A1-F6EECF244321}">
                <p14:modId xmlns:p14="http://schemas.microsoft.com/office/powerpoint/2010/main" val="254622446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think-cell data - do not delete" hidden="1">
                        <a:extLst>
                          <a:ext uri="{FF2B5EF4-FFF2-40B4-BE49-F238E27FC236}">
                            <a16:creationId xmlns:a16="http://schemas.microsoft.com/office/drawing/2014/main" id="{7B52EE9B-6C95-DE01-CCD6-31F17A42085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C9F84997-B23E-4C05-8D79-5DC370A0B0DC}"/>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2467155" y="0"/>
            <a:ext cx="9724845" cy="6858000"/>
          </a:xfrm>
          <a:prstGeom prst="rect">
            <a:avLst/>
          </a:prstGeom>
          <a:gradFill>
            <a:gsLst>
              <a:gs pos="0">
                <a:srgbClr val="29BA74"/>
              </a:gs>
              <a:gs pos="100000">
                <a:srgbClr val="197A56"/>
              </a:gs>
            </a:gsLst>
            <a:lin ang="8100000" scaled="1"/>
          </a:gradFill>
        </p:spPr>
      </p:pic>
      <p:sp>
        <p:nvSpPr>
          <p:cNvPr id="12" name="Overlay">
            <a:extLst>
              <a:ext uri="{FF2B5EF4-FFF2-40B4-BE49-F238E27FC236}">
                <a16:creationId xmlns:a16="http://schemas.microsoft.com/office/drawing/2014/main" id="{60B45039-BA75-42E9-807B-0718E7C4BDF2}"/>
              </a:ext>
            </a:extLst>
          </p:cNvPr>
          <p:cNvSpPr/>
          <p:nvPr userDrawn="1">
            <p:custDataLst>
              <p:tags r:id="rId2"/>
            </p:custDataLst>
          </p:nvPr>
        </p:nvSpPr>
        <p:spPr>
          <a:xfrm>
            <a:off x="2794001" y="0"/>
            <a:ext cx="9397999" cy="6858000"/>
          </a:xfrm>
          <a:prstGeom prst="rect">
            <a:avLst/>
          </a:prstGeom>
          <a:gradFill>
            <a:gsLst>
              <a:gs pos="0">
                <a:srgbClr val="009B9D">
                  <a:alpha val="21000"/>
                </a:srgbClr>
              </a:gs>
              <a:gs pos="100000">
                <a:srgbClr val="006F4E">
                  <a:alpha val="88979"/>
                </a:srgbClr>
              </a:gs>
            </a:gsLst>
            <a:lin ang="8100000" scaled="1"/>
          </a:gradFill>
          <a:ln w="9525" cap="flat" cmpd="sng" algn="ctr">
            <a:noFill/>
            <a:prstDash val="solid"/>
            <a:miter lim="800000"/>
          </a:ln>
          <a:effectLst/>
        </p:spPr>
        <p:txBody>
          <a:bodyPr rtlCol="0" anchor="t"/>
          <a:lstStyle/>
          <a:p>
            <a:pPr marL="0" marR="0" lvl="0" indent="0"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Trebuchet MS"/>
              <a:ea typeface="+mn-ea"/>
              <a:cs typeface="+mn-cs"/>
            </a:endParaRPr>
          </a:p>
        </p:txBody>
      </p:sp>
      <p:pic>
        <p:nvPicPr>
          <p:cNvPr id="10" name="Picture 9"/>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V="1">
            <a:off x="7165606" y="0"/>
            <a:ext cx="416951" cy="6858000"/>
          </a:xfrm>
          <a:prstGeom prst="rect">
            <a:avLst/>
          </a:prstGeom>
        </p:spPr>
      </p:pic>
      <p:sp>
        <p:nvSpPr>
          <p:cNvPr id="14" name="Rectangle 13"/>
          <p:cNvSpPr/>
          <p:nvPr/>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US" sz="1200" dirty="0">
              <a:solidFill>
                <a:schemeClr val="bg1"/>
              </a:solidFill>
              <a:latin typeface="+mn-lt"/>
              <a:cs typeface="+mn-cs"/>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cs typeface="+mn-cs"/>
                <a:sym typeface="Trebuchet MS" panose="020B0603020202020204" pitchFamily="34" charset="0"/>
              </a:defRPr>
            </a:lvl1pPr>
          </a:lstStyle>
          <a:p>
            <a:endParaRPr lang="en-US" dirty="0"/>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cs typeface="+mn-cs"/>
                <a:sym typeface="Trebuchet MS" panose="020B0603020202020204" pitchFamily="34" charset="0"/>
              </a:rPr>
              <a:t>Copyright © 2024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vert="horz"/>
          <a:lstStyle>
            <a:lvl1pPr rtl="0">
              <a:defRPr>
                <a:solidFill>
                  <a:schemeClr val="tx2"/>
                </a:solidFill>
                <a:latin typeface="+mj-lt"/>
                <a:cs typeface="+mj-cs"/>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3115256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2EC4E46-6CBF-6F8F-66AA-2D018DC4551D}"/>
              </a:ext>
            </a:extLst>
          </p:cNvPr>
          <p:cNvGraphicFramePr>
            <a:graphicFrameLocks noChangeAspect="1"/>
          </p:cNvGraphicFramePr>
          <p:nvPr userDrawn="1">
            <p:custDataLst>
              <p:tags r:id="rId1"/>
            </p:custDataLst>
            <p:extLst>
              <p:ext uri="{D42A27DB-BD31-4B8C-83A1-F6EECF244321}">
                <p14:modId xmlns:p14="http://schemas.microsoft.com/office/powerpoint/2010/main" val="297019058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62EC4E46-6CBF-6F8F-66AA-2D018DC4551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C92E1C91-D60C-4F6E-8034-3FA81DADCBF4}"/>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2467155" y="0"/>
            <a:ext cx="9724845" cy="6858000"/>
          </a:xfrm>
          <a:prstGeom prst="rect">
            <a:avLst/>
          </a:prstGeom>
          <a:gradFill>
            <a:gsLst>
              <a:gs pos="0">
                <a:srgbClr val="29BA74"/>
              </a:gs>
              <a:gs pos="100000">
                <a:srgbClr val="197A56"/>
              </a:gs>
            </a:gsLst>
            <a:lin ang="8100000" scaled="1"/>
          </a:gradFill>
        </p:spPr>
      </p:pic>
      <p:sp>
        <p:nvSpPr>
          <p:cNvPr id="12" name="Overlay">
            <a:extLst>
              <a:ext uri="{FF2B5EF4-FFF2-40B4-BE49-F238E27FC236}">
                <a16:creationId xmlns:a16="http://schemas.microsoft.com/office/drawing/2014/main" id="{7D33D61B-A343-43AE-823A-DE1B22FB7154}"/>
              </a:ext>
            </a:extLst>
          </p:cNvPr>
          <p:cNvSpPr/>
          <p:nvPr userDrawn="1">
            <p:custDataLst>
              <p:tags r:id="rId2"/>
            </p:custDataLst>
          </p:nvPr>
        </p:nvSpPr>
        <p:spPr>
          <a:xfrm>
            <a:off x="2794001" y="0"/>
            <a:ext cx="9397999" cy="6858000"/>
          </a:xfrm>
          <a:prstGeom prst="rect">
            <a:avLst/>
          </a:prstGeom>
          <a:gradFill>
            <a:gsLst>
              <a:gs pos="0">
                <a:srgbClr val="009B9D">
                  <a:alpha val="21000"/>
                </a:srgbClr>
              </a:gs>
              <a:gs pos="100000">
                <a:srgbClr val="006F4E">
                  <a:alpha val="88979"/>
                </a:srgbClr>
              </a:gs>
            </a:gsLst>
            <a:lin ang="8100000" scaled="1"/>
          </a:gradFill>
          <a:ln w="9525" cap="flat" cmpd="sng" algn="ctr">
            <a:noFill/>
            <a:prstDash val="solid"/>
            <a:miter lim="800000"/>
          </a:ln>
          <a:effectLst/>
        </p:spPr>
        <p:txBody>
          <a:bodyPr rtlCol="0" anchor="t"/>
          <a:lstStyle/>
          <a:p>
            <a:pPr marL="0" marR="0" lvl="0" indent="0"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Trebuchet MS"/>
              <a:ea typeface="+mn-ea"/>
              <a:cs typeface="+mn-cs"/>
            </a:endParaRPr>
          </a:p>
        </p:txBody>
      </p:sp>
      <p:pic>
        <p:nvPicPr>
          <p:cNvPr id="16" name="Picture 15"/>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V="1">
            <a:off x="9029246" y="0"/>
            <a:ext cx="416951" cy="6858000"/>
          </a:xfrm>
          <a:prstGeom prst="rect">
            <a:avLst/>
          </a:prstGeom>
        </p:spPr>
      </p:pic>
      <p:sp>
        <p:nvSpPr>
          <p:cNvPr id="10" name="Rectangle 9"/>
          <p:cNvSpPr/>
          <p:nvPr/>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US" sz="1200" dirty="0">
              <a:solidFill>
                <a:schemeClr val="bg1"/>
              </a:solidFill>
              <a:latin typeface="+mn-lt"/>
              <a:cs typeface="+mn-cs"/>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rtl="0">
              <a:defRPr>
                <a:solidFill>
                  <a:schemeClr val="bg1"/>
                </a:solidFill>
                <a:latin typeface="+mn-lt"/>
                <a:cs typeface="+mn-cs"/>
                <a:sym typeface="Trebuchet MS" panose="020B0603020202020204" pitchFamily="34" charset="0"/>
              </a:defRPr>
            </a:lvl1pPr>
          </a:lstStyle>
          <a:p>
            <a:endParaRPr lang="en-US" dirty="0"/>
          </a:p>
        </p:txBody>
      </p:sp>
      <p:sp>
        <p:nvSpPr>
          <p:cNvPr id="22"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cs typeface="+mn-cs"/>
                <a:sym typeface="Trebuchet MS" panose="020B0603020202020204" pitchFamily="34" charset="0"/>
              </a:rPr>
              <a:t>Copyright © 2024 by Boston Consulting Group. All rights reserved.</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vert="horz"/>
          <a:lstStyle>
            <a:lvl1pPr rtl="0">
              <a:defRPr>
                <a:solidFill>
                  <a:schemeClr val="tx2"/>
                </a:solidFill>
                <a:latin typeface="+mj-lt"/>
                <a:cs typeface="+mj-cs"/>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4260928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B251811-1047-F3AE-A2A8-08BDEFCC0168}"/>
              </a:ext>
            </a:extLst>
          </p:cNvPr>
          <p:cNvGraphicFramePr>
            <a:graphicFrameLocks noChangeAspect="1"/>
          </p:cNvGraphicFramePr>
          <p:nvPr userDrawn="1">
            <p:custDataLst>
              <p:tags r:id="rId1"/>
            </p:custDataLst>
            <p:extLst>
              <p:ext uri="{D42A27DB-BD31-4B8C-83A1-F6EECF244321}">
                <p14:modId xmlns:p14="http://schemas.microsoft.com/office/powerpoint/2010/main" val="31999566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0B251811-1047-F3AE-A2A8-08BDEFCC016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F7AD9304-E198-76FC-D764-38FDB79FD3A4}"/>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6083600" cy="6858000"/>
          </a:xfrm>
          <a:prstGeom prst="rect">
            <a:avLst/>
          </a:prstGeom>
          <a:gradFill>
            <a:gsLst>
              <a:gs pos="0">
                <a:schemeClr val="tx2"/>
              </a:gs>
              <a:gs pos="100000">
                <a:schemeClr val="accent2"/>
              </a:gs>
            </a:gsLst>
            <a:lin ang="8100000" scaled="1"/>
          </a:gradFill>
        </p:spPr>
      </p:pic>
      <p:sp>
        <p:nvSpPr>
          <p:cNvPr id="5" name="Overlay">
            <a:extLst>
              <a:ext uri="{FF2B5EF4-FFF2-40B4-BE49-F238E27FC236}">
                <a16:creationId xmlns:a16="http://schemas.microsoft.com/office/drawing/2014/main" id="{4E143D86-DA27-9D1E-0CEE-24887ACFBF71}"/>
              </a:ext>
            </a:extLst>
          </p:cNvPr>
          <p:cNvSpPr/>
          <p:nvPr userDrawn="1">
            <p:custDataLst>
              <p:tags r:id="rId2"/>
            </p:custDataLst>
          </p:nvPr>
        </p:nvSpPr>
        <p:spPr>
          <a:xfrm>
            <a:off x="0" y="0"/>
            <a:ext cx="5813778" cy="6858000"/>
          </a:xfrm>
          <a:prstGeom prst="rect">
            <a:avLst/>
          </a:prstGeom>
          <a:gradFill>
            <a:gsLst>
              <a:gs pos="0">
                <a:srgbClr val="009B9D">
                  <a:alpha val="21000"/>
                </a:srgbClr>
              </a:gs>
              <a:gs pos="100000">
                <a:srgbClr val="006F4E">
                  <a:alpha val="8897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cs typeface="+mn-cs"/>
            </a:endParaRPr>
          </a:p>
        </p:txBody>
      </p:sp>
      <p:pic>
        <p:nvPicPr>
          <p:cNvPr id="23" name="Picture 22"/>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rtl="0">
              <a:defRPr sz="2400">
                <a:solidFill>
                  <a:schemeClr val="bg1"/>
                </a:solidFill>
                <a:latin typeface="+mj-lt"/>
                <a:cs typeface="+mj-cs"/>
                <a:sym typeface="Trebuchet MS" panose="020B0603020202020204" pitchFamily="34" charset="0"/>
              </a:defRPr>
            </a:lvl1pPr>
          </a:lstStyle>
          <a:p>
            <a:r>
              <a:rPr lang="en-US" dirty="0"/>
              <a:t>Click to add title</a:t>
            </a:r>
          </a:p>
        </p:txBody>
      </p:sp>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US" sz="1200" dirty="0">
              <a:solidFill>
                <a:schemeClr val="bg1"/>
              </a:solidFill>
              <a:latin typeface="+mn-lt"/>
              <a:cs typeface="+mn-cs"/>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rtl="0">
              <a:defRPr>
                <a:solidFill>
                  <a:schemeClr val="bg1">
                    <a:lumMod val="50000"/>
                  </a:schemeClr>
                </a:solidFill>
                <a:latin typeface="+mn-lt"/>
                <a:cs typeface="+mn-cs"/>
                <a:sym typeface="Trebuchet MS" panose="020B0603020202020204" pitchFamily="34" charset="0"/>
              </a:defRPr>
            </a:lvl1pPr>
          </a:lstStyle>
          <a:p>
            <a:endParaRPr lang="en-US" dirty="0"/>
          </a:p>
        </p:txBody>
      </p:sp>
      <p:sp>
        <p:nvSpPr>
          <p:cNvPr id="29"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cs typeface="+mn-cs"/>
                <a:sym typeface="Trebuchet MS" panose="020B0603020202020204" pitchFamily="34" charset="0"/>
              </a:rPr>
              <a:t>Copyright © 2024 by Boston Consulting Group. All rights reserved.</a:t>
            </a:r>
          </a:p>
        </p:txBody>
      </p:sp>
      <p:sp>
        <p:nvSpPr>
          <p:cNvPr id="28" name="TextBox 2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128277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625D093-CDF0-46B3-9350-220602CC94D7}"/>
              </a:ext>
            </a:extLst>
          </p:cNvPr>
          <p:cNvGraphicFramePr>
            <a:graphicFrameLocks noChangeAspect="1"/>
          </p:cNvGraphicFramePr>
          <p:nvPr userDrawn="1">
            <p:custDataLst>
              <p:tags r:id="rId1"/>
            </p:custDataLst>
            <p:extLst>
              <p:ext uri="{D42A27DB-BD31-4B8C-83A1-F6EECF244321}">
                <p14:modId xmlns:p14="http://schemas.microsoft.com/office/powerpoint/2010/main" val="4094074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6" imgH="367" progId="TCLayout.ActiveDocument.1">
                  <p:embed/>
                </p:oleObj>
              </mc:Choice>
              <mc:Fallback>
                <p:oleObj name="think-cell Slide" r:id="rId3" imgW="366" imgH="367" progId="TCLayout.ActiveDocument.1">
                  <p:embed/>
                  <p:pic>
                    <p:nvPicPr>
                      <p:cNvPr id="4" name="think-cell data - do not delete" hidden="1">
                        <a:extLst>
                          <a:ext uri="{FF2B5EF4-FFF2-40B4-BE49-F238E27FC236}">
                            <a16:creationId xmlns:a16="http://schemas.microsoft.com/office/drawing/2014/main" id="{F625D093-CDF0-46B3-9350-220602CC94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lnSpc>
                <a:spcPct val="90000"/>
              </a:lnSpc>
              <a:spcAft>
                <a:spcPts val="1000"/>
              </a:spcAft>
            </a:pPr>
            <a:endParaRPr lang="en-US" sz="1200" dirty="0">
              <a:solidFill>
                <a:schemeClr val="bg1"/>
              </a:solidFill>
              <a:latin typeface="+mn-lt"/>
              <a:cs typeface="+mn-cs"/>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latin typeface="+mn-lt"/>
                <a:cs typeface="+mn-cs"/>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rtl="0">
              <a:defRPr sz="3400">
                <a:solidFill>
                  <a:schemeClr val="tx2"/>
                </a:solidFill>
                <a:latin typeface="+mj-lt"/>
                <a:cs typeface="+mj-cs"/>
              </a:defRPr>
            </a:lvl1pPr>
          </a:lstStyle>
          <a:p>
            <a:r>
              <a:rPr lang="en-US" dirty="0"/>
              <a:t>Click to add title</a:t>
            </a:r>
          </a:p>
        </p:txBody>
      </p:sp>
      <p:sp>
        <p:nvSpPr>
          <p:cNvPr id="11"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cs typeface="+mn-cs"/>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540183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C318DB2-82E9-D1F8-75B0-9D6572DB86A6}"/>
              </a:ext>
            </a:extLst>
          </p:cNvPr>
          <p:cNvGraphicFramePr>
            <a:graphicFrameLocks noChangeAspect="1"/>
          </p:cNvGraphicFramePr>
          <p:nvPr userDrawn="1">
            <p:custDataLst>
              <p:tags r:id="rId1"/>
            </p:custDataLst>
            <p:extLst>
              <p:ext uri="{D42A27DB-BD31-4B8C-83A1-F6EECF244321}">
                <p14:modId xmlns:p14="http://schemas.microsoft.com/office/powerpoint/2010/main" val="131614309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CC318DB2-82E9-D1F8-75B0-9D6572DB86A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28BBD4B1-FFC1-91AD-B1E9-798E2A18D2AD}"/>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6083600" cy="6858000"/>
          </a:xfrm>
          <a:prstGeom prst="rect">
            <a:avLst/>
          </a:prstGeom>
          <a:gradFill>
            <a:gsLst>
              <a:gs pos="0">
                <a:schemeClr val="tx2"/>
              </a:gs>
              <a:gs pos="100000">
                <a:schemeClr val="accent2"/>
              </a:gs>
            </a:gsLst>
            <a:lin ang="8100000" scaled="1"/>
          </a:gradFill>
        </p:spPr>
      </p:pic>
      <p:sp>
        <p:nvSpPr>
          <p:cNvPr id="3" name="Overlay">
            <a:extLst>
              <a:ext uri="{FF2B5EF4-FFF2-40B4-BE49-F238E27FC236}">
                <a16:creationId xmlns:a16="http://schemas.microsoft.com/office/drawing/2014/main" id="{25773C74-85FA-9F7D-48CE-5D4E055620C8}"/>
              </a:ext>
            </a:extLst>
          </p:cNvPr>
          <p:cNvSpPr/>
          <p:nvPr userDrawn="1">
            <p:custDataLst>
              <p:tags r:id="rId2"/>
            </p:custDataLst>
          </p:nvPr>
        </p:nvSpPr>
        <p:spPr>
          <a:xfrm>
            <a:off x="0" y="0"/>
            <a:ext cx="6470168" cy="6858000"/>
          </a:xfrm>
          <a:prstGeom prst="rect">
            <a:avLst/>
          </a:prstGeom>
          <a:gradFill>
            <a:gsLst>
              <a:gs pos="0">
                <a:srgbClr val="009B9D">
                  <a:alpha val="21000"/>
                </a:srgbClr>
              </a:gs>
              <a:gs pos="100000">
                <a:srgbClr val="006F4E">
                  <a:alpha val="8897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cs typeface="+mn-cs"/>
            </a:endParaRPr>
          </a:p>
        </p:txBody>
      </p:sp>
      <p:pic>
        <p:nvPicPr>
          <p:cNvPr id="10" name="Picture 9"/>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1" name="Rectangle 10"/>
          <p:cNvSpPr/>
          <p:nvPr/>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latin typeface="+mn-lt"/>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rtl="0">
              <a:defRPr sz="1800" baseline="0">
                <a:latin typeface="Trebuchet MS" panose="020B0603020202020204" pitchFamily="34" charset="0"/>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rtl="0">
              <a:defRPr sz="4400">
                <a:solidFill>
                  <a:schemeClr val="bg1"/>
                </a:solidFill>
                <a:latin typeface="+mj-lt"/>
                <a:cs typeface="+mj-cs"/>
                <a:sym typeface="Trebuchet MS" panose="020B0603020202020204" pitchFamily="34" charset="0"/>
              </a:defRPr>
            </a:lvl1pPr>
          </a:lstStyle>
          <a:p>
            <a:r>
              <a:rPr lang="en-US" dirty="0"/>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rtl="0">
              <a:defRPr>
                <a:solidFill>
                  <a:schemeClr val="bg1">
                    <a:lumMod val="50000"/>
                  </a:schemeClr>
                </a:solidFill>
                <a:latin typeface="+mn-lt"/>
                <a:cs typeface="+mn-cs"/>
                <a:sym typeface="Trebuchet MS" panose="020B0603020202020204" pitchFamily="34" charset="0"/>
              </a:defRPr>
            </a:lvl1pPr>
          </a:lstStyle>
          <a:p>
            <a:endParaRPr lang="en-US" dirty="0"/>
          </a:p>
        </p:txBody>
      </p:sp>
      <p:sp>
        <p:nvSpPr>
          <p:cNvPr id="17"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cs typeface="+mn-cs"/>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17491546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0BE2A2D-5A72-5EAC-3DF5-41398994ED8B}"/>
              </a:ext>
            </a:extLst>
          </p:cNvPr>
          <p:cNvGraphicFramePr>
            <a:graphicFrameLocks noChangeAspect="1"/>
          </p:cNvGraphicFramePr>
          <p:nvPr userDrawn="1">
            <p:custDataLst>
              <p:tags r:id="rId1"/>
            </p:custDataLst>
            <p:extLst>
              <p:ext uri="{D42A27DB-BD31-4B8C-83A1-F6EECF244321}">
                <p14:modId xmlns:p14="http://schemas.microsoft.com/office/powerpoint/2010/main" val="810365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40BE2A2D-5A72-5EAC-3DF5-41398994ED8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1DC3FDB1-ED3D-A617-2990-F9682A904D43}"/>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7811122" cy="6858000"/>
          </a:xfrm>
          <a:prstGeom prst="rect">
            <a:avLst/>
          </a:prstGeom>
          <a:gradFill>
            <a:gsLst>
              <a:gs pos="0">
                <a:schemeClr val="tx2"/>
              </a:gs>
              <a:gs pos="100000">
                <a:schemeClr val="accent2"/>
              </a:gs>
            </a:gsLst>
            <a:lin ang="8100000" scaled="1"/>
          </a:gradFill>
        </p:spPr>
      </p:pic>
      <p:sp>
        <p:nvSpPr>
          <p:cNvPr id="3" name="Overlay">
            <a:extLst>
              <a:ext uri="{FF2B5EF4-FFF2-40B4-BE49-F238E27FC236}">
                <a16:creationId xmlns:a16="http://schemas.microsoft.com/office/drawing/2014/main" id="{C1FD630D-BEE8-CDCB-70DD-6540E9E20977}"/>
              </a:ext>
            </a:extLst>
          </p:cNvPr>
          <p:cNvSpPr/>
          <p:nvPr userDrawn="1">
            <p:custDataLst>
              <p:tags r:id="rId2"/>
            </p:custDataLst>
          </p:nvPr>
        </p:nvSpPr>
        <p:spPr>
          <a:xfrm>
            <a:off x="-1" y="0"/>
            <a:ext cx="7835221" cy="6858000"/>
          </a:xfrm>
          <a:prstGeom prst="rect">
            <a:avLst/>
          </a:prstGeom>
          <a:gradFill>
            <a:gsLst>
              <a:gs pos="0">
                <a:srgbClr val="009B9D">
                  <a:alpha val="21000"/>
                </a:srgbClr>
              </a:gs>
              <a:gs pos="100000">
                <a:srgbClr val="006F4E">
                  <a:alpha val="8897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cs typeface="+mn-cs"/>
            </a:endParaRPr>
          </a:p>
        </p:txBody>
      </p:sp>
      <p:pic>
        <p:nvPicPr>
          <p:cNvPr id="10" name="Picture 9"/>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H="1">
            <a:off x="7409849" y="0"/>
            <a:ext cx="416951" cy="6858000"/>
          </a:xfrm>
          <a:prstGeom prst="rect">
            <a:avLst/>
          </a:prstGeom>
        </p:spPr>
      </p:pic>
      <p:sp>
        <p:nvSpPr>
          <p:cNvPr id="11" name="Rectangle 10"/>
          <p:cNvSpPr/>
          <p:nvPr/>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US" sz="1200" dirty="0">
              <a:solidFill>
                <a:schemeClr val="bg1"/>
              </a:solidFill>
              <a:latin typeface="+mn-lt"/>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rtl="0">
              <a:defRPr sz="1600">
                <a:solidFill>
                  <a:schemeClr val="tx1"/>
                </a:solidFill>
                <a:latin typeface="Trebuchet MS" panose="020B0603020202020204" pitchFamily="34" charset="0"/>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rtl="0">
              <a:defRPr>
                <a:solidFill>
                  <a:schemeClr val="bg1">
                    <a:lumMod val="50000"/>
                  </a:schemeClr>
                </a:solidFill>
                <a:latin typeface="+mn-lt"/>
                <a:cs typeface="+mn-cs"/>
                <a:sym typeface="Trebuchet MS" panose="020B0603020202020204" pitchFamily="34" charset="0"/>
              </a:defRPr>
            </a:lvl1pPr>
          </a:lstStyle>
          <a:p>
            <a:endParaRPr lang="en-US" dirty="0"/>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cs typeface="+mn-cs"/>
                <a:sym typeface="Trebuchet MS" panose="020B0603020202020204" pitchFamily="34" charset="0"/>
              </a:rPr>
              <a:t>Copyright © 2024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rtl="0">
              <a:defRPr sz="4400">
                <a:solidFill>
                  <a:schemeClr val="bg1"/>
                </a:solidFill>
                <a:latin typeface="+mj-lt"/>
                <a:cs typeface="+mj-cs"/>
                <a:sym typeface="Trebuchet MS" panose="020B0603020202020204" pitchFamily="34" charset="0"/>
              </a:defRPr>
            </a:lvl1pPr>
          </a:lstStyle>
          <a:p>
            <a:r>
              <a:rPr lang="en-US" dirty="0"/>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991658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9245178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ADD9C18A-CFF4-4FED-8DB3-6B0D34B4299F}"/>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2467155" y="0"/>
            <a:ext cx="9724845" cy="6858000"/>
          </a:xfrm>
          <a:prstGeom prst="rect">
            <a:avLst/>
          </a:prstGeom>
          <a:gradFill>
            <a:gsLst>
              <a:gs pos="0">
                <a:srgbClr val="29BA74"/>
              </a:gs>
              <a:gs pos="100000">
                <a:srgbClr val="197A56"/>
              </a:gs>
            </a:gsLst>
            <a:lin ang="8100000" scaled="1"/>
          </a:gradFill>
        </p:spPr>
      </p:pic>
      <p:sp>
        <p:nvSpPr>
          <p:cNvPr id="15" name="Overlay">
            <a:extLst>
              <a:ext uri="{FF2B5EF4-FFF2-40B4-BE49-F238E27FC236}">
                <a16:creationId xmlns:a16="http://schemas.microsoft.com/office/drawing/2014/main" id="{480E52A7-2AA8-4A26-9842-EBC5F6301170}"/>
              </a:ext>
            </a:extLst>
          </p:cNvPr>
          <p:cNvSpPr/>
          <p:nvPr userDrawn="1">
            <p:custDataLst>
              <p:tags r:id="rId2"/>
            </p:custDataLst>
          </p:nvPr>
        </p:nvSpPr>
        <p:spPr>
          <a:xfrm>
            <a:off x="2794001" y="0"/>
            <a:ext cx="9397999" cy="6858000"/>
          </a:xfrm>
          <a:prstGeom prst="rect">
            <a:avLst/>
          </a:prstGeom>
          <a:gradFill>
            <a:gsLst>
              <a:gs pos="0">
                <a:srgbClr val="009B9D">
                  <a:alpha val="21000"/>
                </a:srgbClr>
              </a:gs>
              <a:gs pos="100000">
                <a:srgbClr val="006F4E">
                  <a:alpha val="88979"/>
                </a:srgbClr>
              </a:gs>
            </a:gsLst>
            <a:lin ang="8100000" scaled="1"/>
          </a:gradFill>
          <a:ln w="9525" cap="flat" cmpd="sng" algn="ctr">
            <a:noFill/>
            <a:prstDash val="solid"/>
            <a:miter lim="800000"/>
          </a:ln>
          <a:effectLst/>
        </p:spPr>
        <p:txBody>
          <a:bodyPr rtlCol="0" anchor="t"/>
          <a:lstStyle/>
          <a:p>
            <a:pPr marL="0" marR="0" lvl="0" indent="0"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Trebuchet MS"/>
              <a:ea typeface="+mn-ea"/>
              <a:cs typeface="+mn-cs"/>
            </a:endParaRPr>
          </a:p>
        </p:txBody>
      </p:sp>
      <p:sp>
        <p:nvSpPr>
          <p:cNvPr id="10"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US" sz="1200" dirty="0">
              <a:solidFill>
                <a:prstClr val="white"/>
              </a:solidFill>
              <a:latin typeface="+mn-lt"/>
              <a:cs typeface="+mn-cs"/>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cs typeface="+mn-cs"/>
                <a:sym typeface="Trebuchet MS" panose="020B0603020202020204" pitchFamily="34" charset="0"/>
              </a:defRPr>
            </a:lvl1pPr>
          </a:lstStyle>
          <a:p>
            <a:endParaRPr lang="en-US" dirty="0"/>
          </a:p>
        </p:txBody>
      </p:sp>
      <p:sp>
        <p:nvSpPr>
          <p:cNvPr id="11"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cs typeface="+mn-cs"/>
                <a:sym typeface="Trebuchet MS" panose="020B0603020202020204" pitchFamily="34" charset="0"/>
              </a:rPr>
              <a:t>Copyright © 2024 by Boston Consulting Group. All rights reserved.</a:t>
            </a:r>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vert="horz" anchor="ctr">
            <a:noAutofit/>
          </a:bodyPr>
          <a:lstStyle>
            <a:lvl1pPr rtl="0">
              <a:defRPr sz="2400">
                <a:solidFill>
                  <a:schemeClr val="tx2"/>
                </a:solidFill>
                <a:latin typeface="+mj-lt"/>
                <a:cs typeface="+mj-cs"/>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238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7CE8485-7044-B322-95BB-FFAD70672386}"/>
              </a:ext>
            </a:extLst>
          </p:cNvPr>
          <p:cNvGraphicFramePr>
            <a:graphicFrameLocks noChangeAspect="1"/>
          </p:cNvGraphicFramePr>
          <p:nvPr userDrawn="1">
            <p:custDataLst>
              <p:tags r:id="rId1"/>
            </p:custDataLst>
            <p:extLst>
              <p:ext uri="{D42A27DB-BD31-4B8C-83A1-F6EECF244321}">
                <p14:modId xmlns:p14="http://schemas.microsoft.com/office/powerpoint/2010/main" val="10327792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think-cell data - do not delete" hidden="1">
                        <a:extLst>
                          <a:ext uri="{FF2B5EF4-FFF2-40B4-BE49-F238E27FC236}">
                            <a16:creationId xmlns:a16="http://schemas.microsoft.com/office/drawing/2014/main" id="{F7CE8485-7044-B322-95BB-FFAD7067238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5E56278A-3D2C-B8AE-FB70-7128ABC04C2D}"/>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526" y="1310"/>
            <a:ext cx="4088167" cy="6856690"/>
          </a:xfrm>
          <a:custGeom>
            <a:avLst/>
            <a:gdLst>
              <a:gd name="connsiteX0" fmla="*/ 0 w 4088167"/>
              <a:gd name="connsiteY0" fmla="*/ 0 h 6856690"/>
              <a:gd name="connsiteX1" fmla="*/ 3264933 w 4088167"/>
              <a:gd name="connsiteY1" fmla="*/ 0 h 6856690"/>
              <a:gd name="connsiteX2" fmla="*/ 4088167 w 4088167"/>
              <a:gd name="connsiteY2" fmla="*/ 3428395 h 6856690"/>
              <a:gd name="connsiteX3" fmla="*/ 4086481 w 4088167"/>
              <a:gd name="connsiteY3" fmla="*/ 3436628 h 6856690"/>
              <a:gd name="connsiteX4" fmla="*/ 3265248 w 4088167"/>
              <a:gd name="connsiteY4" fmla="*/ 6856690 h 6856690"/>
              <a:gd name="connsiteX5" fmla="*/ 0 w 4088167"/>
              <a:gd name="connsiteY5" fmla="*/ 6856690 h 6856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88167" h="6856690">
                <a:moveTo>
                  <a:pt x="0" y="0"/>
                </a:moveTo>
                <a:lnTo>
                  <a:pt x="3264933" y="0"/>
                </a:lnTo>
                <a:lnTo>
                  <a:pt x="4088167" y="3428395"/>
                </a:lnTo>
                <a:lnTo>
                  <a:pt x="4086481" y="3436628"/>
                </a:lnTo>
                <a:lnTo>
                  <a:pt x="3265248" y="6856690"/>
                </a:lnTo>
                <a:lnTo>
                  <a:pt x="0" y="6856690"/>
                </a:lnTo>
                <a:close/>
              </a:path>
            </a:pathLst>
          </a:custGeom>
          <a:gradFill>
            <a:gsLst>
              <a:gs pos="0">
                <a:schemeClr val="tx2"/>
              </a:gs>
              <a:gs pos="100000">
                <a:schemeClr val="accent2"/>
              </a:gs>
            </a:gsLst>
            <a:lin ang="8100000" scaled="1"/>
          </a:gradFill>
        </p:spPr>
      </p:pic>
      <p:sp>
        <p:nvSpPr>
          <p:cNvPr id="7" name="Freeform 6">
            <a:extLst>
              <a:ext uri="{FF2B5EF4-FFF2-40B4-BE49-F238E27FC236}">
                <a16:creationId xmlns:a16="http://schemas.microsoft.com/office/drawing/2014/main" id="{FFA1210D-3B0A-E58B-34F3-A6854DFC5CF1}"/>
              </a:ext>
            </a:extLst>
          </p:cNvPr>
          <p:cNvSpPr/>
          <p:nvPr userDrawn="1">
            <p:custDataLst>
              <p:tags r:id="rId2"/>
            </p:custDataLst>
          </p:nvPr>
        </p:nvSpPr>
        <p:spPr>
          <a:xfrm>
            <a:off x="1525" y="1310"/>
            <a:ext cx="4088167" cy="6856690"/>
          </a:xfrm>
          <a:custGeom>
            <a:avLst/>
            <a:gdLst>
              <a:gd name="connsiteX0" fmla="*/ 0 w 4088167"/>
              <a:gd name="connsiteY0" fmla="*/ 0 h 6856690"/>
              <a:gd name="connsiteX1" fmla="*/ 3264933 w 4088167"/>
              <a:gd name="connsiteY1" fmla="*/ 0 h 6856690"/>
              <a:gd name="connsiteX2" fmla="*/ 4088167 w 4088167"/>
              <a:gd name="connsiteY2" fmla="*/ 3428397 h 6856690"/>
              <a:gd name="connsiteX3" fmla="*/ 4086490 w 4088167"/>
              <a:gd name="connsiteY3" fmla="*/ 3436589 h 6856690"/>
              <a:gd name="connsiteX4" fmla="*/ 3265248 w 4088167"/>
              <a:gd name="connsiteY4" fmla="*/ 6856690 h 6856690"/>
              <a:gd name="connsiteX5" fmla="*/ 0 w 4088167"/>
              <a:gd name="connsiteY5" fmla="*/ 6856690 h 6856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88167" h="6856690">
                <a:moveTo>
                  <a:pt x="0" y="0"/>
                </a:moveTo>
                <a:lnTo>
                  <a:pt x="3264933" y="0"/>
                </a:lnTo>
                <a:lnTo>
                  <a:pt x="4088167" y="3428397"/>
                </a:lnTo>
                <a:lnTo>
                  <a:pt x="4086490" y="3436589"/>
                </a:lnTo>
                <a:lnTo>
                  <a:pt x="3265248" y="6856690"/>
                </a:lnTo>
                <a:lnTo>
                  <a:pt x="0" y="6856690"/>
                </a:lnTo>
                <a:close/>
              </a:path>
            </a:pathLst>
          </a:custGeom>
          <a:gradFill>
            <a:gsLst>
              <a:gs pos="0">
                <a:srgbClr val="009B9D">
                  <a:alpha val="21000"/>
                </a:srgbClr>
              </a:gs>
              <a:gs pos="100000">
                <a:srgbClr val="006F4E">
                  <a:alpha val="8897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lnSpc>
                <a:spcPct val="90000"/>
              </a:lnSpc>
              <a:spcAft>
                <a:spcPts val="1000"/>
              </a:spcAft>
            </a:pPr>
            <a:endParaRPr lang="en-US" sz="1200" dirty="0">
              <a:solidFill>
                <a:schemeClr val="bg1"/>
              </a:solidFill>
              <a:cs typeface="+mn-cs"/>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rtl="0">
              <a:defRPr>
                <a:solidFill>
                  <a:srgbClr val="FFFFFF"/>
                </a:solidFill>
                <a:latin typeface="+mj-lt"/>
                <a:cs typeface="+mj-cs"/>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cs typeface="+mn-cs"/>
                <a:sym typeface="Trebuchet MS" panose="020B0603020202020204" pitchFamily="34" charset="0"/>
              </a:defRPr>
            </a:lvl1pPr>
          </a:lstStyle>
          <a:p>
            <a:endParaRPr lang="en-US" dirty="0"/>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cs typeface="+mn-cs"/>
                <a:sym typeface="Trebuchet MS" panose="020B0603020202020204" pitchFamily="34" charset="0"/>
              </a:rPr>
              <a:t>Copyright © 2024 by Boston Consulting Group. All rights reserved.</a:t>
            </a:r>
          </a:p>
        </p:txBody>
      </p:sp>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1693894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30F877D-A5BD-DA19-B014-5F0F9108A8F8}"/>
              </a:ext>
            </a:extLst>
          </p:cNvPr>
          <p:cNvGraphicFramePr>
            <a:graphicFrameLocks noChangeAspect="1"/>
          </p:cNvGraphicFramePr>
          <p:nvPr userDrawn="1">
            <p:custDataLst>
              <p:tags r:id="rId1"/>
            </p:custDataLst>
            <p:extLst>
              <p:ext uri="{D42A27DB-BD31-4B8C-83A1-F6EECF244321}">
                <p14:modId xmlns:p14="http://schemas.microsoft.com/office/powerpoint/2010/main" val="132445959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6" name="think-cell data - do not delete" hidden="1">
                        <a:extLst>
                          <a:ext uri="{FF2B5EF4-FFF2-40B4-BE49-F238E27FC236}">
                            <a16:creationId xmlns:a16="http://schemas.microsoft.com/office/drawing/2014/main" id="{630F877D-A5BD-DA19-B014-5F0F9108A8F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2" name="Picture 11">
            <a:extLst>
              <a:ext uri="{FF2B5EF4-FFF2-40B4-BE49-F238E27FC236}">
                <a16:creationId xmlns:a16="http://schemas.microsoft.com/office/drawing/2014/main" id="{FEEBC2D0-F419-4C4E-836D-0D3048F8FDC8}"/>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2467155" y="0"/>
            <a:ext cx="9724845" cy="6858000"/>
          </a:xfrm>
          <a:prstGeom prst="rect">
            <a:avLst/>
          </a:prstGeom>
          <a:gradFill>
            <a:gsLst>
              <a:gs pos="0">
                <a:srgbClr val="29BA74"/>
              </a:gs>
              <a:gs pos="100000">
                <a:srgbClr val="197A56"/>
              </a:gs>
            </a:gsLst>
            <a:lin ang="8100000" scaled="1"/>
          </a:gradFill>
        </p:spPr>
      </p:pic>
      <p:sp>
        <p:nvSpPr>
          <p:cNvPr id="15" name="Overlay">
            <a:extLst>
              <a:ext uri="{FF2B5EF4-FFF2-40B4-BE49-F238E27FC236}">
                <a16:creationId xmlns:a16="http://schemas.microsoft.com/office/drawing/2014/main" id="{5B125D79-FE9A-4F44-B24F-08CAB941104C}"/>
              </a:ext>
            </a:extLst>
          </p:cNvPr>
          <p:cNvSpPr/>
          <p:nvPr userDrawn="1">
            <p:custDataLst>
              <p:tags r:id="rId2"/>
            </p:custDataLst>
          </p:nvPr>
        </p:nvSpPr>
        <p:spPr>
          <a:xfrm>
            <a:off x="2794001" y="0"/>
            <a:ext cx="9397999" cy="6858000"/>
          </a:xfrm>
          <a:prstGeom prst="rect">
            <a:avLst/>
          </a:prstGeom>
          <a:gradFill>
            <a:gsLst>
              <a:gs pos="0">
                <a:srgbClr val="009B9D">
                  <a:alpha val="21000"/>
                </a:srgbClr>
              </a:gs>
              <a:gs pos="100000">
                <a:srgbClr val="006F4E">
                  <a:alpha val="88979"/>
                </a:srgbClr>
              </a:gs>
            </a:gsLst>
            <a:lin ang="8100000" scaled="1"/>
          </a:gradFill>
          <a:ln w="9525" cap="flat" cmpd="sng" algn="ctr">
            <a:noFill/>
            <a:prstDash val="solid"/>
            <a:miter lim="800000"/>
          </a:ln>
          <a:effectLst/>
        </p:spPr>
        <p:txBody>
          <a:bodyPr rtlCol="0" anchor="t"/>
          <a:lstStyle/>
          <a:p>
            <a:pPr marL="0" marR="0" lvl="0" indent="0"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Trebuchet MS"/>
              <a:ea typeface="+mn-ea"/>
              <a:cs typeface="+mn-cs"/>
            </a:endParaRPr>
          </a:p>
        </p:txBody>
      </p:sp>
      <p:sp>
        <p:nvSpPr>
          <p:cNvPr id="9" name="TextBox 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rtl="0">
              <a:defRPr>
                <a:solidFill>
                  <a:schemeClr val="bg1"/>
                </a:solidFill>
                <a:latin typeface="+mn-lt"/>
                <a:cs typeface="+mn-cs"/>
                <a:sym typeface="Trebuchet MS" panose="020B0603020202020204" pitchFamily="34" charset="0"/>
              </a:defRPr>
            </a:lvl1pPr>
          </a:lstStyle>
          <a:p>
            <a:endParaRPr lang="en-US" dirty="0"/>
          </a:p>
        </p:txBody>
      </p:sp>
      <p:sp>
        <p:nvSpPr>
          <p:cNvPr id="17"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cs typeface="+mn-cs"/>
                <a:sym typeface="Trebuchet MS" panose="020B0603020202020204" pitchFamily="34" charset="0"/>
              </a:rPr>
              <a:t>Copyright © 2024 by Boston Consulting Group. All rights reserved.</a:t>
            </a:r>
          </a:p>
        </p:txBody>
      </p:sp>
      <p:sp>
        <p:nvSpPr>
          <p:cNvPr id="19" name="Pentagon 3"/>
          <p:cNvSpPr/>
          <p:nvPr/>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US" sz="1200" dirty="0">
              <a:solidFill>
                <a:prstClr val="white"/>
              </a:solidFill>
              <a:latin typeface="+mn-lt"/>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rtl="0">
              <a:defRPr sz="4400" b="0">
                <a:solidFill>
                  <a:schemeClr val="tx2"/>
                </a:solidFill>
                <a:latin typeface="+mj-lt"/>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67034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B517312-C2A0-4EDA-0E74-AE5C0AB84FE8}"/>
              </a:ext>
            </a:extLst>
          </p:cNvPr>
          <p:cNvGraphicFramePr>
            <a:graphicFrameLocks noChangeAspect="1"/>
          </p:cNvGraphicFramePr>
          <p:nvPr userDrawn="1">
            <p:custDataLst>
              <p:tags r:id="rId1"/>
            </p:custDataLst>
            <p:extLst>
              <p:ext uri="{D42A27DB-BD31-4B8C-83A1-F6EECF244321}">
                <p14:modId xmlns:p14="http://schemas.microsoft.com/office/powerpoint/2010/main" val="303148543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6B517312-C2A0-4EDA-0E74-AE5C0AB84FE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1DF1CB22-1D3E-8007-A42A-CEDCDC34B37F}"/>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 y="0"/>
            <a:ext cx="5426920" cy="6858000"/>
          </a:xfrm>
          <a:custGeom>
            <a:avLst/>
            <a:gdLst>
              <a:gd name="connsiteX0" fmla="*/ 0 w 5426920"/>
              <a:gd name="connsiteY0" fmla="*/ 0 h 6858000"/>
              <a:gd name="connsiteX1" fmla="*/ 4724731 w 5426920"/>
              <a:gd name="connsiteY1" fmla="*/ 0 h 6858000"/>
              <a:gd name="connsiteX2" fmla="*/ 5426920 w 5426920"/>
              <a:gd name="connsiteY2" fmla="*/ 3429000 h 6858000"/>
              <a:gd name="connsiteX3" fmla="*/ 4724731 w 5426920"/>
              <a:gd name="connsiteY3" fmla="*/ 6858000 h 6858000"/>
              <a:gd name="connsiteX4" fmla="*/ 0 w 542692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6920" h="6858000">
                <a:moveTo>
                  <a:pt x="0" y="0"/>
                </a:moveTo>
                <a:lnTo>
                  <a:pt x="4724731" y="0"/>
                </a:lnTo>
                <a:lnTo>
                  <a:pt x="5426920" y="3429000"/>
                </a:lnTo>
                <a:lnTo>
                  <a:pt x="4724731" y="6858000"/>
                </a:lnTo>
                <a:lnTo>
                  <a:pt x="0" y="6858000"/>
                </a:lnTo>
                <a:close/>
              </a:path>
            </a:pathLst>
          </a:custGeom>
          <a:gradFill>
            <a:gsLst>
              <a:gs pos="0">
                <a:schemeClr val="tx2"/>
              </a:gs>
              <a:gs pos="100000">
                <a:schemeClr val="accent2"/>
              </a:gs>
            </a:gsLst>
            <a:lin ang="8100000" scaled="1"/>
          </a:gradFill>
        </p:spPr>
      </p:pic>
      <p:sp>
        <p:nvSpPr>
          <p:cNvPr id="7" name="Freeform 6">
            <a:extLst>
              <a:ext uri="{FF2B5EF4-FFF2-40B4-BE49-F238E27FC236}">
                <a16:creationId xmlns:a16="http://schemas.microsoft.com/office/drawing/2014/main" id="{067C4CA1-B010-F8F6-98FC-B013A5129B62}"/>
              </a:ext>
            </a:extLst>
          </p:cNvPr>
          <p:cNvSpPr/>
          <p:nvPr userDrawn="1">
            <p:custDataLst>
              <p:tags r:id="rId2"/>
            </p:custDataLst>
          </p:nvPr>
        </p:nvSpPr>
        <p:spPr>
          <a:xfrm>
            <a:off x="1" y="0"/>
            <a:ext cx="5426920" cy="6858000"/>
          </a:xfrm>
          <a:custGeom>
            <a:avLst/>
            <a:gdLst>
              <a:gd name="connsiteX0" fmla="*/ 0 w 5426920"/>
              <a:gd name="connsiteY0" fmla="*/ 0 h 6858000"/>
              <a:gd name="connsiteX1" fmla="*/ 4724731 w 5426920"/>
              <a:gd name="connsiteY1" fmla="*/ 0 h 6858000"/>
              <a:gd name="connsiteX2" fmla="*/ 5426920 w 5426920"/>
              <a:gd name="connsiteY2" fmla="*/ 3429000 h 6858000"/>
              <a:gd name="connsiteX3" fmla="*/ 4724731 w 5426920"/>
              <a:gd name="connsiteY3" fmla="*/ 6858000 h 6858000"/>
              <a:gd name="connsiteX4" fmla="*/ 0 w 542692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6920" h="6858000">
                <a:moveTo>
                  <a:pt x="0" y="0"/>
                </a:moveTo>
                <a:lnTo>
                  <a:pt x="4724731" y="0"/>
                </a:lnTo>
                <a:lnTo>
                  <a:pt x="5426920" y="3429000"/>
                </a:lnTo>
                <a:lnTo>
                  <a:pt x="4724731" y="6858000"/>
                </a:lnTo>
                <a:lnTo>
                  <a:pt x="0" y="6858000"/>
                </a:lnTo>
                <a:close/>
              </a:path>
            </a:pathLst>
          </a:custGeom>
          <a:gradFill>
            <a:gsLst>
              <a:gs pos="0">
                <a:srgbClr val="009B9D">
                  <a:alpha val="21000"/>
                </a:srgbClr>
              </a:gs>
              <a:gs pos="100000">
                <a:srgbClr val="006F4E">
                  <a:alpha val="8897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lnSpc>
                <a:spcPct val="90000"/>
              </a:lnSpc>
              <a:spcAft>
                <a:spcPts val="1000"/>
              </a:spcAft>
            </a:pPr>
            <a:endParaRPr lang="en-US" sz="1200" dirty="0">
              <a:solidFill>
                <a:schemeClr val="bg1"/>
              </a:solidFill>
              <a:cs typeface="+mn-cs"/>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rtl="0">
              <a:defRPr sz="4400" b="0">
                <a:solidFill>
                  <a:srgbClr val="FFFFFF"/>
                </a:solidFill>
                <a:latin typeface="+mj-lt"/>
                <a:cs typeface="+mj-cs"/>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cs typeface="+mn-cs"/>
                <a:sym typeface="Trebuchet MS" panose="020B0603020202020204" pitchFamily="34" charset="0"/>
              </a:defRPr>
            </a:lvl1pPr>
          </a:lstStyle>
          <a:p>
            <a:endParaRPr lang="en-US" dirty="0"/>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cs typeface="+mn-cs"/>
                <a:sym typeface="Trebuchet MS" panose="020B0603020202020204" pitchFamily="34" charset="0"/>
              </a:rPr>
              <a:t>Copyright © 2024 by Boston Consulting Group. All rights reserved.</a:t>
            </a:r>
          </a:p>
        </p:txBody>
      </p:sp>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9094629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3030C61-EC72-CA67-E3B6-B9C19AF897E5}"/>
              </a:ext>
            </a:extLst>
          </p:cNvPr>
          <p:cNvGraphicFramePr>
            <a:graphicFrameLocks noChangeAspect="1"/>
          </p:cNvGraphicFramePr>
          <p:nvPr userDrawn="1">
            <p:custDataLst>
              <p:tags r:id="rId1"/>
            </p:custDataLst>
            <p:extLst>
              <p:ext uri="{D42A27DB-BD31-4B8C-83A1-F6EECF244321}">
                <p14:modId xmlns:p14="http://schemas.microsoft.com/office/powerpoint/2010/main" val="231730461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think-cell data - do not delete" hidden="1">
                        <a:extLst>
                          <a:ext uri="{FF2B5EF4-FFF2-40B4-BE49-F238E27FC236}">
                            <a16:creationId xmlns:a16="http://schemas.microsoft.com/office/drawing/2014/main" id="{83030C61-EC72-CA67-E3B6-B9C19AF897E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8AD78D57-40EA-4CEA-B5E7-961CE49AED91}"/>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2467155" y="0"/>
            <a:ext cx="9724845" cy="6858000"/>
          </a:xfrm>
          <a:prstGeom prst="rect">
            <a:avLst/>
          </a:prstGeom>
          <a:gradFill>
            <a:gsLst>
              <a:gs pos="0">
                <a:srgbClr val="29BA74"/>
              </a:gs>
              <a:gs pos="100000">
                <a:srgbClr val="197A56"/>
              </a:gs>
            </a:gsLst>
            <a:lin ang="8100000" scaled="1"/>
          </a:gradFill>
        </p:spPr>
      </p:pic>
      <p:sp>
        <p:nvSpPr>
          <p:cNvPr id="12" name="Overlay">
            <a:extLst>
              <a:ext uri="{FF2B5EF4-FFF2-40B4-BE49-F238E27FC236}">
                <a16:creationId xmlns:a16="http://schemas.microsoft.com/office/drawing/2014/main" id="{F7561A3D-2DCE-4522-A63F-DA14575F5B57}"/>
              </a:ext>
            </a:extLst>
          </p:cNvPr>
          <p:cNvSpPr/>
          <p:nvPr userDrawn="1">
            <p:custDataLst>
              <p:tags r:id="rId2"/>
            </p:custDataLst>
          </p:nvPr>
        </p:nvSpPr>
        <p:spPr>
          <a:xfrm>
            <a:off x="2794001" y="0"/>
            <a:ext cx="9397999" cy="6858000"/>
          </a:xfrm>
          <a:prstGeom prst="rect">
            <a:avLst/>
          </a:prstGeom>
          <a:gradFill>
            <a:gsLst>
              <a:gs pos="0">
                <a:srgbClr val="009B9D">
                  <a:alpha val="21000"/>
                </a:srgbClr>
              </a:gs>
              <a:gs pos="100000">
                <a:srgbClr val="006F4E">
                  <a:alpha val="88979"/>
                </a:srgbClr>
              </a:gs>
            </a:gsLst>
            <a:lin ang="8100000" scaled="1"/>
          </a:gradFill>
          <a:ln w="9525" cap="flat" cmpd="sng" algn="ctr">
            <a:noFill/>
            <a:prstDash val="solid"/>
            <a:miter lim="800000"/>
          </a:ln>
          <a:effectLst/>
        </p:spPr>
        <p:txBody>
          <a:bodyPr rtlCol="0" anchor="t"/>
          <a:lstStyle/>
          <a:p>
            <a:pPr marL="0" marR="0" lvl="0" indent="0"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Trebuchet MS"/>
              <a:ea typeface="+mn-ea"/>
              <a:cs typeface="+mn-cs"/>
            </a:endParaRPr>
          </a:p>
        </p:txBody>
      </p:sp>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US" sz="1200" dirty="0">
              <a:solidFill>
                <a:prstClr val="white"/>
              </a:solidFill>
              <a:latin typeface="+mn-lt"/>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rtl="0">
              <a:defRPr>
                <a:solidFill>
                  <a:schemeClr val="tx2"/>
                </a:solidFill>
                <a:latin typeface="+mj-lt"/>
                <a:cs typeface="+mj-cs"/>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rtl="0">
              <a:defRPr>
                <a:solidFill>
                  <a:schemeClr val="bg1"/>
                </a:solidFill>
                <a:latin typeface="+mn-lt"/>
                <a:cs typeface="+mn-cs"/>
                <a:sym typeface="Trebuchet MS" panose="020B0603020202020204" pitchFamily="34" charset="0"/>
              </a:defRPr>
            </a:lvl1pPr>
          </a:lstStyle>
          <a:p>
            <a:endParaRPr lang="en-US" dirty="0"/>
          </a:p>
        </p:txBody>
      </p:sp>
      <p:sp>
        <p:nvSpPr>
          <p:cNvPr id="18"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cs typeface="+mn-cs"/>
                <a:sym typeface="Trebuchet MS" panose="020B0603020202020204" pitchFamily="34" charset="0"/>
              </a:rPr>
              <a:t>Copyright © 2024 by Boston Consulting Group. All rights reserved.</a:t>
            </a:r>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226126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E675536-0B97-47F2-316B-F78FBA7724BE}"/>
              </a:ext>
            </a:extLst>
          </p:cNvPr>
          <p:cNvGraphicFramePr>
            <a:graphicFrameLocks noChangeAspect="1"/>
          </p:cNvGraphicFramePr>
          <p:nvPr userDrawn="1">
            <p:custDataLst>
              <p:tags r:id="rId1"/>
            </p:custDataLst>
            <p:extLst>
              <p:ext uri="{D42A27DB-BD31-4B8C-83A1-F6EECF244321}">
                <p14:modId xmlns:p14="http://schemas.microsoft.com/office/powerpoint/2010/main" val="298379768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think-cell data - do not delete" hidden="1">
                        <a:extLst>
                          <a:ext uri="{FF2B5EF4-FFF2-40B4-BE49-F238E27FC236}">
                            <a16:creationId xmlns:a16="http://schemas.microsoft.com/office/drawing/2014/main" id="{2E675536-0B97-47F2-316B-F78FBA7724B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E0E375F6-B054-60F9-1093-9B6B8A30B1AA}"/>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6363546" cy="6858000"/>
          </a:xfrm>
          <a:custGeom>
            <a:avLst/>
            <a:gdLst>
              <a:gd name="connsiteX0" fmla="*/ 0 w 6363546"/>
              <a:gd name="connsiteY0" fmla="*/ 0 h 6858000"/>
              <a:gd name="connsiteX1" fmla="*/ 5540167 w 6363546"/>
              <a:gd name="connsiteY1" fmla="*/ 0 h 6858000"/>
              <a:gd name="connsiteX2" fmla="*/ 6363546 w 6363546"/>
              <a:gd name="connsiteY2" fmla="*/ 3429000 h 6858000"/>
              <a:gd name="connsiteX3" fmla="*/ 5540167 w 6363546"/>
              <a:gd name="connsiteY3" fmla="*/ 6858000 h 6858000"/>
              <a:gd name="connsiteX4" fmla="*/ 0 w 6363546"/>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3546" h="6858000">
                <a:moveTo>
                  <a:pt x="0" y="0"/>
                </a:moveTo>
                <a:lnTo>
                  <a:pt x="5540167" y="0"/>
                </a:lnTo>
                <a:lnTo>
                  <a:pt x="6363546" y="3429000"/>
                </a:lnTo>
                <a:lnTo>
                  <a:pt x="5540167" y="6858000"/>
                </a:lnTo>
                <a:lnTo>
                  <a:pt x="0" y="6858000"/>
                </a:lnTo>
                <a:close/>
              </a:path>
            </a:pathLst>
          </a:custGeom>
          <a:gradFill>
            <a:gsLst>
              <a:gs pos="0">
                <a:schemeClr val="tx2"/>
              </a:gs>
              <a:gs pos="100000">
                <a:schemeClr val="accent2"/>
              </a:gs>
            </a:gsLst>
            <a:lin ang="8100000" scaled="1"/>
          </a:gradFill>
        </p:spPr>
      </p:pic>
      <p:sp>
        <p:nvSpPr>
          <p:cNvPr id="8" name="Freeform 7">
            <a:extLst>
              <a:ext uri="{FF2B5EF4-FFF2-40B4-BE49-F238E27FC236}">
                <a16:creationId xmlns:a16="http://schemas.microsoft.com/office/drawing/2014/main" id="{4A16F606-61C2-8F71-F95E-845C841CC66A}"/>
              </a:ext>
            </a:extLst>
          </p:cNvPr>
          <p:cNvSpPr/>
          <p:nvPr userDrawn="1">
            <p:custDataLst>
              <p:tags r:id="rId2"/>
            </p:custDataLst>
          </p:nvPr>
        </p:nvSpPr>
        <p:spPr>
          <a:xfrm>
            <a:off x="0" y="0"/>
            <a:ext cx="6363546" cy="6858000"/>
          </a:xfrm>
          <a:custGeom>
            <a:avLst/>
            <a:gdLst>
              <a:gd name="connsiteX0" fmla="*/ 0 w 6363546"/>
              <a:gd name="connsiteY0" fmla="*/ 0 h 6858000"/>
              <a:gd name="connsiteX1" fmla="*/ 5540167 w 6363546"/>
              <a:gd name="connsiteY1" fmla="*/ 0 h 6858000"/>
              <a:gd name="connsiteX2" fmla="*/ 6363546 w 6363546"/>
              <a:gd name="connsiteY2" fmla="*/ 3429000 h 6858000"/>
              <a:gd name="connsiteX3" fmla="*/ 5540167 w 6363546"/>
              <a:gd name="connsiteY3" fmla="*/ 6858000 h 6858000"/>
              <a:gd name="connsiteX4" fmla="*/ 0 w 6363546"/>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3546" h="6858000">
                <a:moveTo>
                  <a:pt x="0" y="0"/>
                </a:moveTo>
                <a:lnTo>
                  <a:pt x="5540167" y="0"/>
                </a:lnTo>
                <a:lnTo>
                  <a:pt x="6363546" y="3429000"/>
                </a:lnTo>
                <a:lnTo>
                  <a:pt x="5540167" y="6858000"/>
                </a:lnTo>
                <a:lnTo>
                  <a:pt x="0" y="6858000"/>
                </a:lnTo>
                <a:close/>
              </a:path>
            </a:pathLst>
          </a:custGeom>
          <a:gradFill>
            <a:gsLst>
              <a:gs pos="0">
                <a:srgbClr val="009B9D">
                  <a:alpha val="21000"/>
                </a:srgbClr>
              </a:gs>
              <a:gs pos="100000">
                <a:srgbClr val="006F4E">
                  <a:alpha val="8897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lnSpc>
                <a:spcPct val="90000"/>
              </a:lnSpc>
              <a:spcAft>
                <a:spcPts val="1000"/>
              </a:spcAft>
            </a:pPr>
            <a:endParaRPr lang="en-US" sz="1200" dirty="0">
              <a:solidFill>
                <a:schemeClr val="bg1"/>
              </a:solidFill>
              <a:cs typeface="+mn-cs"/>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rtl="0">
              <a:defRPr>
                <a:solidFill>
                  <a:srgbClr val="FFFFFF"/>
                </a:solidFill>
                <a:latin typeface="+mj-lt"/>
                <a:cs typeface="+mj-cs"/>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cs typeface="+mn-cs"/>
                <a:sym typeface="Trebuchet MS" panose="020B0603020202020204" pitchFamily="34" charset="0"/>
              </a:defRPr>
            </a:lvl1pPr>
          </a:lstStyle>
          <a:p>
            <a:endParaRPr lang="en-US" dirty="0"/>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cs typeface="+mn-cs"/>
                <a:sym typeface="Trebuchet MS" panose="020B0603020202020204" pitchFamily="34" charset="0"/>
              </a:rPr>
              <a:t>Copyright © 2024 by Boston Consulting Group. All rights reserved.</a:t>
            </a:r>
          </a:p>
        </p:txBody>
      </p:sp>
      <p:pic>
        <p:nvPicPr>
          <p:cNvPr id="10" name="Picture 9"/>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4744700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E5BA6A9-E8A7-E52C-EDBA-D93F19D97134}"/>
              </a:ext>
            </a:extLst>
          </p:cNvPr>
          <p:cNvGraphicFramePr>
            <a:graphicFrameLocks noChangeAspect="1"/>
          </p:cNvGraphicFramePr>
          <p:nvPr userDrawn="1">
            <p:custDataLst>
              <p:tags r:id="rId1"/>
            </p:custDataLst>
            <p:extLst>
              <p:ext uri="{D42A27DB-BD31-4B8C-83A1-F6EECF244321}">
                <p14:modId xmlns:p14="http://schemas.microsoft.com/office/powerpoint/2010/main" val="4428632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think-cell data - do not delete" hidden="1">
                        <a:extLst>
                          <a:ext uri="{FF2B5EF4-FFF2-40B4-BE49-F238E27FC236}">
                            <a16:creationId xmlns:a16="http://schemas.microsoft.com/office/drawing/2014/main" id="{1E5BA6A9-E8A7-E52C-EDBA-D93F19D9713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66AD6CB2-624D-4E46-BE7D-8DAB45D3BFCA}"/>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2467155" y="0"/>
            <a:ext cx="9724845" cy="6858000"/>
          </a:xfrm>
          <a:prstGeom prst="rect">
            <a:avLst/>
          </a:prstGeom>
          <a:gradFill>
            <a:gsLst>
              <a:gs pos="0">
                <a:srgbClr val="29BA74"/>
              </a:gs>
              <a:gs pos="100000">
                <a:srgbClr val="197A56"/>
              </a:gs>
            </a:gsLst>
            <a:lin ang="8100000" scaled="1"/>
          </a:gradFill>
        </p:spPr>
      </p:pic>
      <p:sp>
        <p:nvSpPr>
          <p:cNvPr id="16" name="Overlay">
            <a:extLst>
              <a:ext uri="{FF2B5EF4-FFF2-40B4-BE49-F238E27FC236}">
                <a16:creationId xmlns:a16="http://schemas.microsoft.com/office/drawing/2014/main" id="{3F44CD49-3FD8-4049-A040-1F13FFC95077}"/>
              </a:ext>
            </a:extLst>
          </p:cNvPr>
          <p:cNvSpPr/>
          <p:nvPr userDrawn="1">
            <p:custDataLst>
              <p:tags r:id="rId2"/>
            </p:custDataLst>
          </p:nvPr>
        </p:nvSpPr>
        <p:spPr>
          <a:xfrm>
            <a:off x="2794001" y="0"/>
            <a:ext cx="9397999" cy="6858000"/>
          </a:xfrm>
          <a:prstGeom prst="rect">
            <a:avLst/>
          </a:prstGeom>
          <a:gradFill>
            <a:gsLst>
              <a:gs pos="0">
                <a:srgbClr val="009B9D">
                  <a:alpha val="21000"/>
                </a:srgbClr>
              </a:gs>
              <a:gs pos="100000">
                <a:srgbClr val="006F4E">
                  <a:alpha val="88979"/>
                </a:srgbClr>
              </a:gs>
            </a:gsLst>
            <a:lin ang="8100000" scaled="1"/>
          </a:gradFill>
          <a:ln w="9525" cap="flat" cmpd="sng" algn="ctr">
            <a:noFill/>
            <a:prstDash val="solid"/>
            <a:miter lim="800000"/>
          </a:ln>
          <a:effectLst/>
        </p:spPr>
        <p:txBody>
          <a:bodyPr rtlCol="0" anchor="t"/>
          <a:lstStyle/>
          <a:p>
            <a:pPr marL="0" marR="0" lvl="0" indent="0"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Trebuchet MS"/>
              <a:ea typeface="+mn-ea"/>
              <a:cs typeface="+mn-cs"/>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latin typeface="+mn-lt"/>
              <a:cs typeface="+mn-cs"/>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rtl="0">
              <a:defRPr>
                <a:solidFill>
                  <a:schemeClr val="bg1"/>
                </a:solidFill>
                <a:latin typeface="+mn-lt"/>
                <a:cs typeface="+mn-cs"/>
                <a:sym typeface="Trebuchet MS" panose="020B0603020202020204" pitchFamily="34" charset="0"/>
              </a:defRPr>
            </a:lvl1pPr>
          </a:lstStyle>
          <a:p>
            <a:endParaRPr lang="en-US" dirty="0"/>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cs typeface="+mn-cs"/>
                <a:sym typeface="Trebuchet MS" panose="020B0603020202020204" pitchFamily="34" charset="0"/>
              </a:rPr>
              <a:t>Copyright © 2024 by Boston Consulting Group. All rights reserved.</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rtl="0">
              <a:defRPr>
                <a:solidFill>
                  <a:schemeClr val="tx2"/>
                </a:solidFill>
                <a:latin typeface="+mj-lt"/>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408838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A1D9B58-D21C-A1D9-B860-3DB7E38FB7DF}"/>
              </a:ext>
            </a:extLst>
          </p:cNvPr>
          <p:cNvGraphicFramePr>
            <a:graphicFrameLocks noChangeAspect="1"/>
          </p:cNvGraphicFramePr>
          <p:nvPr userDrawn="1">
            <p:custDataLst>
              <p:tags r:id="rId1"/>
            </p:custDataLst>
            <p:extLst>
              <p:ext uri="{D42A27DB-BD31-4B8C-83A1-F6EECF244321}">
                <p14:modId xmlns:p14="http://schemas.microsoft.com/office/powerpoint/2010/main" val="23068440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think-cell data - do not delete" hidden="1">
                        <a:extLst>
                          <a:ext uri="{FF2B5EF4-FFF2-40B4-BE49-F238E27FC236}">
                            <a16:creationId xmlns:a16="http://schemas.microsoft.com/office/drawing/2014/main" id="{6A1D9B58-D21C-A1D9-B860-3DB7E38FB7D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1764BBB6-B7F4-1491-4AB2-71C8F7693501}"/>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46239" h="6858000">
                <a:moveTo>
                  <a:pt x="0" y="0"/>
                </a:moveTo>
                <a:lnTo>
                  <a:pt x="7645979" y="0"/>
                </a:lnTo>
                <a:lnTo>
                  <a:pt x="8446239" y="3429000"/>
                </a:lnTo>
                <a:lnTo>
                  <a:pt x="7645979" y="6858000"/>
                </a:lnTo>
                <a:lnTo>
                  <a:pt x="0" y="6858000"/>
                </a:lnTo>
                <a:close/>
              </a:path>
            </a:pathLst>
          </a:custGeom>
          <a:gradFill>
            <a:gsLst>
              <a:gs pos="0">
                <a:schemeClr val="tx2"/>
              </a:gs>
              <a:gs pos="100000">
                <a:schemeClr val="accent2"/>
              </a:gs>
            </a:gsLst>
            <a:lin ang="8100000" scaled="1"/>
          </a:gradFill>
        </p:spPr>
      </p:pic>
      <p:sp>
        <p:nvSpPr>
          <p:cNvPr id="8" name="Freeform 7">
            <a:extLst>
              <a:ext uri="{FF2B5EF4-FFF2-40B4-BE49-F238E27FC236}">
                <a16:creationId xmlns:a16="http://schemas.microsoft.com/office/drawing/2014/main" id="{3BA2DA0F-F31E-7898-B1EE-08615F2B110E}"/>
              </a:ext>
            </a:extLst>
          </p:cNvPr>
          <p:cNvSpPr/>
          <p:nvPr userDrawn="1">
            <p:custDataLst>
              <p:tags r:id="rId2"/>
            </p:custDataLst>
          </p:nvPr>
        </p:nvSpPr>
        <p:spPr>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46239" h="6858000">
                <a:moveTo>
                  <a:pt x="0" y="0"/>
                </a:moveTo>
                <a:lnTo>
                  <a:pt x="7645979" y="0"/>
                </a:lnTo>
                <a:lnTo>
                  <a:pt x="8446239" y="3429000"/>
                </a:lnTo>
                <a:lnTo>
                  <a:pt x="7645979" y="6858000"/>
                </a:lnTo>
                <a:lnTo>
                  <a:pt x="0" y="6858000"/>
                </a:lnTo>
                <a:close/>
              </a:path>
            </a:pathLst>
          </a:custGeom>
          <a:gradFill>
            <a:gsLst>
              <a:gs pos="0">
                <a:srgbClr val="009B9D">
                  <a:alpha val="75000"/>
                </a:srgbClr>
              </a:gs>
              <a:gs pos="100000">
                <a:srgbClr val="006F4E">
                  <a:alpha val="9506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l" rtl="0">
              <a:lnSpc>
                <a:spcPct val="90000"/>
              </a:lnSpc>
              <a:spcAft>
                <a:spcPts val="1000"/>
              </a:spcAft>
            </a:pPr>
            <a:endParaRPr lang="en-US" sz="1200" dirty="0">
              <a:solidFill>
                <a:schemeClr val="bg1"/>
              </a:solidFill>
              <a:cs typeface="+mn-cs"/>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rtl="0">
              <a:defRPr>
                <a:solidFill>
                  <a:srgbClr val="FFFFFF"/>
                </a:solidFill>
                <a:latin typeface="+mj-lt"/>
                <a:cs typeface="+mj-cs"/>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cs typeface="+mn-cs"/>
                <a:sym typeface="Trebuchet MS" panose="020B0603020202020204" pitchFamily="34" charset="0"/>
              </a:defRPr>
            </a:lvl1pPr>
          </a:lstStyle>
          <a:p>
            <a:endParaRPr lang="en-US" dirty="0"/>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cs typeface="+mn-cs"/>
                <a:sym typeface="Trebuchet MS" panose="020B0603020202020204" pitchFamily="34" charset="0"/>
              </a:rPr>
              <a:t>Copyright © 2024 by Boston Consulting Group. All rights reserved.</a:t>
            </a:r>
          </a:p>
        </p:txBody>
      </p:sp>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6703326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9011007-A8FD-E3F6-187F-5C3DDAD0F5C6}"/>
              </a:ext>
            </a:extLst>
          </p:cNvPr>
          <p:cNvGraphicFramePr>
            <a:graphicFrameLocks noChangeAspect="1"/>
          </p:cNvGraphicFramePr>
          <p:nvPr userDrawn="1">
            <p:custDataLst>
              <p:tags r:id="rId1"/>
            </p:custDataLst>
            <p:extLst>
              <p:ext uri="{D42A27DB-BD31-4B8C-83A1-F6EECF244321}">
                <p14:modId xmlns:p14="http://schemas.microsoft.com/office/powerpoint/2010/main" val="6184740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79011007-A8FD-E3F6-187F-5C3DDAD0F5C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61D7BD30-ACAE-4C6B-ACEC-6364D7EE7BA6}"/>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12192000" cy="6858000"/>
          </a:xfrm>
          <a:prstGeom prst="rect">
            <a:avLst/>
          </a:prstGeom>
          <a:gradFill>
            <a:gsLst>
              <a:gs pos="0">
                <a:schemeClr val="tx2"/>
              </a:gs>
              <a:gs pos="100000">
                <a:schemeClr val="accent2"/>
              </a:gs>
            </a:gsLst>
            <a:lin ang="8100000" scaled="1"/>
          </a:gradFill>
        </p:spPr>
      </p:pic>
      <p:sp>
        <p:nvSpPr>
          <p:cNvPr id="6" name="Overlay">
            <a:extLst>
              <a:ext uri="{FF2B5EF4-FFF2-40B4-BE49-F238E27FC236}">
                <a16:creationId xmlns:a16="http://schemas.microsoft.com/office/drawing/2014/main" id="{C48520CF-1740-D76C-69B4-B2317C22EB45}"/>
              </a:ext>
            </a:extLst>
          </p:cNvPr>
          <p:cNvSpPr/>
          <p:nvPr userDrawn="1">
            <p:custDataLst>
              <p:tags r:id="rId2"/>
            </p:custDataLst>
          </p:nvPr>
        </p:nvSpPr>
        <p:spPr>
          <a:xfrm>
            <a:off x="0" y="0"/>
            <a:ext cx="12192000" cy="6858000"/>
          </a:xfrm>
          <a:prstGeom prst="rect">
            <a:avLst/>
          </a:prstGeom>
          <a:gradFill>
            <a:gsLst>
              <a:gs pos="0">
                <a:srgbClr val="009B9D">
                  <a:alpha val="75000"/>
                </a:srgbClr>
              </a:gs>
              <a:gs pos="100000">
                <a:srgbClr val="006F4E">
                  <a:alpha val="9506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lnSpc>
                <a:spcPct val="90000"/>
              </a:lnSpc>
              <a:spcAft>
                <a:spcPts val="1000"/>
              </a:spcAft>
            </a:pPr>
            <a:endParaRPr lang="en-US" sz="1200" dirty="0">
              <a:solidFill>
                <a:schemeClr val="bg1"/>
              </a:solidFill>
              <a:cs typeface="+mn-cs"/>
            </a:endParaRPr>
          </a:p>
        </p:txBody>
      </p:sp>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mj-cs"/>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cs typeface="+mn-cs"/>
                <a:sym typeface="Trebuchet MS" panose="020B0603020202020204" pitchFamily="34" charset="0"/>
              </a:defRPr>
            </a:lvl1pPr>
          </a:lstStyle>
          <a:p>
            <a:endParaRPr lang="en-US" dirty="0"/>
          </a:p>
        </p:txBody>
      </p:sp>
      <p:sp>
        <p:nvSpPr>
          <p:cNvPr id="12"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cs typeface="+mn-cs"/>
                <a:sym typeface="Trebuchet MS" panose="020B0603020202020204" pitchFamily="34" charset="0"/>
              </a:rPr>
              <a:t>Copyright © 2024 by Boston Consulting Group. All rights reserved.</a:t>
            </a:r>
          </a:p>
        </p:txBody>
      </p:sp>
      <p:sp>
        <p:nvSpPr>
          <p:cNvPr id="59" name="Rectangle 58"/>
          <p:cNvSpPr/>
          <p:nvPr/>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en-US" sz="1200" dirty="0">
              <a:solidFill>
                <a:schemeClr val="bg1"/>
              </a:solidFill>
              <a:latin typeface="+mn-lt"/>
              <a:cs typeface="+mn-cs"/>
              <a:sym typeface="Trebuchet MS" panose="020B0603020202020204" pitchFamily="34" charset="0"/>
            </a:endParaRPr>
          </a:p>
        </p:txBody>
      </p:sp>
    </p:spTree>
    <p:extLst>
      <p:ext uri="{BB962C8B-B14F-4D97-AF65-F5344CB8AC3E}">
        <p14:creationId xmlns:p14="http://schemas.microsoft.com/office/powerpoint/2010/main" val="2716051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ADF7836-6D42-4E6C-0336-8EC05F833ACD}"/>
              </a:ext>
            </a:extLst>
          </p:cNvPr>
          <p:cNvGraphicFramePr>
            <a:graphicFrameLocks noChangeAspect="1"/>
          </p:cNvGraphicFramePr>
          <p:nvPr userDrawn="1">
            <p:custDataLst>
              <p:tags r:id="rId1"/>
            </p:custDataLst>
            <p:extLst>
              <p:ext uri="{D42A27DB-BD31-4B8C-83A1-F6EECF244321}">
                <p14:modId xmlns:p14="http://schemas.microsoft.com/office/powerpoint/2010/main" val="37890152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FADF7836-6D42-4E6C-0336-8EC05F833AC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2" name="Picture 11">
            <a:extLst>
              <a:ext uri="{FF2B5EF4-FFF2-40B4-BE49-F238E27FC236}">
                <a16:creationId xmlns:a16="http://schemas.microsoft.com/office/drawing/2014/main" id="{5635CCB0-C4F4-4E95-8F40-A764FD4FB116}"/>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12192000" cy="6858000"/>
          </a:xfrm>
          <a:prstGeom prst="rect">
            <a:avLst/>
          </a:prstGeom>
          <a:gradFill>
            <a:gsLst>
              <a:gs pos="0">
                <a:schemeClr val="tx2"/>
              </a:gs>
              <a:gs pos="100000">
                <a:schemeClr val="accent2"/>
              </a:gs>
            </a:gsLst>
            <a:lin ang="8100000" scaled="1"/>
          </a:gradFill>
        </p:spPr>
      </p:pic>
      <p:sp>
        <p:nvSpPr>
          <p:cNvPr id="13" name="Overlay">
            <a:extLst>
              <a:ext uri="{FF2B5EF4-FFF2-40B4-BE49-F238E27FC236}">
                <a16:creationId xmlns:a16="http://schemas.microsoft.com/office/drawing/2014/main" id="{A26F521A-41A4-44CD-940E-D4F5406CF354}"/>
              </a:ext>
            </a:extLst>
          </p:cNvPr>
          <p:cNvSpPr/>
          <p:nvPr userDrawn="1">
            <p:custDataLst>
              <p:tags r:id="rId2"/>
            </p:custDataLst>
          </p:nvPr>
        </p:nvSpPr>
        <p:spPr>
          <a:xfrm>
            <a:off x="0" y="0"/>
            <a:ext cx="12192000" cy="6858000"/>
          </a:xfrm>
          <a:prstGeom prst="rect">
            <a:avLst/>
          </a:prstGeom>
          <a:gradFill>
            <a:gsLst>
              <a:gs pos="0">
                <a:srgbClr val="009B9D">
                  <a:alpha val="75000"/>
                </a:srgbClr>
              </a:gs>
              <a:gs pos="100000">
                <a:srgbClr val="006F4E">
                  <a:alpha val="9506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lnSpc>
                <a:spcPct val="90000"/>
              </a:lnSpc>
              <a:spcAft>
                <a:spcPts val="1000"/>
              </a:spcAft>
            </a:pPr>
            <a:endParaRPr lang="en-US" sz="1200" dirty="0">
              <a:solidFill>
                <a:schemeClr val="bg1"/>
              </a:solidFill>
              <a:cs typeface="+mn-cs"/>
            </a:endParaRPr>
          </a:p>
        </p:txBody>
      </p:sp>
      <p:sp>
        <p:nvSpPr>
          <p:cNvPr id="7" name="Date Placeholder 4"/>
          <p:cNvSpPr>
            <a:spLocks noGrp="1"/>
          </p:cNvSpPr>
          <p:nvPr>
            <p:ph type="dt" sz="half" idx="10"/>
          </p:nvPr>
        </p:nvSpPr>
        <p:spPr>
          <a:xfrm>
            <a:off x="9677400" y="6405036"/>
            <a:ext cx="1482051" cy="153888"/>
          </a:xfrm>
        </p:spPr>
        <p:txBody>
          <a:bodyPr/>
          <a:lstStyle>
            <a:lvl1pPr rtl="0">
              <a:defRPr>
                <a:solidFill>
                  <a:schemeClr val="bg1"/>
                </a:solidFill>
                <a:latin typeface="+mn-lt"/>
                <a:cs typeface="+mn-cs"/>
                <a:sym typeface="Trebuchet MS" panose="020B0603020202020204" pitchFamily="34" charset="0"/>
              </a:defRPr>
            </a:lvl1pPr>
          </a:lstStyle>
          <a:p>
            <a:endParaRPr lang="en-US" dirty="0"/>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cs typeface="+mn-cs"/>
                <a:sym typeface="Trebuchet MS" panose="020B0603020202020204" pitchFamily="34" charset="0"/>
              </a:rPr>
              <a:t>Copyright © 2024 by Boston Consulting Group. All rights reserved.</a:t>
            </a:r>
          </a:p>
        </p:txBody>
      </p:sp>
      <p:sp>
        <p:nvSpPr>
          <p:cNvPr id="10" name="TextBox 9"/>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mj-cs"/>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4283401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CDCF69C5-8E77-1FBE-1245-2DCD2D196E7E}"/>
              </a:ext>
            </a:extLst>
          </p:cNvPr>
          <p:cNvGraphicFramePr>
            <a:graphicFrameLocks noChangeAspect="1"/>
          </p:cNvGraphicFramePr>
          <p:nvPr userDrawn="1">
            <p:custDataLst>
              <p:tags r:id="rId1"/>
            </p:custDataLst>
            <p:extLst>
              <p:ext uri="{D42A27DB-BD31-4B8C-83A1-F6EECF244321}">
                <p14:modId xmlns:p14="http://schemas.microsoft.com/office/powerpoint/2010/main" val="15471940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0" name="think-cell data - do not delete" hidden="1">
                        <a:extLst>
                          <a:ext uri="{FF2B5EF4-FFF2-40B4-BE49-F238E27FC236}">
                            <a16:creationId xmlns:a16="http://schemas.microsoft.com/office/drawing/2014/main" id="{CDCF69C5-8E77-1FBE-1245-2DCD2D196E7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D3F0515C-F692-4D81-B090-E1490C80802A}"/>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12192000" cy="6858000"/>
          </a:xfrm>
          <a:prstGeom prst="rect">
            <a:avLst/>
          </a:prstGeom>
          <a:gradFill>
            <a:gsLst>
              <a:gs pos="0">
                <a:schemeClr val="tx2"/>
              </a:gs>
              <a:gs pos="100000">
                <a:schemeClr val="accent2"/>
              </a:gs>
            </a:gsLst>
            <a:lin ang="8100000" scaled="1"/>
          </a:gradFill>
        </p:spPr>
      </p:pic>
      <p:sp>
        <p:nvSpPr>
          <p:cNvPr id="16" name="Overlay">
            <a:extLst>
              <a:ext uri="{FF2B5EF4-FFF2-40B4-BE49-F238E27FC236}">
                <a16:creationId xmlns:a16="http://schemas.microsoft.com/office/drawing/2014/main" id="{3595AE63-DC4E-4590-8EC6-111B63C71C1F}"/>
              </a:ext>
            </a:extLst>
          </p:cNvPr>
          <p:cNvSpPr/>
          <p:nvPr userDrawn="1">
            <p:custDataLst>
              <p:tags r:id="rId2"/>
            </p:custDataLst>
          </p:nvPr>
        </p:nvSpPr>
        <p:spPr>
          <a:xfrm>
            <a:off x="0" y="0"/>
            <a:ext cx="12192000" cy="6858000"/>
          </a:xfrm>
          <a:prstGeom prst="rect">
            <a:avLst/>
          </a:prstGeom>
          <a:gradFill>
            <a:gsLst>
              <a:gs pos="0">
                <a:srgbClr val="009B9D">
                  <a:alpha val="75000"/>
                </a:srgbClr>
              </a:gs>
              <a:gs pos="100000">
                <a:srgbClr val="006F4E">
                  <a:alpha val="9506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lnSpc>
                <a:spcPct val="90000"/>
              </a:lnSpc>
              <a:spcAft>
                <a:spcPts val="1000"/>
              </a:spcAft>
            </a:pPr>
            <a:endParaRPr lang="en-US" sz="1200" dirty="0">
              <a:solidFill>
                <a:schemeClr val="bg1"/>
              </a:solidFill>
              <a:cs typeface="+mn-cs"/>
            </a:endParaRPr>
          </a:p>
        </p:txBody>
      </p:sp>
      <p:sp>
        <p:nvSpPr>
          <p:cNvPr id="11"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cs typeface="+mn-cs"/>
                <a:sym typeface="Trebuchet MS" panose="020B0603020202020204" pitchFamily="34" charset="0"/>
              </a:rPr>
              <a:t>Copyright © 2024 by Boston Consulting Group. All rights reserved.</a:t>
            </a:r>
          </a:p>
        </p:txBody>
      </p:sp>
      <p:sp>
        <p:nvSpPr>
          <p:cNvPr id="6" name="Rectangle 5"/>
          <p:cNvSpPr/>
          <p:nvPr/>
        </p:nvSpPr>
        <p:spPr bwMode="white">
          <a:xfrm>
            <a:off x="630000" y="625475"/>
            <a:ext cx="932688" cy="93268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en-US" sz="1200" dirty="0">
              <a:solidFill>
                <a:schemeClr val="bg1"/>
              </a:solidFill>
              <a:latin typeface="+mn-lt"/>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mj-cs"/>
                <a:sym typeface="Trebuchet MS" panose="020B0603020202020204" pitchFamily="34" charset="0"/>
              </a:defRPr>
            </a:lvl1pPr>
          </a:lstStyle>
          <a:p>
            <a:r>
              <a:rPr lang="en-US" dirty="0"/>
              <a:t>Click to add big statement text</a:t>
            </a:r>
          </a:p>
        </p:txBody>
      </p:sp>
      <p:sp>
        <p:nvSpPr>
          <p:cNvPr id="13" name="Date Placeholder 4">
            <a:extLst>
              <a:ext uri="{FF2B5EF4-FFF2-40B4-BE49-F238E27FC236}">
                <a16:creationId xmlns:a16="http://schemas.microsoft.com/office/drawing/2014/main" id="{ECEA461D-8264-4791-9FBF-F0154EB4955F}"/>
              </a:ext>
            </a:extLst>
          </p:cNvPr>
          <p:cNvSpPr>
            <a:spLocks noGrp="1"/>
          </p:cNvSpPr>
          <p:nvPr>
            <p:ph type="dt" sz="half" idx="10"/>
          </p:nvPr>
        </p:nvSpPr>
        <p:spPr>
          <a:xfrm>
            <a:off x="9677400" y="6405036"/>
            <a:ext cx="1482051" cy="153888"/>
          </a:xfrm>
        </p:spPr>
        <p:txBody>
          <a:bodyPr/>
          <a:lstStyle>
            <a:lvl1pPr rtl="0">
              <a:defRPr>
                <a:solidFill>
                  <a:schemeClr val="bg1"/>
                </a:solidFill>
                <a:latin typeface="+mn-lt"/>
                <a:cs typeface="+mn-cs"/>
                <a:sym typeface="Trebuchet MS" panose="020B0603020202020204" pitchFamily="34" charset="0"/>
              </a:defRPr>
            </a:lvl1pPr>
          </a:lstStyle>
          <a:p>
            <a:endParaRPr lang="en-US" dirty="0"/>
          </a:p>
        </p:txBody>
      </p:sp>
      <p:sp>
        <p:nvSpPr>
          <p:cNvPr id="14" name="TextBox 13">
            <a:extLst>
              <a:ext uri="{FF2B5EF4-FFF2-40B4-BE49-F238E27FC236}">
                <a16:creationId xmlns:a16="http://schemas.microsoft.com/office/drawing/2014/main" id="{0E31AFD0-02B8-4653-B223-95FA9B97A30F}"/>
              </a:ext>
            </a:extLst>
          </p:cNvPr>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46277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7542092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rtl="0">
              <a:defRPr>
                <a:solidFill>
                  <a:schemeClr val="bg1"/>
                </a:solidFill>
                <a:latin typeface="+mn-lt"/>
                <a:cs typeface="+mn-cs"/>
                <a:sym typeface="Trebuchet MS" panose="020B0603020202020204" pitchFamily="34" charset="0"/>
              </a:defRPr>
            </a:lvl1pPr>
          </a:lstStyle>
          <a:p>
            <a:endParaRPr lang="en-US" dirty="0"/>
          </a:p>
        </p:txBody>
      </p:sp>
      <p:pic>
        <p:nvPicPr>
          <p:cNvPr id="7" name="Picture 6"/>
          <p:cNvPicPr>
            <a:picLocks noChangeAspect="1"/>
          </p:cNvPicPr>
          <p:nvPr/>
        </p:nvPicPr>
        <p:blipFill rotWithShape="1">
          <a:blip r:embed="rId5" cstate="hqprint">
            <a:extLst>
              <a:ext uri="{28A0092B-C50C-407E-A947-70E740481C1C}">
                <a14:useLocalDpi xmlns:a14="http://schemas.microsoft.com/office/drawing/2010/main"/>
              </a:ext>
            </a:extLst>
          </a:blip>
          <a:srcRect r="-511" b="-40"/>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userDrawn="1"/>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3EAD92"/>
          </a:solidFill>
          <a:ln>
            <a:noFill/>
          </a:ln>
          <a:effectLst/>
        </p:spPr>
        <p:txBody>
          <a:bodyPr vert="horz" wrap="square" lIns="91440" tIns="45720" rIns="91440" bIns="45720" numCol="1" anchor="t" anchorCtr="0" compatLnSpc="1">
            <a:prstTxWarp prst="textNoShape">
              <a:avLst/>
            </a:prstTxWarp>
            <a:noAutofit/>
          </a:bodyPr>
          <a:lstStyle/>
          <a:p>
            <a:pPr rtl="0"/>
            <a:endParaRPr lang="en-US" dirty="0">
              <a:latin typeface="+mn-lt"/>
              <a:cs typeface="+mn-cs"/>
              <a:sym typeface="Trebuchet MS" panose="020B0603020202020204" pitchFamily="34" charset="0"/>
            </a:endParaRPr>
          </a:p>
        </p:txBody>
      </p:sp>
    </p:spTree>
    <p:extLst>
      <p:ext uri="{BB962C8B-B14F-4D97-AF65-F5344CB8AC3E}">
        <p14:creationId xmlns:p14="http://schemas.microsoft.com/office/powerpoint/2010/main" val="299178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86688D8-1A0C-4797-A838-5312FADE9288}"/>
              </a:ext>
            </a:extLst>
          </p:cNvPr>
          <p:cNvGraphicFramePr>
            <a:graphicFrameLocks noChangeAspect="1"/>
          </p:cNvGraphicFramePr>
          <p:nvPr userDrawn="1">
            <p:custDataLst>
              <p:tags r:id="rId1"/>
            </p:custDataLst>
            <p:extLst>
              <p:ext uri="{D42A27DB-BD31-4B8C-83A1-F6EECF244321}">
                <p14:modId xmlns:p14="http://schemas.microsoft.com/office/powerpoint/2010/main" val="1305767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6" name="think-cell data - do not delete" hidden="1">
                        <a:extLst>
                          <a:ext uri="{FF2B5EF4-FFF2-40B4-BE49-F238E27FC236}">
                            <a16:creationId xmlns:a16="http://schemas.microsoft.com/office/drawing/2014/main" id="{786688D8-1A0C-4797-A838-5312FADE92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rtl="0">
              <a:defRPr>
                <a:solidFill>
                  <a:schemeClr val="bg1"/>
                </a:solidFill>
                <a:latin typeface="+mn-lt"/>
                <a:cs typeface="+mn-cs"/>
                <a:sym typeface="Trebuchet MS" panose="020B0603020202020204" pitchFamily="34" charset="0"/>
              </a:defRPr>
            </a:lvl1pPr>
          </a:lstStyle>
          <a:p>
            <a:endParaRPr lang="en-US" dirty="0"/>
          </a:p>
        </p:txBody>
      </p:sp>
      <p:sp>
        <p:nvSpPr>
          <p:cNvPr id="11"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cs typeface="+mn-cs"/>
                <a:sym typeface="Trebuchet MS" panose="020B0603020202020204" pitchFamily="34" charset="0"/>
              </a:rPr>
              <a:t>Copyright © 2024 by Boston Consulting Group. All rights reserved.</a:t>
            </a:r>
          </a:p>
        </p:txBody>
      </p:sp>
      <p:sp>
        <p:nvSpPr>
          <p:cNvPr id="2" name="Title 1"/>
          <p:cNvSpPr>
            <a:spLocks noGrp="1"/>
          </p:cNvSpPr>
          <p:nvPr>
            <p:ph type="title" hasCustomPrompt="1"/>
          </p:nvPr>
        </p:nvSpPr>
        <p:spPr>
          <a:xfrm>
            <a:off x="630000" y="622800"/>
            <a:ext cx="10933200" cy="332399"/>
          </a:xfrm>
        </p:spPr>
        <p:txBody>
          <a:bodyPr vert="horz"/>
          <a:lstStyle>
            <a:lvl1pPr rtl="0">
              <a:defRPr>
                <a:solidFill>
                  <a:schemeClr val="bg1"/>
                </a:solidFill>
                <a:latin typeface="+mj-lt"/>
                <a:cs typeface="+mj-cs"/>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83609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0012C75-C7DC-E423-95CA-C2C9489C47C0}"/>
              </a:ext>
            </a:extLst>
          </p:cNvPr>
          <p:cNvGraphicFramePr>
            <a:graphicFrameLocks noChangeAspect="1"/>
          </p:cNvGraphicFramePr>
          <p:nvPr userDrawn="1">
            <p:custDataLst>
              <p:tags r:id="rId1"/>
            </p:custDataLst>
            <p:extLst>
              <p:ext uri="{D42A27DB-BD31-4B8C-83A1-F6EECF244321}">
                <p14:modId xmlns:p14="http://schemas.microsoft.com/office/powerpoint/2010/main" val="302812586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10012C75-C7DC-E423-95CA-C2C9489C47C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2" name="Picture 11">
            <a:extLst>
              <a:ext uri="{FF2B5EF4-FFF2-40B4-BE49-F238E27FC236}">
                <a16:creationId xmlns:a16="http://schemas.microsoft.com/office/drawing/2014/main" id="{3AD2599B-8F52-428A-872E-A602E69309D4}"/>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2467155" y="0"/>
            <a:ext cx="9724845" cy="6858000"/>
          </a:xfrm>
          <a:prstGeom prst="rect">
            <a:avLst/>
          </a:prstGeom>
          <a:gradFill>
            <a:gsLst>
              <a:gs pos="0">
                <a:srgbClr val="29BA74"/>
              </a:gs>
              <a:gs pos="100000">
                <a:srgbClr val="197A56"/>
              </a:gs>
            </a:gsLst>
            <a:lin ang="8100000" scaled="1"/>
          </a:gradFill>
        </p:spPr>
      </p:pic>
      <p:sp>
        <p:nvSpPr>
          <p:cNvPr id="14" name="Overlay">
            <a:extLst>
              <a:ext uri="{FF2B5EF4-FFF2-40B4-BE49-F238E27FC236}">
                <a16:creationId xmlns:a16="http://schemas.microsoft.com/office/drawing/2014/main" id="{E96F035B-076A-4145-956E-116CF4AE728B}"/>
              </a:ext>
            </a:extLst>
          </p:cNvPr>
          <p:cNvSpPr/>
          <p:nvPr userDrawn="1">
            <p:custDataLst>
              <p:tags r:id="rId2"/>
            </p:custDataLst>
          </p:nvPr>
        </p:nvSpPr>
        <p:spPr>
          <a:xfrm>
            <a:off x="2794001" y="0"/>
            <a:ext cx="9397999" cy="6858000"/>
          </a:xfrm>
          <a:prstGeom prst="rect">
            <a:avLst/>
          </a:prstGeom>
          <a:gradFill>
            <a:gsLst>
              <a:gs pos="0">
                <a:srgbClr val="009B9D">
                  <a:alpha val="21000"/>
                </a:srgbClr>
              </a:gs>
              <a:gs pos="100000">
                <a:srgbClr val="006F4E">
                  <a:alpha val="88979"/>
                </a:srgbClr>
              </a:gs>
            </a:gsLst>
            <a:lin ang="8100000" scaled="1"/>
          </a:gradFill>
          <a:ln w="9525" cap="flat" cmpd="sng" algn="ctr">
            <a:noFill/>
            <a:prstDash val="solid"/>
            <a:miter lim="800000"/>
          </a:ln>
          <a:effectLst/>
        </p:spPr>
        <p:txBody>
          <a:bodyPr rtlCol="0" anchor="t"/>
          <a:lstStyle/>
          <a:p>
            <a:pPr marL="0" marR="0" lvl="0" indent="0"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Trebuchet MS"/>
              <a:ea typeface="+mn-ea"/>
              <a:cs typeface="+mn-cs"/>
            </a:endParaRPr>
          </a:p>
        </p:txBody>
      </p:sp>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US" sz="1200" dirty="0">
              <a:solidFill>
                <a:prstClr val="white"/>
              </a:solidFill>
              <a:latin typeface="+mn-lt"/>
              <a:cs typeface="+mn-cs"/>
              <a:sym typeface="Trebuchet MS" panose="020B0603020202020204" pitchFamily="34" charset="0"/>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US" sz="1200" dirty="0">
              <a:solidFill>
                <a:prstClr val="white"/>
              </a:solidFill>
              <a:latin typeface="+mn-lt"/>
              <a:cs typeface="+mn-cs"/>
              <a:sym typeface="Trebuchet MS" panose="020B0603020202020204" pitchFamily="34" charset="0"/>
            </a:endParaRPr>
          </a:p>
        </p:txBody>
      </p:sp>
      <p:sp>
        <p:nvSpPr>
          <p:cNvPr id="20" name="TextBox 19"/>
          <p:cNvSpPr txBox="1"/>
          <p:nvPr/>
        </p:nvSpPr>
        <p:spPr>
          <a:xfrm>
            <a:off x="630000" y="2577934"/>
            <a:ext cx="2819400" cy="1761764"/>
          </a:xfrm>
          <a:prstGeom prst="rect">
            <a:avLst/>
          </a:prstGeom>
          <a:noFill/>
        </p:spPr>
        <p:txBody>
          <a:bodyPr wrap="square" lIns="0" tIns="0" rIns="0" bIns="0" rtlCol="0" anchor="ctr">
            <a:spAutoFit/>
          </a:bodyPr>
          <a:lstStyle/>
          <a:p>
            <a:pPr marL="0" indent="0" rtl="0">
              <a:lnSpc>
                <a:spcPct val="106000"/>
              </a:lnSpc>
              <a:spcAft>
                <a:spcPts val="700"/>
              </a:spcAft>
              <a:buFontTx/>
              <a:buNone/>
            </a:pPr>
            <a:r>
              <a:rPr lang="en-US" sz="5400" dirty="0">
                <a:solidFill>
                  <a:schemeClr val="tx2"/>
                </a:solidFill>
                <a:latin typeface="+mn-lt"/>
                <a:cs typeface="+mn-cs"/>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rtl="0">
              <a:defRPr>
                <a:solidFill>
                  <a:schemeClr val="bg1"/>
                </a:solidFill>
                <a:latin typeface="+mn-lt"/>
                <a:cs typeface="+mn-cs"/>
                <a:sym typeface="Trebuchet MS" panose="020B0603020202020204" pitchFamily="34" charset="0"/>
              </a:defRPr>
            </a:lvl1pPr>
          </a:lstStyle>
          <a:p>
            <a:endParaRPr lang="en-US" dirty="0"/>
          </a:p>
        </p:txBody>
      </p:sp>
      <p:sp>
        <p:nvSpPr>
          <p:cNvPr id="24"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cs typeface="+mn-cs"/>
                <a:sym typeface="Trebuchet MS" panose="020B0603020202020204" pitchFamily="34" charset="0"/>
              </a:rPr>
              <a:t>Copyright © 2024 by Boston Consulting Group. All rights reserved.</a:t>
            </a: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238253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434F1EB-5115-135A-A73F-D5D3E0AC3996}"/>
              </a:ext>
            </a:extLst>
          </p:cNvPr>
          <p:cNvGraphicFramePr>
            <a:graphicFrameLocks noChangeAspect="1"/>
          </p:cNvGraphicFramePr>
          <p:nvPr userDrawn="1">
            <p:custDataLst>
              <p:tags r:id="rId1"/>
            </p:custDataLst>
            <p:extLst>
              <p:ext uri="{D42A27DB-BD31-4B8C-83A1-F6EECF244321}">
                <p14:modId xmlns:p14="http://schemas.microsoft.com/office/powerpoint/2010/main" val="21595932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7434F1EB-5115-135A-A73F-D5D3E0AC399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2" name="Picture 11">
            <a:extLst>
              <a:ext uri="{FF2B5EF4-FFF2-40B4-BE49-F238E27FC236}">
                <a16:creationId xmlns:a16="http://schemas.microsoft.com/office/drawing/2014/main" id="{D1D69A2D-21C2-4941-8BF8-20FDB05EF21D}"/>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12192000" cy="6858000"/>
          </a:xfrm>
          <a:prstGeom prst="rect">
            <a:avLst/>
          </a:prstGeom>
          <a:gradFill>
            <a:gsLst>
              <a:gs pos="0">
                <a:schemeClr val="tx2"/>
              </a:gs>
              <a:gs pos="100000">
                <a:schemeClr val="accent2"/>
              </a:gs>
            </a:gsLst>
            <a:lin ang="8100000" scaled="1"/>
          </a:gradFill>
        </p:spPr>
      </p:pic>
      <p:sp>
        <p:nvSpPr>
          <p:cNvPr id="13" name="Overlay">
            <a:extLst>
              <a:ext uri="{FF2B5EF4-FFF2-40B4-BE49-F238E27FC236}">
                <a16:creationId xmlns:a16="http://schemas.microsoft.com/office/drawing/2014/main" id="{009C0F89-3121-4AC8-9785-188F661FDF10}"/>
              </a:ext>
            </a:extLst>
          </p:cNvPr>
          <p:cNvSpPr/>
          <p:nvPr userDrawn="1">
            <p:custDataLst>
              <p:tags r:id="rId2"/>
            </p:custDataLst>
          </p:nvPr>
        </p:nvSpPr>
        <p:spPr>
          <a:xfrm>
            <a:off x="0" y="0"/>
            <a:ext cx="12192000" cy="6858000"/>
          </a:xfrm>
          <a:prstGeom prst="rect">
            <a:avLst/>
          </a:prstGeom>
          <a:gradFill>
            <a:gsLst>
              <a:gs pos="0">
                <a:srgbClr val="009B9D">
                  <a:alpha val="75000"/>
                </a:srgbClr>
              </a:gs>
              <a:gs pos="100000">
                <a:srgbClr val="006F4E">
                  <a:alpha val="9506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lnSpc>
                <a:spcPct val="90000"/>
              </a:lnSpc>
              <a:spcAft>
                <a:spcPts val="1000"/>
              </a:spcAft>
            </a:pPr>
            <a:endParaRPr lang="en-US" sz="1200" dirty="0">
              <a:solidFill>
                <a:schemeClr val="bg1"/>
              </a:solidFill>
              <a:cs typeface="+mn-cs"/>
            </a:endParaRPr>
          </a:p>
        </p:txBody>
      </p:sp>
      <p:sp>
        <p:nvSpPr>
          <p:cNvPr id="6" name="Date Placeholder 4"/>
          <p:cNvSpPr>
            <a:spLocks noGrp="1"/>
          </p:cNvSpPr>
          <p:nvPr>
            <p:ph type="dt" sz="half" idx="10"/>
          </p:nvPr>
        </p:nvSpPr>
        <p:spPr>
          <a:xfrm>
            <a:off x="9677400" y="6405036"/>
            <a:ext cx="1482051" cy="153888"/>
          </a:xfrm>
        </p:spPr>
        <p:txBody>
          <a:bodyPr/>
          <a:lstStyle>
            <a:lvl1pPr rtl="0">
              <a:defRPr>
                <a:solidFill>
                  <a:schemeClr val="bg1"/>
                </a:solidFill>
                <a:latin typeface="+mn-lt"/>
                <a:cs typeface="+mn-cs"/>
                <a:sym typeface="Trebuchet MS" panose="020B0603020202020204" pitchFamily="34" charset="0"/>
              </a:defRPr>
            </a:lvl1pPr>
          </a:lstStyle>
          <a:p>
            <a:endParaRPr lang="en-US" dirty="0"/>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cs typeface="+mn-cs"/>
                <a:sym typeface="Trebuchet MS" panose="020B0603020202020204" pitchFamily="34" charset="0"/>
              </a:rPr>
              <a:t>Copyright © 2024 by Boston Consulting Group. All rights reserved.</a:t>
            </a:r>
          </a:p>
        </p:txBody>
      </p:sp>
      <p:sp>
        <p:nvSpPr>
          <p:cNvPr id="11" name="TextBox 10"/>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935342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13631D3-7F52-4A2D-A926-6065FCDB0B6C}"/>
              </a:ext>
            </a:extLst>
          </p:cNvPr>
          <p:cNvGraphicFramePr>
            <a:graphicFrameLocks noChangeAspect="1"/>
          </p:cNvGraphicFramePr>
          <p:nvPr userDrawn="1">
            <p:custDataLst>
              <p:tags r:id="rId1"/>
            </p:custDataLst>
            <p:extLst>
              <p:ext uri="{D42A27DB-BD31-4B8C-83A1-F6EECF244321}">
                <p14:modId xmlns:p14="http://schemas.microsoft.com/office/powerpoint/2010/main" val="922601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2" name="think-cell data - do not delete" hidden="1">
                        <a:extLst>
                          <a:ext uri="{FF2B5EF4-FFF2-40B4-BE49-F238E27FC236}">
                            <a16:creationId xmlns:a16="http://schemas.microsoft.com/office/drawing/2014/main" id="{D13631D3-7F52-4A2D-A926-6065FCDB0B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rtl="0">
              <a:defRPr>
                <a:latin typeface="+mn-lt"/>
                <a:cs typeface="+mn-cs"/>
                <a:sym typeface="Trebuchet MS" panose="020B0603020202020204" pitchFamily="34" charset="0"/>
              </a:defRPr>
            </a:lvl1pPr>
          </a:lstStyle>
          <a:p>
            <a:endParaRPr lang="en-US" dirty="0"/>
          </a:p>
        </p:txBody>
      </p:sp>
      <p:sp>
        <p:nvSpPr>
          <p:cNvPr id="5"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cs typeface="+mn-cs"/>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4726114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8AADB74-65F4-4A0B-9FE3-EB2F186BEE7E}"/>
              </a:ext>
            </a:extLst>
          </p:cNvPr>
          <p:cNvGraphicFramePr>
            <a:graphicFrameLocks noChangeAspect="1"/>
          </p:cNvGraphicFramePr>
          <p:nvPr userDrawn="1">
            <p:custDataLst>
              <p:tags r:id="rId1"/>
            </p:custDataLst>
            <p:extLst>
              <p:ext uri="{D42A27DB-BD31-4B8C-83A1-F6EECF244321}">
                <p14:modId xmlns:p14="http://schemas.microsoft.com/office/powerpoint/2010/main" val="3028992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2" name="think-cell data - do not delete" hidden="1">
                        <a:extLst>
                          <a:ext uri="{FF2B5EF4-FFF2-40B4-BE49-F238E27FC236}">
                            <a16:creationId xmlns:a16="http://schemas.microsoft.com/office/drawing/2014/main" id="{38AADB74-65F4-4A0B-9FE3-EB2F186BEE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6" y="1664256"/>
            <a:ext cx="6209072" cy="3323987"/>
          </a:xfrm>
          <a:prstGeom prst="rect">
            <a:avLst/>
          </a:prstGeom>
        </p:spPr>
        <p:txBody>
          <a:bodyPr wrap="square" lIns="0" tIns="0" rIns="0" bIns="0" anchor="ctr">
            <a:spAutoFit/>
          </a:bodyPr>
          <a:lstStyle/>
          <a:p>
            <a:pPr indent="0" rtl="0">
              <a:lnSpc>
                <a:spcPct val="100000"/>
              </a:lnSpc>
            </a:pPr>
            <a:r>
              <a:rPr lang="en-US" sz="900" b="0" dirty="0">
                <a:latin typeface="+mn-lt"/>
                <a:cs typeface="+mn-cs"/>
                <a:sym typeface="Trebuchet MS" panose="020B0603020202020204" pitchFamily="34" charset="0"/>
              </a:rPr>
              <a:t>The services and materials provided by Boston Consulting Group (BCG) are subject to BCG's Standard Terms </a:t>
            </a:r>
            <a:br>
              <a:rPr lang="en-US" sz="900" b="0" dirty="0">
                <a:latin typeface="+mn-lt"/>
                <a:cs typeface="+mn-cs"/>
                <a:sym typeface="Trebuchet MS" panose="020B0603020202020204" pitchFamily="34" charset="0"/>
              </a:rPr>
            </a:br>
            <a:r>
              <a:rPr lang="en-US" sz="900" b="0" dirty="0">
                <a:latin typeface="+mn-lt"/>
                <a:cs typeface="+mn-cs"/>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cs typeface="+mn-cs"/>
                <a:sym typeface="Trebuchet MS" panose="020B0603020202020204" pitchFamily="34" charset="0"/>
              </a:rPr>
            </a:br>
            <a:r>
              <a:rPr lang="en-US" sz="900" b="0" dirty="0">
                <a:latin typeface="+mn-lt"/>
                <a:cs typeface="+mn-cs"/>
                <a:sym typeface="Trebuchet MS" panose="020B0603020202020204" pitchFamily="34" charset="0"/>
              </a:rPr>
              <a:t>to update these materials after the date hereof, notwithstanding that such information may become outdated </a:t>
            </a:r>
            <a:br>
              <a:rPr lang="en-US" sz="900" b="0" dirty="0">
                <a:latin typeface="+mn-lt"/>
                <a:cs typeface="+mn-cs"/>
                <a:sym typeface="Trebuchet MS" panose="020B0603020202020204" pitchFamily="34" charset="0"/>
              </a:rPr>
            </a:br>
            <a:r>
              <a:rPr lang="en-US" sz="900" b="0" dirty="0">
                <a:latin typeface="+mn-lt"/>
                <a:cs typeface="+mn-cs"/>
                <a:sym typeface="Trebuchet MS" panose="020B0603020202020204" pitchFamily="34" charset="0"/>
              </a:rPr>
              <a:t>or inaccurate.</a:t>
            </a:r>
          </a:p>
          <a:p>
            <a:pPr indent="0" rtl="0">
              <a:lnSpc>
                <a:spcPct val="100000"/>
              </a:lnSpc>
            </a:pPr>
            <a:r>
              <a:rPr lang="en-US" sz="900" b="0" dirty="0">
                <a:latin typeface="+mn-lt"/>
                <a:cs typeface="+mn-cs"/>
                <a:sym typeface="Trebuchet MS" panose="020B0603020202020204" pitchFamily="34" charset="0"/>
              </a:rPr>
              <a:t> </a:t>
            </a:r>
          </a:p>
          <a:p>
            <a:pPr indent="0" rtl="0">
              <a:lnSpc>
                <a:spcPct val="100000"/>
              </a:lnSpc>
            </a:pPr>
            <a:r>
              <a:rPr lang="en-US" sz="900" b="0" dirty="0">
                <a:latin typeface="+mn-lt"/>
                <a:cs typeface="+mn-cs"/>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cs typeface="+mn-cs"/>
                <a:sym typeface="Trebuchet MS" panose="020B0603020202020204" pitchFamily="34" charset="0"/>
              </a:rPr>
            </a:br>
            <a:r>
              <a:rPr lang="en-US" sz="900" b="0" dirty="0">
                <a:latin typeface="+mn-lt"/>
                <a:cs typeface="+mn-cs"/>
                <a:sym typeface="Trebuchet MS" panose="020B0603020202020204" pitchFamily="34" charset="0"/>
              </a:rPr>
              <a:t>of this document shall be deemed agreement with and consideration for the foregoing.</a:t>
            </a:r>
          </a:p>
          <a:p>
            <a:pPr indent="0" rtl="0">
              <a:lnSpc>
                <a:spcPct val="100000"/>
              </a:lnSpc>
            </a:pPr>
            <a:endParaRPr lang="en-US" sz="900" b="0" dirty="0">
              <a:latin typeface="+mn-lt"/>
              <a:cs typeface="+mn-cs"/>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cs typeface="+mn-cs"/>
                <a:sym typeface="Trebuchet MS" panose="020B0603020202020204" pitchFamily="34" charset="0"/>
              </a:rPr>
              <a:t>BCG does not provide fairness opinions or valuations of market transactions, and these materials should not be relied </a:t>
            </a:r>
            <a:br>
              <a:rPr lang="en-US" sz="900" b="0" dirty="0">
                <a:latin typeface="+mn-lt"/>
                <a:cs typeface="+mn-cs"/>
                <a:sym typeface="Trebuchet MS" panose="020B0603020202020204" pitchFamily="34" charset="0"/>
              </a:rPr>
            </a:br>
            <a:r>
              <a:rPr lang="en-US" sz="900" b="0" dirty="0">
                <a:latin typeface="+mn-lt"/>
                <a:cs typeface="+mn-cs"/>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cs typeface="+mn-cs"/>
                <a:sym typeface="Trebuchet MS" panose="020B0603020202020204" pitchFamily="34" charset="0"/>
              </a:rPr>
            </a:br>
            <a:r>
              <a:rPr lang="en-US" sz="900" b="0" dirty="0">
                <a:latin typeface="+mn-lt"/>
                <a:cs typeface="+mn-cs"/>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pPr rtl="0"/>
            <a:r>
              <a:rPr lang="en-US" sz="5100" dirty="0">
                <a:gradFill>
                  <a:gsLst>
                    <a:gs pos="100000">
                      <a:schemeClr val="tx2"/>
                    </a:gs>
                    <a:gs pos="2000">
                      <a:schemeClr val="accent2"/>
                    </a:gs>
                  </a:gsLst>
                  <a:lin ang="2700000" scaled="0"/>
                </a:gradFill>
                <a:latin typeface="+mn-lt"/>
                <a:cs typeface="+mn-cs"/>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rtl="0">
              <a:defRPr>
                <a:latin typeface="+mn-lt"/>
                <a:cs typeface="+mn-cs"/>
                <a:sym typeface="Trebuchet MS" panose="020B0603020202020204" pitchFamily="34" charset="0"/>
              </a:defRPr>
            </a:lvl1pPr>
          </a:lstStyle>
          <a:p>
            <a:endParaRPr lang="en-US" dirty="0"/>
          </a:p>
        </p:txBody>
      </p:sp>
      <p:sp>
        <p:nvSpPr>
          <p:cNvPr id="10"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cs typeface="+mn-cs"/>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810608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2757124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84" imgH="384" progId="TCLayout.ActiveDocument.1">
                  <p:embed/>
                </p:oleObj>
              </mc:Choice>
              <mc:Fallback>
                <p:oleObj name="think-cell Slide" r:id="rId7" imgW="384" imgH="384" progId="TCLayout.ActiveDocument.1">
                  <p:embed/>
                  <p:pic>
                    <p:nvPicPr>
                      <p:cNvPr id="2" name="Object 1"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A5A10BED-D4B0-4E1B-A63D-93CFCEDC3980}"/>
              </a:ext>
            </a:extLst>
          </p:cNvPr>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US" sz="1200" dirty="0">
              <a:solidFill>
                <a:prstClr val="white"/>
              </a:solidFill>
              <a:cs typeface="+mn-cs"/>
              <a:sym typeface="Trebuchet MS" panose="020B0603020202020204" pitchFamily="34" charset="0"/>
            </a:endParaRPr>
          </a:p>
        </p:txBody>
      </p:sp>
      <p:pic>
        <p:nvPicPr>
          <p:cNvPr id="11" name="Picture 10">
            <a:extLst>
              <a:ext uri="{FF2B5EF4-FFF2-40B4-BE49-F238E27FC236}">
                <a16:creationId xmlns:a16="http://schemas.microsoft.com/office/drawing/2014/main" id="{AFD1A058-0284-421E-9754-8040F41147DA}"/>
              </a:ext>
            </a:extLst>
          </p:cNvPr>
          <p:cNvPicPr>
            <a:picLocks noChangeAspect="1"/>
          </p:cNvPicPr>
          <p:nvPr userDrawn="1"/>
        </p:nvPicPr>
        <p:blipFill rotWithShape="1">
          <a:blip r:embed="rId9" cstate="hqprint">
            <a:extLst>
              <a:ext uri="{28A0092B-C50C-407E-A947-70E740481C1C}">
                <a14:useLocalDpi xmlns:a14="http://schemas.microsoft.com/office/drawing/2010/main"/>
              </a:ext>
            </a:extLst>
          </a:blip>
          <a:srcRect r="-234"/>
          <a:stretch/>
        </p:blipFill>
        <p:spPr>
          <a:xfrm rot="16200000" flipH="1">
            <a:off x="8471925" y="2172355"/>
            <a:ext cx="580573" cy="6858000"/>
          </a:xfrm>
          <a:prstGeom prst="rect">
            <a:avLst/>
          </a:prstGeom>
        </p:spPr>
      </p:pic>
      <p:pic>
        <p:nvPicPr>
          <p:cNvPr id="12" name="Picture 2" descr="Design a landscape-oriented image of a future bank branch interior focusing on enhanced client relationships and personalized advisory. This modern, multifunctional space should be equipped for co-working, hosting social events, and private consultations, featuring a welcoming cafe area. It must include cutting-edge digital and GenAI technology tools for superior customer support. The layout is arranged so the most important elements are prominent, especially considering the landscape A4 format where the lower part might be less visible. The design combines professionalism with a cozy atmosphere, integrating comfortable seating, indoor greenery, and a modern aesthetic. Ensure the scene is photorealistic, emphasizing the innovative and multifunctional nature of the branch, without including any text. The composition should adapt well to a landscape A4 presentation, making sure the key aspects are clearly visible even if part of the image is obscured.">
            <a:extLst>
              <a:ext uri="{FF2B5EF4-FFF2-40B4-BE49-F238E27FC236}">
                <a16:creationId xmlns:a16="http://schemas.microsoft.com/office/drawing/2014/main" id="{F7F72556-49CD-4217-BC4D-9E411063F83A}"/>
              </a:ext>
            </a:extLst>
          </p:cNvPr>
          <p:cNvPicPr>
            <a:picLocks noChangeAspect="1" noChangeArrowheads="1"/>
          </p:cNvPicPr>
          <p:nvPr userDrawn="1"/>
        </p:nvPicPr>
        <p:blipFill rotWithShape="1">
          <a:blip r:embed="rId10" cstate="screen">
            <a:extLst>
              <a:ext uri="{28A0092B-C50C-407E-A947-70E740481C1C}">
                <a14:useLocalDpi xmlns:a14="http://schemas.microsoft.com/office/drawing/2010/main"/>
              </a:ext>
            </a:extLst>
          </a:blip>
          <a:srcRect/>
          <a:stretch/>
        </p:blipFill>
        <p:spPr bwMode="auto">
          <a:xfrm>
            <a:off x="1"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6" name="TextBox 35">
            <a:extLst>
              <a:ext uri="{FF2B5EF4-FFF2-40B4-BE49-F238E27FC236}">
                <a16:creationId xmlns:a16="http://schemas.microsoft.com/office/drawing/2014/main" id="{59F07DDF-CD90-45F2-B961-A60CB12C3AE7}"/>
              </a:ext>
            </a:extLst>
          </p:cNvPr>
          <p:cNvSpPr txBox="1"/>
          <p:nvPr userDrawn="1"/>
        </p:nvSpPr>
        <p:spPr bwMode="white">
          <a:xfrm>
            <a:off x="924979" y="4921094"/>
            <a:ext cx="840801" cy="170110"/>
          </a:xfrm>
          <a:prstGeom prst="rect">
            <a:avLst/>
          </a:prstGeom>
          <a:noFill/>
        </p:spPr>
        <p:txBody>
          <a:bodyPr wrap="none" lIns="0" tIns="0" rIns="0" bIns="0" rtlCol="0" anchor="b">
            <a:noAutofit/>
          </a:bodyPr>
          <a:lstStyle/>
          <a:p>
            <a:pPr rtl="0">
              <a:lnSpc>
                <a:spcPct val="90000"/>
              </a:lnSpc>
              <a:spcAft>
                <a:spcPts val="600"/>
              </a:spcAft>
            </a:pPr>
            <a:r>
              <a:rPr lang="en-US" sz="1200" dirty="0">
                <a:solidFill>
                  <a:srgbClr val="03522D"/>
                </a:solidFill>
                <a:latin typeface="+mn-lt"/>
                <a:cs typeface="+mn-cs"/>
                <a:sym typeface="Trebuchet MS" panose="020B0603020202020204" pitchFamily="34" charset="0"/>
              </a:rPr>
              <a:t>bcg.com</a:t>
            </a:r>
          </a:p>
        </p:txBody>
      </p:sp>
      <p:grpSp>
        <p:nvGrpSpPr>
          <p:cNvPr id="66" name="Group 65">
            <a:extLst>
              <a:ext uri="{FF2B5EF4-FFF2-40B4-BE49-F238E27FC236}">
                <a16:creationId xmlns:a16="http://schemas.microsoft.com/office/drawing/2014/main" id="{36E2502B-2941-4987-84D2-245200051489}"/>
              </a:ext>
            </a:extLst>
          </p:cNvPr>
          <p:cNvGrpSpPr/>
          <p:nvPr userDrawn="1"/>
        </p:nvGrpSpPr>
        <p:grpSpPr>
          <a:xfrm>
            <a:off x="-464617" y="0"/>
            <a:ext cx="13994863" cy="6858001"/>
            <a:chOff x="-469420" y="7117574"/>
            <a:chExt cx="13994863" cy="6858001"/>
          </a:xfrm>
        </p:grpSpPr>
        <p:sp>
          <p:nvSpPr>
            <p:cNvPr id="67" name="Freeform: Shape 66">
              <a:extLst>
                <a:ext uri="{FF2B5EF4-FFF2-40B4-BE49-F238E27FC236}">
                  <a16:creationId xmlns:a16="http://schemas.microsoft.com/office/drawing/2014/main" id="{A9216CC2-CB25-4718-8D89-28768E773B1D}"/>
                </a:ext>
              </a:extLst>
            </p:cNvPr>
            <p:cNvSpPr/>
            <p:nvPr userDrawn="1"/>
          </p:nvSpPr>
          <p:spPr>
            <a:xfrm>
              <a:off x="-469420" y="7117574"/>
              <a:ext cx="827649" cy="859748"/>
            </a:xfrm>
            <a:custGeom>
              <a:avLst/>
              <a:gdLst>
                <a:gd name="connsiteX0" fmla="*/ 0 w 827649"/>
                <a:gd name="connsiteY0" fmla="*/ 0 h 859748"/>
                <a:gd name="connsiteX1" fmla="*/ 827649 w 827649"/>
                <a:gd name="connsiteY1" fmla="*/ 0 h 859748"/>
                <a:gd name="connsiteX2" fmla="*/ 469420 w 827649"/>
                <a:gd name="connsiteY2" fmla="*/ 859748 h 859748"/>
                <a:gd name="connsiteX3" fmla="*/ 469420 w 827649"/>
                <a:gd name="connsiteY3" fmla="*/ 1 h 859748"/>
                <a:gd name="connsiteX4" fmla="*/ 0 w 827649"/>
                <a:gd name="connsiteY4" fmla="*/ 1 h 859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649" h="859748">
                  <a:moveTo>
                    <a:pt x="0" y="0"/>
                  </a:moveTo>
                  <a:lnTo>
                    <a:pt x="827649" y="0"/>
                  </a:lnTo>
                  <a:lnTo>
                    <a:pt x="469420" y="859748"/>
                  </a:lnTo>
                  <a:lnTo>
                    <a:pt x="469420" y="1"/>
                  </a:lnTo>
                  <a:lnTo>
                    <a:pt x="0" y="1"/>
                  </a:lnTo>
                  <a:close/>
                </a:path>
              </a:pathLst>
            </a:cu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68" name="Parallelogram 67">
              <a:extLst>
                <a:ext uri="{FF2B5EF4-FFF2-40B4-BE49-F238E27FC236}">
                  <a16:creationId xmlns:a16="http://schemas.microsoft.com/office/drawing/2014/main" id="{72F08049-2541-4A50-B6CF-12B11B14BC06}"/>
                </a:ext>
              </a:extLst>
            </p:cNvPr>
            <p:cNvSpPr/>
            <p:nvPr userDrawn="1"/>
          </p:nvSpPr>
          <p:spPr>
            <a:xfrm>
              <a:off x="1062144" y="7117574"/>
              <a:ext cx="3685157" cy="6858000"/>
            </a:xfrm>
            <a:prstGeom prst="parallelogram">
              <a:avLst>
                <a:gd name="adj" fmla="val 77541"/>
              </a:avLst>
            </a:pr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69" name="Freeform: Shape 68">
              <a:extLst>
                <a:ext uri="{FF2B5EF4-FFF2-40B4-BE49-F238E27FC236}">
                  <a16:creationId xmlns:a16="http://schemas.microsoft.com/office/drawing/2014/main" id="{E684CE98-4B1E-4345-8D95-834C8A35122E}"/>
                </a:ext>
              </a:extLst>
            </p:cNvPr>
            <p:cNvSpPr/>
            <p:nvPr userDrawn="1"/>
          </p:nvSpPr>
          <p:spPr>
            <a:xfrm>
              <a:off x="0" y="7117574"/>
              <a:ext cx="3650033" cy="6858000"/>
            </a:xfrm>
            <a:custGeom>
              <a:avLst/>
              <a:gdLst>
                <a:gd name="connsiteX0" fmla="*/ 2822384 w 3650033"/>
                <a:gd name="connsiteY0" fmla="*/ 0 h 6858000"/>
                <a:gd name="connsiteX1" fmla="*/ 3650033 w 3650033"/>
                <a:gd name="connsiteY1" fmla="*/ 0 h 6858000"/>
                <a:gd name="connsiteX2" fmla="*/ 792525 w 3650033"/>
                <a:gd name="connsiteY2" fmla="*/ 6858000 h 6858000"/>
                <a:gd name="connsiteX3" fmla="*/ 0 w 3650033"/>
                <a:gd name="connsiteY3" fmla="*/ 6858000 h 6858000"/>
                <a:gd name="connsiteX4" fmla="*/ 0 w 3650033"/>
                <a:gd name="connsiteY4" fmla="*/ 6773703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0033" h="6858000">
                  <a:moveTo>
                    <a:pt x="2822384" y="0"/>
                  </a:moveTo>
                  <a:lnTo>
                    <a:pt x="3650033" y="0"/>
                  </a:lnTo>
                  <a:lnTo>
                    <a:pt x="792525" y="6858000"/>
                  </a:lnTo>
                  <a:lnTo>
                    <a:pt x="0" y="6858000"/>
                  </a:lnTo>
                  <a:lnTo>
                    <a:pt x="0" y="6773703"/>
                  </a:lnTo>
                  <a:close/>
                </a:path>
              </a:pathLst>
            </a:cu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70" name="Freeform: Shape 69">
              <a:extLst>
                <a:ext uri="{FF2B5EF4-FFF2-40B4-BE49-F238E27FC236}">
                  <a16:creationId xmlns:a16="http://schemas.microsoft.com/office/drawing/2014/main" id="{0087DA12-2556-4B9B-ABB1-9AF948D492FB}"/>
                </a:ext>
              </a:extLst>
            </p:cNvPr>
            <p:cNvSpPr/>
            <p:nvPr userDrawn="1"/>
          </p:nvSpPr>
          <p:spPr>
            <a:xfrm>
              <a:off x="0" y="7117575"/>
              <a:ext cx="2552765" cy="6126619"/>
            </a:xfrm>
            <a:custGeom>
              <a:avLst/>
              <a:gdLst>
                <a:gd name="connsiteX0" fmla="*/ 1725116 w 2552765"/>
                <a:gd name="connsiteY0" fmla="*/ 0 h 6126619"/>
                <a:gd name="connsiteX1" fmla="*/ 2552765 w 2552765"/>
                <a:gd name="connsiteY1" fmla="*/ 0 h 6126619"/>
                <a:gd name="connsiteX2" fmla="*/ 0 w 2552765"/>
                <a:gd name="connsiteY2" fmla="*/ 6126619 h 6126619"/>
                <a:gd name="connsiteX3" fmla="*/ 0 w 2552765"/>
                <a:gd name="connsiteY3" fmla="*/ 4140267 h 6126619"/>
              </a:gdLst>
              <a:ahLst/>
              <a:cxnLst>
                <a:cxn ang="0">
                  <a:pos x="connsiteX0" y="connsiteY0"/>
                </a:cxn>
                <a:cxn ang="0">
                  <a:pos x="connsiteX1" y="connsiteY1"/>
                </a:cxn>
                <a:cxn ang="0">
                  <a:pos x="connsiteX2" y="connsiteY2"/>
                </a:cxn>
                <a:cxn ang="0">
                  <a:pos x="connsiteX3" y="connsiteY3"/>
                </a:cxn>
              </a:cxnLst>
              <a:rect l="l" t="t" r="r" b="b"/>
              <a:pathLst>
                <a:path w="2552765" h="6126619">
                  <a:moveTo>
                    <a:pt x="1725116" y="0"/>
                  </a:moveTo>
                  <a:lnTo>
                    <a:pt x="2552765" y="0"/>
                  </a:lnTo>
                  <a:lnTo>
                    <a:pt x="0" y="6126619"/>
                  </a:lnTo>
                  <a:lnTo>
                    <a:pt x="0" y="4140267"/>
                  </a:lnTo>
                  <a:close/>
                </a:path>
              </a:pathLst>
            </a:cu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71" name="Freeform: Shape 70">
              <a:extLst>
                <a:ext uri="{FF2B5EF4-FFF2-40B4-BE49-F238E27FC236}">
                  <a16:creationId xmlns:a16="http://schemas.microsoft.com/office/drawing/2014/main" id="{6FF0306A-2EB0-4983-9988-199B47F80E5D}"/>
                </a:ext>
              </a:extLst>
            </p:cNvPr>
            <p:cNvSpPr/>
            <p:nvPr userDrawn="1"/>
          </p:nvSpPr>
          <p:spPr>
            <a:xfrm>
              <a:off x="0" y="7117575"/>
              <a:ext cx="1455497" cy="3493183"/>
            </a:xfrm>
            <a:custGeom>
              <a:avLst/>
              <a:gdLst>
                <a:gd name="connsiteX0" fmla="*/ 627848 w 1455497"/>
                <a:gd name="connsiteY0" fmla="*/ 0 h 3493183"/>
                <a:gd name="connsiteX1" fmla="*/ 1455497 w 1455497"/>
                <a:gd name="connsiteY1" fmla="*/ 0 h 3493183"/>
                <a:gd name="connsiteX2" fmla="*/ 0 w 1455497"/>
                <a:gd name="connsiteY2" fmla="*/ 3493183 h 3493183"/>
                <a:gd name="connsiteX3" fmla="*/ 0 w 1455497"/>
                <a:gd name="connsiteY3" fmla="*/ 1506831 h 3493183"/>
              </a:gdLst>
              <a:ahLst/>
              <a:cxnLst>
                <a:cxn ang="0">
                  <a:pos x="connsiteX0" y="connsiteY0"/>
                </a:cxn>
                <a:cxn ang="0">
                  <a:pos x="connsiteX1" y="connsiteY1"/>
                </a:cxn>
                <a:cxn ang="0">
                  <a:pos x="connsiteX2" y="connsiteY2"/>
                </a:cxn>
                <a:cxn ang="0">
                  <a:pos x="connsiteX3" y="connsiteY3"/>
                </a:cxn>
              </a:cxnLst>
              <a:rect l="l" t="t" r="r" b="b"/>
              <a:pathLst>
                <a:path w="1455497" h="3493183">
                  <a:moveTo>
                    <a:pt x="627848" y="0"/>
                  </a:moveTo>
                  <a:lnTo>
                    <a:pt x="1455497" y="0"/>
                  </a:lnTo>
                  <a:lnTo>
                    <a:pt x="0" y="3493183"/>
                  </a:lnTo>
                  <a:lnTo>
                    <a:pt x="0" y="1506831"/>
                  </a:lnTo>
                  <a:close/>
                </a:path>
              </a:pathLst>
            </a:cu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72" name="Parallelogram 71">
              <a:extLst>
                <a:ext uri="{FF2B5EF4-FFF2-40B4-BE49-F238E27FC236}">
                  <a16:creationId xmlns:a16="http://schemas.microsoft.com/office/drawing/2014/main" id="{5AEC836B-72D6-4E53-ADB5-E52FA46298BE}"/>
                </a:ext>
              </a:extLst>
            </p:cNvPr>
            <p:cNvSpPr/>
            <p:nvPr userDrawn="1"/>
          </p:nvSpPr>
          <p:spPr>
            <a:xfrm>
              <a:off x="5451215" y="7117574"/>
              <a:ext cx="3685157" cy="6858000"/>
            </a:xfrm>
            <a:prstGeom prst="parallelogram">
              <a:avLst>
                <a:gd name="adj" fmla="val 77541"/>
              </a:avLst>
            </a:pr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73" name="Parallelogram 72">
              <a:extLst>
                <a:ext uri="{FF2B5EF4-FFF2-40B4-BE49-F238E27FC236}">
                  <a16:creationId xmlns:a16="http://schemas.microsoft.com/office/drawing/2014/main" id="{56D9C5AF-A89D-4465-8051-3F53CAE7A654}"/>
                </a:ext>
              </a:extLst>
            </p:cNvPr>
            <p:cNvSpPr/>
            <p:nvPr userDrawn="1"/>
          </p:nvSpPr>
          <p:spPr>
            <a:xfrm>
              <a:off x="4353947" y="7117574"/>
              <a:ext cx="3685157" cy="6858000"/>
            </a:xfrm>
            <a:prstGeom prst="parallelogram">
              <a:avLst>
                <a:gd name="adj" fmla="val 77541"/>
              </a:avLst>
            </a:pr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74" name="Parallelogram 73">
              <a:extLst>
                <a:ext uri="{FF2B5EF4-FFF2-40B4-BE49-F238E27FC236}">
                  <a16:creationId xmlns:a16="http://schemas.microsoft.com/office/drawing/2014/main" id="{B2497A55-978D-4F7A-82D0-F4FF00617EB8}"/>
                </a:ext>
              </a:extLst>
            </p:cNvPr>
            <p:cNvSpPr/>
            <p:nvPr userDrawn="1"/>
          </p:nvSpPr>
          <p:spPr>
            <a:xfrm>
              <a:off x="3256679" y="7117574"/>
              <a:ext cx="3685157" cy="6858000"/>
            </a:xfrm>
            <a:prstGeom prst="parallelogram">
              <a:avLst>
                <a:gd name="adj" fmla="val 77541"/>
              </a:avLst>
            </a:pr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75" name="Parallelogram 74">
              <a:extLst>
                <a:ext uri="{FF2B5EF4-FFF2-40B4-BE49-F238E27FC236}">
                  <a16:creationId xmlns:a16="http://schemas.microsoft.com/office/drawing/2014/main" id="{F22A44A9-32D0-4955-8C31-7B51C1CDCFE7}"/>
                </a:ext>
              </a:extLst>
            </p:cNvPr>
            <p:cNvSpPr/>
            <p:nvPr userDrawn="1"/>
          </p:nvSpPr>
          <p:spPr>
            <a:xfrm>
              <a:off x="2159411" y="7117574"/>
              <a:ext cx="3685157" cy="6858000"/>
            </a:xfrm>
            <a:prstGeom prst="parallelogram">
              <a:avLst>
                <a:gd name="adj" fmla="val 77541"/>
              </a:avLst>
            </a:pr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76" name="Parallelogram 75">
              <a:extLst>
                <a:ext uri="{FF2B5EF4-FFF2-40B4-BE49-F238E27FC236}">
                  <a16:creationId xmlns:a16="http://schemas.microsoft.com/office/drawing/2014/main" id="{72D1D000-0918-4A60-8022-4E0E5C3E0DF2}"/>
                </a:ext>
              </a:extLst>
            </p:cNvPr>
            <p:cNvSpPr/>
            <p:nvPr userDrawn="1"/>
          </p:nvSpPr>
          <p:spPr>
            <a:xfrm>
              <a:off x="7645750" y="7117574"/>
              <a:ext cx="3685157" cy="6858000"/>
            </a:xfrm>
            <a:prstGeom prst="parallelogram">
              <a:avLst>
                <a:gd name="adj" fmla="val 77541"/>
              </a:avLst>
            </a:pr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77" name="Parallelogram 76">
              <a:extLst>
                <a:ext uri="{FF2B5EF4-FFF2-40B4-BE49-F238E27FC236}">
                  <a16:creationId xmlns:a16="http://schemas.microsoft.com/office/drawing/2014/main" id="{4B18FD28-EC6D-4E0E-B139-6789F6D48559}"/>
                </a:ext>
              </a:extLst>
            </p:cNvPr>
            <p:cNvSpPr/>
            <p:nvPr userDrawn="1"/>
          </p:nvSpPr>
          <p:spPr>
            <a:xfrm>
              <a:off x="6548483" y="7117574"/>
              <a:ext cx="3685157" cy="6858000"/>
            </a:xfrm>
            <a:prstGeom prst="parallelogram">
              <a:avLst>
                <a:gd name="adj" fmla="val 77541"/>
              </a:avLst>
            </a:pr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78" name="Freeform: Shape 77">
              <a:extLst>
                <a:ext uri="{FF2B5EF4-FFF2-40B4-BE49-F238E27FC236}">
                  <a16:creationId xmlns:a16="http://schemas.microsoft.com/office/drawing/2014/main" id="{09182377-4665-4C5E-97A5-87CE6100E384}"/>
                </a:ext>
              </a:extLst>
            </p:cNvPr>
            <p:cNvSpPr/>
            <p:nvPr userDrawn="1"/>
          </p:nvSpPr>
          <p:spPr>
            <a:xfrm>
              <a:off x="9840286" y="7117574"/>
              <a:ext cx="3685157" cy="6858000"/>
            </a:xfrm>
            <a:custGeom>
              <a:avLst/>
              <a:gdLst>
                <a:gd name="connsiteX0" fmla="*/ 2351713 w 3685157"/>
                <a:gd name="connsiteY0" fmla="*/ 1213905 h 6858000"/>
                <a:gd name="connsiteX1" fmla="*/ 2351713 w 3685157"/>
                <a:gd name="connsiteY1" fmla="*/ 3200257 h 6858000"/>
                <a:gd name="connsiteX2" fmla="*/ 827649 w 3685157"/>
                <a:gd name="connsiteY2" fmla="*/ 6858000 h 6858000"/>
                <a:gd name="connsiteX3" fmla="*/ 0 w 3685157"/>
                <a:gd name="connsiteY3" fmla="*/ 6858000 h 6858000"/>
                <a:gd name="connsiteX4" fmla="*/ 2857508 w 3685157"/>
                <a:gd name="connsiteY4" fmla="*/ 0 h 6858000"/>
                <a:gd name="connsiteX5" fmla="*/ 3685157 w 3685157"/>
                <a:gd name="connsiteY5" fmla="*/ 0 h 6858000"/>
                <a:gd name="connsiteX6" fmla="*/ 3685157 w 3685157"/>
                <a:gd name="connsiteY6" fmla="*/ 1 h 6858000"/>
                <a:gd name="connsiteX7" fmla="*/ 2857508 w 3685157"/>
                <a:gd name="connsiteY7"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85157" h="6858000">
                  <a:moveTo>
                    <a:pt x="2351713" y="1213905"/>
                  </a:moveTo>
                  <a:lnTo>
                    <a:pt x="2351713" y="3200257"/>
                  </a:lnTo>
                  <a:lnTo>
                    <a:pt x="827649" y="6858000"/>
                  </a:lnTo>
                  <a:lnTo>
                    <a:pt x="0" y="6858000"/>
                  </a:lnTo>
                  <a:close/>
                  <a:moveTo>
                    <a:pt x="2857508" y="0"/>
                  </a:moveTo>
                  <a:lnTo>
                    <a:pt x="3685157" y="0"/>
                  </a:lnTo>
                  <a:lnTo>
                    <a:pt x="3685157" y="1"/>
                  </a:lnTo>
                  <a:lnTo>
                    <a:pt x="2857508" y="1"/>
                  </a:lnTo>
                  <a:close/>
                </a:path>
              </a:pathLst>
            </a:cu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79" name="Freeform: Shape 78">
              <a:extLst>
                <a:ext uri="{FF2B5EF4-FFF2-40B4-BE49-F238E27FC236}">
                  <a16:creationId xmlns:a16="http://schemas.microsoft.com/office/drawing/2014/main" id="{C9B1B579-D22E-4010-8155-CA3C5C41C2EE}"/>
                </a:ext>
              </a:extLst>
            </p:cNvPr>
            <p:cNvSpPr/>
            <p:nvPr userDrawn="1"/>
          </p:nvSpPr>
          <p:spPr>
            <a:xfrm>
              <a:off x="8743018" y="7117574"/>
              <a:ext cx="3685157" cy="6858000"/>
            </a:xfrm>
            <a:custGeom>
              <a:avLst/>
              <a:gdLst>
                <a:gd name="connsiteX0" fmla="*/ 2857508 w 3685157"/>
                <a:gd name="connsiteY0" fmla="*/ 0 h 6858000"/>
                <a:gd name="connsiteX1" fmla="*/ 3685157 w 3685157"/>
                <a:gd name="connsiteY1" fmla="*/ 0 h 6858000"/>
                <a:gd name="connsiteX2" fmla="*/ 3685157 w 3685157"/>
                <a:gd name="connsiteY2" fmla="*/ 1 h 6858000"/>
                <a:gd name="connsiteX3" fmla="*/ 3448981 w 3685157"/>
                <a:gd name="connsiteY3" fmla="*/ 1 h 6858000"/>
                <a:gd name="connsiteX4" fmla="*/ 3448981 w 3685157"/>
                <a:gd name="connsiteY4" fmla="*/ 566821 h 6858000"/>
                <a:gd name="connsiteX5" fmla="*/ 827649 w 3685157"/>
                <a:gd name="connsiteY5" fmla="*/ 6858000 h 6858000"/>
                <a:gd name="connsiteX6" fmla="*/ 0 w 3685157"/>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85157" h="6858000">
                  <a:moveTo>
                    <a:pt x="2857508" y="0"/>
                  </a:moveTo>
                  <a:lnTo>
                    <a:pt x="3685157" y="0"/>
                  </a:lnTo>
                  <a:lnTo>
                    <a:pt x="3685157" y="1"/>
                  </a:lnTo>
                  <a:lnTo>
                    <a:pt x="3448981" y="1"/>
                  </a:lnTo>
                  <a:lnTo>
                    <a:pt x="3448981" y="566821"/>
                  </a:lnTo>
                  <a:lnTo>
                    <a:pt x="827649" y="6858000"/>
                  </a:lnTo>
                  <a:lnTo>
                    <a:pt x="0" y="6858000"/>
                  </a:lnTo>
                  <a:close/>
                </a:path>
              </a:pathLst>
            </a:cu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80" name="Freeform: Shape 79">
              <a:extLst>
                <a:ext uri="{FF2B5EF4-FFF2-40B4-BE49-F238E27FC236}">
                  <a16:creationId xmlns:a16="http://schemas.microsoft.com/office/drawing/2014/main" id="{EA8284F0-5240-4A76-9A9B-46E08CBBE61A}"/>
                </a:ext>
              </a:extLst>
            </p:cNvPr>
            <p:cNvSpPr/>
            <p:nvPr userDrawn="1"/>
          </p:nvSpPr>
          <p:spPr>
            <a:xfrm>
              <a:off x="10937544" y="10964892"/>
              <a:ext cx="1254455" cy="3010683"/>
            </a:xfrm>
            <a:custGeom>
              <a:avLst/>
              <a:gdLst>
                <a:gd name="connsiteX0" fmla="*/ 1254455 w 1254455"/>
                <a:gd name="connsiteY0" fmla="*/ 0 h 3010683"/>
                <a:gd name="connsiteX1" fmla="*/ 1254455 w 1254455"/>
                <a:gd name="connsiteY1" fmla="*/ 1986352 h 3010683"/>
                <a:gd name="connsiteX2" fmla="*/ 827649 w 1254455"/>
                <a:gd name="connsiteY2" fmla="*/ 3010683 h 3010683"/>
                <a:gd name="connsiteX3" fmla="*/ 0 w 1254455"/>
                <a:gd name="connsiteY3" fmla="*/ 3010683 h 3010683"/>
              </a:gdLst>
              <a:ahLst/>
              <a:cxnLst>
                <a:cxn ang="0">
                  <a:pos x="connsiteX0" y="connsiteY0"/>
                </a:cxn>
                <a:cxn ang="0">
                  <a:pos x="connsiteX1" y="connsiteY1"/>
                </a:cxn>
                <a:cxn ang="0">
                  <a:pos x="connsiteX2" y="connsiteY2"/>
                </a:cxn>
                <a:cxn ang="0">
                  <a:pos x="connsiteX3" y="connsiteY3"/>
                </a:cxn>
              </a:cxnLst>
              <a:rect l="l" t="t" r="r" b="b"/>
              <a:pathLst>
                <a:path w="1254455" h="3010683">
                  <a:moveTo>
                    <a:pt x="1254455" y="0"/>
                  </a:moveTo>
                  <a:lnTo>
                    <a:pt x="1254455" y="1986352"/>
                  </a:lnTo>
                  <a:lnTo>
                    <a:pt x="827649" y="3010683"/>
                  </a:lnTo>
                  <a:lnTo>
                    <a:pt x="0" y="3010683"/>
                  </a:lnTo>
                  <a:close/>
                </a:path>
              </a:pathLst>
            </a:cu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grpSp>
      <p:sp>
        <p:nvSpPr>
          <p:cNvPr id="81" name="Round Same-side Corner of Rectangle 28">
            <a:extLst>
              <a:ext uri="{FF2B5EF4-FFF2-40B4-BE49-F238E27FC236}">
                <a16:creationId xmlns:a16="http://schemas.microsoft.com/office/drawing/2014/main" id="{D87BB513-F937-46B5-B184-B5C832BF2494}"/>
              </a:ext>
            </a:extLst>
          </p:cNvPr>
          <p:cNvSpPr/>
          <p:nvPr userDrawn="1"/>
        </p:nvSpPr>
        <p:spPr bwMode="black">
          <a:xfrm>
            <a:off x="630936" y="2393157"/>
            <a:ext cx="8125200" cy="2943394"/>
          </a:xfrm>
          <a:prstGeom prst="round2SameRect">
            <a:avLst>
              <a:gd name="adj1" fmla="val 9182"/>
              <a:gd name="adj2" fmla="val 11037"/>
            </a:avLst>
          </a:prstGeom>
          <a:solidFill>
            <a:schemeClr val="bg1">
              <a:alpha val="92969"/>
            </a:schemeClr>
          </a:solidFill>
          <a:ln>
            <a:noFill/>
          </a:ln>
          <a:effectLst>
            <a:outerShdw blurRad="381000" algn="ctr" rotWithShape="0">
              <a:schemeClr val="bg2">
                <a:lumMod val="10000"/>
                <a:alpha val="29973"/>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lnSpc>
                <a:spcPct val="95000"/>
              </a:lnSpc>
            </a:pPr>
            <a:endParaRPr lang="en-US" sz="2000" dirty="0">
              <a:solidFill>
                <a:prstClr val="white"/>
              </a:solidFill>
              <a:cs typeface="+mn-cs"/>
              <a:sym typeface="Trebuchet MS" panose="020B0603020202020204" pitchFamily="34" charset="0"/>
            </a:endParaRPr>
          </a:p>
        </p:txBody>
      </p:sp>
      <p:sp>
        <p:nvSpPr>
          <p:cNvPr id="82" name="Round Same-side Corner of Rectangle 33">
            <a:extLst>
              <a:ext uri="{FF2B5EF4-FFF2-40B4-BE49-F238E27FC236}">
                <a16:creationId xmlns:a16="http://schemas.microsoft.com/office/drawing/2014/main" id="{3F7C1A8A-F2A9-46C1-8E0E-E098B3A0E421}"/>
              </a:ext>
            </a:extLst>
          </p:cNvPr>
          <p:cNvSpPr/>
          <p:nvPr userDrawn="1"/>
        </p:nvSpPr>
        <p:spPr bwMode="black">
          <a:xfrm>
            <a:off x="630936" y="2393157"/>
            <a:ext cx="8125200" cy="2943394"/>
          </a:xfrm>
          <a:prstGeom prst="round2SameRect">
            <a:avLst>
              <a:gd name="adj1" fmla="val 4277"/>
              <a:gd name="adj2" fmla="val 0"/>
            </a:avLst>
          </a:prstGeom>
          <a:gradFill flip="none" rotWithShape="1">
            <a:gsLst>
              <a:gs pos="0">
                <a:srgbClr val="006F4E">
                  <a:alpha val="10000"/>
                </a:srgbClr>
              </a:gs>
              <a:gs pos="100000">
                <a:srgbClr val="009B9D">
                  <a:alpha val="4937"/>
                </a:srgb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lnSpc>
                <a:spcPct val="95000"/>
              </a:lnSpc>
            </a:pPr>
            <a:endParaRPr lang="en-US" sz="2000" dirty="0">
              <a:solidFill>
                <a:prstClr val="white"/>
              </a:solidFill>
              <a:cs typeface="+mn-cs"/>
              <a:sym typeface="Trebuchet MS" panose="020B0603020202020204" pitchFamily="34" charset="0"/>
            </a:endParaRPr>
          </a:p>
        </p:txBody>
      </p:sp>
      <p:sp>
        <p:nvSpPr>
          <p:cNvPr id="83" name="Overlay">
            <a:extLst>
              <a:ext uri="{FF2B5EF4-FFF2-40B4-BE49-F238E27FC236}">
                <a16:creationId xmlns:a16="http://schemas.microsoft.com/office/drawing/2014/main" id="{C790C849-FD0C-44AD-AB6E-40BF8CD1F622}"/>
              </a:ext>
            </a:extLst>
          </p:cNvPr>
          <p:cNvSpPr/>
          <p:nvPr userDrawn="1">
            <p:custDataLst>
              <p:tags r:id="rId2"/>
            </p:custDataLst>
          </p:nvPr>
        </p:nvSpPr>
        <p:spPr>
          <a:xfrm>
            <a:off x="9340639" y="0"/>
            <a:ext cx="2242259" cy="2081213"/>
          </a:xfrm>
          <a:prstGeom prst="round2SameRect">
            <a:avLst>
              <a:gd name="adj1" fmla="val 0"/>
              <a:gd name="adj2" fmla="val 12079"/>
            </a:avLst>
          </a:prstGeom>
          <a:gradFill>
            <a:gsLst>
              <a:gs pos="0">
                <a:srgbClr val="009B9D">
                  <a:alpha val="21000"/>
                </a:srgbClr>
              </a:gs>
              <a:gs pos="100000">
                <a:srgbClr val="006F4E">
                  <a:alpha val="8897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cs typeface="+mn-cs"/>
            </a:endParaRPr>
          </a:p>
        </p:txBody>
      </p:sp>
      <p:sp>
        <p:nvSpPr>
          <p:cNvPr id="84" name="Freeform 32">
            <a:extLst>
              <a:ext uri="{FF2B5EF4-FFF2-40B4-BE49-F238E27FC236}">
                <a16:creationId xmlns:a16="http://schemas.microsoft.com/office/drawing/2014/main" id="{78A79451-0F19-4FE4-8442-D12478D49048}"/>
              </a:ext>
            </a:extLst>
          </p:cNvPr>
          <p:cNvSpPr>
            <a:spLocks noChangeAspect="1"/>
          </p:cNvSpPr>
          <p:nvPr userDrawn="1"/>
        </p:nvSpPr>
        <p:spPr bwMode="auto">
          <a:xfrm>
            <a:off x="2810190" y="3471233"/>
            <a:ext cx="3766692" cy="787241"/>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177B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dirty="0">
              <a:cs typeface="+mn-cs"/>
            </a:endParaRPr>
          </a:p>
        </p:txBody>
      </p:sp>
      <p:sp>
        <p:nvSpPr>
          <p:cNvPr id="85" name="TextBox 84">
            <a:extLst>
              <a:ext uri="{FF2B5EF4-FFF2-40B4-BE49-F238E27FC236}">
                <a16:creationId xmlns:a16="http://schemas.microsoft.com/office/drawing/2014/main" id="{96DF0CEA-EBAF-4275-879E-ED36D8791DFA}"/>
              </a:ext>
            </a:extLst>
          </p:cNvPr>
          <p:cNvSpPr txBox="1"/>
          <p:nvPr userDrawn="1"/>
        </p:nvSpPr>
        <p:spPr bwMode="white">
          <a:xfrm>
            <a:off x="924979" y="4921094"/>
            <a:ext cx="840801" cy="170110"/>
          </a:xfrm>
          <a:prstGeom prst="rect">
            <a:avLst/>
          </a:prstGeom>
          <a:noFill/>
        </p:spPr>
        <p:txBody>
          <a:bodyPr wrap="none" lIns="0" tIns="0" rIns="0" bIns="0" rtlCol="0" anchor="b">
            <a:noAutofit/>
          </a:bodyPr>
          <a:lstStyle/>
          <a:p>
            <a:pPr rtl="0">
              <a:lnSpc>
                <a:spcPct val="90000"/>
              </a:lnSpc>
              <a:spcAft>
                <a:spcPts val="600"/>
              </a:spcAft>
            </a:pPr>
            <a:r>
              <a:rPr lang="en-US" sz="1200" dirty="0">
                <a:solidFill>
                  <a:srgbClr val="03522D"/>
                </a:solidFill>
                <a:latin typeface="+mn-lt"/>
                <a:cs typeface="+mn-cs"/>
                <a:sym typeface="Trebuchet MS" panose="020B0603020202020204" pitchFamily="34" charset="0"/>
              </a:rPr>
              <a:t>bcg.com</a:t>
            </a:r>
          </a:p>
        </p:txBody>
      </p:sp>
      <p:sp>
        <p:nvSpPr>
          <p:cNvPr id="86" name="Overlay">
            <a:extLst>
              <a:ext uri="{FF2B5EF4-FFF2-40B4-BE49-F238E27FC236}">
                <a16:creationId xmlns:a16="http://schemas.microsoft.com/office/drawing/2014/main" id="{A42366D8-2832-4B11-8C22-98804B8350A3}"/>
              </a:ext>
            </a:extLst>
          </p:cNvPr>
          <p:cNvSpPr/>
          <p:nvPr userDrawn="1">
            <p:custDataLst>
              <p:tags r:id="rId3"/>
            </p:custDataLst>
          </p:nvPr>
        </p:nvSpPr>
        <p:spPr>
          <a:xfrm>
            <a:off x="630936" y="0"/>
            <a:ext cx="8112082" cy="1147011"/>
          </a:xfrm>
          <a:prstGeom prst="round2SameRect">
            <a:avLst>
              <a:gd name="adj1" fmla="val 0"/>
              <a:gd name="adj2" fmla="val 18373"/>
            </a:avLst>
          </a:prstGeom>
          <a:gradFill>
            <a:gsLst>
              <a:gs pos="0">
                <a:srgbClr val="009B9D">
                  <a:alpha val="21000"/>
                </a:srgbClr>
              </a:gs>
              <a:gs pos="100000">
                <a:srgbClr val="006F4E">
                  <a:alpha val="8897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cs typeface="+mn-cs"/>
            </a:endParaRPr>
          </a:p>
        </p:txBody>
      </p:sp>
      <p:sp>
        <p:nvSpPr>
          <p:cNvPr id="87" name="Overlay">
            <a:extLst>
              <a:ext uri="{FF2B5EF4-FFF2-40B4-BE49-F238E27FC236}">
                <a16:creationId xmlns:a16="http://schemas.microsoft.com/office/drawing/2014/main" id="{68A2A98D-4DA7-4F4B-B068-8FE227517D73}"/>
              </a:ext>
            </a:extLst>
          </p:cNvPr>
          <p:cNvSpPr/>
          <p:nvPr userDrawn="1">
            <p:custDataLst>
              <p:tags r:id="rId4"/>
            </p:custDataLst>
          </p:nvPr>
        </p:nvSpPr>
        <p:spPr>
          <a:xfrm flipV="1">
            <a:off x="630936" y="5962750"/>
            <a:ext cx="8112082" cy="901664"/>
          </a:xfrm>
          <a:prstGeom prst="round2SameRect">
            <a:avLst>
              <a:gd name="adj1" fmla="val 0"/>
              <a:gd name="adj2" fmla="val 30760"/>
            </a:avLst>
          </a:prstGeom>
          <a:gradFill>
            <a:gsLst>
              <a:gs pos="0">
                <a:srgbClr val="009B9D">
                  <a:alpha val="21000"/>
                </a:srgbClr>
              </a:gs>
              <a:gs pos="100000">
                <a:srgbClr val="006F4E">
                  <a:alpha val="8897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cs typeface="+mn-cs"/>
            </a:endParaRPr>
          </a:p>
        </p:txBody>
      </p:sp>
      <p:sp>
        <p:nvSpPr>
          <p:cNvPr id="88" name="Overlay">
            <a:extLst>
              <a:ext uri="{FF2B5EF4-FFF2-40B4-BE49-F238E27FC236}">
                <a16:creationId xmlns:a16="http://schemas.microsoft.com/office/drawing/2014/main" id="{C63E9A08-B302-4825-86EB-FAB6CC182D13}"/>
              </a:ext>
            </a:extLst>
          </p:cNvPr>
          <p:cNvSpPr/>
          <p:nvPr userDrawn="1">
            <p:custDataLst>
              <p:tags r:id="rId5"/>
            </p:custDataLst>
          </p:nvPr>
        </p:nvSpPr>
        <p:spPr>
          <a:xfrm flipV="1">
            <a:off x="9340639" y="3101922"/>
            <a:ext cx="2242259" cy="3756078"/>
          </a:xfrm>
          <a:prstGeom prst="round2SameRect">
            <a:avLst>
              <a:gd name="adj1" fmla="val 0"/>
              <a:gd name="adj2" fmla="val 17445"/>
            </a:avLst>
          </a:prstGeom>
          <a:gradFill>
            <a:gsLst>
              <a:gs pos="0">
                <a:srgbClr val="009B9D">
                  <a:alpha val="21000"/>
                </a:srgbClr>
              </a:gs>
              <a:gs pos="100000">
                <a:srgbClr val="006F4E">
                  <a:alpha val="8897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cs typeface="+mn-cs"/>
            </a:endParaRPr>
          </a:p>
        </p:txBody>
      </p:sp>
    </p:spTree>
    <p:extLst>
      <p:ext uri="{BB962C8B-B14F-4D97-AF65-F5344CB8AC3E}">
        <p14:creationId xmlns:p14="http://schemas.microsoft.com/office/powerpoint/2010/main" val="21727841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EEDB2D5-CC5B-4DA0-89A2-C8CFC338C121}"/>
              </a:ext>
            </a:extLst>
          </p:cNvPr>
          <p:cNvGraphicFramePr>
            <a:graphicFrameLocks noChangeAspect="1"/>
          </p:cNvGraphicFramePr>
          <p:nvPr userDrawn="1">
            <p:custDataLst>
              <p:tags r:id="rId1"/>
            </p:custDataLst>
            <p:extLst>
              <p:ext uri="{D42A27DB-BD31-4B8C-83A1-F6EECF244321}">
                <p14:modId xmlns:p14="http://schemas.microsoft.com/office/powerpoint/2010/main" val="13073217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8EEDB2D5-CC5B-4DA0-89A2-C8CFC338C12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rtl="0">
              <a:defRPr>
                <a:solidFill>
                  <a:schemeClr val="bg1">
                    <a:lumMod val="50000"/>
                  </a:schemeClr>
                </a:solidFill>
                <a:latin typeface="+mn-lt"/>
                <a:cs typeface="+mn-cs"/>
                <a:sym typeface="Trebuchet MS" panose="020B0603020202020204" pitchFamily="34" charset="0"/>
              </a:defRPr>
            </a:lvl1pPr>
          </a:lstStyle>
          <a:p>
            <a:endParaRPr lang="en-US" dirty="0"/>
          </a:p>
        </p:txBody>
      </p:sp>
      <p:sp>
        <p:nvSpPr>
          <p:cNvPr id="56"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cs typeface="+mn-cs"/>
                <a:sym typeface="Trebuchet MS" panose="020B0603020202020204" pitchFamily="34" charset="0"/>
              </a:rPr>
              <a:t>Copyright © 2024 by Boston Consulting Group. All rights reserved.</a:t>
            </a:r>
          </a:p>
        </p:txBody>
      </p:sp>
      <p:grpSp>
        <p:nvGrpSpPr>
          <p:cNvPr id="50" name="Group 49">
            <a:extLst>
              <a:ext uri="{FF2B5EF4-FFF2-40B4-BE49-F238E27FC236}">
                <a16:creationId xmlns:a16="http://schemas.microsoft.com/office/drawing/2014/main" id="{17DEC6E6-6876-46F9-8B1D-0F262DAA57DB}"/>
              </a:ext>
            </a:extLst>
          </p:cNvPr>
          <p:cNvGrpSpPr/>
          <p:nvPr userDrawn="1"/>
        </p:nvGrpSpPr>
        <p:grpSpPr>
          <a:xfrm>
            <a:off x="-600" y="-1"/>
            <a:ext cx="12193800" cy="6858001"/>
            <a:chOff x="-600" y="-1"/>
            <a:chExt cx="12193800" cy="6858001"/>
          </a:xfrm>
        </p:grpSpPr>
        <p:sp>
          <p:nvSpPr>
            <p:cNvPr id="51" name="No fly zone">
              <a:extLst>
                <a:ext uri="{FF2B5EF4-FFF2-40B4-BE49-F238E27FC236}">
                  <a16:creationId xmlns:a16="http://schemas.microsoft.com/office/drawing/2014/main" id="{4944967D-3239-4939-AD74-DD0C7B2A3D59}"/>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solidFill>
                  <a:schemeClr val="tx1"/>
                </a:solidFill>
                <a:latin typeface="+mn-lt"/>
                <a:cs typeface="+mn-cs"/>
              </a:endParaRPr>
            </a:p>
          </p:txBody>
        </p:sp>
        <p:grpSp>
          <p:nvGrpSpPr>
            <p:cNvPr id="52" name="Baselines / anchors">
              <a:extLst>
                <a:ext uri="{FF2B5EF4-FFF2-40B4-BE49-F238E27FC236}">
                  <a16:creationId xmlns:a16="http://schemas.microsoft.com/office/drawing/2014/main" id="{BFA63FA4-46EC-431F-AB3B-39BCBA636137}"/>
                </a:ext>
              </a:extLst>
            </p:cNvPr>
            <p:cNvGrpSpPr/>
            <p:nvPr/>
          </p:nvGrpSpPr>
          <p:grpSpPr>
            <a:xfrm>
              <a:off x="-600" y="622800"/>
              <a:ext cx="12193200" cy="5536800"/>
              <a:chOff x="12623800" y="622800"/>
              <a:chExt cx="11176000" cy="5536800"/>
            </a:xfrm>
          </p:grpSpPr>
          <p:cxnSp>
            <p:nvCxnSpPr>
              <p:cNvPr id="78" name="Straight Connector 77">
                <a:extLst>
                  <a:ext uri="{FF2B5EF4-FFF2-40B4-BE49-F238E27FC236}">
                    <a16:creationId xmlns:a16="http://schemas.microsoft.com/office/drawing/2014/main" id="{AA76BAF0-36B4-45DB-90FB-CBF754B9F95D}"/>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7D11582D-2522-44C2-9797-87D7AC056E04}"/>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9A1563E8-EBB2-43ED-99C2-7CE7D134BE6D}"/>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6222A92-C4A0-40EC-B6DA-A02041B15208}"/>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7571F956-8881-4B26-932B-636AAFA68F06}"/>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F8FEF8CE-FEA8-4EEC-993D-1E746A6ECEB8}"/>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993FED8D-C5D8-497D-ACC2-F7D7032E0198}"/>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A2DB8C2E-44DF-42D1-9A70-BBD8238BFF79}"/>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B16F4352-F121-4025-81CE-EA4CDEE45127}"/>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DB6FCCD5-7024-4951-BC46-7575EE469C40}"/>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E0CC2AFB-7093-40E7-8788-57084B7A6F27}"/>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3C0718F0-BAB4-45C1-AA22-8404BA60AC68}"/>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BC7BCF9C-755D-4374-9FAC-D524D1A5A961}"/>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ACD426B7-2C8F-4E5C-AFE4-9FFFCDFF9A84}"/>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EE285B87-8F47-4BB6-822C-1ABDE8951F92}"/>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645154F1-F949-4E87-9DF4-794A8E9A5979}"/>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E0C39EF4-3AF5-43DB-B26F-E3A190EB0180}"/>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19532D9F-7EA6-496C-AA6F-4E86F22F78E5}"/>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4EEF9173-D8C2-473D-8B7B-4BF376DAA2AE}"/>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FFFFD7B-8039-46D9-A707-0AC0A668BBC4}"/>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3" name="Gutter space">
              <a:extLst>
                <a:ext uri="{FF2B5EF4-FFF2-40B4-BE49-F238E27FC236}">
                  <a16:creationId xmlns:a16="http://schemas.microsoft.com/office/drawing/2014/main" id="{A15CBE7C-10F4-412E-A806-73798430C7F2}"/>
                </a:ext>
              </a:extLst>
            </p:cNvPr>
            <p:cNvGrpSpPr/>
            <p:nvPr/>
          </p:nvGrpSpPr>
          <p:grpSpPr>
            <a:xfrm>
              <a:off x="1277000" y="623550"/>
              <a:ext cx="9638000" cy="5537047"/>
              <a:chOff x="1277000" y="623550"/>
              <a:chExt cx="9638000" cy="5537047"/>
            </a:xfrm>
          </p:grpSpPr>
          <p:sp>
            <p:nvSpPr>
              <p:cNvPr id="67" name="Rectangle 34">
                <a:extLst>
                  <a:ext uri="{FF2B5EF4-FFF2-40B4-BE49-F238E27FC236}">
                    <a16:creationId xmlns:a16="http://schemas.microsoft.com/office/drawing/2014/main" id="{155358FC-4140-4322-AB72-9607A3BCDFB6}"/>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sp>
            <p:nvSpPr>
              <p:cNvPr id="68" name="Rectangle 35">
                <a:extLst>
                  <a:ext uri="{FF2B5EF4-FFF2-40B4-BE49-F238E27FC236}">
                    <a16:creationId xmlns:a16="http://schemas.microsoft.com/office/drawing/2014/main" id="{DB57A487-474A-4BC6-AEE6-C6243EFBB542}"/>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sp>
            <p:nvSpPr>
              <p:cNvPr id="69" name="Rectangle 36">
                <a:extLst>
                  <a:ext uri="{FF2B5EF4-FFF2-40B4-BE49-F238E27FC236}">
                    <a16:creationId xmlns:a16="http://schemas.microsoft.com/office/drawing/2014/main" id="{5A42683C-EE3E-4CC8-BDA9-172C9E9F4C68}"/>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sp>
            <p:nvSpPr>
              <p:cNvPr id="70" name="Rectangle 37">
                <a:extLst>
                  <a:ext uri="{FF2B5EF4-FFF2-40B4-BE49-F238E27FC236}">
                    <a16:creationId xmlns:a16="http://schemas.microsoft.com/office/drawing/2014/main" id="{682B43AB-4ACB-4B2A-9FC2-06F754AB67F9}"/>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sp>
            <p:nvSpPr>
              <p:cNvPr id="71" name="Rectangle 38">
                <a:extLst>
                  <a:ext uri="{FF2B5EF4-FFF2-40B4-BE49-F238E27FC236}">
                    <a16:creationId xmlns:a16="http://schemas.microsoft.com/office/drawing/2014/main" id="{907D176F-64C9-42D2-9B9B-1D71F2F8D8B4}"/>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sp>
            <p:nvSpPr>
              <p:cNvPr id="72" name="Rectangle 39">
                <a:extLst>
                  <a:ext uri="{FF2B5EF4-FFF2-40B4-BE49-F238E27FC236}">
                    <a16:creationId xmlns:a16="http://schemas.microsoft.com/office/drawing/2014/main" id="{086461BA-93DD-4FC9-94BB-3B5462D2DCA3}"/>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sp>
            <p:nvSpPr>
              <p:cNvPr id="73" name="Rectangle 40">
                <a:extLst>
                  <a:ext uri="{FF2B5EF4-FFF2-40B4-BE49-F238E27FC236}">
                    <a16:creationId xmlns:a16="http://schemas.microsoft.com/office/drawing/2014/main" id="{E7A12E49-2D12-48DA-966D-73DA0BA74479}"/>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sp>
            <p:nvSpPr>
              <p:cNvPr id="74" name="Rectangle 41">
                <a:extLst>
                  <a:ext uri="{FF2B5EF4-FFF2-40B4-BE49-F238E27FC236}">
                    <a16:creationId xmlns:a16="http://schemas.microsoft.com/office/drawing/2014/main" id="{FBC09A71-2600-4B34-94EF-6E2D2A4FEA21}"/>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sp>
            <p:nvSpPr>
              <p:cNvPr id="75" name="Rectangle 42">
                <a:extLst>
                  <a:ext uri="{FF2B5EF4-FFF2-40B4-BE49-F238E27FC236}">
                    <a16:creationId xmlns:a16="http://schemas.microsoft.com/office/drawing/2014/main" id="{D2CA0F48-2E45-438E-BF2D-9EFF6A83BE69}"/>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sp>
            <p:nvSpPr>
              <p:cNvPr id="76" name="Rectangle 43">
                <a:extLst>
                  <a:ext uri="{FF2B5EF4-FFF2-40B4-BE49-F238E27FC236}">
                    <a16:creationId xmlns:a16="http://schemas.microsoft.com/office/drawing/2014/main" id="{98C678A6-C6B4-4451-9102-FB9EAFBE126D}"/>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sp>
            <p:nvSpPr>
              <p:cNvPr id="77" name="Rectangle 44">
                <a:extLst>
                  <a:ext uri="{FF2B5EF4-FFF2-40B4-BE49-F238E27FC236}">
                    <a16:creationId xmlns:a16="http://schemas.microsoft.com/office/drawing/2014/main" id="{3DF600D0-F8CA-4ECC-8F2A-1C3E91A0CA41}"/>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grpSp>
        <p:sp>
          <p:nvSpPr>
            <p:cNvPr id="54" name="Slide edges">
              <a:extLst>
                <a:ext uri="{FF2B5EF4-FFF2-40B4-BE49-F238E27FC236}">
                  <a16:creationId xmlns:a16="http://schemas.microsoft.com/office/drawing/2014/main" id="{E36602C4-46F7-44C9-831B-6AC3A7F9A870}"/>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5" name="Footnote measure">
              <a:extLst>
                <a:ext uri="{FF2B5EF4-FFF2-40B4-BE49-F238E27FC236}">
                  <a16:creationId xmlns:a16="http://schemas.microsoft.com/office/drawing/2014/main" id="{65BE1F8C-FCEF-4A2D-80A0-AEA99C09A94E}"/>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sp>
          <p:nvSpPr>
            <p:cNvPr id="57" name="Whitespace measure">
              <a:extLst>
                <a:ext uri="{FF2B5EF4-FFF2-40B4-BE49-F238E27FC236}">
                  <a16:creationId xmlns:a16="http://schemas.microsoft.com/office/drawing/2014/main" id="{CA7912C0-2103-432E-9875-7450770E44E1}"/>
                </a:ext>
              </a:extLst>
            </p:cNvPr>
            <p:cNvSpPr>
              <a:spLocks noChangeArrowheads="1"/>
            </p:cNvSpPr>
            <p:nvPr/>
          </p:nvSpPr>
          <p:spPr bwMode="auto">
            <a:xfrm>
              <a:off x="629400" y="1931399"/>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grpSp>
          <p:nvGrpSpPr>
            <p:cNvPr id="58" name="Five column measure">
              <a:extLst>
                <a:ext uri="{FF2B5EF4-FFF2-40B4-BE49-F238E27FC236}">
                  <a16:creationId xmlns:a16="http://schemas.microsoft.com/office/drawing/2014/main" id="{97A3A772-635A-4B9F-857A-C7AF8C2DDCAE}"/>
                </a:ext>
              </a:extLst>
            </p:cNvPr>
            <p:cNvGrpSpPr/>
            <p:nvPr/>
          </p:nvGrpSpPr>
          <p:grpSpPr>
            <a:xfrm>
              <a:off x="629400" y="5975122"/>
              <a:ext cx="10933200" cy="79536"/>
              <a:chOff x="629400" y="5975122"/>
              <a:chExt cx="10933200" cy="79536"/>
            </a:xfrm>
          </p:grpSpPr>
          <p:sp>
            <p:nvSpPr>
              <p:cNvPr id="62" name="Rectangle 5">
                <a:extLst>
                  <a:ext uri="{FF2B5EF4-FFF2-40B4-BE49-F238E27FC236}">
                    <a16:creationId xmlns:a16="http://schemas.microsoft.com/office/drawing/2014/main" id="{938ABCEC-0ECC-4259-A40F-2552BF77C179}"/>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sp>
            <p:nvSpPr>
              <p:cNvPr id="63" name="Rectangle 7">
                <a:extLst>
                  <a:ext uri="{FF2B5EF4-FFF2-40B4-BE49-F238E27FC236}">
                    <a16:creationId xmlns:a16="http://schemas.microsoft.com/office/drawing/2014/main" id="{7242E680-E13B-4C00-8C9A-519254AE4C9A}"/>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sp>
            <p:nvSpPr>
              <p:cNvPr id="64" name="Rectangle 9">
                <a:extLst>
                  <a:ext uri="{FF2B5EF4-FFF2-40B4-BE49-F238E27FC236}">
                    <a16:creationId xmlns:a16="http://schemas.microsoft.com/office/drawing/2014/main" id="{DC5DCB88-600E-4E9A-965B-FDFE6BEC5964}"/>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sp>
            <p:nvSpPr>
              <p:cNvPr id="65" name="Rectangle 11">
                <a:extLst>
                  <a:ext uri="{FF2B5EF4-FFF2-40B4-BE49-F238E27FC236}">
                    <a16:creationId xmlns:a16="http://schemas.microsoft.com/office/drawing/2014/main" id="{9A9FB264-CD19-4063-AD83-342331CB089D}"/>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sp>
            <p:nvSpPr>
              <p:cNvPr id="66" name="Rectangle 13">
                <a:extLst>
                  <a:ext uri="{FF2B5EF4-FFF2-40B4-BE49-F238E27FC236}">
                    <a16:creationId xmlns:a16="http://schemas.microsoft.com/office/drawing/2014/main" id="{419FA518-E2F8-4A62-AC0F-200B89DC48A9}"/>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grpSp>
        <p:sp>
          <p:nvSpPr>
            <p:cNvPr id="59" name="Live area">
              <a:extLst>
                <a:ext uri="{FF2B5EF4-FFF2-40B4-BE49-F238E27FC236}">
                  <a16:creationId xmlns:a16="http://schemas.microsoft.com/office/drawing/2014/main" id="{553B6E14-D227-4C68-92AA-B9617FA10342}"/>
                </a:ext>
              </a:extLst>
            </p:cNvPr>
            <p:cNvSpPr/>
            <p:nvPr/>
          </p:nvSpPr>
          <p:spPr>
            <a:xfrm>
              <a:off x="629400" y="2514599"/>
              <a:ext cx="10933200" cy="3645001"/>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US" sz="1200" dirty="0">
                <a:solidFill>
                  <a:schemeClr val="bg1"/>
                </a:solidFill>
                <a:latin typeface="+mn-lt"/>
                <a:cs typeface="+mn-cs"/>
              </a:endParaRPr>
            </a:p>
          </p:txBody>
        </p:sp>
        <p:sp>
          <p:nvSpPr>
            <p:cNvPr id="60" name="Footnote example">
              <a:extLst>
                <a:ext uri="{FF2B5EF4-FFF2-40B4-BE49-F238E27FC236}">
                  <a16:creationId xmlns:a16="http://schemas.microsoft.com/office/drawing/2014/main" id="{B8139AFC-7C8B-49C1-B336-F2D59558B144}"/>
                </a:ext>
              </a:extLst>
            </p:cNvPr>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sp>
          <p:nvSpPr>
            <p:cNvPr id="61" name="Copyright">
              <a:extLst>
                <a:ext uri="{FF2B5EF4-FFF2-40B4-BE49-F238E27FC236}">
                  <a16:creationId xmlns:a16="http://schemas.microsoft.com/office/drawing/2014/main" id="{583F3964-8782-4DB9-ADBD-256B516B7FFD}"/>
                </a:ext>
              </a:extLst>
            </p:cNvPr>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cs typeface="+mn-cs"/>
                  <a:sym typeface="Trebuchet MS" panose="020B0603020202020204" pitchFamily="34" charset="0"/>
                </a:rPr>
                <a:t>Copyright © 2024 by Boston Consulting Group. All rights reserved.</a:t>
              </a:r>
            </a:p>
          </p:txBody>
        </p:sp>
      </p:grpSp>
    </p:spTree>
    <p:extLst>
      <p:ext uri="{BB962C8B-B14F-4D97-AF65-F5344CB8AC3E}">
        <p14:creationId xmlns:p14="http://schemas.microsoft.com/office/powerpoint/2010/main" val="10766659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B60C047-DF64-62D7-B1B1-FB0D3ABA1040}"/>
              </a:ext>
            </a:extLst>
          </p:cNvPr>
          <p:cNvGraphicFramePr>
            <a:graphicFrameLocks noChangeAspect="1"/>
          </p:cNvGraphicFramePr>
          <p:nvPr userDrawn="1">
            <p:custDataLst>
              <p:tags r:id="rId1"/>
            </p:custDataLst>
            <p:extLst>
              <p:ext uri="{D42A27DB-BD31-4B8C-83A1-F6EECF244321}">
                <p14:modId xmlns:p14="http://schemas.microsoft.com/office/powerpoint/2010/main" val="395621249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DB60C047-DF64-62D7-B1B1-FB0D3ABA104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22BEFE68-8016-4A23-A894-BD61171CA1AC}"/>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12192000" cy="6858000"/>
          </a:xfrm>
          <a:prstGeom prst="rect">
            <a:avLst/>
          </a:prstGeom>
          <a:gradFill>
            <a:gsLst>
              <a:gs pos="0">
                <a:schemeClr val="tx2"/>
              </a:gs>
              <a:gs pos="100000">
                <a:schemeClr val="accent2"/>
              </a:gs>
            </a:gsLst>
            <a:lin ang="8100000" scaled="1"/>
          </a:gradFill>
        </p:spPr>
      </p:pic>
      <p:sp>
        <p:nvSpPr>
          <p:cNvPr id="12" name="Overlay">
            <a:extLst>
              <a:ext uri="{FF2B5EF4-FFF2-40B4-BE49-F238E27FC236}">
                <a16:creationId xmlns:a16="http://schemas.microsoft.com/office/drawing/2014/main" id="{0CCC9402-C0D0-4AE9-B302-CC07C5C0672D}"/>
              </a:ext>
            </a:extLst>
          </p:cNvPr>
          <p:cNvSpPr/>
          <p:nvPr userDrawn="1">
            <p:custDataLst>
              <p:tags r:id="rId2"/>
            </p:custDataLst>
          </p:nvPr>
        </p:nvSpPr>
        <p:spPr>
          <a:xfrm>
            <a:off x="0" y="0"/>
            <a:ext cx="12192000" cy="6858000"/>
          </a:xfrm>
          <a:prstGeom prst="rect">
            <a:avLst/>
          </a:prstGeom>
          <a:gradFill>
            <a:gsLst>
              <a:gs pos="0">
                <a:srgbClr val="009B9D">
                  <a:alpha val="75000"/>
                </a:srgbClr>
              </a:gs>
              <a:gs pos="100000">
                <a:srgbClr val="006F4E">
                  <a:alpha val="9506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lnSpc>
                <a:spcPct val="90000"/>
              </a:lnSpc>
              <a:spcAft>
                <a:spcPts val="1000"/>
              </a:spcAft>
            </a:pPr>
            <a:endParaRPr lang="en-US" sz="1200" dirty="0">
              <a:solidFill>
                <a:schemeClr val="bg1"/>
              </a:solidFill>
              <a:cs typeface="+mn-cs"/>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cs typeface="+mn-cs"/>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rtl="0">
              <a:defRPr sz="5400">
                <a:solidFill>
                  <a:schemeClr val="bg1"/>
                </a:solidFill>
                <a:latin typeface="+mj-lt"/>
                <a:cs typeface="+mj-cs"/>
                <a:sym typeface="Trebuchet MS" panose="020B0603020202020204" pitchFamily="34" charset="0"/>
              </a:defRPr>
            </a:lvl1pPr>
          </a:lstStyle>
          <a:p>
            <a:r>
              <a:rPr lang="en-US" dirty="0"/>
              <a:t>Click to add big statement text</a:t>
            </a:r>
          </a:p>
        </p:txBody>
      </p:sp>
      <p:cxnSp>
        <p:nvCxnSpPr>
          <p:cNvPr id="148" name="Straight Connector 147"/>
          <p:cNvCxnSpPr/>
          <p:nvPr/>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28640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0410469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518B8543-CD83-4AB6-A1B4-4F846F3E0AFE}"/>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0" y="0"/>
            <a:ext cx="12192000" cy="6858000"/>
          </a:xfrm>
          <a:prstGeom prst="rect">
            <a:avLst/>
          </a:prstGeom>
          <a:gradFill>
            <a:gsLst>
              <a:gs pos="0">
                <a:schemeClr val="tx2"/>
              </a:gs>
              <a:gs pos="100000">
                <a:schemeClr val="accent2"/>
              </a:gs>
            </a:gsLst>
            <a:lin ang="8100000" scaled="1"/>
          </a:gradFill>
        </p:spPr>
      </p:pic>
      <p:sp>
        <p:nvSpPr>
          <p:cNvPr id="14" name="Overlay">
            <a:extLst>
              <a:ext uri="{FF2B5EF4-FFF2-40B4-BE49-F238E27FC236}">
                <a16:creationId xmlns:a16="http://schemas.microsoft.com/office/drawing/2014/main" id="{FF898221-5B91-4078-A7E2-6967C6843D53}"/>
              </a:ext>
            </a:extLst>
          </p:cNvPr>
          <p:cNvSpPr/>
          <p:nvPr userDrawn="1">
            <p:custDataLst>
              <p:tags r:id="rId2"/>
            </p:custDataLst>
          </p:nvPr>
        </p:nvSpPr>
        <p:spPr>
          <a:xfrm>
            <a:off x="0" y="0"/>
            <a:ext cx="12192000" cy="6858000"/>
          </a:xfrm>
          <a:prstGeom prst="rect">
            <a:avLst/>
          </a:prstGeom>
          <a:gradFill>
            <a:gsLst>
              <a:gs pos="0">
                <a:srgbClr val="009B9D">
                  <a:alpha val="75000"/>
                </a:srgbClr>
              </a:gs>
              <a:gs pos="100000">
                <a:srgbClr val="006F4E">
                  <a:alpha val="9506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lnSpc>
                <a:spcPct val="90000"/>
              </a:lnSpc>
              <a:spcAft>
                <a:spcPts val="1000"/>
              </a:spcAft>
            </a:pPr>
            <a:endParaRPr lang="en-US" sz="1200" dirty="0">
              <a:solidFill>
                <a:schemeClr val="bg1"/>
              </a:solidFill>
              <a:cs typeface="+mn-cs"/>
            </a:endParaRPr>
          </a:p>
        </p:txBody>
      </p:sp>
      <p:sp>
        <p:nvSpPr>
          <p:cNvPr id="7" name="TextBox 6"/>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Trebuchet MS" panose="020B0603020202020204" pitchFamily="34" charset="0"/>
                <a:cs typeface="+mn-cs"/>
                <a:sym typeface="Trebuchet MS" panose="020B0603020202020204" pitchFamily="34" charset="0"/>
              </a:rPr>
              <a:t>Copyright © 2024 by Boston Consulting Group. All rights reserved.</a:t>
            </a:r>
          </a:p>
        </p:txBody>
      </p:sp>
      <p:sp>
        <p:nvSpPr>
          <p:cNvPr id="11" name="Rectangle 10"/>
          <p:cNvSpPr/>
          <p:nvPr/>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lnSpc>
                <a:spcPct val="95000"/>
              </a:lnSpc>
              <a:spcBef>
                <a:spcPts val="0"/>
              </a:spcBef>
              <a:spcAft>
                <a:spcPts val="0"/>
              </a:spcAft>
            </a:pPr>
            <a:endParaRPr lang="en-US" sz="2000" dirty="0">
              <a:solidFill>
                <a:prstClr val="white"/>
              </a:solidFill>
              <a:latin typeface="Trebuchet MS" panose="020B0603020202020204" pitchFamily="34" charset="0"/>
              <a:cs typeface="+mn-cs"/>
            </a:endParaRPr>
          </a:p>
        </p:txBody>
      </p:sp>
      <p:sp>
        <p:nvSpPr>
          <p:cNvPr id="12" name="Rectangle 11"/>
          <p:cNvSpPr/>
          <p:nvPr>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rtl="0">
              <a:lnSpc>
                <a:spcPct val="95000"/>
              </a:lnSpc>
            </a:pPr>
            <a:endParaRPr lang="en-US" sz="1200" dirty="0">
              <a:solidFill>
                <a:srgbClr val="FFFFFF"/>
              </a:solidFill>
              <a:latin typeface="Trebuchet MS" panose="020B0603020202020204" pitchFamily="34" charset="0"/>
              <a:cs typeface="+mn-cs"/>
            </a:endParaRPr>
          </a:p>
        </p:txBody>
      </p:sp>
      <p:sp>
        <p:nvSpPr>
          <p:cNvPr id="2" name="TextBox 1"/>
          <p:cNvSpPr txBox="1"/>
          <p:nvPr/>
        </p:nvSpPr>
        <p:spPr>
          <a:xfrm>
            <a:off x="630000" y="907198"/>
            <a:ext cx="3448800" cy="3493008"/>
          </a:xfrm>
          <a:prstGeom prst="rect">
            <a:avLst/>
          </a:prstGeom>
          <a:noFill/>
          <a:ln>
            <a:solidFill>
              <a:schemeClr val="bg1"/>
            </a:solidFill>
          </a:ln>
        </p:spPr>
        <p:txBody>
          <a:bodyPr wrap="square" lIns="612000" tIns="468000" rIns="0" bIns="0" rtlCol="0" anchor="t">
            <a:noAutofit/>
          </a:bodyPr>
          <a:lstStyle/>
          <a:p>
            <a:pPr rtl="0">
              <a:lnSpc>
                <a:spcPct val="90000"/>
              </a:lnSpc>
              <a:spcAft>
                <a:spcPts val="600"/>
              </a:spcAft>
            </a:pPr>
            <a:endParaRPr lang="en-US" sz="5400" dirty="0">
              <a:solidFill>
                <a:schemeClr val="bg1"/>
              </a:solidFill>
              <a:cs typeface="+mn-cs"/>
            </a:endParaRPr>
          </a:p>
        </p:txBody>
      </p:sp>
      <p:sp>
        <p:nvSpPr>
          <p:cNvPr id="10" name="TextBox 1"/>
          <p:cNvSpPr txBox="1"/>
          <p:nvPr/>
        </p:nvSpPr>
        <p:spPr>
          <a:xfrm>
            <a:off x="1109949" y="1115416"/>
            <a:ext cx="2488182" cy="896399"/>
          </a:xfrm>
          <a:prstGeom prst="rect">
            <a:avLst/>
          </a:prstGeom>
          <a:noFill/>
        </p:spPr>
        <p:txBody>
          <a:bodyPr wrap="none" rtlCol="0">
            <a:spAutoFit/>
          </a:bodyPr>
          <a:lstStyle/>
          <a:p>
            <a:pPr algn="ctr" rtl="0" fontAlgn="auto">
              <a:lnSpc>
                <a:spcPct val="95000"/>
              </a:lnSpc>
              <a:spcBef>
                <a:spcPts val="0"/>
              </a:spcBef>
              <a:spcAft>
                <a:spcPts val="0"/>
              </a:spcAft>
            </a:pPr>
            <a:r>
              <a:rPr lang="en-US" sz="5400" dirty="0">
                <a:solidFill>
                  <a:schemeClr val="bg1"/>
                </a:solidFill>
                <a:latin typeface="+mj-lt"/>
                <a:cs typeface="+mn-cs"/>
              </a:rPr>
              <a:t>Agenda</a:t>
            </a:r>
          </a:p>
        </p:txBody>
      </p:sp>
    </p:spTree>
    <p:extLst>
      <p:ext uri="{BB962C8B-B14F-4D97-AF65-F5344CB8AC3E}">
        <p14:creationId xmlns:p14="http://schemas.microsoft.com/office/powerpoint/2010/main" val="36426262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4945581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4A9188F7-518A-4A7C-A740-11BC7A85A7C9}"/>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12192000" cy="6858000"/>
          </a:xfrm>
          <a:prstGeom prst="rect">
            <a:avLst/>
          </a:prstGeom>
          <a:gradFill>
            <a:gsLst>
              <a:gs pos="0">
                <a:schemeClr val="tx2"/>
              </a:gs>
              <a:gs pos="100000">
                <a:schemeClr val="accent2"/>
              </a:gs>
            </a:gsLst>
            <a:lin ang="8100000" scaled="1"/>
          </a:gradFill>
        </p:spPr>
      </p:pic>
      <p:sp>
        <p:nvSpPr>
          <p:cNvPr id="15" name="Overlay">
            <a:extLst>
              <a:ext uri="{FF2B5EF4-FFF2-40B4-BE49-F238E27FC236}">
                <a16:creationId xmlns:a16="http://schemas.microsoft.com/office/drawing/2014/main" id="{4E7CFD99-6261-4AFF-981C-CAE0D7862935}"/>
              </a:ext>
            </a:extLst>
          </p:cNvPr>
          <p:cNvSpPr/>
          <p:nvPr userDrawn="1">
            <p:custDataLst>
              <p:tags r:id="rId2"/>
            </p:custDataLst>
          </p:nvPr>
        </p:nvSpPr>
        <p:spPr>
          <a:xfrm>
            <a:off x="0" y="0"/>
            <a:ext cx="12192000" cy="6858000"/>
          </a:xfrm>
          <a:prstGeom prst="rect">
            <a:avLst/>
          </a:prstGeom>
          <a:gradFill>
            <a:gsLst>
              <a:gs pos="0">
                <a:srgbClr val="009B9D">
                  <a:alpha val="75000"/>
                </a:srgbClr>
              </a:gs>
              <a:gs pos="100000">
                <a:srgbClr val="006F4E">
                  <a:alpha val="9506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lnSpc>
                <a:spcPct val="90000"/>
              </a:lnSpc>
              <a:spcAft>
                <a:spcPts val="1000"/>
              </a:spcAft>
            </a:pPr>
            <a:endParaRPr lang="en-US" sz="1200" dirty="0">
              <a:solidFill>
                <a:schemeClr val="bg1"/>
              </a:solidFill>
              <a:cs typeface="+mn-cs"/>
            </a:endParaRPr>
          </a:p>
        </p:txBody>
      </p:sp>
      <p:sp>
        <p:nvSpPr>
          <p:cNvPr id="7" name="TextBox 6"/>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Trebuchet MS" panose="020B0603020202020204" pitchFamily="34" charset="0"/>
                <a:cs typeface="+mn-cs"/>
                <a:sym typeface="Trebuchet MS" panose="020B0603020202020204" pitchFamily="34" charset="0"/>
              </a:rPr>
              <a:t>Copyright © 2024 by Boston Consulting Group. All rights reserved.</a:t>
            </a:r>
          </a:p>
        </p:txBody>
      </p:sp>
      <p:sp>
        <p:nvSpPr>
          <p:cNvPr id="10" name="Rectangle 9"/>
          <p:cNvSpPr/>
          <p:nvPr/>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en-US" sz="1200" dirty="0">
              <a:solidFill>
                <a:schemeClr val="bg1"/>
              </a:solidFill>
              <a:latin typeface="Trebuchet MS" panose="020B0603020202020204" pitchFamily="34" charset="0"/>
              <a:cs typeface="+mn-cs"/>
              <a:sym typeface="Trebuchet MS" panose="020B0603020202020204" pitchFamily="34" charset="0"/>
            </a:endParaRPr>
          </a:p>
        </p:txBody>
      </p:sp>
      <p:sp>
        <p:nvSpPr>
          <p:cNvPr id="13" name="Rectangle 12"/>
          <p:cNvSpPr/>
          <p:nvPr/>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spcBef>
                <a:spcPts val="0"/>
              </a:spcBef>
              <a:spcAft>
                <a:spcPts val="0"/>
              </a:spcAft>
            </a:pPr>
            <a:endParaRPr lang="en-US" sz="2000" dirty="0">
              <a:solidFill>
                <a:prstClr val="white"/>
              </a:solidFill>
              <a:latin typeface="Trebuchet MS" panose="020B0603020202020204" pitchFamily="34" charset="0"/>
              <a:cs typeface="+mn-cs"/>
            </a:endParaRPr>
          </a:p>
        </p:txBody>
      </p:sp>
    </p:spTree>
    <p:extLst>
      <p:ext uri="{BB962C8B-B14F-4D97-AF65-F5344CB8AC3E}">
        <p14:creationId xmlns:p14="http://schemas.microsoft.com/office/powerpoint/2010/main" val="4455568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40702032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0BD89EE2-B00E-4778-949A-251A3CB17D84}"/>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12192000" cy="6858000"/>
          </a:xfrm>
          <a:prstGeom prst="rect">
            <a:avLst/>
          </a:prstGeom>
          <a:gradFill>
            <a:gsLst>
              <a:gs pos="0">
                <a:schemeClr val="tx2"/>
              </a:gs>
              <a:gs pos="100000">
                <a:schemeClr val="accent2"/>
              </a:gs>
            </a:gsLst>
            <a:lin ang="8100000" scaled="1"/>
          </a:gradFill>
        </p:spPr>
      </p:pic>
      <p:sp>
        <p:nvSpPr>
          <p:cNvPr id="15" name="Overlay">
            <a:extLst>
              <a:ext uri="{FF2B5EF4-FFF2-40B4-BE49-F238E27FC236}">
                <a16:creationId xmlns:a16="http://schemas.microsoft.com/office/drawing/2014/main" id="{46BCC411-253C-44FD-ABB8-C426264437A1}"/>
              </a:ext>
            </a:extLst>
          </p:cNvPr>
          <p:cNvSpPr/>
          <p:nvPr userDrawn="1">
            <p:custDataLst>
              <p:tags r:id="rId2"/>
            </p:custDataLst>
          </p:nvPr>
        </p:nvSpPr>
        <p:spPr>
          <a:xfrm>
            <a:off x="0" y="0"/>
            <a:ext cx="12192000" cy="6858000"/>
          </a:xfrm>
          <a:prstGeom prst="rect">
            <a:avLst/>
          </a:prstGeom>
          <a:gradFill>
            <a:gsLst>
              <a:gs pos="0">
                <a:srgbClr val="009B9D">
                  <a:alpha val="75000"/>
                </a:srgbClr>
              </a:gs>
              <a:gs pos="100000">
                <a:srgbClr val="006F4E">
                  <a:alpha val="9506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lnSpc>
                <a:spcPct val="90000"/>
              </a:lnSpc>
              <a:spcAft>
                <a:spcPts val="1000"/>
              </a:spcAft>
            </a:pPr>
            <a:endParaRPr lang="en-US" sz="1200" dirty="0">
              <a:solidFill>
                <a:schemeClr val="bg1"/>
              </a:solidFill>
              <a:cs typeface="+mn-cs"/>
            </a:endParaRPr>
          </a:p>
        </p:txBody>
      </p:sp>
      <p:sp>
        <p:nvSpPr>
          <p:cNvPr id="7" name="TextBox 6"/>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Trebuchet MS" panose="020B0603020202020204" pitchFamily="34" charset="0"/>
                <a:cs typeface="+mn-cs"/>
                <a:sym typeface="Trebuchet MS" panose="020B0603020202020204" pitchFamily="34" charset="0"/>
              </a:rPr>
              <a:t>Copyright © 2024 by Boston Consulting Group. All rights reserved.</a:t>
            </a:r>
          </a:p>
        </p:txBody>
      </p:sp>
      <p:sp>
        <p:nvSpPr>
          <p:cNvPr id="10" name="Title 1"/>
          <p:cNvSpPr txBox="1">
            <a:spLocks/>
          </p:cNvSpPr>
          <p:nvPr/>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pPr rtl="0"/>
            <a:r>
              <a:rPr lang="en-US" dirty="0">
                <a:solidFill>
                  <a:schemeClr val="bg1"/>
                </a:solidFill>
                <a:cs typeface="+mn-cs"/>
              </a:rPr>
              <a:t>Agenda</a:t>
            </a:r>
          </a:p>
        </p:txBody>
      </p:sp>
      <p:cxnSp>
        <p:nvCxnSpPr>
          <p:cNvPr id="13" name="Straight Connector 12"/>
          <p:cNvCxnSpPr/>
          <p:nvPr/>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529093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2298022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8BB4EA27-C5C0-48B0-A66E-370E57A82205}"/>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12192000" cy="6858000"/>
          </a:xfrm>
          <a:prstGeom prst="rect">
            <a:avLst/>
          </a:prstGeom>
          <a:gradFill>
            <a:gsLst>
              <a:gs pos="0">
                <a:schemeClr val="tx2"/>
              </a:gs>
              <a:gs pos="100000">
                <a:schemeClr val="accent2"/>
              </a:gs>
            </a:gsLst>
            <a:lin ang="8100000" scaled="1"/>
          </a:gradFill>
        </p:spPr>
      </p:pic>
      <p:sp>
        <p:nvSpPr>
          <p:cNvPr id="9" name="Overlay">
            <a:extLst>
              <a:ext uri="{FF2B5EF4-FFF2-40B4-BE49-F238E27FC236}">
                <a16:creationId xmlns:a16="http://schemas.microsoft.com/office/drawing/2014/main" id="{61CEBBF6-556F-4EF4-A06A-D49C561544EE}"/>
              </a:ext>
            </a:extLst>
          </p:cNvPr>
          <p:cNvSpPr/>
          <p:nvPr userDrawn="1">
            <p:custDataLst>
              <p:tags r:id="rId2"/>
            </p:custDataLst>
          </p:nvPr>
        </p:nvSpPr>
        <p:spPr>
          <a:xfrm>
            <a:off x="0" y="0"/>
            <a:ext cx="12192000" cy="6858000"/>
          </a:xfrm>
          <a:prstGeom prst="rect">
            <a:avLst/>
          </a:prstGeom>
          <a:gradFill>
            <a:gsLst>
              <a:gs pos="0">
                <a:srgbClr val="009B9D">
                  <a:alpha val="75000"/>
                </a:srgbClr>
              </a:gs>
              <a:gs pos="100000">
                <a:srgbClr val="006F4E">
                  <a:alpha val="9506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lnSpc>
                <a:spcPct val="90000"/>
              </a:lnSpc>
              <a:spcAft>
                <a:spcPts val="1000"/>
              </a:spcAft>
            </a:pPr>
            <a:endParaRPr lang="en-US" sz="1200" dirty="0">
              <a:solidFill>
                <a:schemeClr val="bg1"/>
              </a:solidFill>
              <a:cs typeface="+mn-cs"/>
            </a:endParaRPr>
          </a:p>
        </p:txBody>
      </p:sp>
      <p:pic>
        <p:nvPicPr>
          <p:cNvPr id="10" name="Picture 9"/>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13" name="Rectangle 12"/>
          <p:cNvSpPr/>
          <p:nvPr/>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US" sz="1200" dirty="0">
              <a:solidFill>
                <a:schemeClr val="bg1"/>
              </a:solidFill>
              <a:latin typeface="+mn-lt"/>
              <a:cs typeface="+mn-cs"/>
              <a:sym typeface="Trebuchet MS" panose="020B0603020202020204" pitchFamily="34" charset="0"/>
            </a:endParaRPr>
          </a:p>
        </p:txBody>
      </p:sp>
      <p:sp>
        <p:nvSpPr>
          <p:cNvPr id="16"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cs typeface="+mn-cs"/>
                <a:sym typeface="Trebuchet MS" panose="020B0603020202020204" pitchFamily="34" charset="0"/>
              </a:rPr>
              <a:t>Copyright © 2024 by Boston Consulting Group. All rights reserved.</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p:nvSpPr>
        <p:spPr>
          <a:xfrm>
            <a:off x="630000" y="3207715"/>
            <a:ext cx="1547143" cy="470898"/>
          </a:xfrm>
          <a:prstGeom prst="rect">
            <a:avLst/>
          </a:prstGeom>
          <a:noFill/>
        </p:spPr>
        <p:txBody>
          <a:bodyPr wrap="square" lIns="0" tIns="0" rIns="0" bIns="0" rtlCol="0" anchor="t">
            <a:spAutoFit/>
          </a:bodyPr>
          <a:lstStyle/>
          <a:p>
            <a:pPr rtl="0">
              <a:lnSpc>
                <a:spcPct val="90000"/>
              </a:lnSpc>
              <a:spcAft>
                <a:spcPts val="600"/>
              </a:spcAft>
            </a:pPr>
            <a:r>
              <a:rPr lang="en-US" sz="3400" dirty="0">
                <a:solidFill>
                  <a:schemeClr val="bg1"/>
                </a:solidFill>
                <a:cs typeface="+mn-cs"/>
              </a:rPr>
              <a:t>Agenda</a:t>
            </a:r>
          </a:p>
        </p:txBody>
      </p:sp>
    </p:spTree>
    <p:extLst>
      <p:ext uri="{BB962C8B-B14F-4D97-AF65-F5344CB8AC3E}">
        <p14:creationId xmlns:p14="http://schemas.microsoft.com/office/powerpoint/2010/main" val="8636488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8930865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Trebuchet MS" panose="020B0603020202020204" pitchFamily="34" charset="0"/>
                <a:cs typeface="+mn-cs"/>
                <a:sym typeface="Trebuchet MS" panose="020B0603020202020204" pitchFamily="34" charset="0"/>
              </a:rPr>
              <a:t>Copyright © 2024 by Boston Consulting Group. All rights reserved.</a:t>
            </a:r>
          </a:p>
        </p:txBody>
      </p:sp>
      <p:sp>
        <p:nvSpPr>
          <p:cNvPr id="8" name="Rectangle 7"/>
          <p:cNvSpPr/>
          <p:nvPr/>
        </p:nvSpPr>
        <p:spPr bwMode="invGray">
          <a:xfrm>
            <a:off x="1388145" y="4691187"/>
            <a:ext cx="929337" cy="995874"/>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lnSpc>
                <a:spcPct val="95000"/>
              </a:lnSpc>
              <a:spcBef>
                <a:spcPts val="0"/>
              </a:spcBef>
              <a:spcAft>
                <a:spcPts val="0"/>
              </a:spcAft>
            </a:pPr>
            <a:endParaRPr lang="en-US" sz="2000" dirty="0">
              <a:solidFill>
                <a:schemeClr val="accent4"/>
              </a:solidFill>
              <a:latin typeface="Trebuchet MS" panose="020B0603020202020204" pitchFamily="34" charset="0"/>
              <a:cs typeface="+mn-cs"/>
            </a:endParaRPr>
          </a:p>
        </p:txBody>
      </p:sp>
      <p:sp>
        <p:nvSpPr>
          <p:cNvPr id="10" name="Rectangle 9"/>
          <p:cNvSpPr/>
          <p:nvPr>
            <p:custDataLst>
              <p:tags r:id="rId2"/>
            </p:custDataLst>
          </p:nvPr>
        </p:nvSpPr>
        <p:spPr>
          <a:xfrm>
            <a:off x="2509482" y="4691187"/>
            <a:ext cx="1570152" cy="1468176"/>
          </a:xfrm>
          <a:prstGeom prst="rect">
            <a:avLst/>
          </a:prstGeom>
          <a:noFill/>
          <a:ln w="9525" cmpd="sng">
            <a:solidFill>
              <a:schemeClr val="tx2"/>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rtl="0">
              <a:lnSpc>
                <a:spcPct val="95000"/>
              </a:lnSpc>
            </a:pPr>
            <a:endParaRPr lang="en-US" sz="1200" dirty="0">
              <a:solidFill>
                <a:schemeClr val="accent4"/>
              </a:solidFill>
              <a:latin typeface="Trebuchet MS" panose="020B0603020202020204" pitchFamily="34" charset="0"/>
              <a:cs typeface="+mn-cs"/>
            </a:endParaRPr>
          </a:p>
        </p:txBody>
      </p:sp>
      <p:sp>
        <p:nvSpPr>
          <p:cNvPr id="11" name="TextBox 10"/>
          <p:cNvSpPr txBox="1"/>
          <p:nvPr/>
        </p:nvSpPr>
        <p:spPr>
          <a:xfrm>
            <a:off x="630000" y="907197"/>
            <a:ext cx="3448800" cy="3493008"/>
          </a:xfrm>
          <a:prstGeom prst="rect">
            <a:avLst/>
          </a:prstGeom>
          <a:noFill/>
          <a:ln>
            <a:solidFill>
              <a:schemeClr val="tx2"/>
            </a:solidFill>
          </a:ln>
        </p:spPr>
        <p:txBody>
          <a:bodyPr wrap="square" lIns="612000" tIns="468000" rIns="0" bIns="0" rtlCol="0" anchor="t">
            <a:noAutofit/>
          </a:bodyPr>
          <a:lstStyle/>
          <a:p>
            <a:pPr rtl="0">
              <a:lnSpc>
                <a:spcPct val="90000"/>
              </a:lnSpc>
              <a:spcAft>
                <a:spcPts val="600"/>
              </a:spcAft>
            </a:pPr>
            <a:endParaRPr lang="en-US" sz="5400" dirty="0">
              <a:solidFill>
                <a:schemeClr val="accent4"/>
              </a:solidFill>
              <a:cs typeface="+mn-cs"/>
            </a:endParaRPr>
          </a:p>
        </p:txBody>
      </p:sp>
      <p:sp>
        <p:nvSpPr>
          <p:cNvPr id="9" name="TextBox 1"/>
          <p:cNvSpPr txBox="1"/>
          <p:nvPr/>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rtl="0"/>
            <a:r>
              <a:rPr lang="en-US" dirty="0">
                <a:solidFill>
                  <a:srgbClr val="3EAD92"/>
                </a:solidFill>
                <a:cs typeface="+mn-cs"/>
              </a:rPr>
              <a:t>Agenda</a:t>
            </a:r>
          </a:p>
        </p:txBody>
      </p:sp>
    </p:spTree>
    <p:extLst>
      <p:ext uri="{BB962C8B-B14F-4D97-AF65-F5344CB8AC3E}">
        <p14:creationId xmlns:p14="http://schemas.microsoft.com/office/powerpoint/2010/main" val="37083838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4255642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Trebuchet MS" panose="020B0603020202020204" pitchFamily="34" charset="0"/>
                <a:cs typeface="+mn-cs"/>
                <a:sym typeface="Trebuchet MS" panose="020B0603020202020204" pitchFamily="34" charset="0"/>
              </a:rPr>
              <a:t>Copyright © 2024 by Boston Consulting Group. All rights reserved.</a:t>
            </a:r>
          </a:p>
        </p:txBody>
      </p:sp>
      <p:sp>
        <p:nvSpPr>
          <p:cNvPr id="8" name="Rectangle 7"/>
          <p:cNvSpPr/>
          <p:nvPr/>
        </p:nvSpPr>
        <p:spPr bwMode="white">
          <a:xfrm>
            <a:off x="1284743" y="1428131"/>
            <a:ext cx="947672" cy="947672"/>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en-US" sz="1200" dirty="0">
              <a:solidFill>
                <a:schemeClr val="bg1"/>
              </a:solidFill>
              <a:latin typeface="Trebuchet MS" panose="020B0603020202020204" pitchFamily="34" charset="0"/>
              <a:cs typeface="+mn-cs"/>
              <a:sym typeface="Trebuchet MS" panose="020B0603020202020204" pitchFamily="34" charset="0"/>
            </a:endParaRPr>
          </a:p>
        </p:txBody>
      </p:sp>
      <p:sp>
        <p:nvSpPr>
          <p:cNvPr id="10" name="Rectangle 9"/>
          <p:cNvSpPr/>
          <p:nvPr/>
        </p:nvSpPr>
        <p:spPr>
          <a:xfrm>
            <a:off x="1285200" y="2667600"/>
            <a:ext cx="9619200" cy="3200400"/>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spcBef>
                <a:spcPts val="0"/>
              </a:spcBef>
              <a:spcAft>
                <a:spcPts val="0"/>
              </a:spcAft>
            </a:pPr>
            <a:endParaRPr lang="en-US" sz="2000" dirty="0">
              <a:solidFill>
                <a:prstClr val="white"/>
              </a:solidFill>
              <a:latin typeface="Trebuchet MS" panose="020B0603020202020204" pitchFamily="34" charset="0"/>
              <a:cs typeface="+mn-cs"/>
            </a:endParaRPr>
          </a:p>
        </p:txBody>
      </p:sp>
    </p:spTree>
    <p:extLst>
      <p:ext uri="{BB962C8B-B14F-4D97-AF65-F5344CB8AC3E}">
        <p14:creationId xmlns:p14="http://schemas.microsoft.com/office/powerpoint/2010/main" val="38994898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2515595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Trebuchet MS" panose="020B0603020202020204" pitchFamily="34" charset="0"/>
                <a:cs typeface="+mn-cs"/>
                <a:sym typeface="Trebuchet MS" panose="020B0603020202020204" pitchFamily="34" charset="0"/>
              </a:rPr>
              <a:t>Copyright © 2024 by Boston Consulting Group. All rights reserved.</a:t>
            </a:r>
          </a:p>
        </p:txBody>
      </p:sp>
      <p:sp>
        <p:nvSpPr>
          <p:cNvPr id="7" name="Title 1"/>
          <p:cNvSpPr txBox="1">
            <a:spLocks/>
          </p:cNvSpPr>
          <p:nvPr/>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pPr rtl="0"/>
            <a:r>
              <a:rPr lang="en-US" dirty="0">
                <a:solidFill>
                  <a:srgbClr val="3EAD92"/>
                </a:solidFill>
                <a:cs typeface="+mn-cs"/>
              </a:rPr>
              <a:t>Agenda</a:t>
            </a:r>
          </a:p>
        </p:txBody>
      </p:sp>
      <p:cxnSp>
        <p:nvCxnSpPr>
          <p:cNvPr id="9" name="Straight Connector 8"/>
          <p:cNvCxnSpPr/>
          <p:nvPr/>
        </p:nvCxnSpPr>
        <p:spPr bwMode="white">
          <a:xfrm>
            <a:off x="618898" y="1206000"/>
            <a:ext cx="11576304" cy="0"/>
          </a:xfrm>
          <a:prstGeom prst="line">
            <a:avLst/>
          </a:prstGeom>
          <a:ln w="9525"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12124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8877711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82C91495-0599-46D6-95DC-6A91B68E9FE8}"/>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12192000" cy="6858000"/>
          </a:xfrm>
          <a:prstGeom prst="rect">
            <a:avLst/>
          </a:prstGeom>
          <a:gradFill>
            <a:gsLst>
              <a:gs pos="0">
                <a:schemeClr val="tx2"/>
              </a:gs>
              <a:gs pos="100000">
                <a:schemeClr val="accent2"/>
              </a:gs>
            </a:gsLst>
            <a:lin ang="8100000" scaled="1"/>
          </a:gradFill>
        </p:spPr>
      </p:pic>
      <p:sp>
        <p:nvSpPr>
          <p:cNvPr id="9" name="Overlay">
            <a:extLst>
              <a:ext uri="{FF2B5EF4-FFF2-40B4-BE49-F238E27FC236}">
                <a16:creationId xmlns:a16="http://schemas.microsoft.com/office/drawing/2014/main" id="{3BF3401C-1CF3-4F95-AE00-57CBC7DAD934}"/>
              </a:ext>
            </a:extLst>
          </p:cNvPr>
          <p:cNvSpPr/>
          <p:nvPr userDrawn="1">
            <p:custDataLst>
              <p:tags r:id="rId2"/>
            </p:custDataLst>
          </p:nvPr>
        </p:nvSpPr>
        <p:spPr>
          <a:xfrm>
            <a:off x="0" y="0"/>
            <a:ext cx="12192000" cy="6858000"/>
          </a:xfrm>
          <a:prstGeom prst="rect">
            <a:avLst/>
          </a:prstGeom>
          <a:gradFill>
            <a:gsLst>
              <a:gs pos="0">
                <a:srgbClr val="009B9D">
                  <a:alpha val="75000"/>
                </a:srgbClr>
              </a:gs>
              <a:gs pos="100000">
                <a:srgbClr val="006F4E">
                  <a:alpha val="9506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lnSpc>
                <a:spcPct val="90000"/>
              </a:lnSpc>
              <a:spcAft>
                <a:spcPts val="1000"/>
              </a:spcAft>
            </a:pPr>
            <a:endParaRPr lang="en-US" sz="1200" dirty="0">
              <a:solidFill>
                <a:schemeClr val="bg1"/>
              </a:solidFill>
              <a:cs typeface="+mn-cs"/>
            </a:endParaRPr>
          </a:p>
        </p:txBody>
      </p:sp>
      <p:pic>
        <p:nvPicPr>
          <p:cNvPr id="23" name="Picture 22"/>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US" sz="1200" dirty="0">
              <a:solidFill>
                <a:schemeClr val="bg1"/>
              </a:solidFill>
              <a:latin typeface="+mn-lt"/>
              <a:cs typeface="+mn-cs"/>
              <a:sym typeface="Trebuchet MS" panose="020B0603020202020204" pitchFamily="34" charset="0"/>
            </a:endParaRPr>
          </a:p>
        </p:txBody>
      </p:sp>
      <p:sp>
        <p:nvSpPr>
          <p:cNvPr id="29"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cs typeface="+mn-cs"/>
                <a:sym typeface="Trebuchet MS" panose="020B0603020202020204" pitchFamily="34" charset="0"/>
              </a:rPr>
              <a:t>Copyright © 2024 by Boston Consulting Group. All rights reserved.</a:t>
            </a:r>
          </a:p>
        </p:txBody>
      </p:sp>
      <p:sp>
        <p:nvSpPr>
          <p:cNvPr id="28" name="TextBox 2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p:nvSpPr>
        <p:spPr>
          <a:xfrm>
            <a:off x="630000" y="3262145"/>
            <a:ext cx="1161047" cy="332399"/>
          </a:xfrm>
          <a:prstGeom prst="rect">
            <a:avLst/>
          </a:prstGeom>
          <a:noFill/>
        </p:spPr>
        <p:txBody>
          <a:bodyPr wrap="square" lIns="0" tIns="0" rIns="0" bIns="0" rtlCol="0" anchor="t">
            <a:spAutoFit/>
          </a:bodyPr>
          <a:lstStyle/>
          <a:p>
            <a:pPr rtl="0">
              <a:lnSpc>
                <a:spcPct val="90000"/>
              </a:lnSpc>
              <a:spcAft>
                <a:spcPts val="600"/>
              </a:spcAft>
            </a:pPr>
            <a:r>
              <a:rPr lang="en-US" sz="2400" dirty="0">
                <a:solidFill>
                  <a:schemeClr val="bg1"/>
                </a:solidFill>
                <a:cs typeface="+mn-cs"/>
              </a:rPr>
              <a:t>Agenda</a:t>
            </a:r>
          </a:p>
        </p:txBody>
      </p:sp>
    </p:spTree>
    <p:extLst>
      <p:ext uri="{BB962C8B-B14F-4D97-AF65-F5344CB8AC3E}">
        <p14:creationId xmlns:p14="http://schemas.microsoft.com/office/powerpoint/2010/main" val="35910175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6956757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799606B9-E7D5-46B4-879A-D333A8D0C7F8}"/>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12192000" cy="6858000"/>
          </a:xfrm>
          <a:prstGeom prst="rect">
            <a:avLst/>
          </a:prstGeom>
          <a:gradFill>
            <a:gsLst>
              <a:gs pos="0">
                <a:schemeClr val="tx2"/>
              </a:gs>
              <a:gs pos="100000">
                <a:schemeClr val="accent2"/>
              </a:gs>
            </a:gsLst>
            <a:lin ang="8100000" scaled="1"/>
          </a:gradFill>
        </p:spPr>
      </p:pic>
      <p:sp>
        <p:nvSpPr>
          <p:cNvPr id="12" name="Overlay">
            <a:extLst>
              <a:ext uri="{FF2B5EF4-FFF2-40B4-BE49-F238E27FC236}">
                <a16:creationId xmlns:a16="http://schemas.microsoft.com/office/drawing/2014/main" id="{F10BFE66-0291-4663-9252-34103A27831F}"/>
              </a:ext>
            </a:extLst>
          </p:cNvPr>
          <p:cNvSpPr/>
          <p:nvPr userDrawn="1">
            <p:custDataLst>
              <p:tags r:id="rId2"/>
            </p:custDataLst>
          </p:nvPr>
        </p:nvSpPr>
        <p:spPr>
          <a:xfrm>
            <a:off x="0" y="0"/>
            <a:ext cx="12192000" cy="6858000"/>
          </a:xfrm>
          <a:prstGeom prst="rect">
            <a:avLst/>
          </a:prstGeom>
          <a:gradFill>
            <a:gsLst>
              <a:gs pos="0">
                <a:srgbClr val="009B9D">
                  <a:alpha val="75000"/>
                </a:srgbClr>
              </a:gs>
              <a:gs pos="100000">
                <a:srgbClr val="006F4E">
                  <a:alpha val="9506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lnSpc>
                <a:spcPct val="90000"/>
              </a:lnSpc>
              <a:spcAft>
                <a:spcPts val="1000"/>
              </a:spcAft>
            </a:pPr>
            <a:endParaRPr lang="en-US" sz="1200" dirty="0">
              <a:solidFill>
                <a:schemeClr val="bg1"/>
              </a:solidFill>
              <a:cs typeface="+mn-cs"/>
            </a:endParaRPr>
          </a:p>
        </p:txBody>
      </p:sp>
      <p:sp>
        <p:nvSpPr>
          <p:cNvPr id="24"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Trebuchet MS" panose="020B0603020202020204" pitchFamily="34" charset="0"/>
                <a:cs typeface="+mn-cs"/>
                <a:sym typeface="Trebuchet MS" panose="020B0603020202020204" pitchFamily="34" charset="0"/>
              </a:rPr>
              <a:t>Copyright © 2024 by Boston Consulting Group. All rights reserved.</a:t>
            </a: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18" name="Freeform 12">
            <a:extLst>
              <a:ext uri="{FF2B5EF4-FFF2-40B4-BE49-F238E27FC236}">
                <a16:creationId xmlns:a16="http://schemas.microsoft.com/office/drawing/2014/main" id="{14A1ECC7-B686-43B3-96CE-C0C5D23C40B1}"/>
              </a:ext>
            </a:extLst>
          </p:cNvPr>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US" sz="1200" dirty="0">
              <a:solidFill>
                <a:prstClr val="white"/>
              </a:solidFill>
              <a:latin typeface="+mn-lt"/>
              <a:cs typeface="+mn-cs"/>
              <a:sym typeface="Trebuchet MS" panose="020B0603020202020204" pitchFamily="34" charset="0"/>
            </a:endParaRPr>
          </a:p>
        </p:txBody>
      </p:sp>
      <p:sp>
        <p:nvSpPr>
          <p:cNvPr id="21" name="Freeform 12">
            <a:extLst>
              <a:ext uri="{FF2B5EF4-FFF2-40B4-BE49-F238E27FC236}">
                <a16:creationId xmlns:a16="http://schemas.microsoft.com/office/drawing/2014/main" id="{BA4F0500-46CC-4B17-B883-410F48B85940}"/>
              </a:ext>
            </a:extLst>
          </p:cNvPr>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US" sz="1200" dirty="0">
              <a:solidFill>
                <a:prstClr val="white"/>
              </a:solidFill>
              <a:latin typeface="+mn-lt"/>
              <a:cs typeface="+mn-cs"/>
              <a:sym typeface="Trebuchet MS" panose="020B0603020202020204" pitchFamily="34" charset="0"/>
            </a:endParaRPr>
          </a:p>
        </p:txBody>
      </p:sp>
      <p:sp>
        <p:nvSpPr>
          <p:cNvPr id="22" name="TextBox 21">
            <a:extLst>
              <a:ext uri="{FF2B5EF4-FFF2-40B4-BE49-F238E27FC236}">
                <a16:creationId xmlns:a16="http://schemas.microsoft.com/office/drawing/2014/main" id="{5F9DDD39-BC0F-4771-9531-1CCF593D999D}"/>
              </a:ext>
            </a:extLst>
          </p:cNvPr>
          <p:cNvSpPr txBox="1"/>
          <p:nvPr userDrawn="1"/>
        </p:nvSpPr>
        <p:spPr>
          <a:xfrm>
            <a:off x="630000" y="2577934"/>
            <a:ext cx="2819400" cy="1761764"/>
          </a:xfrm>
          <a:prstGeom prst="rect">
            <a:avLst/>
          </a:prstGeom>
          <a:noFill/>
        </p:spPr>
        <p:txBody>
          <a:bodyPr wrap="square" lIns="0" tIns="0" rIns="0" bIns="0" rtlCol="0" anchor="ctr">
            <a:spAutoFit/>
          </a:bodyPr>
          <a:lstStyle/>
          <a:p>
            <a:pPr marL="0" indent="0" rtl="0">
              <a:lnSpc>
                <a:spcPct val="106000"/>
              </a:lnSpc>
              <a:spcAft>
                <a:spcPts val="700"/>
              </a:spcAft>
              <a:buFontTx/>
              <a:buNone/>
            </a:pPr>
            <a:r>
              <a:rPr lang="en-US" sz="5400" dirty="0">
                <a:solidFill>
                  <a:schemeClr val="tx2"/>
                </a:solidFill>
                <a:latin typeface="+mn-lt"/>
                <a:cs typeface="+mn-cs"/>
                <a:sym typeface="Trebuchet MS" panose="020B0603020202020204" pitchFamily="34" charset="0"/>
              </a:rPr>
              <a:t>Table of contents</a:t>
            </a:r>
          </a:p>
        </p:txBody>
      </p:sp>
      <p:pic>
        <p:nvPicPr>
          <p:cNvPr id="23" name="Picture 22">
            <a:extLst>
              <a:ext uri="{FF2B5EF4-FFF2-40B4-BE49-F238E27FC236}">
                <a16:creationId xmlns:a16="http://schemas.microsoft.com/office/drawing/2014/main" id="{4D933476-9DB7-4E62-84FD-5EAC799BF100}"/>
              </a:ext>
            </a:extLst>
          </p:cNvPr>
          <p:cNvPicPr>
            <a:picLocks noChangeAspect="1" noChangeArrowheads="1"/>
          </p:cNvPicPr>
          <p:nvPr userDrawn="1"/>
        </p:nvPicPr>
        <p:blipFill>
          <a:blip r:embed="rId7">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11818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Slajd z tytułem pusty">
    <p:spTree>
      <p:nvGrpSpPr>
        <p:cNvPr id="1" name=""/>
        <p:cNvGrpSpPr/>
        <p:nvPr/>
      </p:nvGrpSpPr>
      <p:grpSpPr>
        <a:xfrm>
          <a:off x="0" y="0"/>
          <a:ext cx="0" cy="0"/>
          <a:chOff x="0" y="0"/>
          <a:chExt cx="0" cy="0"/>
        </a:xfrm>
      </p:grpSpPr>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2" name="Symbol zastępczy numeru slajdu 1">
            <a:extLst>
              <a:ext uri="{FF2B5EF4-FFF2-40B4-BE49-F238E27FC236}">
                <a16:creationId xmlns:a16="http://schemas.microsoft.com/office/drawing/2014/main" id="{B7427E44-54E6-E838-7FF3-8BDA8E814DDB}"/>
              </a:ext>
            </a:extLst>
          </p:cNvPr>
          <p:cNvSpPr>
            <a:spLocks noGrp="1"/>
          </p:cNvSpPr>
          <p:nvPr>
            <p:ph type="sldNum" sz="quarter" idx="10"/>
          </p:nvPr>
        </p:nvSpPr>
        <p:spPr/>
        <p:txBody>
          <a:bodyPr/>
          <a:lstStyle/>
          <a:p>
            <a:fld id="{332DF002-2E43-485C-89F8-8DCEF59D6C4F}" type="slidenum">
              <a:rPr lang="pl-PL" smtClean="0"/>
              <a:pPr/>
              <a:t>‹#›</a:t>
            </a:fld>
            <a:endParaRPr lang="pl-PL" dirty="0"/>
          </a:p>
        </p:txBody>
      </p:sp>
    </p:spTree>
    <p:extLst>
      <p:ext uri="{BB962C8B-B14F-4D97-AF65-F5344CB8AC3E}">
        <p14:creationId xmlns:p14="http://schemas.microsoft.com/office/powerpoint/2010/main" val="360155550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12A702C-6B0B-F604-98F2-F2A955B6D429}"/>
              </a:ext>
            </a:extLst>
          </p:cNvPr>
          <p:cNvGraphicFramePr>
            <a:graphicFrameLocks noChangeAspect="1"/>
          </p:cNvGraphicFramePr>
          <p:nvPr userDrawn="1">
            <p:custDataLst>
              <p:tags r:id="rId1"/>
            </p:custDataLst>
            <p:extLst>
              <p:ext uri="{D42A27DB-BD31-4B8C-83A1-F6EECF244321}">
                <p14:modId xmlns:p14="http://schemas.microsoft.com/office/powerpoint/2010/main" val="34187323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612A702C-6B0B-F604-98F2-F2A955B6D42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55CDD7A0-0914-436C-9753-E283BDD7A634}"/>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2467155" y="0"/>
            <a:ext cx="9724845" cy="6858000"/>
          </a:xfrm>
          <a:prstGeom prst="rect">
            <a:avLst/>
          </a:prstGeom>
          <a:gradFill>
            <a:gsLst>
              <a:gs pos="0">
                <a:srgbClr val="29BA74"/>
              </a:gs>
              <a:gs pos="100000">
                <a:srgbClr val="197A56"/>
              </a:gs>
            </a:gsLst>
            <a:lin ang="8100000" scaled="1"/>
          </a:gradFill>
        </p:spPr>
      </p:pic>
      <p:sp>
        <p:nvSpPr>
          <p:cNvPr id="14" name="Overlay">
            <a:extLst>
              <a:ext uri="{FF2B5EF4-FFF2-40B4-BE49-F238E27FC236}">
                <a16:creationId xmlns:a16="http://schemas.microsoft.com/office/drawing/2014/main" id="{73B11159-55F0-4949-8665-9A29FC942F33}"/>
              </a:ext>
            </a:extLst>
          </p:cNvPr>
          <p:cNvSpPr/>
          <p:nvPr userDrawn="1">
            <p:custDataLst>
              <p:tags r:id="rId2"/>
            </p:custDataLst>
          </p:nvPr>
        </p:nvSpPr>
        <p:spPr>
          <a:xfrm>
            <a:off x="2794001" y="0"/>
            <a:ext cx="9397999" cy="6858000"/>
          </a:xfrm>
          <a:prstGeom prst="rect">
            <a:avLst/>
          </a:prstGeom>
          <a:gradFill>
            <a:gsLst>
              <a:gs pos="0">
                <a:srgbClr val="009B9D">
                  <a:alpha val="21000"/>
                </a:srgbClr>
              </a:gs>
              <a:gs pos="100000">
                <a:srgbClr val="006F4E">
                  <a:alpha val="88979"/>
                </a:srgbClr>
              </a:gs>
            </a:gsLst>
            <a:lin ang="8100000" scaled="1"/>
          </a:gradFill>
          <a:ln w="9525" cap="flat" cmpd="sng" algn="ctr">
            <a:noFill/>
            <a:prstDash val="solid"/>
            <a:miter lim="800000"/>
          </a:ln>
          <a:effectLst/>
        </p:spPr>
        <p:txBody>
          <a:bodyPr rtlCol="0" anchor="t"/>
          <a:lstStyle/>
          <a:p>
            <a:pPr marL="0" marR="0" lvl="0" indent="0"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Trebuchet MS"/>
              <a:ea typeface="+mn-ea"/>
              <a:cs typeface="+mn-cs"/>
            </a:endParaRPr>
          </a:p>
        </p:txBody>
      </p:sp>
      <p:pic>
        <p:nvPicPr>
          <p:cNvPr id="16" name="Picture 15"/>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rtl="0">
              <a:defRPr>
                <a:solidFill>
                  <a:schemeClr val="bg1"/>
                </a:solidFill>
                <a:latin typeface="+mn-lt"/>
                <a:cs typeface="+mn-cs"/>
                <a:sym typeface="Trebuchet MS" panose="020B0603020202020204" pitchFamily="34" charset="0"/>
              </a:defRPr>
            </a:lvl1pPr>
          </a:lstStyle>
          <a:p>
            <a:endParaRPr lang="en-US" dirty="0"/>
          </a:p>
        </p:txBody>
      </p:sp>
      <p:sp>
        <p:nvSpPr>
          <p:cNvPr id="25"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cs typeface="+mn-cs"/>
                <a:sym typeface="Trebuchet MS" panose="020B0603020202020204" pitchFamily="34" charset="0"/>
              </a:rPr>
              <a:t>Copyright © 2024 by Boston Consulting Group. All rights reserved.</a:t>
            </a:r>
          </a:p>
        </p:txBody>
      </p:sp>
      <p:sp>
        <p:nvSpPr>
          <p:cNvPr id="20" name="TextBox 19"/>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US" sz="1200" dirty="0">
              <a:solidFill>
                <a:schemeClr val="bg1"/>
              </a:solidFill>
              <a:latin typeface="+mn-lt"/>
              <a:cs typeface="+mn-cs"/>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rtl="0">
              <a:defRPr sz="3400">
                <a:solidFill>
                  <a:schemeClr val="tx2"/>
                </a:solidFill>
                <a:latin typeface="+mj-lt"/>
                <a:cs typeface="+mj-cs"/>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42792996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54102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rtl="0">
              <a:lnSpc>
                <a:spcPct val="93000"/>
              </a:lnSpc>
              <a:spcBef>
                <a:spcPct val="0"/>
              </a:spcBef>
              <a:spcAft>
                <a:spcPct val="0"/>
              </a:spcAft>
            </a:pPr>
            <a:endParaRPr lang="en-US" sz="5400" dirty="0">
              <a:solidFill>
                <a:srgbClr val="FFFFFF"/>
              </a:solidFill>
              <a:cs typeface="+mn-cs"/>
              <a:sym typeface="Trebuchet MS" panose="020B0603020202020204" pitchFamily="34" charset="0"/>
            </a:endParaRPr>
          </a:p>
        </p:txBody>
      </p:sp>
      <p:sp>
        <p:nvSpPr>
          <p:cNvPr id="147" name="Rectangle 146">
            <a:extLst>
              <a:ext uri="{FF2B5EF4-FFF2-40B4-BE49-F238E27FC236}">
                <a16:creationId xmlns:a16="http://schemas.microsoft.com/office/drawing/2014/main" id="{1B95F6CD-8F9F-4082-8323-C892A599AAD7}"/>
              </a:ext>
            </a:extLst>
          </p:cNvPr>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US" sz="1200" dirty="0">
              <a:solidFill>
                <a:prstClr val="white"/>
              </a:solidFill>
              <a:cs typeface="+mn-cs"/>
              <a:sym typeface="Trebuchet MS" panose="020B0603020202020204" pitchFamily="34" charset="0"/>
            </a:endParaRPr>
          </a:p>
        </p:txBody>
      </p:sp>
      <p:pic>
        <p:nvPicPr>
          <p:cNvPr id="148" name="Picture 147">
            <a:extLst>
              <a:ext uri="{FF2B5EF4-FFF2-40B4-BE49-F238E27FC236}">
                <a16:creationId xmlns:a16="http://schemas.microsoft.com/office/drawing/2014/main" id="{FE68C084-FBDA-49E9-8F03-C9A87AC32BE3}"/>
              </a:ext>
            </a:extLst>
          </p:cNvPr>
          <p:cNvPicPr>
            <a:picLocks noChangeAspect="1"/>
          </p:cNvPicPr>
          <p:nvPr userDrawn="1"/>
        </p:nvPicPr>
        <p:blipFill rotWithShape="1">
          <a:blip r:embed="rId8" cstate="hqprint">
            <a:extLst>
              <a:ext uri="{28A0092B-C50C-407E-A947-70E740481C1C}">
                <a14:useLocalDpi xmlns:a14="http://schemas.microsoft.com/office/drawing/2010/main"/>
              </a:ext>
            </a:extLst>
          </a:blip>
          <a:srcRect r="-234"/>
          <a:stretch/>
        </p:blipFill>
        <p:spPr>
          <a:xfrm rot="16200000" flipH="1">
            <a:off x="8471925" y="2172355"/>
            <a:ext cx="580573" cy="6858000"/>
          </a:xfrm>
          <a:prstGeom prst="rect">
            <a:avLst/>
          </a:prstGeom>
        </p:spPr>
      </p:pic>
      <p:sp>
        <p:nvSpPr>
          <p:cNvPr id="150" name="Overlay">
            <a:extLst>
              <a:ext uri="{FF2B5EF4-FFF2-40B4-BE49-F238E27FC236}">
                <a16:creationId xmlns:a16="http://schemas.microsoft.com/office/drawing/2014/main" id="{FC493958-9948-440E-ABF1-0CF51D143960}"/>
              </a:ext>
            </a:extLst>
          </p:cNvPr>
          <p:cNvSpPr/>
          <p:nvPr userDrawn="1">
            <p:custDataLst>
              <p:tags r:id="rId3"/>
            </p:custDataLst>
          </p:nvPr>
        </p:nvSpPr>
        <p:spPr>
          <a:xfrm>
            <a:off x="630936" y="0"/>
            <a:ext cx="8112082" cy="1147011"/>
          </a:xfrm>
          <a:prstGeom prst="round2SameRect">
            <a:avLst>
              <a:gd name="adj1" fmla="val 0"/>
              <a:gd name="adj2" fmla="val 12079"/>
            </a:avLst>
          </a:prstGeom>
          <a:gradFill>
            <a:gsLst>
              <a:gs pos="0">
                <a:srgbClr val="009B9D">
                  <a:alpha val="21000"/>
                </a:srgbClr>
              </a:gs>
              <a:gs pos="100000">
                <a:srgbClr val="006F4E">
                  <a:alpha val="8897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cs typeface="+mn-cs"/>
            </a:endParaRPr>
          </a:p>
        </p:txBody>
      </p:sp>
      <p:sp>
        <p:nvSpPr>
          <p:cNvPr id="166" name="Round Same-side Corner of Rectangle 38">
            <a:extLst>
              <a:ext uri="{FF2B5EF4-FFF2-40B4-BE49-F238E27FC236}">
                <a16:creationId xmlns:a16="http://schemas.microsoft.com/office/drawing/2014/main" id="{0BB06A8D-4EEB-41B8-B316-205BCCEA026D}"/>
              </a:ext>
            </a:extLst>
          </p:cNvPr>
          <p:cNvSpPr/>
          <p:nvPr userDrawn="1"/>
        </p:nvSpPr>
        <p:spPr bwMode="black">
          <a:xfrm>
            <a:off x="630936" y="2393157"/>
            <a:ext cx="8125200" cy="4464844"/>
          </a:xfrm>
          <a:prstGeom prst="round2SameRect">
            <a:avLst>
              <a:gd name="adj1" fmla="val 4277"/>
              <a:gd name="adj2" fmla="val 0"/>
            </a:avLst>
          </a:prstGeom>
          <a:solidFill>
            <a:schemeClr val="bg1">
              <a:alpha val="92969"/>
            </a:schemeClr>
          </a:solidFill>
          <a:ln>
            <a:noFill/>
          </a:ln>
          <a:effectLst>
            <a:outerShdw blurRad="381000" algn="ctr" rotWithShape="0">
              <a:schemeClr val="bg2">
                <a:lumMod val="10000"/>
                <a:alpha val="29973"/>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lnSpc>
                <a:spcPct val="95000"/>
              </a:lnSpc>
            </a:pPr>
            <a:endParaRPr lang="en-US" sz="2000" dirty="0">
              <a:solidFill>
                <a:prstClr val="white"/>
              </a:solidFill>
              <a:cs typeface="+mn-cs"/>
              <a:sym typeface="Trebuchet MS" panose="020B0603020202020204" pitchFamily="34" charset="0"/>
            </a:endParaRPr>
          </a:p>
        </p:txBody>
      </p:sp>
      <p:sp>
        <p:nvSpPr>
          <p:cNvPr id="167" name="Round Same-side Corner of Rectangle 43">
            <a:extLst>
              <a:ext uri="{FF2B5EF4-FFF2-40B4-BE49-F238E27FC236}">
                <a16:creationId xmlns:a16="http://schemas.microsoft.com/office/drawing/2014/main" id="{D94E366D-49A5-4FEC-98F2-949071C795F6}"/>
              </a:ext>
            </a:extLst>
          </p:cNvPr>
          <p:cNvSpPr/>
          <p:nvPr userDrawn="1"/>
        </p:nvSpPr>
        <p:spPr bwMode="black">
          <a:xfrm>
            <a:off x="414328" y="2393157"/>
            <a:ext cx="8125200" cy="4464844"/>
          </a:xfrm>
          <a:prstGeom prst="round2SameRect">
            <a:avLst>
              <a:gd name="adj1" fmla="val 4277"/>
              <a:gd name="adj2" fmla="val 0"/>
            </a:avLst>
          </a:prstGeom>
          <a:gradFill flip="none" rotWithShape="1">
            <a:gsLst>
              <a:gs pos="0">
                <a:srgbClr val="006F4E">
                  <a:alpha val="10000"/>
                </a:srgbClr>
              </a:gs>
              <a:gs pos="100000">
                <a:srgbClr val="009B9D">
                  <a:alpha val="4937"/>
                </a:srgb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lnSpc>
                <a:spcPct val="95000"/>
              </a:lnSpc>
            </a:pPr>
            <a:endParaRPr lang="en-US" sz="2000" dirty="0">
              <a:solidFill>
                <a:prstClr val="white"/>
              </a:solidFill>
              <a:cs typeface="+mn-cs"/>
              <a:sym typeface="Trebuchet MS" panose="020B0603020202020204" pitchFamily="34" charset="0"/>
            </a:endParaRPr>
          </a:p>
        </p:txBody>
      </p:sp>
      <p:sp>
        <p:nvSpPr>
          <p:cNvPr id="168" name="Round Same-side Corner of Rectangle 44">
            <a:extLst>
              <a:ext uri="{FF2B5EF4-FFF2-40B4-BE49-F238E27FC236}">
                <a16:creationId xmlns:a16="http://schemas.microsoft.com/office/drawing/2014/main" id="{32EAFF0F-8CE1-43DE-858F-5D33BDE722FD}"/>
              </a:ext>
            </a:extLst>
          </p:cNvPr>
          <p:cNvSpPr/>
          <p:nvPr userDrawn="1"/>
        </p:nvSpPr>
        <p:spPr bwMode="black">
          <a:xfrm>
            <a:off x="9340638" y="5084617"/>
            <a:ext cx="2242259" cy="1773383"/>
          </a:xfrm>
          <a:prstGeom prst="round2SameRect">
            <a:avLst>
              <a:gd name="adj1" fmla="val 8183"/>
              <a:gd name="adj2" fmla="val 0"/>
            </a:avLst>
          </a:prstGeom>
          <a:solidFill>
            <a:schemeClr val="bg1">
              <a:alpha val="92969"/>
            </a:schemeClr>
          </a:solidFill>
          <a:ln>
            <a:noFill/>
          </a:ln>
          <a:effectLst>
            <a:outerShdw blurRad="381000" algn="ctr" rotWithShape="0">
              <a:schemeClr val="bg2">
                <a:lumMod val="10000"/>
                <a:alpha val="29973"/>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lnSpc>
                <a:spcPct val="95000"/>
              </a:lnSpc>
            </a:pPr>
            <a:endParaRPr lang="en-US" sz="2000" dirty="0">
              <a:solidFill>
                <a:prstClr val="white"/>
              </a:solidFill>
              <a:cs typeface="+mn-cs"/>
              <a:sym typeface="Trebuchet MS" panose="020B0603020202020204" pitchFamily="34" charset="0"/>
            </a:endParaRPr>
          </a:p>
        </p:txBody>
      </p:sp>
      <p:sp>
        <p:nvSpPr>
          <p:cNvPr id="169" name="Picture Placeholder 8">
            <a:extLst>
              <a:ext uri="{FF2B5EF4-FFF2-40B4-BE49-F238E27FC236}">
                <a16:creationId xmlns:a16="http://schemas.microsoft.com/office/drawing/2014/main" id="{A5FC138B-5DCA-4D48-A2BB-4F073318B1BD}"/>
              </a:ext>
            </a:extLst>
          </p:cNvPr>
          <p:cNvSpPr>
            <a:spLocks noGrp="1"/>
          </p:cNvSpPr>
          <p:nvPr>
            <p:ph type="pic" sz="quarter" idx="13" hasCustomPrompt="1"/>
          </p:nvPr>
        </p:nvSpPr>
        <p:spPr>
          <a:xfrm>
            <a:off x="9527801" y="5570642"/>
            <a:ext cx="1867935" cy="896833"/>
          </a:xfrm>
          <a:prstGeom prst="rect">
            <a:avLst/>
          </a:prstGeom>
        </p:spPr>
        <p:txBody>
          <a:bodyPr anchor="b"/>
          <a:lstStyle>
            <a:lvl1pPr algn="ctr" rtl="0">
              <a:defRPr sz="1600">
                <a:solidFill>
                  <a:schemeClr val="tx1"/>
                </a:solidFill>
                <a:latin typeface="Trebuchet MS" panose="020B0603020202020204" pitchFamily="34" charset="0"/>
                <a:cs typeface="+mn-cs"/>
                <a:sym typeface="Trebuchet MS" panose="020B0603020202020204" pitchFamily="34" charset="0"/>
              </a:defRPr>
            </a:lvl1pPr>
          </a:lstStyle>
          <a:p>
            <a:r>
              <a:rPr lang="en-US" dirty="0"/>
              <a:t>Logo</a:t>
            </a:r>
          </a:p>
        </p:txBody>
      </p:sp>
      <p:sp>
        <p:nvSpPr>
          <p:cNvPr id="170" name="Overlay">
            <a:extLst>
              <a:ext uri="{FF2B5EF4-FFF2-40B4-BE49-F238E27FC236}">
                <a16:creationId xmlns:a16="http://schemas.microsoft.com/office/drawing/2014/main" id="{D59D2AB0-BF17-4D20-8B18-D79CFFC920E2}"/>
              </a:ext>
            </a:extLst>
          </p:cNvPr>
          <p:cNvSpPr/>
          <p:nvPr userDrawn="1">
            <p:custDataLst>
              <p:tags r:id="rId4"/>
            </p:custDataLst>
          </p:nvPr>
        </p:nvSpPr>
        <p:spPr>
          <a:xfrm>
            <a:off x="9340639" y="0"/>
            <a:ext cx="2242259" cy="2081213"/>
          </a:xfrm>
          <a:prstGeom prst="round2SameRect">
            <a:avLst>
              <a:gd name="adj1" fmla="val 0"/>
              <a:gd name="adj2" fmla="val 12079"/>
            </a:avLst>
          </a:prstGeom>
          <a:gradFill>
            <a:gsLst>
              <a:gs pos="0">
                <a:srgbClr val="009B9D">
                  <a:alpha val="21000"/>
                </a:srgbClr>
              </a:gs>
              <a:gs pos="100000">
                <a:srgbClr val="006F4E">
                  <a:alpha val="8897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cs typeface="+mn-cs"/>
            </a:endParaRPr>
          </a:p>
        </p:txBody>
      </p:sp>
      <p:sp>
        <p:nvSpPr>
          <p:cNvPr id="171" name="Text Placeholder 6">
            <a:extLst>
              <a:ext uri="{FF2B5EF4-FFF2-40B4-BE49-F238E27FC236}">
                <a16:creationId xmlns:a16="http://schemas.microsoft.com/office/drawing/2014/main" id="{4B56CB1E-605A-40E4-A6A6-1933723BFA28}"/>
              </a:ext>
            </a:extLst>
          </p:cNvPr>
          <p:cNvSpPr>
            <a:spLocks noGrp="1"/>
          </p:cNvSpPr>
          <p:nvPr>
            <p:ph type="body" sz="quarter" idx="12" hasCustomPrompt="1"/>
          </p:nvPr>
        </p:nvSpPr>
        <p:spPr bwMode="black">
          <a:xfrm>
            <a:off x="1117415" y="6207842"/>
            <a:ext cx="6868800" cy="327148"/>
          </a:xfrm>
          <a:prstGeom prst="rect">
            <a:avLst/>
          </a:prstGeom>
          <a:noFill/>
        </p:spPr>
        <p:txBody>
          <a:bodyPr anchor="ctr"/>
          <a:lstStyle>
            <a:lvl1pPr algn="l" rtl="0">
              <a:lnSpc>
                <a:spcPct val="110000"/>
              </a:lnSpc>
              <a:buNone/>
              <a:defRPr sz="1000" b="1" cap="all" baseline="0">
                <a:solidFill>
                  <a:srgbClr val="7F7F7F"/>
                </a:solidFill>
                <a:latin typeface="+mn-lt"/>
                <a:cs typeface="+mn-cs"/>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172" name="Subtitle 2">
            <a:extLst>
              <a:ext uri="{FF2B5EF4-FFF2-40B4-BE49-F238E27FC236}">
                <a16:creationId xmlns:a16="http://schemas.microsoft.com/office/drawing/2014/main" id="{3DECE5BD-7A3B-4952-B91C-321B02780566}"/>
              </a:ext>
            </a:extLst>
          </p:cNvPr>
          <p:cNvSpPr>
            <a:spLocks noGrp="1"/>
          </p:cNvSpPr>
          <p:nvPr>
            <p:ph type="subTitle" idx="1" hasCustomPrompt="1"/>
          </p:nvPr>
        </p:nvSpPr>
        <p:spPr bwMode="white">
          <a:xfrm>
            <a:off x="1117415" y="5607063"/>
            <a:ext cx="6868800" cy="436195"/>
          </a:xfrm>
          <a:prstGeom prst="rect">
            <a:avLst/>
          </a:prstGeom>
        </p:spPr>
        <p:txBody>
          <a:bodyPr anchor="ctr"/>
          <a:lstStyle>
            <a:lvl1pPr marL="0" indent="0" algn="l" rtl="0">
              <a:lnSpc>
                <a:spcPct val="110000"/>
              </a:lnSpc>
              <a:buNone/>
              <a:defRPr sz="1400" baseline="0">
                <a:solidFill>
                  <a:srgbClr val="03522D"/>
                </a:solidFill>
                <a:latin typeface="+mn-lt"/>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173" name="Title 1">
            <a:extLst>
              <a:ext uri="{FF2B5EF4-FFF2-40B4-BE49-F238E27FC236}">
                <a16:creationId xmlns:a16="http://schemas.microsoft.com/office/drawing/2014/main" id="{2B2B5798-95C2-42D2-9999-26B2D08B33AE}"/>
              </a:ext>
            </a:extLst>
          </p:cNvPr>
          <p:cNvSpPr>
            <a:spLocks noGrp="1"/>
          </p:cNvSpPr>
          <p:nvPr>
            <p:ph type="ctrTitle" hasCustomPrompt="1"/>
          </p:nvPr>
        </p:nvSpPr>
        <p:spPr bwMode="ltGray">
          <a:xfrm>
            <a:off x="1117415" y="2242851"/>
            <a:ext cx="6868800" cy="3138423"/>
          </a:xfrm>
          <a:prstGeom prst="rect">
            <a:avLst/>
          </a:prstGeom>
        </p:spPr>
        <p:txBody>
          <a:bodyPr vert="horz" anchor="b">
            <a:normAutofit/>
          </a:bodyPr>
          <a:lstStyle>
            <a:lvl1pPr algn="l" rtl="0">
              <a:lnSpc>
                <a:spcPct val="93000"/>
              </a:lnSpc>
              <a:defRPr sz="4800" baseline="0">
                <a:solidFill>
                  <a:srgbClr val="03522D"/>
                </a:solidFill>
                <a:latin typeface="+mj-lt"/>
                <a:cs typeface="+mj-cs"/>
                <a:sym typeface="Trebuchet MS" panose="020B0603020202020204" pitchFamily="34" charset="0"/>
              </a:defRPr>
            </a:lvl1pPr>
          </a:lstStyle>
          <a:p>
            <a:r>
              <a:rPr lang="en-US" dirty="0"/>
              <a:t>Title in Title Case</a:t>
            </a:r>
          </a:p>
        </p:txBody>
      </p:sp>
      <p:sp>
        <p:nvSpPr>
          <p:cNvPr id="174" name="Freeform 42">
            <a:extLst>
              <a:ext uri="{FF2B5EF4-FFF2-40B4-BE49-F238E27FC236}">
                <a16:creationId xmlns:a16="http://schemas.microsoft.com/office/drawing/2014/main" id="{C81ACB0D-CC9A-4CE2-B87C-56EB4A7F5A65}"/>
              </a:ext>
            </a:extLst>
          </p:cNvPr>
          <p:cNvSpPr>
            <a:spLocks noChangeAspect="1"/>
          </p:cNvSpPr>
          <p:nvPr userDrawn="1"/>
        </p:nvSpPr>
        <p:spPr bwMode="auto">
          <a:xfrm>
            <a:off x="1115178" y="2752927"/>
            <a:ext cx="2049190" cy="428282"/>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177B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dirty="0">
              <a:cs typeface="+mn-cs"/>
            </a:endParaRPr>
          </a:p>
        </p:txBody>
      </p:sp>
    </p:spTree>
    <p:extLst>
      <p:ext uri="{BB962C8B-B14F-4D97-AF65-F5344CB8AC3E}">
        <p14:creationId xmlns:p14="http://schemas.microsoft.com/office/powerpoint/2010/main" val="19825353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5C72321E-CBB6-4A55-BB18-3152317ED08A}"/>
              </a:ext>
            </a:extLst>
          </p:cNvPr>
          <p:cNvGraphicFramePr>
            <a:graphicFrameLocks noChangeAspect="1"/>
          </p:cNvGraphicFramePr>
          <p:nvPr userDrawn="1">
            <p:custDataLst>
              <p:tags r:id="rId1"/>
            </p:custDataLst>
            <p:extLst>
              <p:ext uri="{D42A27DB-BD31-4B8C-83A1-F6EECF244321}">
                <p14:modId xmlns:p14="http://schemas.microsoft.com/office/powerpoint/2010/main" val="416110335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1" name="think-cell data - do not delete" hidden="1">
                        <a:extLst>
                          <a:ext uri="{FF2B5EF4-FFF2-40B4-BE49-F238E27FC236}">
                            <a16:creationId xmlns:a16="http://schemas.microsoft.com/office/drawing/2014/main" id="{5C72321E-CBB6-4A55-BB18-3152317ED08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85376EF5-F47A-4A4A-9D20-C98184E77EAE}"/>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 y="0"/>
            <a:ext cx="12192001" cy="2062633"/>
          </a:xfrm>
          <a:prstGeom prst="round2SameRect">
            <a:avLst>
              <a:gd name="adj1" fmla="val 0"/>
              <a:gd name="adj2" fmla="val 11274"/>
            </a:avLst>
          </a:prstGeom>
          <a:gradFill>
            <a:gsLst>
              <a:gs pos="0">
                <a:schemeClr val="tx2"/>
              </a:gs>
              <a:gs pos="100000">
                <a:schemeClr val="accent2"/>
              </a:gs>
            </a:gsLst>
            <a:lin ang="8100000" scaled="1"/>
          </a:gradFill>
          <a:effectLst>
            <a:outerShdw blurRad="254000" algn="ctr" rotWithShape="0">
              <a:prstClr val="black">
                <a:alpha val="27000"/>
              </a:prstClr>
            </a:outerShdw>
          </a:effectLst>
        </p:spPr>
      </p:pic>
      <p:sp>
        <p:nvSpPr>
          <p:cNvPr id="15" name="Overlay">
            <a:extLst>
              <a:ext uri="{FF2B5EF4-FFF2-40B4-BE49-F238E27FC236}">
                <a16:creationId xmlns:a16="http://schemas.microsoft.com/office/drawing/2014/main" id="{04288243-D7AE-4ABD-BB70-0FECF8B67379}"/>
              </a:ext>
            </a:extLst>
          </p:cNvPr>
          <p:cNvSpPr/>
          <p:nvPr userDrawn="1">
            <p:custDataLst>
              <p:tags r:id="rId2"/>
            </p:custDataLst>
          </p:nvPr>
        </p:nvSpPr>
        <p:spPr>
          <a:xfrm>
            <a:off x="0" y="-1"/>
            <a:ext cx="12192001" cy="2062633"/>
          </a:xfrm>
          <a:prstGeom prst="round2SameRect">
            <a:avLst>
              <a:gd name="adj1" fmla="val 0"/>
              <a:gd name="adj2" fmla="val 11274"/>
            </a:avLst>
          </a:prstGeom>
          <a:gradFill>
            <a:gsLst>
              <a:gs pos="0">
                <a:srgbClr val="009B9D">
                  <a:alpha val="21000"/>
                </a:srgbClr>
              </a:gs>
              <a:gs pos="100000">
                <a:srgbClr val="006F4E">
                  <a:alpha val="8897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cs typeface="+mn-cs"/>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latin typeface="+mn-lt"/>
                <a:cs typeface="+mn-cs"/>
                <a:sym typeface="Trebuchet MS" panose="020B0603020202020204" pitchFamily="34" charset="0"/>
              </a:defRPr>
            </a:lvl1pPr>
          </a:lstStyle>
          <a:p>
            <a:endParaRPr lang="en-US" dirty="0"/>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400" b="0" i="0" u="none" kern="1200" spc="0">
                <a:solidFill>
                  <a:srgbClr val="FFFFFF"/>
                </a:solidFill>
                <a:latin typeface="+mj-lt"/>
                <a:cs typeface="+mj-cs"/>
                <a:sym typeface="Trebuchet MS" panose="020B0603020202020204" pitchFamily="34" charset="0"/>
              </a:defRPr>
            </a:lvl1pPr>
          </a:lstStyle>
          <a:p>
            <a:pPr lvl="0"/>
            <a:r>
              <a:rPr lang="en-US" dirty="0"/>
              <a:t>Click to add title</a:t>
            </a:r>
          </a:p>
        </p:txBody>
      </p:sp>
      <p:grpSp>
        <p:nvGrpSpPr>
          <p:cNvPr id="2" name="Group 1">
            <a:extLst>
              <a:ext uri="{FF2B5EF4-FFF2-40B4-BE49-F238E27FC236}">
                <a16:creationId xmlns:a16="http://schemas.microsoft.com/office/drawing/2014/main" id="{07330958-3166-D349-7042-6F93412AA39B}"/>
              </a:ext>
            </a:extLst>
          </p:cNvPr>
          <p:cNvGrpSpPr/>
          <p:nvPr userDrawn="1"/>
        </p:nvGrpSpPr>
        <p:grpSpPr>
          <a:xfrm>
            <a:off x="-1" y="2388697"/>
            <a:ext cx="12192001" cy="4451557"/>
            <a:chOff x="-1" y="2388697"/>
            <a:chExt cx="12192001" cy="4451557"/>
          </a:xfrm>
        </p:grpSpPr>
        <p:sp>
          <p:nvSpPr>
            <p:cNvPr id="4" name="Freeform 3">
              <a:extLst>
                <a:ext uri="{FF2B5EF4-FFF2-40B4-BE49-F238E27FC236}">
                  <a16:creationId xmlns:a16="http://schemas.microsoft.com/office/drawing/2014/main" id="{898A19BF-5D0B-28C0-E742-10235393AD13}"/>
                </a:ext>
              </a:extLst>
            </p:cNvPr>
            <p:cNvSpPr/>
            <p:nvPr/>
          </p:nvSpPr>
          <p:spPr>
            <a:xfrm>
              <a:off x="7747933" y="2388697"/>
              <a:ext cx="4444067" cy="3417775"/>
            </a:xfrm>
            <a:custGeom>
              <a:avLst/>
              <a:gdLst>
                <a:gd name="connsiteX0" fmla="*/ 4432804 w 4444067"/>
                <a:gd name="connsiteY0" fmla="*/ 0 h 3417775"/>
                <a:gd name="connsiteX1" fmla="*/ 4432804 w 4444067"/>
                <a:gd name="connsiteY1" fmla="*/ 0 h 3417775"/>
                <a:gd name="connsiteX2" fmla="*/ 3756900 w 4444067"/>
                <a:gd name="connsiteY2" fmla="*/ 360864 h 3417775"/>
                <a:gd name="connsiteX3" fmla="*/ 1357441 w 4444067"/>
                <a:gd name="connsiteY3" fmla="*/ 1623888 h 3417775"/>
                <a:gd name="connsiteX4" fmla="*/ 0 w 4444067"/>
                <a:gd name="connsiteY4" fmla="*/ 2182099 h 3417775"/>
                <a:gd name="connsiteX5" fmla="*/ 5633 w 4444067"/>
                <a:gd name="connsiteY5" fmla="*/ 2187737 h 3417775"/>
                <a:gd name="connsiteX6" fmla="*/ 0 w 4444067"/>
                <a:gd name="connsiteY6" fmla="*/ 2182099 h 3417775"/>
                <a:gd name="connsiteX7" fmla="*/ 433705 w 4444067"/>
                <a:gd name="connsiteY7" fmla="*/ 3163198 h 3417775"/>
                <a:gd name="connsiteX8" fmla="*/ 602681 w 4444067"/>
                <a:gd name="connsiteY8" fmla="*/ 3326714 h 3417775"/>
                <a:gd name="connsiteX9" fmla="*/ 901205 w 4444067"/>
                <a:gd name="connsiteY9" fmla="*/ 3416930 h 3417775"/>
                <a:gd name="connsiteX10" fmla="*/ 1216627 w 4444067"/>
                <a:gd name="connsiteY10" fmla="*/ 3349268 h 3417775"/>
                <a:gd name="connsiteX11" fmla="*/ 4444068 w 4444067"/>
                <a:gd name="connsiteY11" fmla="*/ 1612611 h 341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44067" h="3417775">
                  <a:moveTo>
                    <a:pt x="4432804" y="0"/>
                  </a:moveTo>
                  <a:lnTo>
                    <a:pt x="4432804" y="0"/>
                  </a:lnTo>
                  <a:lnTo>
                    <a:pt x="3756900" y="360864"/>
                  </a:lnTo>
                  <a:lnTo>
                    <a:pt x="1357441" y="1623888"/>
                  </a:lnTo>
                  <a:cubicBezTo>
                    <a:pt x="1357441" y="1623888"/>
                    <a:pt x="529458" y="2069329"/>
                    <a:pt x="0" y="2182099"/>
                  </a:cubicBezTo>
                  <a:lnTo>
                    <a:pt x="5633" y="2187737"/>
                  </a:lnTo>
                  <a:lnTo>
                    <a:pt x="0" y="2182099"/>
                  </a:lnTo>
                  <a:cubicBezTo>
                    <a:pt x="146446" y="2638817"/>
                    <a:pt x="292892" y="2932019"/>
                    <a:pt x="433705" y="3163198"/>
                  </a:cubicBezTo>
                  <a:cubicBezTo>
                    <a:pt x="473132" y="3230860"/>
                    <a:pt x="535091" y="3287245"/>
                    <a:pt x="602681" y="3326714"/>
                  </a:cubicBezTo>
                  <a:cubicBezTo>
                    <a:pt x="692802" y="3383099"/>
                    <a:pt x="794187" y="3411292"/>
                    <a:pt x="901205" y="3416930"/>
                  </a:cubicBezTo>
                  <a:cubicBezTo>
                    <a:pt x="1008223" y="3422569"/>
                    <a:pt x="1115241" y="3400015"/>
                    <a:pt x="1216627" y="3349268"/>
                  </a:cubicBezTo>
                  <a:lnTo>
                    <a:pt x="4444068" y="1612611"/>
                  </a:lnTo>
                  <a:close/>
                </a:path>
              </a:pathLst>
            </a:custGeom>
            <a:solidFill>
              <a:srgbClr val="009B9D">
                <a:alpha val="7000"/>
              </a:srgbClr>
            </a:solidFill>
            <a:ln w="56300" cap="flat">
              <a:noFill/>
              <a:prstDash val="solid"/>
              <a:miter/>
            </a:ln>
          </p:spPr>
          <p:txBody>
            <a:bodyPr rtlCol="0" anchor="ctr"/>
            <a:lstStyle/>
            <a:p>
              <a:pPr rtl="0"/>
              <a:endParaRPr lang="en-US" dirty="0">
                <a:cs typeface="+mn-cs"/>
              </a:endParaRPr>
            </a:p>
          </p:txBody>
        </p:sp>
        <p:sp>
          <p:nvSpPr>
            <p:cNvPr id="6" name="Freeform 5">
              <a:extLst>
                <a:ext uri="{FF2B5EF4-FFF2-40B4-BE49-F238E27FC236}">
                  <a16:creationId xmlns:a16="http://schemas.microsoft.com/office/drawing/2014/main" id="{6AA30185-3841-582E-4514-794F315A5A7F}"/>
                </a:ext>
              </a:extLst>
            </p:cNvPr>
            <p:cNvSpPr/>
            <p:nvPr/>
          </p:nvSpPr>
          <p:spPr>
            <a:xfrm>
              <a:off x="-1" y="3259761"/>
              <a:ext cx="12192001" cy="3580493"/>
            </a:xfrm>
            <a:custGeom>
              <a:avLst/>
              <a:gdLst>
                <a:gd name="connsiteX0" fmla="*/ 12192001 w 12192001"/>
                <a:gd name="connsiteY0" fmla="*/ 1687383 h 3580493"/>
                <a:gd name="connsiteX1" fmla="*/ 12181807 w 12192001"/>
                <a:gd name="connsiteY1" fmla="*/ 3580493 h 3580493"/>
                <a:gd name="connsiteX2" fmla="*/ 8662888 w 12192001"/>
                <a:gd name="connsiteY2" fmla="*/ 3580493 h 3580493"/>
                <a:gd name="connsiteX3" fmla="*/ 781415 w 12192001"/>
                <a:gd name="connsiteY3" fmla="*/ 374 h 3580493"/>
                <a:gd name="connsiteX4" fmla="*/ 2025283 w 12192001"/>
                <a:gd name="connsiteY4" fmla="*/ 1850899 h 3580493"/>
                <a:gd name="connsiteX5" fmla="*/ 2036547 w 12192001"/>
                <a:gd name="connsiteY5" fmla="*/ 1901646 h 3580493"/>
                <a:gd name="connsiteX6" fmla="*/ 1676065 w 12192001"/>
                <a:gd name="connsiteY6" fmla="*/ 1862175 h 3580493"/>
                <a:gd name="connsiteX7" fmla="*/ 192135 w 12192001"/>
                <a:gd name="connsiteY7" fmla="*/ 2129365 h 3580493"/>
                <a:gd name="connsiteX8" fmla="*/ 0 w 12192001"/>
                <a:gd name="connsiteY8" fmla="*/ 2193947 h 3580493"/>
                <a:gd name="connsiteX9" fmla="*/ 0 w 12192001"/>
                <a:gd name="connsiteY9" fmla="*/ 70220 h 3580493"/>
                <a:gd name="connsiteX10" fmla="*/ 294330 w 12192001"/>
                <a:gd name="connsiteY10" fmla="*/ 27516 h 3580493"/>
                <a:gd name="connsiteX11" fmla="*/ 656576 w 12192001"/>
                <a:gd name="connsiteY11" fmla="*/ 1471 h 3580493"/>
                <a:gd name="connsiteX12" fmla="*/ 781415 w 12192001"/>
                <a:gd name="connsiteY12" fmla="*/ 374 h 3580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1" h="3580493">
                  <a:moveTo>
                    <a:pt x="12192001" y="1687383"/>
                  </a:moveTo>
                  <a:lnTo>
                    <a:pt x="12181807" y="3580493"/>
                  </a:lnTo>
                  <a:lnTo>
                    <a:pt x="8662888" y="3580493"/>
                  </a:lnTo>
                  <a:close/>
                  <a:moveTo>
                    <a:pt x="781415" y="374"/>
                  </a:moveTo>
                  <a:cubicBezTo>
                    <a:pt x="1390963" y="12000"/>
                    <a:pt x="1782379" y="302073"/>
                    <a:pt x="2025283" y="1850899"/>
                  </a:cubicBezTo>
                  <a:cubicBezTo>
                    <a:pt x="2030914" y="1867815"/>
                    <a:pt x="2036547" y="1884729"/>
                    <a:pt x="2036547" y="1901646"/>
                  </a:cubicBezTo>
                  <a:cubicBezTo>
                    <a:pt x="1940794" y="1873453"/>
                    <a:pt x="1811245" y="1862175"/>
                    <a:pt x="1676065" y="1862175"/>
                  </a:cubicBezTo>
                  <a:cubicBezTo>
                    <a:pt x="1183218" y="1886844"/>
                    <a:pt x="716246" y="1963316"/>
                    <a:pt x="192135" y="2129365"/>
                  </a:cubicBezTo>
                  <a:lnTo>
                    <a:pt x="0" y="2193947"/>
                  </a:lnTo>
                  <a:lnTo>
                    <a:pt x="0" y="70220"/>
                  </a:lnTo>
                  <a:lnTo>
                    <a:pt x="294330" y="27516"/>
                  </a:lnTo>
                  <a:cubicBezTo>
                    <a:pt x="416710" y="14114"/>
                    <a:pt x="537589" y="5348"/>
                    <a:pt x="656576" y="1471"/>
                  </a:cubicBezTo>
                  <a:cubicBezTo>
                    <a:pt x="699172" y="62"/>
                    <a:pt x="740778" y="-401"/>
                    <a:pt x="781415" y="374"/>
                  </a:cubicBezTo>
                  <a:close/>
                </a:path>
              </a:pathLst>
            </a:custGeom>
            <a:solidFill>
              <a:srgbClr val="009B9D">
                <a:alpha val="7000"/>
              </a:srgbClr>
            </a:solidFill>
            <a:ln w="56300" cap="flat">
              <a:noFill/>
              <a:prstDash val="solid"/>
              <a:miter/>
            </a:ln>
          </p:spPr>
          <p:txBody>
            <a:bodyPr rtlCol="0" anchor="ctr"/>
            <a:lstStyle/>
            <a:p>
              <a:pPr rtl="0"/>
              <a:endParaRPr lang="en-US" dirty="0">
                <a:cs typeface="+mn-cs"/>
              </a:endParaRPr>
            </a:p>
          </p:txBody>
        </p:sp>
      </p:grpSp>
    </p:spTree>
    <p:extLst>
      <p:ext uri="{BB962C8B-B14F-4D97-AF65-F5344CB8AC3E}">
        <p14:creationId xmlns:p14="http://schemas.microsoft.com/office/powerpoint/2010/main" val="24840895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4B9476F-8984-AD94-A3F0-BC95A9102405}"/>
              </a:ext>
            </a:extLst>
          </p:cNvPr>
          <p:cNvGraphicFramePr>
            <a:graphicFrameLocks noChangeAspect="1"/>
          </p:cNvGraphicFramePr>
          <p:nvPr userDrawn="1">
            <p:custDataLst>
              <p:tags r:id="rId1"/>
            </p:custDataLst>
            <p:extLst>
              <p:ext uri="{D42A27DB-BD31-4B8C-83A1-F6EECF244321}">
                <p14:modId xmlns:p14="http://schemas.microsoft.com/office/powerpoint/2010/main" val="296109272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think-cell data - do not delete" hidden="1">
                        <a:extLst>
                          <a:ext uri="{FF2B5EF4-FFF2-40B4-BE49-F238E27FC236}">
                            <a16:creationId xmlns:a16="http://schemas.microsoft.com/office/drawing/2014/main" id="{14B9476F-8984-AD94-A3F0-BC95A910240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D6F9CA99-4BEB-44EE-A77E-79C021A80B4A}"/>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 y="0"/>
            <a:ext cx="12192001" cy="2062633"/>
          </a:xfrm>
          <a:prstGeom prst="round2SameRect">
            <a:avLst>
              <a:gd name="adj1" fmla="val 0"/>
              <a:gd name="adj2" fmla="val 11274"/>
            </a:avLst>
          </a:prstGeom>
          <a:gradFill>
            <a:gsLst>
              <a:gs pos="0">
                <a:schemeClr val="tx2"/>
              </a:gs>
              <a:gs pos="100000">
                <a:schemeClr val="accent2"/>
              </a:gs>
            </a:gsLst>
            <a:lin ang="8100000" scaled="1"/>
          </a:gradFill>
          <a:effectLst>
            <a:outerShdw blurRad="254000" algn="ctr" rotWithShape="0">
              <a:prstClr val="black">
                <a:alpha val="27000"/>
              </a:prstClr>
            </a:outerShdw>
          </a:effectLst>
        </p:spPr>
      </p:pic>
      <p:sp>
        <p:nvSpPr>
          <p:cNvPr id="15" name="Overlay">
            <a:extLst>
              <a:ext uri="{FF2B5EF4-FFF2-40B4-BE49-F238E27FC236}">
                <a16:creationId xmlns:a16="http://schemas.microsoft.com/office/drawing/2014/main" id="{90D95C17-E013-43D7-803A-4A8ECF5DD977}"/>
              </a:ext>
            </a:extLst>
          </p:cNvPr>
          <p:cNvSpPr/>
          <p:nvPr userDrawn="1">
            <p:custDataLst>
              <p:tags r:id="rId2"/>
            </p:custDataLst>
          </p:nvPr>
        </p:nvSpPr>
        <p:spPr>
          <a:xfrm>
            <a:off x="-1" y="0"/>
            <a:ext cx="12192001" cy="2062633"/>
          </a:xfrm>
          <a:prstGeom prst="round2SameRect">
            <a:avLst>
              <a:gd name="adj1" fmla="val 0"/>
              <a:gd name="adj2" fmla="val 11274"/>
            </a:avLst>
          </a:prstGeom>
          <a:gradFill>
            <a:gsLst>
              <a:gs pos="0">
                <a:srgbClr val="009B9D">
                  <a:alpha val="21000"/>
                </a:srgbClr>
              </a:gs>
              <a:gs pos="100000">
                <a:srgbClr val="006F4E">
                  <a:alpha val="8897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cs typeface="+mn-cs"/>
            </a:endParaRPr>
          </a:p>
        </p:txBody>
      </p:sp>
      <p:grpSp>
        <p:nvGrpSpPr>
          <p:cNvPr id="3" name="Group 2">
            <a:extLst>
              <a:ext uri="{FF2B5EF4-FFF2-40B4-BE49-F238E27FC236}">
                <a16:creationId xmlns:a16="http://schemas.microsoft.com/office/drawing/2014/main" id="{78C50F01-9374-C394-0EFA-3C0F01F989D4}"/>
              </a:ext>
            </a:extLst>
          </p:cNvPr>
          <p:cNvGrpSpPr/>
          <p:nvPr userDrawn="1"/>
        </p:nvGrpSpPr>
        <p:grpSpPr>
          <a:xfrm>
            <a:off x="0" y="2382673"/>
            <a:ext cx="12192001" cy="4475327"/>
            <a:chOff x="0" y="2382673"/>
            <a:chExt cx="12192001" cy="4475327"/>
          </a:xfrm>
        </p:grpSpPr>
        <p:sp>
          <p:nvSpPr>
            <p:cNvPr id="4" name="Freeform 3">
              <a:extLst>
                <a:ext uri="{FF2B5EF4-FFF2-40B4-BE49-F238E27FC236}">
                  <a16:creationId xmlns:a16="http://schemas.microsoft.com/office/drawing/2014/main" id="{C88D6A92-52DA-B6B5-46F8-1D27B865F2E4}"/>
                </a:ext>
              </a:extLst>
            </p:cNvPr>
            <p:cNvSpPr/>
            <p:nvPr/>
          </p:nvSpPr>
          <p:spPr>
            <a:xfrm>
              <a:off x="7747933" y="2382673"/>
              <a:ext cx="4444067" cy="3417775"/>
            </a:xfrm>
            <a:custGeom>
              <a:avLst/>
              <a:gdLst>
                <a:gd name="connsiteX0" fmla="*/ 4432804 w 4444067"/>
                <a:gd name="connsiteY0" fmla="*/ 0 h 3417775"/>
                <a:gd name="connsiteX1" fmla="*/ 4432804 w 4444067"/>
                <a:gd name="connsiteY1" fmla="*/ 0 h 3417775"/>
                <a:gd name="connsiteX2" fmla="*/ 3756900 w 4444067"/>
                <a:gd name="connsiteY2" fmla="*/ 360864 h 3417775"/>
                <a:gd name="connsiteX3" fmla="*/ 1357441 w 4444067"/>
                <a:gd name="connsiteY3" fmla="*/ 1623888 h 3417775"/>
                <a:gd name="connsiteX4" fmla="*/ 0 w 4444067"/>
                <a:gd name="connsiteY4" fmla="*/ 2182099 h 3417775"/>
                <a:gd name="connsiteX5" fmla="*/ 5633 w 4444067"/>
                <a:gd name="connsiteY5" fmla="*/ 2187737 h 3417775"/>
                <a:gd name="connsiteX6" fmla="*/ 0 w 4444067"/>
                <a:gd name="connsiteY6" fmla="*/ 2182099 h 3417775"/>
                <a:gd name="connsiteX7" fmla="*/ 433705 w 4444067"/>
                <a:gd name="connsiteY7" fmla="*/ 3163198 h 3417775"/>
                <a:gd name="connsiteX8" fmla="*/ 602681 w 4444067"/>
                <a:gd name="connsiteY8" fmla="*/ 3326714 h 3417775"/>
                <a:gd name="connsiteX9" fmla="*/ 901205 w 4444067"/>
                <a:gd name="connsiteY9" fmla="*/ 3416930 h 3417775"/>
                <a:gd name="connsiteX10" fmla="*/ 1216627 w 4444067"/>
                <a:gd name="connsiteY10" fmla="*/ 3349268 h 3417775"/>
                <a:gd name="connsiteX11" fmla="*/ 4444068 w 4444067"/>
                <a:gd name="connsiteY11" fmla="*/ 1612611 h 341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44067" h="3417775">
                  <a:moveTo>
                    <a:pt x="4432804" y="0"/>
                  </a:moveTo>
                  <a:lnTo>
                    <a:pt x="4432804" y="0"/>
                  </a:lnTo>
                  <a:lnTo>
                    <a:pt x="3756900" y="360864"/>
                  </a:lnTo>
                  <a:lnTo>
                    <a:pt x="1357441" y="1623888"/>
                  </a:lnTo>
                  <a:cubicBezTo>
                    <a:pt x="1357441" y="1623888"/>
                    <a:pt x="529458" y="2069329"/>
                    <a:pt x="0" y="2182099"/>
                  </a:cubicBezTo>
                  <a:lnTo>
                    <a:pt x="5633" y="2187737"/>
                  </a:lnTo>
                  <a:lnTo>
                    <a:pt x="0" y="2182099"/>
                  </a:lnTo>
                  <a:cubicBezTo>
                    <a:pt x="146446" y="2638817"/>
                    <a:pt x="292892" y="2932019"/>
                    <a:pt x="433705" y="3163198"/>
                  </a:cubicBezTo>
                  <a:cubicBezTo>
                    <a:pt x="473132" y="3230860"/>
                    <a:pt x="535091" y="3287245"/>
                    <a:pt x="602681" y="3326714"/>
                  </a:cubicBezTo>
                  <a:cubicBezTo>
                    <a:pt x="692802" y="3383099"/>
                    <a:pt x="794187" y="3411292"/>
                    <a:pt x="901205" y="3416930"/>
                  </a:cubicBezTo>
                  <a:cubicBezTo>
                    <a:pt x="1008223" y="3422569"/>
                    <a:pt x="1115241" y="3400015"/>
                    <a:pt x="1216627" y="3349268"/>
                  </a:cubicBezTo>
                  <a:lnTo>
                    <a:pt x="4444068" y="1612611"/>
                  </a:lnTo>
                  <a:close/>
                </a:path>
              </a:pathLst>
            </a:custGeom>
            <a:solidFill>
              <a:srgbClr val="009B9D">
                <a:alpha val="7000"/>
              </a:srgbClr>
            </a:solidFill>
            <a:ln w="56300" cap="flat">
              <a:noFill/>
              <a:prstDash val="solid"/>
              <a:miter/>
            </a:ln>
          </p:spPr>
          <p:txBody>
            <a:bodyPr rtlCol="0" anchor="ctr"/>
            <a:lstStyle/>
            <a:p>
              <a:pPr rtl="0"/>
              <a:endParaRPr lang="en-US" dirty="0">
                <a:cs typeface="+mn-cs"/>
              </a:endParaRPr>
            </a:p>
          </p:txBody>
        </p:sp>
        <p:sp>
          <p:nvSpPr>
            <p:cNvPr id="6" name="Freeform 5">
              <a:extLst>
                <a:ext uri="{FF2B5EF4-FFF2-40B4-BE49-F238E27FC236}">
                  <a16:creationId xmlns:a16="http://schemas.microsoft.com/office/drawing/2014/main" id="{CCC72F63-9AF1-8382-FD29-A2A3379D7098}"/>
                </a:ext>
              </a:extLst>
            </p:cNvPr>
            <p:cNvSpPr/>
            <p:nvPr/>
          </p:nvSpPr>
          <p:spPr>
            <a:xfrm>
              <a:off x="0" y="3277507"/>
              <a:ext cx="12192001" cy="3580493"/>
            </a:xfrm>
            <a:custGeom>
              <a:avLst/>
              <a:gdLst>
                <a:gd name="connsiteX0" fmla="*/ 12192001 w 12192001"/>
                <a:gd name="connsiteY0" fmla="*/ 1687383 h 3580493"/>
                <a:gd name="connsiteX1" fmla="*/ 12181807 w 12192001"/>
                <a:gd name="connsiteY1" fmla="*/ 3580493 h 3580493"/>
                <a:gd name="connsiteX2" fmla="*/ 8662888 w 12192001"/>
                <a:gd name="connsiteY2" fmla="*/ 3580493 h 3580493"/>
                <a:gd name="connsiteX3" fmla="*/ 781415 w 12192001"/>
                <a:gd name="connsiteY3" fmla="*/ 374 h 3580493"/>
                <a:gd name="connsiteX4" fmla="*/ 2025283 w 12192001"/>
                <a:gd name="connsiteY4" fmla="*/ 1850899 h 3580493"/>
                <a:gd name="connsiteX5" fmla="*/ 2036547 w 12192001"/>
                <a:gd name="connsiteY5" fmla="*/ 1901646 h 3580493"/>
                <a:gd name="connsiteX6" fmla="*/ 1676065 w 12192001"/>
                <a:gd name="connsiteY6" fmla="*/ 1862175 h 3580493"/>
                <a:gd name="connsiteX7" fmla="*/ 192135 w 12192001"/>
                <a:gd name="connsiteY7" fmla="*/ 2129365 h 3580493"/>
                <a:gd name="connsiteX8" fmla="*/ 0 w 12192001"/>
                <a:gd name="connsiteY8" fmla="*/ 2193947 h 3580493"/>
                <a:gd name="connsiteX9" fmla="*/ 0 w 12192001"/>
                <a:gd name="connsiteY9" fmla="*/ 70220 h 3580493"/>
                <a:gd name="connsiteX10" fmla="*/ 294330 w 12192001"/>
                <a:gd name="connsiteY10" fmla="*/ 27516 h 3580493"/>
                <a:gd name="connsiteX11" fmla="*/ 656576 w 12192001"/>
                <a:gd name="connsiteY11" fmla="*/ 1471 h 3580493"/>
                <a:gd name="connsiteX12" fmla="*/ 781415 w 12192001"/>
                <a:gd name="connsiteY12" fmla="*/ 374 h 3580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1" h="3580493">
                  <a:moveTo>
                    <a:pt x="12192001" y="1687383"/>
                  </a:moveTo>
                  <a:lnTo>
                    <a:pt x="12181807" y="3580493"/>
                  </a:lnTo>
                  <a:lnTo>
                    <a:pt x="8662888" y="3580493"/>
                  </a:lnTo>
                  <a:close/>
                  <a:moveTo>
                    <a:pt x="781415" y="374"/>
                  </a:moveTo>
                  <a:cubicBezTo>
                    <a:pt x="1390963" y="12000"/>
                    <a:pt x="1782379" y="302073"/>
                    <a:pt x="2025283" y="1850899"/>
                  </a:cubicBezTo>
                  <a:cubicBezTo>
                    <a:pt x="2030914" y="1867815"/>
                    <a:pt x="2036547" y="1884729"/>
                    <a:pt x="2036547" y="1901646"/>
                  </a:cubicBezTo>
                  <a:cubicBezTo>
                    <a:pt x="1940794" y="1873453"/>
                    <a:pt x="1811245" y="1862175"/>
                    <a:pt x="1676065" y="1862175"/>
                  </a:cubicBezTo>
                  <a:cubicBezTo>
                    <a:pt x="1183218" y="1886844"/>
                    <a:pt x="716246" y="1963316"/>
                    <a:pt x="192135" y="2129365"/>
                  </a:cubicBezTo>
                  <a:lnTo>
                    <a:pt x="0" y="2193947"/>
                  </a:lnTo>
                  <a:lnTo>
                    <a:pt x="0" y="70220"/>
                  </a:lnTo>
                  <a:lnTo>
                    <a:pt x="294330" y="27516"/>
                  </a:lnTo>
                  <a:cubicBezTo>
                    <a:pt x="416710" y="14114"/>
                    <a:pt x="537589" y="5348"/>
                    <a:pt x="656576" y="1471"/>
                  </a:cubicBezTo>
                  <a:cubicBezTo>
                    <a:pt x="699172" y="62"/>
                    <a:pt x="740778" y="-401"/>
                    <a:pt x="781415" y="374"/>
                  </a:cubicBezTo>
                  <a:close/>
                </a:path>
              </a:pathLst>
            </a:custGeom>
            <a:solidFill>
              <a:srgbClr val="009B9D">
                <a:alpha val="7000"/>
              </a:srgbClr>
            </a:solidFill>
            <a:ln w="56300" cap="flat">
              <a:noFill/>
              <a:prstDash val="solid"/>
              <a:miter/>
            </a:ln>
          </p:spPr>
          <p:txBody>
            <a:bodyPr rtlCol="0" anchor="ctr"/>
            <a:lstStyle/>
            <a:p>
              <a:pPr rtl="0"/>
              <a:endParaRPr lang="en-US" dirty="0">
                <a:cs typeface="+mn-cs"/>
              </a:endParaRPr>
            </a:p>
          </p:txBody>
        </p:sp>
      </p:grpSp>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vert="horz"/>
          <a:lstStyle>
            <a:lvl1pPr rtl="0">
              <a:defRPr sz="3400">
                <a:solidFill>
                  <a:srgbClr val="FFFFFF"/>
                </a:solidFill>
                <a:cs typeface="+mj-cs"/>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514599"/>
            <a:ext cx="10933801" cy="3660159"/>
          </a:xfrm>
        </p:spPr>
        <p:txBody>
          <a:bodyPr/>
          <a:lstStyle>
            <a:lvl1pPr rtl="0">
              <a:lnSpc>
                <a:spcPct val="100000"/>
              </a:lnSpc>
              <a:spcBef>
                <a:spcPts val="0"/>
              </a:spcBef>
              <a:spcAft>
                <a:spcPts val="0"/>
              </a:spcAft>
              <a:defRPr sz="2000">
                <a:cs typeface="+mn-cs"/>
              </a:defRPr>
            </a:lvl1pPr>
            <a:lvl2pPr rtl="0">
              <a:lnSpc>
                <a:spcPct val="100000"/>
              </a:lnSpc>
              <a:spcBef>
                <a:spcPts val="0"/>
              </a:spcBef>
              <a:spcAft>
                <a:spcPts val="0"/>
              </a:spcAft>
              <a:defRPr sz="2000">
                <a:cs typeface="+mn-cs"/>
              </a:defRPr>
            </a:lvl2pPr>
            <a:lvl3pPr rtl="0">
              <a:lnSpc>
                <a:spcPct val="100000"/>
              </a:lnSpc>
              <a:spcBef>
                <a:spcPts val="0"/>
              </a:spcBef>
              <a:spcAft>
                <a:spcPts val="0"/>
              </a:spcAft>
              <a:defRPr sz="2000">
                <a:cs typeface="+mn-cs"/>
              </a:defRPr>
            </a:lvl3pPr>
            <a:lvl4pPr rtl="0">
              <a:lnSpc>
                <a:spcPct val="100000"/>
              </a:lnSpc>
              <a:spcBef>
                <a:spcPts val="0"/>
              </a:spcBef>
              <a:spcAft>
                <a:spcPts val="0"/>
              </a:spcAft>
              <a:defRPr sz="2800">
                <a:cs typeface="+mn-cs"/>
              </a:defRPr>
            </a:lvl4pPr>
            <a:lvl5pPr rtl="0">
              <a:lnSpc>
                <a:spcPct val="100000"/>
              </a:lnSpc>
              <a:spcBef>
                <a:spcPts val="0"/>
              </a:spcBef>
              <a:spcAft>
                <a:spcPts val="0"/>
              </a:spcAft>
              <a:defRPr sz="2800">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cs typeface="+mn-cs"/>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28544339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625D093-CDF0-46B3-9350-220602CC94D7}"/>
              </a:ext>
            </a:extLst>
          </p:cNvPr>
          <p:cNvGraphicFramePr>
            <a:graphicFrameLocks noChangeAspect="1"/>
          </p:cNvGraphicFramePr>
          <p:nvPr userDrawn="1">
            <p:custDataLst>
              <p:tags r:id="rId1"/>
            </p:custDataLst>
            <p:extLst>
              <p:ext uri="{D42A27DB-BD31-4B8C-83A1-F6EECF244321}">
                <p14:modId xmlns:p14="http://schemas.microsoft.com/office/powerpoint/2010/main" val="2353611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6" imgH="367" progId="TCLayout.ActiveDocument.1">
                  <p:embed/>
                </p:oleObj>
              </mc:Choice>
              <mc:Fallback>
                <p:oleObj name="think-cell Slide" r:id="rId3" imgW="366" imgH="367" progId="TCLayout.ActiveDocument.1">
                  <p:embed/>
                  <p:pic>
                    <p:nvPicPr>
                      <p:cNvPr id="4" name="think-cell data - do not delete" hidden="1">
                        <a:extLst>
                          <a:ext uri="{FF2B5EF4-FFF2-40B4-BE49-F238E27FC236}">
                            <a16:creationId xmlns:a16="http://schemas.microsoft.com/office/drawing/2014/main" id="{F625D093-CDF0-46B3-9350-220602CC94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lnSpc>
                <a:spcPct val="90000"/>
              </a:lnSpc>
              <a:spcAft>
                <a:spcPts val="1000"/>
              </a:spcAft>
            </a:pPr>
            <a:endParaRPr lang="en-US" sz="1200" dirty="0">
              <a:solidFill>
                <a:schemeClr val="bg1"/>
              </a:solidFill>
              <a:latin typeface="+mn-lt"/>
              <a:cs typeface="+mn-cs"/>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latin typeface="+mn-lt"/>
                <a:cs typeface="+mn-cs"/>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rtl="0">
              <a:defRPr sz="3400">
                <a:solidFill>
                  <a:schemeClr val="tx2"/>
                </a:solidFill>
                <a:latin typeface="+mj-lt"/>
                <a:cs typeface="+mj-cs"/>
              </a:defRPr>
            </a:lvl1pPr>
          </a:lstStyle>
          <a:p>
            <a:r>
              <a:rPr lang="en-US" dirty="0"/>
              <a:t>Click to add title</a:t>
            </a:r>
          </a:p>
        </p:txBody>
      </p:sp>
      <p:sp>
        <p:nvSpPr>
          <p:cNvPr id="11"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cs typeface="+mn-cs"/>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5982213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9011007-A8FD-E3F6-187F-5C3DDAD0F5C6}"/>
              </a:ext>
            </a:extLst>
          </p:cNvPr>
          <p:cNvGraphicFramePr>
            <a:graphicFrameLocks noChangeAspect="1"/>
          </p:cNvGraphicFramePr>
          <p:nvPr userDrawn="1">
            <p:custDataLst>
              <p:tags r:id="rId1"/>
            </p:custDataLst>
            <p:extLst>
              <p:ext uri="{D42A27DB-BD31-4B8C-83A1-F6EECF244321}">
                <p14:modId xmlns:p14="http://schemas.microsoft.com/office/powerpoint/2010/main" val="45407311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79011007-A8FD-E3F6-187F-5C3DDAD0F5C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61D7BD30-ACAE-4C6B-ACEC-6364D7EE7BA6}"/>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12192000" cy="6858000"/>
          </a:xfrm>
          <a:prstGeom prst="rect">
            <a:avLst/>
          </a:prstGeom>
          <a:gradFill>
            <a:gsLst>
              <a:gs pos="0">
                <a:schemeClr val="tx2"/>
              </a:gs>
              <a:gs pos="100000">
                <a:schemeClr val="accent2"/>
              </a:gs>
            </a:gsLst>
            <a:lin ang="8100000" scaled="1"/>
          </a:gradFill>
        </p:spPr>
      </p:pic>
      <p:sp>
        <p:nvSpPr>
          <p:cNvPr id="6" name="Overlay">
            <a:extLst>
              <a:ext uri="{FF2B5EF4-FFF2-40B4-BE49-F238E27FC236}">
                <a16:creationId xmlns:a16="http://schemas.microsoft.com/office/drawing/2014/main" id="{C48520CF-1740-D76C-69B4-B2317C22EB45}"/>
              </a:ext>
            </a:extLst>
          </p:cNvPr>
          <p:cNvSpPr/>
          <p:nvPr userDrawn="1">
            <p:custDataLst>
              <p:tags r:id="rId2"/>
            </p:custDataLst>
          </p:nvPr>
        </p:nvSpPr>
        <p:spPr>
          <a:xfrm>
            <a:off x="0" y="0"/>
            <a:ext cx="12192000" cy="6858000"/>
          </a:xfrm>
          <a:prstGeom prst="rect">
            <a:avLst/>
          </a:prstGeom>
          <a:gradFill>
            <a:gsLst>
              <a:gs pos="0">
                <a:srgbClr val="009B9D">
                  <a:alpha val="75000"/>
                </a:srgbClr>
              </a:gs>
              <a:gs pos="100000">
                <a:srgbClr val="006F4E">
                  <a:alpha val="9506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lnSpc>
                <a:spcPct val="90000"/>
              </a:lnSpc>
              <a:spcAft>
                <a:spcPts val="1000"/>
              </a:spcAft>
            </a:pPr>
            <a:endParaRPr lang="en-US" sz="1200" dirty="0">
              <a:solidFill>
                <a:schemeClr val="bg1"/>
              </a:solidFill>
              <a:cs typeface="+mn-cs"/>
            </a:endParaRPr>
          </a:p>
        </p:txBody>
      </p:sp>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mj-cs"/>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cs typeface="+mn-cs"/>
                <a:sym typeface="Trebuchet MS" panose="020B0603020202020204" pitchFamily="34" charset="0"/>
              </a:defRPr>
            </a:lvl1pPr>
          </a:lstStyle>
          <a:p>
            <a:endParaRPr lang="en-US" dirty="0"/>
          </a:p>
        </p:txBody>
      </p:sp>
      <p:sp>
        <p:nvSpPr>
          <p:cNvPr id="12"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cs typeface="+mn-cs"/>
                <a:sym typeface="Trebuchet MS" panose="020B0603020202020204" pitchFamily="34" charset="0"/>
              </a:rPr>
              <a:t>Copyright © 2024 by Boston Consulting Group. All rights reserved.</a:t>
            </a:r>
          </a:p>
        </p:txBody>
      </p:sp>
      <p:sp>
        <p:nvSpPr>
          <p:cNvPr id="59" name="Rectangle 58"/>
          <p:cNvSpPr/>
          <p:nvPr/>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en-US" sz="1200" dirty="0">
              <a:solidFill>
                <a:schemeClr val="bg1"/>
              </a:solidFill>
              <a:latin typeface="+mn-lt"/>
              <a:cs typeface="+mn-cs"/>
              <a:sym typeface="Trebuchet MS" panose="020B0603020202020204" pitchFamily="34" charset="0"/>
            </a:endParaRPr>
          </a:p>
        </p:txBody>
      </p:sp>
    </p:spTree>
    <p:extLst>
      <p:ext uri="{BB962C8B-B14F-4D97-AF65-F5344CB8AC3E}">
        <p14:creationId xmlns:p14="http://schemas.microsoft.com/office/powerpoint/2010/main" val="27237243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B60C047-DF64-62D7-B1B1-FB0D3ABA1040}"/>
              </a:ext>
            </a:extLst>
          </p:cNvPr>
          <p:cNvGraphicFramePr>
            <a:graphicFrameLocks noChangeAspect="1"/>
          </p:cNvGraphicFramePr>
          <p:nvPr userDrawn="1">
            <p:custDataLst>
              <p:tags r:id="rId1"/>
            </p:custDataLst>
            <p:extLst>
              <p:ext uri="{D42A27DB-BD31-4B8C-83A1-F6EECF244321}">
                <p14:modId xmlns:p14="http://schemas.microsoft.com/office/powerpoint/2010/main" val="18975968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DB60C047-DF64-62D7-B1B1-FB0D3ABA104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22BEFE68-8016-4A23-A894-BD61171CA1AC}"/>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12192000" cy="6858000"/>
          </a:xfrm>
          <a:prstGeom prst="rect">
            <a:avLst/>
          </a:prstGeom>
          <a:gradFill>
            <a:gsLst>
              <a:gs pos="0">
                <a:schemeClr val="tx2"/>
              </a:gs>
              <a:gs pos="100000">
                <a:schemeClr val="accent2"/>
              </a:gs>
            </a:gsLst>
            <a:lin ang="8100000" scaled="1"/>
          </a:gradFill>
        </p:spPr>
      </p:pic>
      <p:sp>
        <p:nvSpPr>
          <p:cNvPr id="12" name="Overlay">
            <a:extLst>
              <a:ext uri="{FF2B5EF4-FFF2-40B4-BE49-F238E27FC236}">
                <a16:creationId xmlns:a16="http://schemas.microsoft.com/office/drawing/2014/main" id="{0CCC9402-C0D0-4AE9-B302-CC07C5C0672D}"/>
              </a:ext>
            </a:extLst>
          </p:cNvPr>
          <p:cNvSpPr/>
          <p:nvPr userDrawn="1">
            <p:custDataLst>
              <p:tags r:id="rId2"/>
            </p:custDataLst>
          </p:nvPr>
        </p:nvSpPr>
        <p:spPr>
          <a:xfrm>
            <a:off x="0" y="0"/>
            <a:ext cx="12192000" cy="6858000"/>
          </a:xfrm>
          <a:prstGeom prst="rect">
            <a:avLst/>
          </a:prstGeom>
          <a:gradFill>
            <a:gsLst>
              <a:gs pos="0">
                <a:srgbClr val="009B9D">
                  <a:alpha val="75000"/>
                </a:srgbClr>
              </a:gs>
              <a:gs pos="100000">
                <a:srgbClr val="006F4E">
                  <a:alpha val="9506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lnSpc>
                <a:spcPct val="90000"/>
              </a:lnSpc>
              <a:spcAft>
                <a:spcPts val="1000"/>
              </a:spcAft>
            </a:pPr>
            <a:endParaRPr lang="en-US" sz="1200" dirty="0">
              <a:solidFill>
                <a:schemeClr val="bg1"/>
              </a:solidFill>
              <a:cs typeface="+mn-cs"/>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cs typeface="+mn-cs"/>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rtl="0">
              <a:defRPr sz="5400">
                <a:solidFill>
                  <a:schemeClr val="bg1"/>
                </a:solidFill>
                <a:latin typeface="+mj-lt"/>
                <a:cs typeface="+mj-cs"/>
                <a:sym typeface="Trebuchet MS" panose="020B0603020202020204" pitchFamily="34" charset="0"/>
              </a:defRPr>
            </a:lvl1pPr>
          </a:lstStyle>
          <a:p>
            <a:r>
              <a:rPr lang="en-US" dirty="0"/>
              <a:t>Click to add big statement text</a:t>
            </a:r>
          </a:p>
        </p:txBody>
      </p:sp>
      <p:cxnSp>
        <p:nvCxnSpPr>
          <p:cNvPr id="148" name="Straight Connector 147"/>
          <p:cNvCxnSpPr/>
          <p:nvPr/>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886979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12A702C-6B0B-F604-98F2-F2A955B6D429}"/>
              </a:ext>
            </a:extLst>
          </p:cNvPr>
          <p:cNvGraphicFramePr>
            <a:graphicFrameLocks noChangeAspect="1"/>
          </p:cNvGraphicFramePr>
          <p:nvPr userDrawn="1">
            <p:custDataLst>
              <p:tags r:id="rId1"/>
            </p:custDataLst>
            <p:extLst>
              <p:ext uri="{D42A27DB-BD31-4B8C-83A1-F6EECF244321}">
                <p14:modId xmlns:p14="http://schemas.microsoft.com/office/powerpoint/2010/main" val="14679751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612A702C-6B0B-F604-98F2-F2A955B6D42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55CDD7A0-0914-436C-9753-E283BDD7A634}"/>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2467155" y="0"/>
            <a:ext cx="9724845" cy="6858000"/>
          </a:xfrm>
          <a:prstGeom prst="rect">
            <a:avLst/>
          </a:prstGeom>
          <a:gradFill>
            <a:gsLst>
              <a:gs pos="0">
                <a:srgbClr val="29BA74"/>
              </a:gs>
              <a:gs pos="100000">
                <a:srgbClr val="197A56"/>
              </a:gs>
            </a:gsLst>
            <a:lin ang="8100000" scaled="1"/>
          </a:gradFill>
        </p:spPr>
      </p:pic>
      <p:sp>
        <p:nvSpPr>
          <p:cNvPr id="14" name="Overlay">
            <a:extLst>
              <a:ext uri="{FF2B5EF4-FFF2-40B4-BE49-F238E27FC236}">
                <a16:creationId xmlns:a16="http://schemas.microsoft.com/office/drawing/2014/main" id="{73B11159-55F0-4949-8665-9A29FC942F33}"/>
              </a:ext>
            </a:extLst>
          </p:cNvPr>
          <p:cNvSpPr/>
          <p:nvPr userDrawn="1">
            <p:custDataLst>
              <p:tags r:id="rId2"/>
            </p:custDataLst>
          </p:nvPr>
        </p:nvSpPr>
        <p:spPr>
          <a:xfrm>
            <a:off x="2794001" y="0"/>
            <a:ext cx="9397999" cy="6858000"/>
          </a:xfrm>
          <a:prstGeom prst="rect">
            <a:avLst/>
          </a:prstGeom>
          <a:gradFill>
            <a:gsLst>
              <a:gs pos="0">
                <a:srgbClr val="009B9D">
                  <a:alpha val="21000"/>
                </a:srgbClr>
              </a:gs>
              <a:gs pos="100000">
                <a:srgbClr val="006F4E">
                  <a:alpha val="88979"/>
                </a:srgbClr>
              </a:gs>
            </a:gsLst>
            <a:lin ang="8100000" scaled="1"/>
          </a:gradFill>
          <a:ln w="9525" cap="flat" cmpd="sng" algn="ctr">
            <a:noFill/>
            <a:prstDash val="solid"/>
            <a:miter lim="800000"/>
          </a:ln>
          <a:effectLst/>
        </p:spPr>
        <p:txBody>
          <a:bodyPr rtlCol="0" anchor="t"/>
          <a:lstStyle/>
          <a:p>
            <a:pPr marL="0" marR="0" lvl="0" indent="0"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Trebuchet MS"/>
              <a:ea typeface="+mn-ea"/>
              <a:cs typeface="+mn-cs"/>
            </a:endParaRPr>
          </a:p>
        </p:txBody>
      </p:sp>
      <p:pic>
        <p:nvPicPr>
          <p:cNvPr id="16" name="Picture 15"/>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rtl="0">
              <a:defRPr>
                <a:solidFill>
                  <a:schemeClr val="bg1"/>
                </a:solidFill>
                <a:latin typeface="+mn-lt"/>
                <a:cs typeface="+mn-cs"/>
                <a:sym typeface="Trebuchet MS" panose="020B0603020202020204" pitchFamily="34" charset="0"/>
              </a:defRPr>
            </a:lvl1pPr>
          </a:lstStyle>
          <a:p>
            <a:endParaRPr lang="en-US" dirty="0"/>
          </a:p>
        </p:txBody>
      </p:sp>
      <p:sp>
        <p:nvSpPr>
          <p:cNvPr id="25"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cs typeface="+mn-cs"/>
                <a:sym typeface="Trebuchet MS" panose="020B0603020202020204" pitchFamily="34" charset="0"/>
              </a:rPr>
              <a:t>Copyright © 2024 by Boston Consulting Group. All rights reserved.</a:t>
            </a:r>
          </a:p>
        </p:txBody>
      </p:sp>
      <p:sp>
        <p:nvSpPr>
          <p:cNvPr id="20" name="TextBox 19"/>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US" sz="1200" dirty="0">
              <a:solidFill>
                <a:schemeClr val="bg1"/>
              </a:solidFill>
              <a:latin typeface="+mn-lt"/>
              <a:cs typeface="+mn-cs"/>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rtl="0">
              <a:defRPr sz="3400">
                <a:solidFill>
                  <a:schemeClr val="tx2"/>
                </a:solidFill>
                <a:latin typeface="+mj-lt"/>
                <a:cs typeface="+mj-cs"/>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42751893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2511195-F06F-EF42-C93D-D83676E02CE2}"/>
              </a:ext>
            </a:extLst>
          </p:cNvPr>
          <p:cNvGraphicFramePr>
            <a:graphicFrameLocks noChangeAspect="1"/>
          </p:cNvGraphicFramePr>
          <p:nvPr userDrawn="1">
            <p:custDataLst>
              <p:tags r:id="rId1"/>
            </p:custDataLst>
            <p:extLst>
              <p:ext uri="{D42A27DB-BD31-4B8C-83A1-F6EECF244321}">
                <p14:modId xmlns:p14="http://schemas.microsoft.com/office/powerpoint/2010/main" val="6525122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12511195-F06F-EF42-C93D-D83676E02C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7D1656A3-24E9-41D5-8244-43FD656E0547}"/>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2467155" y="0"/>
            <a:ext cx="9724845" cy="6858000"/>
          </a:xfrm>
          <a:prstGeom prst="rect">
            <a:avLst/>
          </a:prstGeom>
          <a:gradFill>
            <a:gsLst>
              <a:gs pos="0">
                <a:srgbClr val="29BA74"/>
              </a:gs>
              <a:gs pos="100000">
                <a:srgbClr val="197A56"/>
              </a:gs>
            </a:gsLst>
            <a:lin ang="8100000" scaled="1"/>
          </a:gradFill>
        </p:spPr>
      </p:pic>
      <p:sp>
        <p:nvSpPr>
          <p:cNvPr id="12" name="Overlay">
            <a:extLst>
              <a:ext uri="{FF2B5EF4-FFF2-40B4-BE49-F238E27FC236}">
                <a16:creationId xmlns:a16="http://schemas.microsoft.com/office/drawing/2014/main" id="{D676AAAF-E7E1-4E62-BA02-F509CD120DF6}"/>
              </a:ext>
            </a:extLst>
          </p:cNvPr>
          <p:cNvSpPr/>
          <p:nvPr userDrawn="1">
            <p:custDataLst>
              <p:tags r:id="rId2"/>
            </p:custDataLst>
          </p:nvPr>
        </p:nvSpPr>
        <p:spPr>
          <a:xfrm>
            <a:off x="2794001" y="0"/>
            <a:ext cx="9397999" cy="6858000"/>
          </a:xfrm>
          <a:prstGeom prst="rect">
            <a:avLst/>
          </a:prstGeom>
          <a:gradFill>
            <a:gsLst>
              <a:gs pos="0">
                <a:srgbClr val="009B9D">
                  <a:alpha val="21000"/>
                </a:srgbClr>
              </a:gs>
              <a:gs pos="100000">
                <a:srgbClr val="006F4E">
                  <a:alpha val="88979"/>
                </a:srgbClr>
              </a:gs>
            </a:gsLst>
            <a:lin ang="8100000" scaled="1"/>
          </a:gradFill>
          <a:ln w="9525" cap="flat" cmpd="sng" algn="ctr">
            <a:noFill/>
            <a:prstDash val="solid"/>
            <a:miter lim="800000"/>
          </a:ln>
          <a:effectLst/>
        </p:spPr>
        <p:txBody>
          <a:bodyPr rtlCol="0" anchor="t"/>
          <a:lstStyle/>
          <a:p>
            <a:pPr marL="0" marR="0" lvl="0" indent="0"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Trebuchet MS"/>
              <a:ea typeface="+mn-ea"/>
              <a:cs typeface="+mn-cs"/>
            </a:endParaRPr>
          </a:p>
        </p:txBody>
      </p:sp>
      <p:pic>
        <p:nvPicPr>
          <p:cNvPr id="10" name="Picture 9"/>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V="1">
            <a:off x="7165606" y="0"/>
            <a:ext cx="416951" cy="6858000"/>
          </a:xfrm>
          <a:prstGeom prst="rect">
            <a:avLst/>
          </a:prstGeom>
        </p:spPr>
      </p:pic>
      <p:sp>
        <p:nvSpPr>
          <p:cNvPr id="13" name="Rectangle 12"/>
          <p:cNvSpPr/>
          <p:nvPr/>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US" sz="1200" dirty="0">
              <a:solidFill>
                <a:schemeClr val="bg1"/>
              </a:solidFill>
              <a:latin typeface="+mn-lt"/>
              <a:cs typeface="+mn-cs"/>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cs typeface="+mn-cs"/>
                <a:sym typeface="Trebuchet MS" panose="020B0603020202020204" pitchFamily="34" charset="0"/>
              </a:defRPr>
            </a:lvl1pPr>
          </a:lstStyle>
          <a:p>
            <a:endParaRPr lang="en-US" dirty="0"/>
          </a:p>
        </p:txBody>
      </p:sp>
      <p:sp>
        <p:nvSpPr>
          <p:cNvPr id="20"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cs typeface="+mn-cs"/>
                <a:sym typeface="Trebuchet MS" panose="020B0603020202020204" pitchFamily="34" charset="0"/>
              </a:rPr>
              <a:t>Copyright © 2024 by Boston Consulting Group. All rights reserved.</a:t>
            </a:r>
          </a:p>
        </p:txBody>
      </p:sp>
      <p:sp>
        <p:nvSpPr>
          <p:cNvPr id="17" name="TextBox 16"/>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400" b="0" i="0" u="none" kern="1200" spc="0">
                <a:solidFill>
                  <a:schemeClr val="tx2">
                    <a:lumMod val="100000"/>
                  </a:schemeClr>
                </a:solidFill>
                <a:latin typeface="+mj-lt"/>
                <a:cs typeface="+mj-cs"/>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149085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B70019C-53AD-6393-AFEC-C9DFBE17FF9C}"/>
              </a:ext>
            </a:extLst>
          </p:cNvPr>
          <p:cNvGraphicFramePr>
            <a:graphicFrameLocks noChangeAspect="1"/>
          </p:cNvGraphicFramePr>
          <p:nvPr userDrawn="1">
            <p:custDataLst>
              <p:tags r:id="rId1"/>
            </p:custDataLst>
            <p:extLst>
              <p:ext uri="{D42A27DB-BD31-4B8C-83A1-F6EECF244321}">
                <p14:modId xmlns:p14="http://schemas.microsoft.com/office/powerpoint/2010/main" val="303385120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5B70019C-53AD-6393-AFEC-C9DFBE17FF9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84F9632A-C240-36E4-25BF-D9CFCA3236C8}"/>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7811122" cy="6858000"/>
          </a:xfrm>
          <a:prstGeom prst="rect">
            <a:avLst/>
          </a:prstGeom>
          <a:gradFill>
            <a:gsLst>
              <a:gs pos="0">
                <a:schemeClr val="tx2"/>
              </a:gs>
              <a:gs pos="100000">
                <a:schemeClr val="accent2"/>
              </a:gs>
            </a:gsLst>
            <a:lin ang="8100000" scaled="1"/>
          </a:gradFill>
        </p:spPr>
      </p:pic>
      <p:sp>
        <p:nvSpPr>
          <p:cNvPr id="3" name="Overlay">
            <a:extLst>
              <a:ext uri="{FF2B5EF4-FFF2-40B4-BE49-F238E27FC236}">
                <a16:creationId xmlns:a16="http://schemas.microsoft.com/office/drawing/2014/main" id="{24C72515-326E-B90F-8898-650CD4847A4B}"/>
              </a:ext>
            </a:extLst>
          </p:cNvPr>
          <p:cNvSpPr/>
          <p:nvPr userDrawn="1">
            <p:custDataLst>
              <p:tags r:id="rId2"/>
            </p:custDataLst>
          </p:nvPr>
        </p:nvSpPr>
        <p:spPr>
          <a:xfrm>
            <a:off x="-1" y="0"/>
            <a:ext cx="7835221" cy="6858000"/>
          </a:xfrm>
          <a:prstGeom prst="rect">
            <a:avLst/>
          </a:prstGeom>
          <a:gradFill>
            <a:gsLst>
              <a:gs pos="0">
                <a:srgbClr val="009B9D">
                  <a:alpha val="21000"/>
                </a:srgbClr>
              </a:gs>
              <a:gs pos="100000">
                <a:srgbClr val="006F4E">
                  <a:alpha val="8897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cs typeface="+mn-cs"/>
            </a:endParaRPr>
          </a:p>
        </p:txBody>
      </p:sp>
      <p:pic>
        <p:nvPicPr>
          <p:cNvPr id="10" name="Picture 9"/>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rtl="0">
              <a:defRPr sz="3400">
                <a:solidFill>
                  <a:schemeClr val="bg1"/>
                </a:solidFill>
                <a:latin typeface="+mj-lt"/>
                <a:cs typeface="+mj-cs"/>
                <a:sym typeface="Trebuchet MS" panose="020B0603020202020204" pitchFamily="34" charset="0"/>
              </a:defRPr>
            </a:lvl1pPr>
          </a:lstStyle>
          <a:p>
            <a:r>
              <a:rPr lang="en-US" dirty="0"/>
              <a:t>Click to add title</a:t>
            </a:r>
          </a:p>
        </p:txBody>
      </p:sp>
      <p:sp>
        <p:nvSpPr>
          <p:cNvPr id="13" name="Rectangle 12"/>
          <p:cNvSpPr/>
          <p:nvPr/>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US" sz="1200" dirty="0">
              <a:solidFill>
                <a:schemeClr val="bg1"/>
              </a:solidFill>
              <a:latin typeface="+mn-lt"/>
              <a:cs typeface="+mn-cs"/>
              <a:sym typeface="Trebuchet MS" panose="020B0603020202020204" pitchFamily="34" charset="0"/>
            </a:endParaRPr>
          </a:p>
        </p:txBody>
      </p:sp>
      <p:sp>
        <p:nvSpPr>
          <p:cNvPr id="16"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cs typeface="+mn-cs"/>
                <a:sym typeface="Trebuchet MS" panose="020B0603020202020204" pitchFamily="34" charset="0"/>
              </a:rPr>
              <a:t>Copyright © 2024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rtl="0">
              <a:defRPr>
                <a:solidFill>
                  <a:schemeClr val="bg1">
                    <a:lumMod val="50000"/>
                  </a:schemeClr>
                </a:solidFill>
                <a:latin typeface="+mn-lt"/>
                <a:cs typeface="+mn-cs"/>
                <a:sym typeface="Trebuchet MS" panose="020B0603020202020204" pitchFamily="34" charset="0"/>
              </a:defRPr>
            </a:lvl1pPr>
          </a:lstStyle>
          <a:p>
            <a:endParaRPr lang="en-US" dirty="0"/>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837815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E76EE36-F23C-EEF2-5790-313FF93BC2E1}"/>
              </a:ext>
            </a:extLst>
          </p:cNvPr>
          <p:cNvGraphicFramePr>
            <a:graphicFrameLocks noChangeAspect="1"/>
          </p:cNvGraphicFramePr>
          <p:nvPr userDrawn="1">
            <p:custDataLst>
              <p:tags r:id="rId1"/>
            </p:custDataLst>
            <p:extLst>
              <p:ext uri="{D42A27DB-BD31-4B8C-83A1-F6EECF244321}">
                <p14:modId xmlns:p14="http://schemas.microsoft.com/office/powerpoint/2010/main" val="28643338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1E76EE36-F23C-EEF2-5790-313FF93BC2E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857E72C9-1CA8-FC1B-0DE1-7A3E9C856E3A}"/>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7811122" cy="6858000"/>
          </a:xfrm>
          <a:prstGeom prst="rect">
            <a:avLst/>
          </a:prstGeom>
          <a:gradFill>
            <a:gsLst>
              <a:gs pos="0">
                <a:schemeClr val="tx2"/>
              </a:gs>
              <a:gs pos="100000">
                <a:schemeClr val="accent2"/>
              </a:gs>
            </a:gsLst>
            <a:lin ang="8100000" scaled="1"/>
          </a:gradFill>
        </p:spPr>
      </p:pic>
      <p:sp>
        <p:nvSpPr>
          <p:cNvPr id="3" name="Overlay">
            <a:extLst>
              <a:ext uri="{FF2B5EF4-FFF2-40B4-BE49-F238E27FC236}">
                <a16:creationId xmlns:a16="http://schemas.microsoft.com/office/drawing/2014/main" id="{99F7C9CB-E67D-EC5D-D659-1DB5248C6824}"/>
              </a:ext>
            </a:extLst>
          </p:cNvPr>
          <p:cNvSpPr/>
          <p:nvPr userDrawn="1">
            <p:custDataLst>
              <p:tags r:id="rId2"/>
            </p:custDataLst>
          </p:nvPr>
        </p:nvSpPr>
        <p:spPr>
          <a:xfrm>
            <a:off x="-1" y="0"/>
            <a:ext cx="7835221" cy="6858000"/>
          </a:xfrm>
          <a:prstGeom prst="rect">
            <a:avLst/>
          </a:prstGeom>
          <a:gradFill>
            <a:gsLst>
              <a:gs pos="0">
                <a:srgbClr val="009B9D">
                  <a:alpha val="21000"/>
                </a:srgbClr>
              </a:gs>
              <a:gs pos="100000">
                <a:srgbClr val="006F4E">
                  <a:alpha val="8897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cs typeface="+mn-cs"/>
            </a:endParaRPr>
          </a:p>
        </p:txBody>
      </p:sp>
      <p:pic>
        <p:nvPicPr>
          <p:cNvPr id="11" name="Picture 10"/>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2" name="Rectangle 11"/>
          <p:cNvSpPr/>
          <p:nvPr/>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latin typeface="+mn-lt"/>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rtl="0">
              <a:defRPr sz="1800" baseline="0">
                <a:latin typeface="Trebuchet MS" panose="020B0603020202020204" pitchFamily="34" charset="0"/>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rtl="0">
              <a:defRPr sz="4400">
                <a:solidFill>
                  <a:schemeClr val="bg1"/>
                </a:solidFill>
                <a:latin typeface="+mj-lt"/>
                <a:cs typeface="+mj-cs"/>
                <a:sym typeface="Trebuchet MS" panose="020B0603020202020204" pitchFamily="34" charset="0"/>
              </a:defRPr>
            </a:lvl1pPr>
          </a:lstStyle>
          <a:p>
            <a:r>
              <a:rPr lang="en-US" dirty="0"/>
              <a:t>Click to add title</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rtl="0">
              <a:defRPr>
                <a:solidFill>
                  <a:schemeClr val="bg1">
                    <a:lumMod val="50000"/>
                  </a:schemeClr>
                </a:solidFill>
                <a:latin typeface="+mn-lt"/>
                <a:cs typeface="+mn-cs"/>
                <a:sym typeface="Trebuchet MS" panose="020B0603020202020204" pitchFamily="34" charset="0"/>
              </a:defRPr>
            </a:lvl1pPr>
          </a:lstStyle>
          <a:p>
            <a:endParaRPr lang="en-US" dirty="0"/>
          </a:p>
        </p:txBody>
      </p:sp>
      <p:sp>
        <p:nvSpPr>
          <p:cNvPr id="21"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cs typeface="+mn-cs"/>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2374476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2511195-F06F-EF42-C93D-D83676E02CE2}"/>
              </a:ext>
            </a:extLst>
          </p:cNvPr>
          <p:cNvGraphicFramePr>
            <a:graphicFrameLocks noChangeAspect="1"/>
          </p:cNvGraphicFramePr>
          <p:nvPr userDrawn="1">
            <p:custDataLst>
              <p:tags r:id="rId1"/>
            </p:custDataLst>
            <p:extLst>
              <p:ext uri="{D42A27DB-BD31-4B8C-83A1-F6EECF244321}">
                <p14:modId xmlns:p14="http://schemas.microsoft.com/office/powerpoint/2010/main" val="10192318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12511195-F06F-EF42-C93D-D83676E02C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7D1656A3-24E9-41D5-8244-43FD656E0547}"/>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2467155" y="0"/>
            <a:ext cx="9724845" cy="6858000"/>
          </a:xfrm>
          <a:prstGeom prst="rect">
            <a:avLst/>
          </a:prstGeom>
          <a:gradFill>
            <a:gsLst>
              <a:gs pos="0">
                <a:srgbClr val="29BA74"/>
              </a:gs>
              <a:gs pos="100000">
                <a:srgbClr val="197A56"/>
              </a:gs>
            </a:gsLst>
            <a:lin ang="8100000" scaled="1"/>
          </a:gradFill>
        </p:spPr>
      </p:pic>
      <p:sp>
        <p:nvSpPr>
          <p:cNvPr id="12" name="Overlay">
            <a:extLst>
              <a:ext uri="{FF2B5EF4-FFF2-40B4-BE49-F238E27FC236}">
                <a16:creationId xmlns:a16="http://schemas.microsoft.com/office/drawing/2014/main" id="{D676AAAF-E7E1-4E62-BA02-F509CD120DF6}"/>
              </a:ext>
            </a:extLst>
          </p:cNvPr>
          <p:cNvSpPr/>
          <p:nvPr userDrawn="1">
            <p:custDataLst>
              <p:tags r:id="rId2"/>
            </p:custDataLst>
          </p:nvPr>
        </p:nvSpPr>
        <p:spPr>
          <a:xfrm>
            <a:off x="2794001" y="0"/>
            <a:ext cx="9397999" cy="6858000"/>
          </a:xfrm>
          <a:prstGeom prst="rect">
            <a:avLst/>
          </a:prstGeom>
          <a:gradFill>
            <a:gsLst>
              <a:gs pos="0">
                <a:srgbClr val="009B9D">
                  <a:alpha val="21000"/>
                </a:srgbClr>
              </a:gs>
              <a:gs pos="100000">
                <a:srgbClr val="006F4E">
                  <a:alpha val="88979"/>
                </a:srgbClr>
              </a:gs>
            </a:gsLst>
            <a:lin ang="8100000" scaled="1"/>
          </a:gradFill>
          <a:ln w="9525" cap="flat" cmpd="sng" algn="ctr">
            <a:noFill/>
            <a:prstDash val="solid"/>
            <a:miter lim="800000"/>
          </a:ln>
          <a:effectLst/>
        </p:spPr>
        <p:txBody>
          <a:bodyPr rtlCol="0" anchor="t"/>
          <a:lstStyle/>
          <a:p>
            <a:pPr marL="0" marR="0" lvl="0" indent="0"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Trebuchet MS"/>
              <a:ea typeface="+mn-ea"/>
              <a:cs typeface="+mn-cs"/>
            </a:endParaRPr>
          </a:p>
        </p:txBody>
      </p:sp>
      <p:pic>
        <p:nvPicPr>
          <p:cNvPr id="10" name="Picture 9"/>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V="1">
            <a:off x="7165606" y="0"/>
            <a:ext cx="416951" cy="6858000"/>
          </a:xfrm>
          <a:prstGeom prst="rect">
            <a:avLst/>
          </a:prstGeom>
        </p:spPr>
      </p:pic>
      <p:sp>
        <p:nvSpPr>
          <p:cNvPr id="13" name="Rectangle 12"/>
          <p:cNvSpPr/>
          <p:nvPr/>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US" sz="1200" dirty="0">
              <a:solidFill>
                <a:schemeClr val="bg1"/>
              </a:solidFill>
              <a:latin typeface="+mn-lt"/>
              <a:cs typeface="+mn-cs"/>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cs typeface="+mn-cs"/>
                <a:sym typeface="Trebuchet MS" panose="020B0603020202020204" pitchFamily="34" charset="0"/>
              </a:defRPr>
            </a:lvl1pPr>
          </a:lstStyle>
          <a:p>
            <a:endParaRPr lang="en-US" dirty="0"/>
          </a:p>
        </p:txBody>
      </p:sp>
      <p:sp>
        <p:nvSpPr>
          <p:cNvPr id="20"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cs typeface="+mn-cs"/>
                <a:sym typeface="Trebuchet MS" panose="020B0603020202020204" pitchFamily="34" charset="0"/>
              </a:rPr>
              <a:t>Copyright © 2024 by Boston Consulting Group. All rights reserved.</a:t>
            </a:r>
          </a:p>
        </p:txBody>
      </p:sp>
      <p:sp>
        <p:nvSpPr>
          <p:cNvPr id="17" name="TextBox 16"/>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400" b="0" i="0" u="none" kern="1200" spc="0">
                <a:solidFill>
                  <a:schemeClr val="tx2">
                    <a:lumMod val="100000"/>
                  </a:schemeClr>
                </a:solidFill>
                <a:latin typeface="+mj-lt"/>
                <a:cs typeface="+mj-cs"/>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7219827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1_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E76EE36-F23C-EEF2-5790-313FF93BC2E1}"/>
              </a:ext>
            </a:extLst>
          </p:cNvPr>
          <p:cNvGraphicFramePr>
            <a:graphicFrameLocks noChangeAspect="1"/>
          </p:cNvGraphicFramePr>
          <p:nvPr userDrawn="1">
            <p:custDataLst>
              <p:tags r:id="rId1"/>
            </p:custDataLst>
            <p:extLst>
              <p:ext uri="{D42A27DB-BD31-4B8C-83A1-F6EECF244321}">
                <p14:modId xmlns:p14="http://schemas.microsoft.com/office/powerpoint/2010/main" val="14000781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1E76EE36-F23C-EEF2-5790-313FF93BC2E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857E72C9-1CA8-FC1B-0DE1-7A3E9C856E3A}"/>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4380878" y="0"/>
            <a:ext cx="7811122" cy="6858000"/>
          </a:xfrm>
          <a:prstGeom prst="rect">
            <a:avLst/>
          </a:prstGeom>
          <a:gradFill>
            <a:gsLst>
              <a:gs pos="0">
                <a:schemeClr val="tx2"/>
              </a:gs>
              <a:gs pos="100000">
                <a:schemeClr val="accent2"/>
              </a:gs>
            </a:gsLst>
            <a:lin ang="8100000" scaled="1"/>
          </a:gradFill>
        </p:spPr>
      </p:pic>
      <p:sp>
        <p:nvSpPr>
          <p:cNvPr id="3" name="Overlay">
            <a:extLst>
              <a:ext uri="{FF2B5EF4-FFF2-40B4-BE49-F238E27FC236}">
                <a16:creationId xmlns:a16="http://schemas.microsoft.com/office/drawing/2014/main" id="{99F7C9CB-E67D-EC5D-D659-1DB5248C6824}"/>
              </a:ext>
            </a:extLst>
          </p:cNvPr>
          <p:cNvSpPr/>
          <p:nvPr userDrawn="1">
            <p:custDataLst>
              <p:tags r:id="rId2"/>
            </p:custDataLst>
          </p:nvPr>
        </p:nvSpPr>
        <p:spPr>
          <a:xfrm flipH="1">
            <a:off x="4356779" y="0"/>
            <a:ext cx="7835221" cy="6858000"/>
          </a:xfrm>
          <a:prstGeom prst="rect">
            <a:avLst/>
          </a:prstGeom>
          <a:gradFill>
            <a:gsLst>
              <a:gs pos="0">
                <a:srgbClr val="009B9D">
                  <a:alpha val="21000"/>
                </a:srgbClr>
              </a:gs>
              <a:gs pos="100000">
                <a:srgbClr val="006F4E">
                  <a:alpha val="8897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cs typeface="+mn-cs"/>
            </a:endParaRPr>
          </a:p>
        </p:txBody>
      </p:sp>
      <p:sp>
        <p:nvSpPr>
          <p:cNvPr id="12" name="Rectangle 11"/>
          <p:cNvSpPr/>
          <p:nvPr/>
        </p:nvSpPr>
        <p:spPr>
          <a:xfrm>
            <a:off x="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latin typeface="+mn-lt"/>
              <a:cs typeface="+mn-cs"/>
              <a:sym typeface="Trebuchet MS" panose="020B0603020202020204" pitchFamily="34" charset="0"/>
            </a:endParaRPr>
          </a:p>
        </p:txBody>
      </p:sp>
      <p:sp>
        <p:nvSpPr>
          <p:cNvPr id="21" name="Copyright"/>
          <p:cNvSpPr txBox="1"/>
          <p:nvPr/>
        </p:nvSpPr>
        <p:spPr>
          <a:xfrm rot="16200000">
            <a:off x="9486900" y="337963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cs typeface="+mn-cs"/>
                <a:sym typeface="Trebuchet MS" panose="020B0603020202020204" pitchFamily="34" charset="0"/>
              </a:rPr>
              <a:t>Copyright © 2024 by Boston Consulting Group. All rights reserved.</a:t>
            </a:r>
          </a:p>
        </p:txBody>
      </p:sp>
      <p:pic>
        <p:nvPicPr>
          <p:cNvPr id="11" name="Picture 10"/>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H="1">
            <a:off x="5679049" y="0"/>
            <a:ext cx="416951" cy="6858000"/>
          </a:xfrm>
          <a:prstGeom prst="rect">
            <a:avLst/>
          </a:prstGeom>
        </p:spPr>
      </p:pic>
      <p:sp>
        <p:nvSpPr>
          <p:cNvPr id="10" name="TextBox 9">
            <a:extLst>
              <a:ext uri="{FF2B5EF4-FFF2-40B4-BE49-F238E27FC236}">
                <a16:creationId xmlns:a16="http://schemas.microsoft.com/office/drawing/2014/main" id="{068240F2-33C7-F3DE-C203-60614D91B964}"/>
              </a:ext>
            </a:extLst>
          </p:cNvPr>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7" name="Date Placeholder 2">
            <a:extLst>
              <a:ext uri="{FF2B5EF4-FFF2-40B4-BE49-F238E27FC236}">
                <a16:creationId xmlns:a16="http://schemas.microsoft.com/office/drawing/2014/main" id="{312B3AF7-F440-ACC7-C50D-355CB1AC3C20}"/>
              </a:ext>
            </a:extLst>
          </p:cNvPr>
          <p:cNvSpPr>
            <a:spLocks noGrp="1"/>
          </p:cNvSpPr>
          <p:nvPr>
            <p:ph type="dt" sz="half" idx="15"/>
          </p:nvPr>
        </p:nvSpPr>
        <p:spPr>
          <a:xfrm>
            <a:off x="9677400" y="6405036"/>
            <a:ext cx="1482051" cy="153888"/>
          </a:xfrm>
          <a:prstGeom prst="rect">
            <a:avLst/>
          </a:prstGeom>
        </p:spPr>
        <p:txBody>
          <a:bodyPr/>
          <a:lstStyle>
            <a:lvl1pPr rtl="0">
              <a:defRPr>
                <a:solidFill>
                  <a:schemeClr val="bg1">
                    <a:lumMod val="50000"/>
                  </a:schemeClr>
                </a:solidFill>
                <a:latin typeface="+mn-lt"/>
                <a:cs typeface="+mn-cs"/>
                <a:sym typeface="Trebuchet MS" panose="020B0603020202020204" pitchFamily="34" charset="0"/>
              </a:defRPr>
            </a:lvl1pPr>
          </a:lstStyle>
          <a:p>
            <a:endParaRPr lang="en-US" dirty="0"/>
          </a:p>
        </p:txBody>
      </p:sp>
      <p:sp>
        <p:nvSpPr>
          <p:cNvPr id="18" name="Title 1">
            <a:extLst>
              <a:ext uri="{FF2B5EF4-FFF2-40B4-BE49-F238E27FC236}">
                <a16:creationId xmlns:a16="http://schemas.microsoft.com/office/drawing/2014/main" id="{A3BAAA74-59B2-DA37-C541-0455BD64A4CF}"/>
              </a:ext>
            </a:extLst>
          </p:cNvPr>
          <p:cNvSpPr>
            <a:spLocks noGrp="1"/>
          </p:cNvSpPr>
          <p:nvPr>
            <p:ph type="title" hasCustomPrompt="1"/>
          </p:nvPr>
        </p:nvSpPr>
        <p:spPr>
          <a:xfrm>
            <a:off x="630000" y="622800"/>
            <a:ext cx="10933350" cy="470898"/>
          </a:xfrm>
        </p:spPr>
        <p:txBody>
          <a:bodyPr vert="horz"/>
          <a:lstStyle>
            <a:lvl1pPr rtl="0">
              <a:defRPr sz="3400">
                <a:solidFill>
                  <a:srgbClr val="008C8A"/>
                </a:solidFill>
                <a:cs typeface="+mj-cs"/>
              </a:defRPr>
            </a:lvl1pPr>
          </a:lstStyle>
          <a:p>
            <a:r>
              <a:rPr lang="en-US" dirty="0"/>
              <a:t>Click to add title</a:t>
            </a:r>
          </a:p>
        </p:txBody>
      </p:sp>
    </p:spTree>
    <p:extLst>
      <p:ext uri="{BB962C8B-B14F-4D97-AF65-F5344CB8AC3E}">
        <p14:creationId xmlns:p14="http://schemas.microsoft.com/office/powerpoint/2010/main" val="33177032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E5D4744-7072-94B6-2286-C62CCDF9390B}"/>
              </a:ext>
            </a:extLst>
          </p:cNvPr>
          <p:cNvGraphicFramePr>
            <a:graphicFrameLocks noChangeAspect="1"/>
          </p:cNvGraphicFramePr>
          <p:nvPr userDrawn="1">
            <p:custDataLst>
              <p:tags r:id="rId1"/>
            </p:custDataLst>
            <p:extLst>
              <p:ext uri="{D42A27DB-BD31-4B8C-83A1-F6EECF244321}">
                <p14:modId xmlns:p14="http://schemas.microsoft.com/office/powerpoint/2010/main" val="408164094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7E5D4744-7072-94B6-2286-C62CCDF9390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A851EBA9-1D69-115D-25EF-425258FC0CAE}"/>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7811122" cy="6858000"/>
          </a:xfrm>
          <a:prstGeom prst="rect">
            <a:avLst/>
          </a:prstGeom>
          <a:gradFill>
            <a:gsLst>
              <a:gs pos="0">
                <a:schemeClr val="tx2"/>
              </a:gs>
              <a:gs pos="100000">
                <a:schemeClr val="accent2"/>
              </a:gs>
            </a:gsLst>
            <a:lin ang="8100000" scaled="1"/>
          </a:gradFill>
        </p:spPr>
      </p:pic>
      <p:sp>
        <p:nvSpPr>
          <p:cNvPr id="3" name="Overlay">
            <a:extLst>
              <a:ext uri="{FF2B5EF4-FFF2-40B4-BE49-F238E27FC236}">
                <a16:creationId xmlns:a16="http://schemas.microsoft.com/office/drawing/2014/main" id="{ADC5FA28-243D-9130-DFC6-EB8C24D4C1CB}"/>
              </a:ext>
            </a:extLst>
          </p:cNvPr>
          <p:cNvSpPr/>
          <p:nvPr userDrawn="1">
            <p:custDataLst>
              <p:tags r:id="rId2"/>
            </p:custDataLst>
          </p:nvPr>
        </p:nvSpPr>
        <p:spPr>
          <a:xfrm>
            <a:off x="-1" y="0"/>
            <a:ext cx="7835221" cy="6858000"/>
          </a:xfrm>
          <a:prstGeom prst="rect">
            <a:avLst/>
          </a:prstGeom>
          <a:gradFill>
            <a:gsLst>
              <a:gs pos="0">
                <a:srgbClr val="009B9D">
                  <a:alpha val="21000"/>
                </a:srgbClr>
              </a:gs>
              <a:gs pos="100000">
                <a:srgbClr val="006F4E">
                  <a:alpha val="8897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cs typeface="+mn-cs"/>
            </a:endParaRPr>
          </a:p>
        </p:txBody>
      </p:sp>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H="1">
            <a:off x="7409849" y="0"/>
            <a:ext cx="416951" cy="6858000"/>
          </a:xfrm>
          <a:prstGeom prst="rect">
            <a:avLst/>
          </a:prstGeom>
        </p:spPr>
      </p:pic>
      <p:sp>
        <p:nvSpPr>
          <p:cNvPr id="10" name="Rectangle 9"/>
          <p:cNvSpPr/>
          <p:nvPr/>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US" sz="1200" dirty="0">
              <a:solidFill>
                <a:schemeClr val="bg1"/>
              </a:solidFill>
              <a:latin typeface="+mn-lt"/>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rtl="0">
              <a:defRPr sz="1600">
                <a:solidFill>
                  <a:schemeClr val="tx1"/>
                </a:solidFill>
                <a:latin typeface="Trebuchet MS" panose="020B0603020202020204" pitchFamily="34" charset="0"/>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rtl="0">
              <a:defRPr>
                <a:solidFill>
                  <a:schemeClr val="bg1">
                    <a:lumMod val="50000"/>
                  </a:schemeClr>
                </a:solidFill>
                <a:latin typeface="+mn-lt"/>
                <a:cs typeface="+mn-cs"/>
                <a:sym typeface="Trebuchet MS" panose="020B0603020202020204" pitchFamily="34" charset="0"/>
              </a:defRPr>
            </a:lvl1pPr>
          </a:lstStyle>
          <a:p>
            <a:endParaRPr lang="en-US" dirty="0"/>
          </a:p>
        </p:txBody>
      </p:sp>
      <p:sp>
        <p:nvSpPr>
          <p:cNvPr id="15" name="Copyright"/>
          <p:cNvSpPr txBox="1"/>
          <p:nvPr/>
        </p:nvSpPr>
        <p:spPr>
          <a:xfrm rot="16200000">
            <a:off x="9486900" y="3916394"/>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cs typeface="+mn-cs"/>
                <a:sym typeface="Trebuchet MS" panose="020B0603020202020204" pitchFamily="34" charset="0"/>
              </a:rPr>
              <a:t>Copyright © 2024 by Boston Consulting Group. All rights reserved.</a:t>
            </a:r>
          </a:p>
        </p:txBody>
      </p:sp>
      <p:sp>
        <p:nvSpPr>
          <p:cNvPr id="14" name="Title 1"/>
          <p:cNvSpPr>
            <a:spLocks noGrp="1"/>
          </p:cNvSpPr>
          <p:nvPr>
            <p:ph type="title" hasCustomPrompt="1"/>
          </p:nvPr>
        </p:nvSpPr>
        <p:spPr bwMode="blackWhite">
          <a:xfrm>
            <a:off x="630000" y="1785600"/>
            <a:ext cx="6247552" cy="3286800"/>
          </a:xfrm>
          <a:prstGeom prst="rect">
            <a:avLst/>
          </a:prstGeom>
        </p:spPr>
        <p:txBody>
          <a:bodyPr vert="horz" anchor="ctr">
            <a:noAutofit/>
          </a:bodyPr>
          <a:lstStyle>
            <a:lvl1pPr rtl="0">
              <a:defRPr sz="4400">
                <a:solidFill>
                  <a:schemeClr val="bg1"/>
                </a:solidFill>
                <a:latin typeface="+mj-lt"/>
                <a:cs typeface="+mj-cs"/>
                <a:sym typeface="Trebuchet MS" panose="020B0603020202020204" pitchFamily="34" charset="0"/>
              </a:defRPr>
            </a:lvl1pPr>
          </a:lstStyle>
          <a:p>
            <a:r>
              <a:rPr lang="en-US" dirty="0"/>
              <a:t>Click to edit title</a:t>
            </a:r>
          </a:p>
        </p:txBody>
      </p:sp>
      <p:sp>
        <p:nvSpPr>
          <p:cNvPr id="13" name="TextBox 1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1554489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473B310-D8A3-2446-FDDC-F093F1E92374}"/>
              </a:ext>
            </a:extLst>
          </p:cNvPr>
          <p:cNvGraphicFramePr>
            <a:graphicFrameLocks noChangeAspect="1"/>
          </p:cNvGraphicFramePr>
          <p:nvPr userDrawn="1">
            <p:custDataLst>
              <p:tags r:id="rId1"/>
            </p:custDataLst>
            <p:extLst>
              <p:ext uri="{D42A27DB-BD31-4B8C-83A1-F6EECF244321}">
                <p14:modId xmlns:p14="http://schemas.microsoft.com/office/powerpoint/2010/main" val="55675006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think-cell data - do not delete" hidden="1">
                        <a:extLst>
                          <a:ext uri="{FF2B5EF4-FFF2-40B4-BE49-F238E27FC236}">
                            <a16:creationId xmlns:a16="http://schemas.microsoft.com/office/drawing/2014/main" id="{B473B310-D8A3-2446-FDDC-F093F1E9237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3D385829-3FBA-4A8C-8269-82DAD427392D}"/>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2467155" y="0"/>
            <a:ext cx="9724845" cy="6858000"/>
          </a:xfrm>
          <a:prstGeom prst="rect">
            <a:avLst/>
          </a:prstGeom>
          <a:gradFill>
            <a:gsLst>
              <a:gs pos="0">
                <a:srgbClr val="29BA74"/>
              </a:gs>
              <a:gs pos="100000">
                <a:srgbClr val="197A56"/>
              </a:gs>
            </a:gsLst>
            <a:lin ang="8100000" scaled="1"/>
          </a:gradFill>
        </p:spPr>
      </p:pic>
      <p:sp>
        <p:nvSpPr>
          <p:cNvPr id="13" name="Overlay">
            <a:extLst>
              <a:ext uri="{FF2B5EF4-FFF2-40B4-BE49-F238E27FC236}">
                <a16:creationId xmlns:a16="http://schemas.microsoft.com/office/drawing/2014/main" id="{1011E5C7-18B2-4AC9-A5DC-502DE4BA11D6}"/>
              </a:ext>
            </a:extLst>
          </p:cNvPr>
          <p:cNvSpPr/>
          <p:nvPr userDrawn="1">
            <p:custDataLst>
              <p:tags r:id="rId2"/>
            </p:custDataLst>
          </p:nvPr>
        </p:nvSpPr>
        <p:spPr>
          <a:xfrm>
            <a:off x="2794001" y="0"/>
            <a:ext cx="9397999" cy="6858000"/>
          </a:xfrm>
          <a:prstGeom prst="rect">
            <a:avLst/>
          </a:prstGeom>
          <a:gradFill>
            <a:gsLst>
              <a:gs pos="0">
                <a:srgbClr val="009B9D">
                  <a:alpha val="21000"/>
                </a:srgbClr>
              </a:gs>
              <a:gs pos="100000">
                <a:srgbClr val="006F4E">
                  <a:alpha val="88979"/>
                </a:srgbClr>
              </a:gs>
            </a:gsLst>
            <a:lin ang="8100000" scaled="1"/>
          </a:gradFill>
          <a:ln w="9525" cap="flat" cmpd="sng" algn="ctr">
            <a:noFill/>
            <a:prstDash val="solid"/>
            <a:miter lim="800000"/>
          </a:ln>
          <a:effectLst/>
        </p:spPr>
        <p:txBody>
          <a:bodyPr rtlCol="0" anchor="t"/>
          <a:lstStyle/>
          <a:p>
            <a:pPr marL="0" marR="0" lvl="0" indent="0"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Trebuchet MS"/>
              <a:ea typeface="+mn-ea"/>
              <a:cs typeface="+mn-cs"/>
            </a:endParaRPr>
          </a:p>
        </p:txBody>
      </p:sp>
      <p:sp>
        <p:nvSpPr>
          <p:cNvPr id="16"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US" sz="1200" dirty="0">
              <a:solidFill>
                <a:prstClr val="white"/>
              </a:solidFill>
              <a:latin typeface="+mn-lt"/>
              <a:cs typeface="+mn-cs"/>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cs typeface="+mn-cs"/>
                <a:sym typeface="Trebuchet MS" panose="020B0603020202020204" pitchFamily="34" charset="0"/>
              </a:defRPr>
            </a:lvl1pPr>
          </a:lstStyle>
          <a:p>
            <a:endParaRPr lang="en-US" dirty="0"/>
          </a:p>
        </p:txBody>
      </p:sp>
      <p:sp>
        <p:nvSpPr>
          <p:cNvPr id="19"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cs typeface="+mn-cs"/>
                <a:sym typeface="Trebuchet MS" panose="020B0603020202020204" pitchFamily="34" charset="0"/>
              </a:rPr>
              <a:t>Copyright © 2024 by Boston Consulting Group. All rights reserved.</a:t>
            </a:r>
          </a:p>
        </p:txBody>
      </p:sp>
      <p:sp>
        <p:nvSpPr>
          <p:cNvPr id="12" name="TextBox 11"/>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vert="horz" anchor="ctr">
            <a:noAutofit/>
          </a:bodyPr>
          <a:lstStyle>
            <a:lvl1pPr rtl="0">
              <a:defRPr sz="3400" baseline="0">
                <a:solidFill>
                  <a:schemeClr val="tx2"/>
                </a:solidFill>
                <a:latin typeface="+mj-lt"/>
                <a:cs typeface="+mj-cs"/>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90549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998E4DC-DE83-8CAE-90D9-55BC5E720954}"/>
              </a:ext>
            </a:extLst>
          </p:cNvPr>
          <p:cNvGraphicFramePr>
            <a:graphicFrameLocks noChangeAspect="1"/>
          </p:cNvGraphicFramePr>
          <p:nvPr userDrawn="1">
            <p:custDataLst>
              <p:tags r:id="rId1"/>
            </p:custDataLst>
            <p:extLst>
              <p:ext uri="{D42A27DB-BD31-4B8C-83A1-F6EECF244321}">
                <p14:modId xmlns:p14="http://schemas.microsoft.com/office/powerpoint/2010/main" val="182048913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think-cell data - do not delete" hidden="1">
                        <a:extLst>
                          <a:ext uri="{FF2B5EF4-FFF2-40B4-BE49-F238E27FC236}">
                            <a16:creationId xmlns:a16="http://schemas.microsoft.com/office/drawing/2014/main" id="{9998E4DC-DE83-8CAE-90D9-55BC5E72095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75BC6D23-879A-E21E-AB7E-EAD11251B2F5}"/>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526" y="1310"/>
            <a:ext cx="4088167" cy="6856690"/>
          </a:xfrm>
          <a:custGeom>
            <a:avLst/>
            <a:gdLst>
              <a:gd name="connsiteX0" fmla="*/ 0 w 4088167"/>
              <a:gd name="connsiteY0" fmla="*/ 0 h 6856690"/>
              <a:gd name="connsiteX1" fmla="*/ 3264933 w 4088167"/>
              <a:gd name="connsiteY1" fmla="*/ 0 h 6856690"/>
              <a:gd name="connsiteX2" fmla="*/ 4088167 w 4088167"/>
              <a:gd name="connsiteY2" fmla="*/ 3428395 h 6856690"/>
              <a:gd name="connsiteX3" fmla="*/ 4086481 w 4088167"/>
              <a:gd name="connsiteY3" fmla="*/ 3436628 h 6856690"/>
              <a:gd name="connsiteX4" fmla="*/ 3265248 w 4088167"/>
              <a:gd name="connsiteY4" fmla="*/ 6856690 h 6856690"/>
              <a:gd name="connsiteX5" fmla="*/ 0 w 4088167"/>
              <a:gd name="connsiteY5" fmla="*/ 6856690 h 6856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88167" h="6856690">
                <a:moveTo>
                  <a:pt x="0" y="0"/>
                </a:moveTo>
                <a:lnTo>
                  <a:pt x="3264933" y="0"/>
                </a:lnTo>
                <a:lnTo>
                  <a:pt x="4088167" y="3428395"/>
                </a:lnTo>
                <a:lnTo>
                  <a:pt x="4086481" y="3436628"/>
                </a:lnTo>
                <a:lnTo>
                  <a:pt x="3265248" y="6856690"/>
                </a:lnTo>
                <a:lnTo>
                  <a:pt x="0" y="6856690"/>
                </a:lnTo>
                <a:close/>
              </a:path>
            </a:pathLst>
          </a:custGeom>
          <a:gradFill>
            <a:gsLst>
              <a:gs pos="0">
                <a:schemeClr val="tx2"/>
              </a:gs>
              <a:gs pos="100000">
                <a:schemeClr val="accent2"/>
              </a:gs>
            </a:gsLst>
            <a:lin ang="8100000" scaled="1"/>
          </a:gradFill>
        </p:spPr>
      </p:pic>
      <p:sp>
        <p:nvSpPr>
          <p:cNvPr id="4" name="Freeform 3">
            <a:extLst>
              <a:ext uri="{FF2B5EF4-FFF2-40B4-BE49-F238E27FC236}">
                <a16:creationId xmlns:a16="http://schemas.microsoft.com/office/drawing/2014/main" id="{BBA0E35F-0DC6-423D-A306-80D5D63F6E03}"/>
              </a:ext>
            </a:extLst>
          </p:cNvPr>
          <p:cNvSpPr/>
          <p:nvPr userDrawn="1">
            <p:custDataLst>
              <p:tags r:id="rId2"/>
            </p:custDataLst>
          </p:nvPr>
        </p:nvSpPr>
        <p:spPr>
          <a:xfrm>
            <a:off x="1525" y="1310"/>
            <a:ext cx="4088167" cy="6856690"/>
          </a:xfrm>
          <a:custGeom>
            <a:avLst/>
            <a:gdLst>
              <a:gd name="connsiteX0" fmla="*/ 0 w 4088167"/>
              <a:gd name="connsiteY0" fmla="*/ 0 h 6856690"/>
              <a:gd name="connsiteX1" fmla="*/ 3264933 w 4088167"/>
              <a:gd name="connsiteY1" fmla="*/ 0 h 6856690"/>
              <a:gd name="connsiteX2" fmla="*/ 4088167 w 4088167"/>
              <a:gd name="connsiteY2" fmla="*/ 3428397 h 6856690"/>
              <a:gd name="connsiteX3" fmla="*/ 4086490 w 4088167"/>
              <a:gd name="connsiteY3" fmla="*/ 3436589 h 6856690"/>
              <a:gd name="connsiteX4" fmla="*/ 3265248 w 4088167"/>
              <a:gd name="connsiteY4" fmla="*/ 6856690 h 6856690"/>
              <a:gd name="connsiteX5" fmla="*/ 0 w 4088167"/>
              <a:gd name="connsiteY5" fmla="*/ 6856690 h 6856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88167" h="6856690">
                <a:moveTo>
                  <a:pt x="0" y="0"/>
                </a:moveTo>
                <a:lnTo>
                  <a:pt x="3264933" y="0"/>
                </a:lnTo>
                <a:lnTo>
                  <a:pt x="4088167" y="3428397"/>
                </a:lnTo>
                <a:lnTo>
                  <a:pt x="4086490" y="3436589"/>
                </a:lnTo>
                <a:lnTo>
                  <a:pt x="3265248" y="6856690"/>
                </a:lnTo>
                <a:lnTo>
                  <a:pt x="0" y="6856690"/>
                </a:lnTo>
                <a:close/>
              </a:path>
            </a:pathLst>
          </a:custGeom>
          <a:gradFill>
            <a:gsLst>
              <a:gs pos="0">
                <a:srgbClr val="009B9D">
                  <a:alpha val="21000"/>
                </a:srgbClr>
              </a:gs>
              <a:gs pos="100000">
                <a:srgbClr val="006F4E">
                  <a:alpha val="8897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lnSpc>
                <a:spcPct val="90000"/>
              </a:lnSpc>
              <a:spcAft>
                <a:spcPts val="1000"/>
              </a:spcAft>
            </a:pPr>
            <a:endParaRPr lang="en-US" sz="1200" dirty="0">
              <a:solidFill>
                <a:schemeClr val="bg1"/>
              </a:solidFill>
              <a:cs typeface="+mn-cs"/>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rtl="0">
              <a:defRPr sz="3400" baseline="0">
                <a:solidFill>
                  <a:srgbClr val="FFFFFF"/>
                </a:solidFill>
                <a:latin typeface="+mj-lt"/>
                <a:cs typeface="+mj-cs"/>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cs typeface="+mn-cs"/>
                <a:sym typeface="Trebuchet MS" panose="020B0603020202020204" pitchFamily="34" charset="0"/>
              </a:defRPr>
            </a:lvl1pPr>
          </a:lstStyle>
          <a:p>
            <a:endParaRPr lang="en-US" dirty="0"/>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cs typeface="+mn-cs"/>
                <a:sym typeface="Trebuchet MS" panose="020B0603020202020204" pitchFamily="34" charset="0"/>
              </a:rPr>
              <a:t>Copyright © 2024 by Boston Consulting Group. All rights reserved.</a:t>
            </a:r>
          </a:p>
        </p:txBody>
      </p:sp>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1558564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3228222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0180489C-9C55-40A7-9FB5-727356362E19}"/>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2467155" y="0"/>
            <a:ext cx="9724845" cy="6858000"/>
          </a:xfrm>
          <a:prstGeom prst="rect">
            <a:avLst/>
          </a:prstGeom>
          <a:gradFill>
            <a:gsLst>
              <a:gs pos="0">
                <a:srgbClr val="29BA74"/>
              </a:gs>
              <a:gs pos="100000">
                <a:srgbClr val="197A56"/>
              </a:gs>
            </a:gsLst>
            <a:lin ang="8100000" scaled="1"/>
          </a:gradFill>
        </p:spPr>
      </p:pic>
      <p:sp>
        <p:nvSpPr>
          <p:cNvPr id="16" name="Overlay">
            <a:extLst>
              <a:ext uri="{FF2B5EF4-FFF2-40B4-BE49-F238E27FC236}">
                <a16:creationId xmlns:a16="http://schemas.microsoft.com/office/drawing/2014/main" id="{0CEE9DEA-1EE9-4733-AFE6-D62E92B0F8B5}"/>
              </a:ext>
            </a:extLst>
          </p:cNvPr>
          <p:cNvSpPr/>
          <p:nvPr userDrawn="1">
            <p:custDataLst>
              <p:tags r:id="rId2"/>
            </p:custDataLst>
          </p:nvPr>
        </p:nvSpPr>
        <p:spPr>
          <a:xfrm>
            <a:off x="2794001" y="0"/>
            <a:ext cx="9397999" cy="6858000"/>
          </a:xfrm>
          <a:prstGeom prst="rect">
            <a:avLst/>
          </a:prstGeom>
          <a:gradFill>
            <a:gsLst>
              <a:gs pos="0">
                <a:srgbClr val="009B9D">
                  <a:alpha val="21000"/>
                </a:srgbClr>
              </a:gs>
              <a:gs pos="100000">
                <a:srgbClr val="006F4E">
                  <a:alpha val="88979"/>
                </a:srgbClr>
              </a:gs>
            </a:gsLst>
            <a:lin ang="8100000" scaled="1"/>
          </a:gradFill>
          <a:ln w="9525" cap="flat" cmpd="sng" algn="ctr">
            <a:noFill/>
            <a:prstDash val="solid"/>
            <a:miter lim="800000"/>
          </a:ln>
          <a:effectLst/>
        </p:spPr>
        <p:txBody>
          <a:bodyPr rtlCol="0" anchor="t"/>
          <a:lstStyle/>
          <a:p>
            <a:pPr marL="0" marR="0" lvl="0" indent="0"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Trebuchet MS"/>
              <a:ea typeface="+mn-ea"/>
              <a:cs typeface="+mn-cs"/>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rtl="0">
              <a:defRPr>
                <a:solidFill>
                  <a:schemeClr val="bg1"/>
                </a:solidFill>
                <a:latin typeface="+mn-lt"/>
                <a:cs typeface="+mn-cs"/>
                <a:sym typeface="Trebuchet MS" panose="020B0603020202020204" pitchFamily="34" charset="0"/>
              </a:defRPr>
            </a:lvl1pPr>
          </a:lstStyle>
          <a:p>
            <a:endParaRPr lang="en-US" dirty="0"/>
          </a:p>
        </p:txBody>
      </p:sp>
      <p:sp>
        <p:nvSpPr>
          <p:cNvPr id="12"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cs typeface="+mn-cs"/>
                <a:sym typeface="Trebuchet MS" panose="020B0603020202020204" pitchFamily="34" charset="0"/>
              </a:rPr>
              <a:t>Copyright © 2024 by Boston Consulting Group. All rights reserved.</a:t>
            </a:r>
          </a:p>
        </p:txBody>
      </p:sp>
      <p:sp>
        <p:nvSpPr>
          <p:cNvPr id="13" name="Pentagon 3"/>
          <p:cNvSpPr/>
          <p:nvPr/>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US" sz="1200" dirty="0">
              <a:solidFill>
                <a:prstClr val="white"/>
              </a:solidFill>
              <a:latin typeface="+mn-lt"/>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rtl="0">
              <a:defRPr sz="4400" b="0">
                <a:solidFill>
                  <a:schemeClr val="tx2"/>
                </a:solidFill>
                <a:latin typeface="+mj-lt"/>
                <a:cs typeface="+mj-cs"/>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194962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1CB366D-AFE7-1479-E062-E7A4D82C8DB7}"/>
              </a:ext>
            </a:extLst>
          </p:cNvPr>
          <p:cNvGraphicFramePr>
            <a:graphicFrameLocks noChangeAspect="1"/>
          </p:cNvGraphicFramePr>
          <p:nvPr userDrawn="1">
            <p:custDataLst>
              <p:tags r:id="rId1"/>
            </p:custDataLst>
            <p:extLst>
              <p:ext uri="{D42A27DB-BD31-4B8C-83A1-F6EECF244321}">
                <p14:modId xmlns:p14="http://schemas.microsoft.com/office/powerpoint/2010/main" val="7844437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D1CB366D-AFE7-1479-E062-E7A4D82C8DB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8FBC9EFA-59D8-6AAB-0D6D-2493432893EB}"/>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 y="0"/>
            <a:ext cx="5426920" cy="6858000"/>
          </a:xfrm>
          <a:custGeom>
            <a:avLst/>
            <a:gdLst>
              <a:gd name="connsiteX0" fmla="*/ 0 w 5426920"/>
              <a:gd name="connsiteY0" fmla="*/ 0 h 6858000"/>
              <a:gd name="connsiteX1" fmla="*/ 4724731 w 5426920"/>
              <a:gd name="connsiteY1" fmla="*/ 0 h 6858000"/>
              <a:gd name="connsiteX2" fmla="*/ 5426920 w 5426920"/>
              <a:gd name="connsiteY2" fmla="*/ 3429000 h 6858000"/>
              <a:gd name="connsiteX3" fmla="*/ 4724731 w 5426920"/>
              <a:gd name="connsiteY3" fmla="*/ 6858000 h 6858000"/>
              <a:gd name="connsiteX4" fmla="*/ 0 w 542692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6920" h="6858000">
                <a:moveTo>
                  <a:pt x="0" y="0"/>
                </a:moveTo>
                <a:lnTo>
                  <a:pt x="4724731" y="0"/>
                </a:lnTo>
                <a:lnTo>
                  <a:pt x="5426920" y="3429000"/>
                </a:lnTo>
                <a:lnTo>
                  <a:pt x="4724731" y="6858000"/>
                </a:lnTo>
                <a:lnTo>
                  <a:pt x="0" y="6858000"/>
                </a:lnTo>
                <a:close/>
              </a:path>
            </a:pathLst>
          </a:custGeom>
          <a:gradFill>
            <a:gsLst>
              <a:gs pos="0">
                <a:schemeClr val="tx2"/>
              </a:gs>
              <a:gs pos="100000">
                <a:schemeClr val="accent2"/>
              </a:gs>
            </a:gsLst>
            <a:lin ang="8100000" scaled="1"/>
          </a:gradFill>
        </p:spPr>
      </p:pic>
      <p:sp>
        <p:nvSpPr>
          <p:cNvPr id="3" name="Freeform 2">
            <a:extLst>
              <a:ext uri="{FF2B5EF4-FFF2-40B4-BE49-F238E27FC236}">
                <a16:creationId xmlns:a16="http://schemas.microsoft.com/office/drawing/2014/main" id="{A5D713FF-12FC-F561-E16B-BB500165F670}"/>
              </a:ext>
            </a:extLst>
          </p:cNvPr>
          <p:cNvSpPr/>
          <p:nvPr userDrawn="1">
            <p:custDataLst>
              <p:tags r:id="rId2"/>
            </p:custDataLst>
          </p:nvPr>
        </p:nvSpPr>
        <p:spPr>
          <a:xfrm>
            <a:off x="1" y="0"/>
            <a:ext cx="5426920" cy="6858000"/>
          </a:xfrm>
          <a:custGeom>
            <a:avLst/>
            <a:gdLst>
              <a:gd name="connsiteX0" fmla="*/ 0 w 5426920"/>
              <a:gd name="connsiteY0" fmla="*/ 0 h 6858000"/>
              <a:gd name="connsiteX1" fmla="*/ 4724731 w 5426920"/>
              <a:gd name="connsiteY1" fmla="*/ 0 h 6858000"/>
              <a:gd name="connsiteX2" fmla="*/ 5426920 w 5426920"/>
              <a:gd name="connsiteY2" fmla="*/ 3429000 h 6858000"/>
              <a:gd name="connsiteX3" fmla="*/ 4724731 w 5426920"/>
              <a:gd name="connsiteY3" fmla="*/ 6858000 h 6858000"/>
              <a:gd name="connsiteX4" fmla="*/ 0 w 542692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6920" h="6858000">
                <a:moveTo>
                  <a:pt x="0" y="0"/>
                </a:moveTo>
                <a:lnTo>
                  <a:pt x="4724731" y="0"/>
                </a:lnTo>
                <a:lnTo>
                  <a:pt x="5426920" y="3429000"/>
                </a:lnTo>
                <a:lnTo>
                  <a:pt x="4724731" y="6858000"/>
                </a:lnTo>
                <a:lnTo>
                  <a:pt x="0" y="6858000"/>
                </a:lnTo>
                <a:close/>
              </a:path>
            </a:pathLst>
          </a:custGeom>
          <a:gradFill>
            <a:gsLst>
              <a:gs pos="0">
                <a:srgbClr val="009B9D">
                  <a:alpha val="21000"/>
                </a:srgbClr>
              </a:gs>
              <a:gs pos="100000">
                <a:srgbClr val="006F4E">
                  <a:alpha val="8897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lnSpc>
                <a:spcPct val="90000"/>
              </a:lnSpc>
              <a:spcAft>
                <a:spcPts val="1000"/>
              </a:spcAft>
            </a:pPr>
            <a:endParaRPr lang="en-US" sz="1200" dirty="0">
              <a:solidFill>
                <a:schemeClr val="bg1"/>
              </a:solidFill>
              <a:cs typeface="+mn-cs"/>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rtl="0">
              <a:defRPr sz="4400" b="0">
                <a:solidFill>
                  <a:srgbClr val="FFFFFF"/>
                </a:solidFill>
                <a:latin typeface="+mj-lt"/>
                <a:cs typeface="+mj-cs"/>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cs typeface="+mn-cs"/>
                <a:sym typeface="Trebuchet MS" panose="020B0603020202020204" pitchFamily="34" charset="0"/>
              </a:defRPr>
            </a:lvl1pPr>
          </a:lstStyle>
          <a:p>
            <a:endParaRPr lang="en-US" dirty="0"/>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cs typeface="+mn-cs"/>
                <a:sym typeface="Trebuchet MS" panose="020B0603020202020204" pitchFamily="34" charset="0"/>
              </a:rPr>
              <a:t>Copyright © 2024 by Boston Consulting Group. All rights reserved.</a:t>
            </a:r>
          </a:p>
        </p:txBody>
      </p:sp>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0837851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3708366-7178-0B4A-F1AC-1F51EEA68DCF}"/>
              </a:ext>
            </a:extLst>
          </p:cNvPr>
          <p:cNvGraphicFramePr>
            <a:graphicFrameLocks noChangeAspect="1"/>
          </p:cNvGraphicFramePr>
          <p:nvPr userDrawn="1">
            <p:custDataLst>
              <p:tags r:id="rId1"/>
            </p:custDataLst>
            <p:extLst>
              <p:ext uri="{D42A27DB-BD31-4B8C-83A1-F6EECF244321}">
                <p14:modId xmlns:p14="http://schemas.microsoft.com/office/powerpoint/2010/main" val="307048410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33708366-7178-0B4A-F1AC-1F51EEA68DC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E193B254-3B98-4A5E-847A-7738CB914921}"/>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2467155" y="0"/>
            <a:ext cx="9724845" cy="6858000"/>
          </a:xfrm>
          <a:prstGeom prst="rect">
            <a:avLst/>
          </a:prstGeom>
          <a:gradFill>
            <a:gsLst>
              <a:gs pos="0">
                <a:srgbClr val="29BA74"/>
              </a:gs>
              <a:gs pos="100000">
                <a:srgbClr val="197A56"/>
              </a:gs>
            </a:gsLst>
            <a:lin ang="8100000" scaled="1"/>
          </a:gradFill>
        </p:spPr>
      </p:pic>
      <p:sp>
        <p:nvSpPr>
          <p:cNvPr id="12" name="Overlay">
            <a:extLst>
              <a:ext uri="{FF2B5EF4-FFF2-40B4-BE49-F238E27FC236}">
                <a16:creationId xmlns:a16="http://schemas.microsoft.com/office/drawing/2014/main" id="{0AC07568-78CE-4DE5-BE66-9A481908A096}"/>
              </a:ext>
            </a:extLst>
          </p:cNvPr>
          <p:cNvSpPr/>
          <p:nvPr userDrawn="1">
            <p:custDataLst>
              <p:tags r:id="rId2"/>
            </p:custDataLst>
          </p:nvPr>
        </p:nvSpPr>
        <p:spPr>
          <a:xfrm>
            <a:off x="2794001" y="0"/>
            <a:ext cx="9397999" cy="6858000"/>
          </a:xfrm>
          <a:prstGeom prst="rect">
            <a:avLst/>
          </a:prstGeom>
          <a:gradFill>
            <a:gsLst>
              <a:gs pos="0">
                <a:srgbClr val="009B9D">
                  <a:alpha val="21000"/>
                </a:srgbClr>
              </a:gs>
              <a:gs pos="100000">
                <a:srgbClr val="006F4E">
                  <a:alpha val="88979"/>
                </a:srgbClr>
              </a:gs>
            </a:gsLst>
            <a:lin ang="8100000" scaled="1"/>
          </a:gradFill>
          <a:ln w="9525" cap="flat" cmpd="sng" algn="ctr">
            <a:noFill/>
            <a:prstDash val="solid"/>
            <a:miter lim="800000"/>
          </a:ln>
          <a:effectLst/>
        </p:spPr>
        <p:txBody>
          <a:bodyPr rtlCol="0" anchor="t"/>
          <a:lstStyle/>
          <a:p>
            <a:pPr marL="0" marR="0" lvl="0" indent="0"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Trebuchet MS"/>
              <a:ea typeface="+mn-ea"/>
              <a:cs typeface="+mn-cs"/>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rtl="0">
              <a:defRPr>
                <a:solidFill>
                  <a:schemeClr val="bg1"/>
                </a:solidFill>
                <a:latin typeface="+mn-lt"/>
                <a:cs typeface="+mn-cs"/>
                <a:sym typeface="Trebuchet MS" panose="020B0603020202020204" pitchFamily="34" charset="0"/>
              </a:defRPr>
            </a:lvl1pPr>
          </a:lstStyle>
          <a:p>
            <a:endParaRPr lang="en-US" dirty="0"/>
          </a:p>
        </p:txBody>
      </p:sp>
      <p:sp>
        <p:nvSpPr>
          <p:cNvPr id="18"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cs typeface="+mn-cs"/>
                <a:sym typeface="Trebuchet MS" panose="020B0603020202020204" pitchFamily="34" charset="0"/>
              </a:rPr>
              <a:t>Copyright © 2024 by Boston Consulting Group. All rights reserved.</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US" sz="1200" dirty="0">
              <a:solidFill>
                <a:prstClr val="white"/>
              </a:solidFill>
              <a:latin typeface="+mn-lt"/>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400" b="0" i="0" u="none" kern="1200" spc="0">
                <a:solidFill>
                  <a:schemeClr val="tx2">
                    <a:lumMod val="100000"/>
                  </a:schemeClr>
                </a:solidFill>
                <a:latin typeface="+mj-lt"/>
                <a:cs typeface="+mj-cs"/>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40482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633A325-8F8B-7F48-3E44-364736DB439A}"/>
              </a:ext>
            </a:extLst>
          </p:cNvPr>
          <p:cNvGraphicFramePr>
            <a:graphicFrameLocks noChangeAspect="1"/>
          </p:cNvGraphicFramePr>
          <p:nvPr userDrawn="1">
            <p:custDataLst>
              <p:tags r:id="rId1"/>
            </p:custDataLst>
            <p:extLst>
              <p:ext uri="{D42A27DB-BD31-4B8C-83A1-F6EECF244321}">
                <p14:modId xmlns:p14="http://schemas.microsoft.com/office/powerpoint/2010/main" val="354273097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5633A325-8F8B-7F48-3E44-364736DB439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5BEC2C79-F917-11D3-A86F-AC9C8D646540}"/>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6363546" cy="6858000"/>
          </a:xfrm>
          <a:custGeom>
            <a:avLst/>
            <a:gdLst>
              <a:gd name="connsiteX0" fmla="*/ 0 w 6363546"/>
              <a:gd name="connsiteY0" fmla="*/ 0 h 6858000"/>
              <a:gd name="connsiteX1" fmla="*/ 5540167 w 6363546"/>
              <a:gd name="connsiteY1" fmla="*/ 0 h 6858000"/>
              <a:gd name="connsiteX2" fmla="*/ 6363546 w 6363546"/>
              <a:gd name="connsiteY2" fmla="*/ 3429000 h 6858000"/>
              <a:gd name="connsiteX3" fmla="*/ 5540167 w 6363546"/>
              <a:gd name="connsiteY3" fmla="*/ 6858000 h 6858000"/>
              <a:gd name="connsiteX4" fmla="*/ 0 w 6363546"/>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3546" h="6858000">
                <a:moveTo>
                  <a:pt x="0" y="0"/>
                </a:moveTo>
                <a:lnTo>
                  <a:pt x="5540167" y="0"/>
                </a:lnTo>
                <a:lnTo>
                  <a:pt x="6363546" y="3429000"/>
                </a:lnTo>
                <a:lnTo>
                  <a:pt x="5540167" y="6858000"/>
                </a:lnTo>
                <a:lnTo>
                  <a:pt x="0" y="6858000"/>
                </a:lnTo>
                <a:close/>
              </a:path>
            </a:pathLst>
          </a:custGeom>
          <a:gradFill>
            <a:gsLst>
              <a:gs pos="0">
                <a:schemeClr val="tx2"/>
              </a:gs>
              <a:gs pos="100000">
                <a:schemeClr val="accent2"/>
              </a:gs>
            </a:gsLst>
            <a:lin ang="8100000" scaled="1"/>
          </a:gradFill>
        </p:spPr>
      </p:pic>
      <p:sp>
        <p:nvSpPr>
          <p:cNvPr id="3" name="Freeform 2">
            <a:extLst>
              <a:ext uri="{FF2B5EF4-FFF2-40B4-BE49-F238E27FC236}">
                <a16:creationId xmlns:a16="http://schemas.microsoft.com/office/drawing/2014/main" id="{C3BE90BD-C619-6782-6DB4-4FD9CBD5E192}"/>
              </a:ext>
            </a:extLst>
          </p:cNvPr>
          <p:cNvSpPr/>
          <p:nvPr userDrawn="1">
            <p:custDataLst>
              <p:tags r:id="rId2"/>
            </p:custDataLst>
          </p:nvPr>
        </p:nvSpPr>
        <p:spPr>
          <a:xfrm>
            <a:off x="0" y="0"/>
            <a:ext cx="6363546" cy="6858000"/>
          </a:xfrm>
          <a:custGeom>
            <a:avLst/>
            <a:gdLst>
              <a:gd name="connsiteX0" fmla="*/ 0 w 6363546"/>
              <a:gd name="connsiteY0" fmla="*/ 0 h 6858000"/>
              <a:gd name="connsiteX1" fmla="*/ 5540167 w 6363546"/>
              <a:gd name="connsiteY1" fmla="*/ 0 h 6858000"/>
              <a:gd name="connsiteX2" fmla="*/ 6363546 w 6363546"/>
              <a:gd name="connsiteY2" fmla="*/ 3429000 h 6858000"/>
              <a:gd name="connsiteX3" fmla="*/ 5540167 w 6363546"/>
              <a:gd name="connsiteY3" fmla="*/ 6858000 h 6858000"/>
              <a:gd name="connsiteX4" fmla="*/ 0 w 6363546"/>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3546" h="6858000">
                <a:moveTo>
                  <a:pt x="0" y="0"/>
                </a:moveTo>
                <a:lnTo>
                  <a:pt x="5540167" y="0"/>
                </a:lnTo>
                <a:lnTo>
                  <a:pt x="6363546" y="3429000"/>
                </a:lnTo>
                <a:lnTo>
                  <a:pt x="5540167" y="6858000"/>
                </a:lnTo>
                <a:lnTo>
                  <a:pt x="0" y="6858000"/>
                </a:lnTo>
                <a:close/>
              </a:path>
            </a:pathLst>
          </a:custGeom>
          <a:gradFill>
            <a:gsLst>
              <a:gs pos="0">
                <a:srgbClr val="009B9D">
                  <a:alpha val="21000"/>
                </a:srgbClr>
              </a:gs>
              <a:gs pos="100000">
                <a:srgbClr val="006F4E">
                  <a:alpha val="8897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lnSpc>
                <a:spcPct val="90000"/>
              </a:lnSpc>
              <a:spcAft>
                <a:spcPts val="1000"/>
              </a:spcAft>
            </a:pPr>
            <a:endParaRPr lang="en-US" sz="1200" dirty="0">
              <a:solidFill>
                <a:schemeClr val="bg1"/>
              </a:solidFill>
              <a:cs typeface="+mn-cs"/>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400" b="0" i="0" u="none" kern="1200" spc="0">
                <a:solidFill>
                  <a:srgbClr val="FFFFFF"/>
                </a:solidFill>
                <a:latin typeface="+mj-lt"/>
                <a:cs typeface="+mj-cs"/>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cs typeface="+mn-cs"/>
                <a:sym typeface="Trebuchet MS" panose="020B0603020202020204" pitchFamily="34" charset="0"/>
              </a:defRPr>
            </a:lvl1pPr>
          </a:lstStyle>
          <a:p>
            <a:endParaRPr lang="en-US" dirty="0"/>
          </a:p>
        </p:txBody>
      </p:sp>
      <p:sp>
        <p:nvSpPr>
          <p:cNvPr id="13" name="TextBox 1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cs typeface="+mn-cs"/>
                <a:sym typeface="Trebuchet MS" panose="020B0603020202020204" pitchFamily="34" charset="0"/>
              </a:rPr>
              <a:t>Copyright © 2024 by Boston Consulting Group. All rights reserved.</a:t>
            </a:r>
          </a:p>
        </p:txBody>
      </p:sp>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1842023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44EC7B8-CB30-9CDF-7BD9-6323C51CA058}"/>
              </a:ext>
            </a:extLst>
          </p:cNvPr>
          <p:cNvGraphicFramePr>
            <a:graphicFrameLocks noChangeAspect="1"/>
          </p:cNvGraphicFramePr>
          <p:nvPr userDrawn="1">
            <p:custDataLst>
              <p:tags r:id="rId1"/>
            </p:custDataLst>
            <p:extLst>
              <p:ext uri="{D42A27DB-BD31-4B8C-83A1-F6EECF244321}">
                <p14:modId xmlns:p14="http://schemas.microsoft.com/office/powerpoint/2010/main" val="19988459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344EC7B8-CB30-9CDF-7BD9-6323C51CA05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3955295E-A771-4BDA-B735-E12857D72BE6}"/>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2467155" y="0"/>
            <a:ext cx="9724845" cy="6858000"/>
          </a:xfrm>
          <a:prstGeom prst="rect">
            <a:avLst/>
          </a:prstGeom>
          <a:gradFill>
            <a:gsLst>
              <a:gs pos="0">
                <a:srgbClr val="29BA74"/>
              </a:gs>
              <a:gs pos="100000">
                <a:srgbClr val="197A56"/>
              </a:gs>
            </a:gsLst>
            <a:lin ang="8100000" scaled="1"/>
          </a:gradFill>
        </p:spPr>
      </p:pic>
      <p:sp>
        <p:nvSpPr>
          <p:cNvPr id="17" name="Overlay">
            <a:extLst>
              <a:ext uri="{FF2B5EF4-FFF2-40B4-BE49-F238E27FC236}">
                <a16:creationId xmlns:a16="http://schemas.microsoft.com/office/drawing/2014/main" id="{A21B70ED-7653-4330-AEC3-5119E1768C2E}"/>
              </a:ext>
            </a:extLst>
          </p:cNvPr>
          <p:cNvSpPr/>
          <p:nvPr userDrawn="1">
            <p:custDataLst>
              <p:tags r:id="rId2"/>
            </p:custDataLst>
          </p:nvPr>
        </p:nvSpPr>
        <p:spPr>
          <a:xfrm>
            <a:off x="2794001" y="0"/>
            <a:ext cx="9397999" cy="6858000"/>
          </a:xfrm>
          <a:prstGeom prst="rect">
            <a:avLst/>
          </a:prstGeom>
          <a:gradFill>
            <a:gsLst>
              <a:gs pos="0">
                <a:srgbClr val="009B9D">
                  <a:alpha val="21000"/>
                </a:srgbClr>
              </a:gs>
              <a:gs pos="100000">
                <a:srgbClr val="006F4E">
                  <a:alpha val="88979"/>
                </a:srgbClr>
              </a:gs>
            </a:gsLst>
            <a:lin ang="8100000" scaled="1"/>
          </a:gradFill>
          <a:ln w="9525" cap="flat" cmpd="sng" algn="ctr">
            <a:noFill/>
            <a:prstDash val="solid"/>
            <a:miter lim="800000"/>
          </a:ln>
          <a:effectLst/>
        </p:spPr>
        <p:txBody>
          <a:bodyPr rtlCol="0" anchor="t"/>
          <a:lstStyle/>
          <a:p>
            <a:pPr marL="0" marR="0" lvl="0" indent="0"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Trebuchet MS"/>
              <a:ea typeface="+mn-ea"/>
              <a:cs typeface="+mn-cs"/>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latin typeface="+mn-lt"/>
              <a:cs typeface="+mn-cs"/>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cs typeface="+mn-cs"/>
                <a:sym typeface="Trebuchet MS" panose="020B0603020202020204" pitchFamily="34" charset="0"/>
              </a:defRPr>
            </a:lvl1pPr>
          </a:lstStyle>
          <a:p>
            <a:endParaRPr lang="en-US" dirty="0"/>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cs typeface="+mn-cs"/>
                <a:sym typeface="Trebuchet MS" panose="020B0603020202020204" pitchFamily="34" charset="0"/>
              </a:rPr>
              <a:t>Copyright © 2024 by Boston Consulting Group. All rights reserved.</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400" b="0" i="0" u="none" kern="1200" spc="0">
                <a:solidFill>
                  <a:schemeClr val="tx2">
                    <a:lumMod val="100000"/>
                  </a:schemeClr>
                </a:solidFill>
                <a:latin typeface="+mj-lt"/>
                <a:cs typeface="+mj-cs"/>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309929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9DEE2E1-E8D5-BDD4-A75B-67CF270B6BE9}"/>
              </a:ext>
            </a:extLst>
          </p:cNvPr>
          <p:cNvGraphicFramePr>
            <a:graphicFrameLocks noChangeAspect="1"/>
          </p:cNvGraphicFramePr>
          <p:nvPr userDrawn="1">
            <p:custDataLst>
              <p:tags r:id="rId1"/>
            </p:custDataLst>
            <p:extLst>
              <p:ext uri="{D42A27DB-BD31-4B8C-83A1-F6EECF244321}">
                <p14:modId xmlns:p14="http://schemas.microsoft.com/office/powerpoint/2010/main" val="238742765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19DEE2E1-E8D5-BDD4-A75B-67CF270B6BE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73CAFB28-2E64-901A-BA7D-A0F01763B5D8}"/>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46239" h="6858000">
                <a:moveTo>
                  <a:pt x="0" y="0"/>
                </a:moveTo>
                <a:lnTo>
                  <a:pt x="7645979" y="0"/>
                </a:lnTo>
                <a:lnTo>
                  <a:pt x="8446239" y="3429000"/>
                </a:lnTo>
                <a:lnTo>
                  <a:pt x="7645979" y="6858000"/>
                </a:lnTo>
                <a:lnTo>
                  <a:pt x="0" y="6858000"/>
                </a:lnTo>
                <a:close/>
              </a:path>
            </a:pathLst>
          </a:custGeom>
          <a:gradFill>
            <a:gsLst>
              <a:gs pos="0">
                <a:schemeClr val="tx2"/>
              </a:gs>
              <a:gs pos="100000">
                <a:schemeClr val="accent2"/>
              </a:gs>
            </a:gsLst>
            <a:lin ang="8100000" scaled="1"/>
          </a:gradFill>
        </p:spPr>
      </p:pic>
      <p:sp>
        <p:nvSpPr>
          <p:cNvPr id="13" name="Freeform: Shape 12">
            <a:extLst>
              <a:ext uri="{FF2B5EF4-FFF2-40B4-BE49-F238E27FC236}">
                <a16:creationId xmlns:a16="http://schemas.microsoft.com/office/drawing/2014/main" id="{72C9A079-BCE7-496A-8A7B-1773C31906CA}"/>
              </a:ext>
            </a:extLst>
          </p:cNvPr>
          <p:cNvSpPr/>
          <p:nvPr userDrawn="1">
            <p:custDataLst>
              <p:tags r:id="rId2"/>
            </p:custDataLst>
          </p:nvPr>
        </p:nvSpPr>
        <p:spPr>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46239" h="6858000">
                <a:moveTo>
                  <a:pt x="0" y="0"/>
                </a:moveTo>
                <a:lnTo>
                  <a:pt x="7645979" y="0"/>
                </a:lnTo>
                <a:lnTo>
                  <a:pt x="8446239" y="3429000"/>
                </a:lnTo>
                <a:lnTo>
                  <a:pt x="7645979" y="6858000"/>
                </a:lnTo>
                <a:lnTo>
                  <a:pt x="0" y="6858000"/>
                </a:lnTo>
                <a:close/>
              </a:path>
            </a:pathLst>
          </a:custGeom>
          <a:gradFill>
            <a:gsLst>
              <a:gs pos="0">
                <a:srgbClr val="009B9D">
                  <a:alpha val="75000"/>
                </a:srgbClr>
              </a:gs>
              <a:gs pos="100000">
                <a:srgbClr val="006F4E">
                  <a:alpha val="9506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rtl="0">
              <a:lnSpc>
                <a:spcPct val="90000"/>
              </a:lnSpc>
              <a:spcAft>
                <a:spcPts val="1000"/>
              </a:spcAft>
            </a:pPr>
            <a:endParaRPr lang="en-US" sz="1200" dirty="0">
              <a:solidFill>
                <a:schemeClr val="bg1"/>
              </a:solidFill>
              <a:cs typeface="+mn-cs"/>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400" b="0" i="0" u="none" kern="1200" spc="0">
                <a:solidFill>
                  <a:srgbClr val="FFFFFF"/>
                </a:solidFill>
                <a:latin typeface="+mj-lt"/>
                <a:cs typeface="+mj-cs"/>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cs typeface="+mn-cs"/>
                <a:sym typeface="Trebuchet MS" panose="020B0603020202020204" pitchFamily="34" charset="0"/>
              </a:defRPr>
            </a:lvl1pPr>
          </a:lstStyle>
          <a:p>
            <a:endParaRPr lang="en-US" dirty="0"/>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cs typeface="+mn-cs"/>
                <a:sym typeface="Trebuchet MS" panose="020B0603020202020204" pitchFamily="34" charset="0"/>
              </a:rPr>
              <a:t>Copyright © 2024 by Boston Consulting Group. All rights reserved.</a:t>
            </a:r>
          </a:p>
        </p:txBody>
      </p:sp>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0967033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B70019C-53AD-6393-AFEC-C9DFBE17FF9C}"/>
              </a:ext>
            </a:extLst>
          </p:cNvPr>
          <p:cNvGraphicFramePr>
            <a:graphicFrameLocks noChangeAspect="1"/>
          </p:cNvGraphicFramePr>
          <p:nvPr userDrawn="1">
            <p:custDataLst>
              <p:tags r:id="rId1"/>
            </p:custDataLst>
            <p:extLst>
              <p:ext uri="{D42A27DB-BD31-4B8C-83A1-F6EECF244321}">
                <p14:modId xmlns:p14="http://schemas.microsoft.com/office/powerpoint/2010/main" val="19010693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5B70019C-53AD-6393-AFEC-C9DFBE17FF9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84F9632A-C240-36E4-25BF-D9CFCA3236C8}"/>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7811122" cy="6858000"/>
          </a:xfrm>
          <a:prstGeom prst="rect">
            <a:avLst/>
          </a:prstGeom>
          <a:gradFill>
            <a:gsLst>
              <a:gs pos="0">
                <a:schemeClr val="tx2"/>
              </a:gs>
              <a:gs pos="100000">
                <a:schemeClr val="accent2"/>
              </a:gs>
            </a:gsLst>
            <a:lin ang="8100000" scaled="1"/>
          </a:gradFill>
        </p:spPr>
      </p:pic>
      <p:sp>
        <p:nvSpPr>
          <p:cNvPr id="3" name="Overlay">
            <a:extLst>
              <a:ext uri="{FF2B5EF4-FFF2-40B4-BE49-F238E27FC236}">
                <a16:creationId xmlns:a16="http://schemas.microsoft.com/office/drawing/2014/main" id="{24C72515-326E-B90F-8898-650CD4847A4B}"/>
              </a:ext>
            </a:extLst>
          </p:cNvPr>
          <p:cNvSpPr/>
          <p:nvPr userDrawn="1">
            <p:custDataLst>
              <p:tags r:id="rId2"/>
            </p:custDataLst>
          </p:nvPr>
        </p:nvSpPr>
        <p:spPr>
          <a:xfrm>
            <a:off x="-1" y="0"/>
            <a:ext cx="7835221" cy="6858000"/>
          </a:xfrm>
          <a:prstGeom prst="rect">
            <a:avLst/>
          </a:prstGeom>
          <a:gradFill>
            <a:gsLst>
              <a:gs pos="0">
                <a:srgbClr val="009B9D">
                  <a:alpha val="21000"/>
                </a:srgbClr>
              </a:gs>
              <a:gs pos="100000">
                <a:srgbClr val="006F4E">
                  <a:alpha val="8897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cs typeface="+mn-cs"/>
            </a:endParaRPr>
          </a:p>
        </p:txBody>
      </p:sp>
      <p:pic>
        <p:nvPicPr>
          <p:cNvPr id="10" name="Picture 9"/>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rtl="0">
              <a:defRPr sz="3400">
                <a:solidFill>
                  <a:schemeClr val="bg1"/>
                </a:solidFill>
                <a:latin typeface="+mj-lt"/>
                <a:cs typeface="+mj-cs"/>
                <a:sym typeface="Trebuchet MS" panose="020B0603020202020204" pitchFamily="34" charset="0"/>
              </a:defRPr>
            </a:lvl1pPr>
          </a:lstStyle>
          <a:p>
            <a:r>
              <a:rPr lang="en-US" dirty="0"/>
              <a:t>Click to add title</a:t>
            </a:r>
          </a:p>
        </p:txBody>
      </p:sp>
      <p:sp>
        <p:nvSpPr>
          <p:cNvPr id="13" name="Rectangle 12"/>
          <p:cNvSpPr/>
          <p:nvPr/>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US" sz="1200" dirty="0">
              <a:solidFill>
                <a:schemeClr val="bg1"/>
              </a:solidFill>
              <a:latin typeface="+mn-lt"/>
              <a:cs typeface="+mn-cs"/>
              <a:sym typeface="Trebuchet MS" panose="020B0603020202020204" pitchFamily="34" charset="0"/>
            </a:endParaRPr>
          </a:p>
        </p:txBody>
      </p:sp>
      <p:sp>
        <p:nvSpPr>
          <p:cNvPr id="16"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cs typeface="+mn-cs"/>
                <a:sym typeface="Trebuchet MS" panose="020B0603020202020204" pitchFamily="34" charset="0"/>
              </a:rPr>
              <a:t>Copyright © 2024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rtl="0">
              <a:defRPr>
                <a:solidFill>
                  <a:schemeClr val="bg1">
                    <a:lumMod val="50000"/>
                  </a:schemeClr>
                </a:solidFill>
                <a:latin typeface="+mn-lt"/>
                <a:cs typeface="+mn-cs"/>
                <a:sym typeface="Trebuchet MS" panose="020B0603020202020204" pitchFamily="34" charset="0"/>
              </a:defRPr>
            </a:lvl1pPr>
          </a:lstStyle>
          <a:p>
            <a:endParaRPr lang="en-US" dirty="0"/>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73829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EAF99F2-E334-8DB3-50B8-141546607313}"/>
              </a:ext>
            </a:extLst>
          </p:cNvPr>
          <p:cNvGraphicFramePr>
            <a:graphicFrameLocks noChangeAspect="1"/>
          </p:cNvGraphicFramePr>
          <p:nvPr userDrawn="1">
            <p:custDataLst>
              <p:tags r:id="rId1"/>
            </p:custDataLst>
            <p:extLst>
              <p:ext uri="{D42A27DB-BD31-4B8C-83A1-F6EECF244321}">
                <p14:modId xmlns:p14="http://schemas.microsoft.com/office/powerpoint/2010/main" val="1135487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4EAF99F2-E334-8DB3-50B8-14154660731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2" name="Picture 11">
            <a:extLst>
              <a:ext uri="{FF2B5EF4-FFF2-40B4-BE49-F238E27FC236}">
                <a16:creationId xmlns:a16="http://schemas.microsoft.com/office/drawing/2014/main" id="{285E734B-54DA-42F0-B29D-FDBCA83862C6}"/>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12192000" cy="6858000"/>
          </a:xfrm>
          <a:prstGeom prst="rect">
            <a:avLst/>
          </a:prstGeom>
          <a:gradFill>
            <a:gsLst>
              <a:gs pos="0">
                <a:schemeClr val="tx2"/>
              </a:gs>
              <a:gs pos="100000">
                <a:schemeClr val="accent2"/>
              </a:gs>
            </a:gsLst>
            <a:lin ang="8100000" scaled="1"/>
          </a:gradFill>
        </p:spPr>
      </p:pic>
      <p:sp>
        <p:nvSpPr>
          <p:cNvPr id="13" name="Overlay">
            <a:extLst>
              <a:ext uri="{FF2B5EF4-FFF2-40B4-BE49-F238E27FC236}">
                <a16:creationId xmlns:a16="http://schemas.microsoft.com/office/drawing/2014/main" id="{D9CFB965-58C5-48C2-A175-83BE4AB90434}"/>
              </a:ext>
            </a:extLst>
          </p:cNvPr>
          <p:cNvSpPr/>
          <p:nvPr userDrawn="1">
            <p:custDataLst>
              <p:tags r:id="rId2"/>
            </p:custDataLst>
          </p:nvPr>
        </p:nvSpPr>
        <p:spPr>
          <a:xfrm>
            <a:off x="0" y="0"/>
            <a:ext cx="12192000" cy="6858000"/>
          </a:xfrm>
          <a:prstGeom prst="rect">
            <a:avLst/>
          </a:prstGeom>
          <a:gradFill>
            <a:gsLst>
              <a:gs pos="0">
                <a:srgbClr val="009B9D">
                  <a:alpha val="75000"/>
                </a:srgbClr>
              </a:gs>
              <a:gs pos="100000">
                <a:srgbClr val="006F4E">
                  <a:alpha val="9506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lnSpc>
                <a:spcPct val="90000"/>
              </a:lnSpc>
              <a:spcAft>
                <a:spcPts val="1000"/>
              </a:spcAft>
            </a:pPr>
            <a:endParaRPr lang="en-US" sz="1200" dirty="0">
              <a:solidFill>
                <a:schemeClr val="bg1"/>
              </a:solidFill>
              <a:cs typeface="+mn-cs"/>
            </a:endParaRPr>
          </a:p>
        </p:txBody>
      </p:sp>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cs typeface="+mn-cs"/>
                <a:sym typeface="Trebuchet MS" panose="020B0603020202020204" pitchFamily="34" charset="0"/>
              </a:defRPr>
            </a:lvl1pPr>
          </a:lstStyle>
          <a:p>
            <a:endParaRPr lang="en-US" dirty="0"/>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cs typeface="+mn-cs"/>
                <a:sym typeface="Trebuchet MS" panose="020B0603020202020204" pitchFamily="34" charset="0"/>
              </a:rPr>
              <a:t>Copyright © 2024 by Boston Consulting Group. All rights reserved.</a:t>
            </a: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mj-cs"/>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8340710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526758D-8197-4720-A62D-3555217B3287}"/>
              </a:ext>
            </a:extLst>
          </p:cNvPr>
          <p:cNvGraphicFramePr>
            <a:graphicFrameLocks noChangeAspect="1"/>
          </p:cNvGraphicFramePr>
          <p:nvPr userDrawn="1">
            <p:custDataLst>
              <p:tags r:id="rId1"/>
            </p:custDataLst>
            <p:extLst>
              <p:ext uri="{D42A27DB-BD31-4B8C-83A1-F6EECF244321}">
                <p14:modId xmlns:p14="http://schemas.microsoft.com/office/powerpoint/2010/main" val="1502091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6" imgH="367" progId="TCLayout.ActiveDocument.1">
                  <p:embed/>
                </p:oleObj>
              </mc:Choice>
              <mc:Fallback>
                <p:oleObj name="think-cell Slide" r:id="rId3" imgW="366" imgH="367" progId="TCLayout.ActiveDocument.1">
                  <p:embed/>
                  <p:pic>
                    <p:nvPicPr>
                      <p:cNvPr id="4" name="think-cell data - do not delete" hidden="1">
                        <a:extLst>
                          <a:ext uri="{FF2B5EF4-FFF2-40B4-BE49-F238E27FC236}">
                            <a16:creationId xmlns:a16="http://schemas.microsoft.com/office/drawing/2014/main" id="{4526758D-8197-4720-A62D-3555217B32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solidFill>
                  <a:schemeClr val="bg1">
                    <a:lumMod val="50000"/>
                  </a:schemeClr>
                </a:solidFill>
                <a:latin typeface="+mn-lt"/>
                <a:cs typeface="+mn-cs"/>
                <a:sym typeface="Trebuchet MS" panose="020B0603020202020204" pitchFamily="34" charset="0"/>
              </a:defRPr>
            </a:lvl1pPr>
          </a:lstStyle>
          <a:p>
            <a:endParaRPr lang="en-US" dirty="0"/>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cs typeface="+mn-cs"/>
                <a:sym typeface="Trebuchet MS" panose="020B0603020202020204" pitchFamily="34" charset="0"/>
              </a:rPr>
              <a:t>Copyright © 2024 by Boston Consulting Group. All rights reserved.</a:t>
            </a:r>
          </a:p>
        </p:txBody>
      </p:sp>
      <p:sp>
        <p:nvSpPr>
          <p:cNvPr id="6" name="Rectangle 5"/>
          <p:cNvSpPr/>
          <p:nvPr/>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en-US" sz="1200" dirty="0">
              <a:solidFill>
                <a:schemeClr val="bg1"/>
              </a:solidFill>
              <a:latin typeface="+mn-lt"/>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3EAD92"/>
                </a:solidFill>
                <a:latin typeface="+mj-lt"/>
                <a:ea typeface="+mn-ea"/>
                <a:cs typeface="+mj-cs"/>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4198799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7021233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p:nvPicPr>
        <p:blipFill rotWithShape="1">
          <a:blip r:embed="rId5" cstate="hqprint">
            <a:extLst>
              <a:ext uri="{28A0092B-C50C-407E-A947-70E740481C1C}">
                <a14:useLocalDpi xmlns:a14="http://schemas.microsoft.com/office/drawing/2010/main"/>
              </a:ext>
            </a:extLst>
          </a:blip>
          <a:srcRect r="-511" b="-40"/>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3EAD92"/>
          </a:solidFill>
          <a:ln>
            <a:noFill/>
          </a:ln>
          <a:effectLst/>
        </p:spPr>
        <p:txBody>
          <a:bodyPr vert="horz" wrap="square" lIns="91440" tIns="45720" rIns="91440" bIns="45720" numCol="1" anchor="t" anchorCtr="0" compatLnSpc="1">
            <a:prstTxWarp prst="textNoShape">
              <a:avLst/>
            </a:prstTxWarp>
            <a:noAutofit/>
          </a:bodyPr>
          <a:lstStyle/>
          <a:p>
            <a:pPr rtl="0"/>
            <a:endParaRPr lang="en-US" dirty="0">
              <a:latin typeface="+mn-lt"/>
              <a:cs typeface="+mn-cs"/>
              <a:sym typeface="Trebuchet MS" panose="020B0603020202020204" pitchFamily="34" charset="0"/>
            </a:endParaRPr>
          </a:p>
        </p:txBody>
      </p:sp>
    </p:spTree>
    <p:extLst>
      <p:ext uri="{BB962C8B-B14F-4D97-AF65-F5344CB8AC3E}">
        <p14:creationId xmlns:p14="http://schemas.microsoft.com/office/powerpoint/2010/main" val="29823631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657897F-51AF-4357-83AC-1BF6BB1C068F}"/>
              </a:ext>
            </a:extLst>
          </p:cNvPr>
          <p:cNvGraphicFramePr>
            <a:graphicFrameLocks noChangeAspect="1"/>
          </p:cNvGraphicFramePr>
          <p:nvPr userDrawn="1">
            <p:custDataLst>
              <p:tags r:id="rId1"/>
            </p:custDataLst>
            <p:extLst>
              <p:ext uri="{D42A27DB-BD31-4B8C-83A1-F6EECF244321}">
                <p14:modId xmlns:p14="http://schemas.microsoft.com/office/powerpoint/2010/main" val="2233642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2" name="think-cell data - do not delete" hidden="1">
                        <a:extLst>
                          <a:ext uri="{FF2B5EF4-FFF2-40B4-BE49-F238E27FC236}">
                            <a16:creationId xmlns:a16="http://schemas.microsoft.com/office/drawing/2014/main" id="{3657897F-51AF-4357-83AC-1BF6BB1C06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rtl="0">
              <a:defRPr>
                <a:solidFill>
                  <a:schemeClr val="bg1">
                    <a:lumMod val="50000"/>
                  </a:schemeClr>
                </a:solidFill>
                <a:latin typeface="+mn-lt"/>
                <a:cs typeface="+mn-cs"/>
                <a:sym typeface="Trebuchet MS" panose="020B0603020202020204" pitchFamily="34" charset="0"/>
              </a:defRPr>
            </a:lvl1pPr>
          </a:lstStyle>
          <a:p>
            <a:endParaRPr lang="en-US" dirty="0"/>
          </a:p>
        </p:txBody>
      </p:sp>
      <p:sp>
        <p:nvSpPr>
          <p:cNvPr id="7"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cs typeface="+mn-cs"/>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18176281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9C8ECB8-2147-4B8F-DCBE-9BA3B1DC95D9}"/>
              </a:ext>
            </a:extLst>
          </p:cNvPr>
          <p:cNvGraphicFramePr>
            <a:graphicFrameLocks noChangeAspect="1"/>
          </p:cNvGraphicFramePr>
          <p:nvPr userDrawn="1">
            <p:custDataLst>
              <p:tags r:id="rId1"/>
            </p:custDataLst>
            <p:extLst>
              <p:ext uri="{D42A27DB-BD31-4B8C-83A1-F6EECF244321}">
                <p14:modId xmlns:p14="http://schemas.microsoft.com/office/powerpoint/2010/main" val="256207340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89C8ECB8-2147-4B8F-DCBE-9BA3B1DC95D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2" name="Picture 11">
            <a:extLst>
              <a:ext uri="{FF2B5EF4-FFF2-40B4-BE49-F238E27FC236}">
                <a16:creationId xmlns:a16="http://schemas.microsoft.com/office/drawing/2014/main" id="{2DAB185C-8771-44D0-8378-88124AB92F8D}"/>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12192000" cy="6858000"/>
          </a:xfrm>
          <a:prstGeom prst="rect">
            <a:avLst/>
          </a:prstGeom>
          <a:gradFill>
            <a:gsLst>
              <a:gs pos="0">
                <a:schemeClr val="tx2"/>
              </a:gs>
              <a:gs pos="100000">
                <a:schemeClr val="accent2"/>
              </a:gs>
            </a:gsLst>
            <a:lin ang="8100000" scaled="1"/>
          </a:gradFill>
        </p:spPr>
      </p:pic>
      <p:sp>
        <p:nvSpPr>
          <p:cNvPr id="13" name="Overlay">
            <a:extLst>
              <a:ext uri="{FF2B5EF4-FFF2-40B4-BE49-F238E27FC236}">
                <a16:creationId xmlns:a16="http://schemas.microsoft.com/office/drawing/2014/main" id="{2EB71B81-D2A1-45AC-9581-3258FDDD904D}"/>
              </a:ext>
            </a:extLst>
          </p:cNvPr>
          <p:cNvSpPr/>
          <p:nvPr userDrawn="1">
            <p:custDataLst>
              <p:tags r:id="rId2"/>
            </p:custDataLst>
          </p:nvPr>
        </p:nvSpPr>
        <p:spPr>
          <a:xfrm>
            <a:off x="0" y="0"/>
            <a:ext cx="12192000" cy="6858000"/>
          </a:xfrm>
          <a:prstGeom prst="rect">
            <a:avLst/>
          </a:prstGeom>
          <a:gradFill>
            <a:gsLst>
              <a:gs pos="0">
                <a:srgbClr val="009B9D">
                  <a:alpha val="75000"/>
                </a:srgbClr>
              </a:gs>
              <a:gs pos="100000">
                <a:srgbClr val="006F4E">
                  <a:alpha val="9506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lnSpc>
                <a:spcPct val="90000"/>
              </a:lnSpc>
              <a:spcAft>
                <a:spcPts val="1000"/>
              </a:spcAft>
            </a:pPr>
            <a:endParaRPr lang="en-US" sz="1200" dirty="0">
              <a:solidFill>
                <a:schemeClr val="bg1"/>
              </a:solidFill>
              <a:cs typeface="+mn-cs"/>
            </a:endParaRPr>
          </a:p>
        </p:txBody>
      </p:sp>
      <p:sp>
        <p:nvSpPr>
          <p:cNvPr id="7" name="TextBox 6"/>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rtl="0">
              <a:defRPr>
                <a:solidFill>
                  <a:schemeClr val="bg1"/>
                </a:solidFill>
                <a:latin typeface="+mn-lt"/>
                <a:cs typeface="+mn-cs"/>
                <a:sym typeface="Trebuchet MS" panose="020B0603020202020204" pitchFamily="34" charset="0"/>
              </a:defRPr>
            </a:lvl1pPr>
          </a:lstStyle>
          <a:p>
            <a:endParaRPr lang="en-US" dirty="0"/>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cs typeface="+mn-cs"/>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9166416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C936640-4659-4C5A-A3E0-1FDD2CDE798C}"/>
              </a:ext>
            </a:extLst>
          </p:cNvPr>
          <p:cNvGraphicFramePr>
            <a:graphicFrameLocks noChangeAspect="1"/>
          </p:cNvGraphicFramePr>
          <p:nvPr userDrawn="1">
            <p:custDataLst>
              <p:tags r:id="rId1"/>
            </p:custDataLst>
            <p:extLst>
              <p:ext uri="{D42A27DB-BD31-4B8C-83A1-F6EECF244321}">
                <p14:modId xmlns:p14="http://schemas.microsoft.com/office/powerpoint/2010/main" val="678966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EC936640-4659-4C5A-A3E0-1FDD2CDE79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6" y="1664256"/>
            <a:ext cx="6209072" cy="3323987"/>
          </a:xfrm>
          <a:prstGeom prst="rect">
            <a:avLst/>
          </a:prstGeom>
        </p:spPr>
        <p:txBody>
          <a:bodyPr wrap="square" lIns="0" tIns="0" rIns="0" bIns="0" anchor="ctr">
            <a:spAutoFit/>
          </a:bodyPr>
          <a:lstStyle/>
          <a:p>
            <a:pPr indent="0" rtl="0">
              <a:lnSpc>
                <a:spcPct val="100000"/>
              </a:lnSpc>
            </a:pPr>
            <a:r>
              <a:rPr lang="en-US" sz="900" b="0" dirty="0">
                <a:latin typeface="+mn-lt"/>
                <a:cs typeface="+mn-cs"/>
                <a:sym typeface="Trebuchet MS" panose="020B0603020202020204" pitchFamily="34" charset="0"/>
              </a:rPr>
              <a:t>The services and materials provided by Boston Consulting Group (BCG) are subject to BCG's Standard Terms </a:t>
            </a:r>
            <a:br>
              <a:rPr lang="en-US" sz="900" b="0" dirty="0">
                <a:latin typeface="+mn-lt"/>
                <a:cs typeface="+mn-cs"/>
                <a:sym typeface="Trebuchet MS" panose="020B0603020202020204" pitchFamily="34" charset="0"/>
              </a:rPr>
            </a:br>
            <a:r>
              <a:rPr lang="en-US" sz="900" b="0" dirty="0">
                <a:latin typeface="+mn-lt"/>
                <a:cs typeface="+mn-cs"/>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cs typeface="+mn-cs"/>
                <a:sym typeface="Trebuchet MS" panose="020B0603020202020204" pitchFamily="34" charset="0"/>
              </a:rPr>
            </a:br>
            <a:r>
              <a:rPr lang="en-US" sz="900" b="0" dirty="0">
                <a:latin typeface="+mn-lt"/>
                <a:cs typeface="+mn-cs"/>
                <a:sym typeface="Trebuchet MS" panose="020B0603020202020204" pitchFamily="34" charset="0"/>
              </a:rPr>
              <a:t>to update these materials after the date hereof, notwithstanding that such information may become outdated </a:t>
            </a:r>
            <a:br>
              <a:rPr lang="en-US" sz="900" b="0" dirty="0">
                <a:latin typeface="+mn-lt"/>
                <a:cs typeface="+mn-cs"/>
                <a:sym typeface="Trebuchet MS" panose="020B0603020202020204" pitchFamily="34" charset="0"/>
              </a:rPr>
            </a:br>
            <a:r>
              <a:rPr lang="en-US" sz="900" b="0" dirty="0">
                <a:latin typeface="+mn-lt"/>
                <a:cs typeface="+mn-cs"/>
                <a:sym typeface="Trebuchet MS" panose="020B0603020202020204" pitchFamily="34" charset="0"/>
              </a:rPr>
              <a:t>or inaccurate.</a:t>
            </a:r>
          </a:p>
          <a:p>
            <a:pPr indent="0" rtl="0">
              <a:lnSpc>
                <a:spcPct val="100000"/>
              </a:lnSpc>
            </a:pPr>
            <a:r>
              <a:rPr lang="en-US" sz="900" b="0" dirty="0">
                <a:latin typeface="+mn-lt"/>
                <a:cs typeface="+mn-cs"/>
                <a:sym typeface="Trebuchet MS" panose="020B0603020202020204" pitchFamily="34" charset="0"/>
              </a:rPr>
              <a:t> </a:t>
            </a:r>
          </a:p>
          <a:p>
            <a:pPr indent="0" rtl="0">
              <a:lnSpc>
                <a:spcPct val="100000"/>
              </a:lnSpc>
            </a:pPr>
            <a:r>
              <a:rPr lang="en-US" sz="900" b="0" dirty="0">
                <a:latin typeface="+mn-lt"/>
                <a:cs typeface="+mn-cs"/>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rtl="0">
              <a:lnSpc>
                <a:spcPct val="100000"/>
              </a:lnSpc>
            </a:pPr>
            <a:endParaRPr lang="en-US" sz="900" b="0" dirty="0">
              <a:latin typeface="+mn-lt"/>
              <a:cs typeface="+mn-cs"/>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cs typeface="+mn-cs"/>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pPr rtl="0"/>
            <a:r>
              <a:rPr lang="en-US" sz="5100" dirty="0">
                <a:gradFill>
                  <a:gsLst>
                    <a:gs pos="100000">
                      <a:schemeClr val="tx2"/>
                    </a:gs>
                    <a:gs pos="2000">
                      <a:schemeClr val="accent2"/>
                    </a:gs>
                  </a:gsLst>
                  <a:lin ang="2700000" scaled="0"/>
                </a:gradFill>
                <a:latin typeface="+mn-lt"/>
                <a:cs typeface="+mn-cs"/>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rtl="0">
              <a:defRPr>
                <a:solidFill>
                  <a:schemeClr val="bg1">
                    <a:lumMod val="50000"/>
                  </a:schemeClr>
                </a:solidFill>
                <a:latin typeface="+mn-lt"/>
                <a:cs typeface="+mn-cs"/>
                <a:sym typeface="Trebuchet MS" panose="020B0603020202020204" pitchFamily="34" charset="0"/>
              </a:defRPr>
            </a:lvl1pPr>
          </a:lstStyle>
          <a:p>
            <a:endParaRPr lang="en-US" dirty="0"/>
          </a:p>
        </p:txBody>
      </p:sp>
      <p:sp>
        <p:nvSpPr>
          <p:cNvPr id="10"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cs typeface="+mn-cs"/>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26628746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6C031D8-3CA7-4F28-89C2-97EA003FEABB}"/>
              </a:ext>
            </a:extLst>
          </p:cNvPr>
          <p:cNvGraphicFramePr>
            <a:graphicFrameLocks noChangeAspect="1"/>
          </p:cNvGraphicFramePr>
          <p:nvPr userDrawn="1">
            <p:custDataLst>
              <p:tags r:id="rId1"/>
            </p:custDataLst>
            <p:extLst>
              <p:ext uri="{D42A27DB-BD31-4B8C-83A1-F6EECF244321}">
                <p14:modId xmlns:p14="http://schemas.microsoft.com/office/powerpoint/2010/main" val="40644283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6" name="think-cell data - do not delete" hidden="1">
                        <a:extLst>
                          <a:ext uri="{FF2B5EF4-FFF2-40B4-BE49-F238E27FC236}">
                            <a16:creationId xmlns:a16="http://schemas.microsoft.com/office/drawing/2014/main" id="{06C031D8-3CA7-4F28-89C2-97EA003FEA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rtl="0">
              <a:defRPr>
                <a:solidFill>
                  <a:schemeClr val="bg1"/>
                </a:solidFill>
                <a:latin typeface="+mn-lt"/>
                <a:cs typeface="+mn-cs"/>
                <a:sym typeface="Trebuchet MS" panose="020B0603020202020204" pitchFamily="34" charset="0"/>
              </a:defRPr>
            </a:lvl1pPr>
          </a:lstStyle>
          <a:p>
            <a:endParaRPr lang="en-US" dirty="0"/>
          </a:p>
        </p:txBody>
      </p:sp>
      <p:sp>
        <p:nvSpPr>
          <p:cNvPr id="11"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cs typeface="+mn-cs"/>
                <a:sym typeface="Trebuchet MS" panose="020B0603020202020204" pitchFamily="34" charset="0"/>
              </a:rPr>
              <a:t>Copyright © 2024 by Boston Consulting Group. All rights reserved.</a:t>
            </a:r>
          </a:p>
        </p:txBody>
      </p:sp>
      <p:sp>
        <p:nvSpPr>
          <p:cNvPr id="4" name="Title 3"/>
          <p:cNvSpPr>
            <a:spLocks noGrp="1"/>
          </p:cNvSpPr>
          <p:nvPr>
            <p:ph type="title" hasCustomPrompt="1"/>
          </p:nvPr>
        </p:nvSpPr>
        <p:spPr>
          <a:xfrm>
            <a:off x="630000" y="622800"/>
            <a:ext cx="10933200" cy="470898"/>
          </a:xfrm>
        </p:spPr>
        <p:txBody>
          <a:bodyPr vert="horz"/>
          <a:lstStyle>
            <a:lvl1pPr rtl="0">
              <a:defRPr sz="3400">
                <a:solidFill>
                  <a:schemeClr val="bg1"/>
                </a:solidFill>
                <a:latin typeface="+mj-lt"/>
                <a:cs typeface="+mj-cs"/>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9000945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3619066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84" imgH="384" progId="TCLayout.ActiveDocument.1">
                  <p:embed/>
                </p:oleObj>
              </mc:Choice>
              <mc:Fallback>
                <p:oleObj name="think-cell Slide" r:id="rId7" imgW="384" imgH="384" progId="TCLayout.ActiveDocument.1">
                  <p:embed/>
                  <p:pic>
                    <p:nvPicPr>
                      <p:cNvPr id="2" name="Object 1"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780B2538-03F3-4689-9FC3-D34E5DBA9497}"/>
              </a:ext>
            </a:extLst>
          </p:cNvPr>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US" sz="1200" dirty="0">
              <a:solidFill>
                <a:prstClr val="white"/>
              </a:solidFill>
              <a:cs typeface="+mn-cs"/>
              <a:sym typeface="Trebuchet MS" panose="020B0603020202020204" pitchFamily="34" charset="0"/>
            </a:endParaRPr>
          </a:p>
        </p:txBody>
      </p:sp>
      <p:pic>
        <p:nvPicPr>
          <p:cNvPr id="11" name="Picture 10">
            <a:extLst>
              <a:ext uri="{FF2B5EF4-FFF2-40B4-BE49-F238E27FC236}">
                <a16:creationId xmlns:a16="http://schemas.microsoft.com/office/drawing/2014/main" id="{D5A88F1F-CF59-45A8-A1AF-B490E81425ED}"/>
              </a:ext>
            </a:extLst>
          </p:cNvPr>
          <p:cNvPicPr>
            <a:picLocks noChangeAspect="1"/>
          </p:cNvPicPr>
          <p:nvPr userDrawn="1"/>
        </p:nvPicPr>
        <p:blipFill rotWithShape="1">
          <a:blip r:embed="rId9" cstate="hqprint">
            <a:extLst>
              <a:ext uri="{28A0092B-C50C-407E-A947-70E740481C1C}">
                <a14:useLocalDpi xmlns:a14="http://schemas.microsoft.com/office/drawing/2010/main"/>
              </a:ext>
            </a:extLst>
          </a:blip>
          <a:srcRect r="-234"/>
          <a:stretch/>
        </p:blipFill>
        <p:spPr>
          <a:xfrm rot="16200000" flipH="1">
            <a:off x="8471925" y="2172355"/>
            <a:ext cx="580573" cy="6858000"/>
          </a:xfrm>
          <a:prstGeom prst="rect">
            <a:avLst/>
          </a:prstGeom>
        </p:spPr>
      </p:pic>
      <p:pic>
        <p:nvPicPr>
          <p:cNvPr id="12" name="Picture 2" descr="Design a landscape-oriented image of a future bank branch interior focusing on enhanced client relationships and personalized advisory. This modern, multifunctional space should be equipped for co-working, hosting social events, and private consultations, featuring a welcoming cafe area. It must include cutting-edge digital and GenAI technology tools for superior customer support. The layout is arranged so the most important elements are prominent, especially considering the landscape A4 format where the lower part might be less visible. The design combines professionalism with a cozy atmosphere, integrating comfortable seating, indoor greenery, and a modern aesthetic. Ensure the scene is photorealistic, emphasizing the innovative and multifunctional nature of the branch, without including any text. The composition should adapt well to a landscape A4 presentation, making sure the key aspects are clearly visible even if part of the image is obscured.">
            <a:extLst>
              <a:ext uri="{FF2B5EF4-FFF2-40B4-BE49-F238E27FC236}">
                <a16:creationId xmlns:a16="http://schemas.microsoft.com/office/drawing/2014/main" id="{244194DB-D1C1-4005-ABF9-F126C827446D}"/>
              </a:ext>
            </a:extLst>
          </p:cNvPr>
          <p:cNvPicPr>
            <a:picLocks noChangeAspect="1" noChangeArrowheads="1"/>
          </p:cNvPicPr>
          <p:nvPr userDrawn="1"/>
        </p:nvPicPr>
        <p:blipFill rotWithShape="1">
          <a:blip r:embed="rId10" cstate="screen">
            <a:extLst>
              <a:ext uri="{28A0092B-C50C-407E-A947-70E740481C1C}">
                <a14:useLocalDpi xmlns:a14="http://schemas.microsoft.com/office/drawing/2010/main"/>
              </a:ext>
            </a:extLst>
          </a:blip>
          <a:srcRect/>
          <a:stretch/>
        </p:blipFill>
        <p:spPr bwMode="auto">
          <a:xfrm>
            <a:off x="1" y="0"/>
            <a:ext cx="12192000" cy="6858000"/>
          </a:xfrm>
          <a:prstGeom prst="rect">
            <a:avLst/>
          </a:prstGeom>
          <a:noFill/>
          <a:extLst>
            <a:ext uri="{909E8E84-426E-40DD-AFC4-6F175D3DCCD1}">
              <a14:hiddenFill xmlns:a14="http://schemas.microsoft.com/office/drawing/2010/main">
                <a:solidFill>
                  <a:srgbClr val="FFFFFF"/>
                </a:solidFill>
              </a14:hiddenFill>
            </a:ext>
          </a:extLst>
        </p:spPr>
      </p:pic>
      <p:grpSp>
        <p:nvGrpSpPr>
          <p:cNvPr id="55" name="Group 54">
            <a:extLst>
              <a:ext uri="{FF2B5EF4-FFF2-40B4-BE49-F238E27FC236}">
                <a16:creationId xmlns:a16="http://schemas.microsoft.com/office/drawing/2014/main" id="{D79B754B-8630-46F2-AEF9-C6C3D56CD58A}"/>
              </a:ext>
            </a:extLst>
          </p:cNvPr>
          <p:cNvGrpSpPr/>
          <p:nvPr userDrawn="1"/>
        </p:nvGrpSpPr>
        <p:grpSpPr>
          <a:xfrm>
            <a:off x="-464617" y="0"/>
            <a:ext cx="13994863" cy="6858001"/>
            <a:chOff x="-469420" y="7117574"/>
            <a:chExt cx="13994863" cy="6858001"/>
          </a:xfrm>
        </p:grpSpPr>
        <p:sp>
          <p:nvSpPr>
            <p:cNvPr id="56" name="Freeform: Shape 55">
              <a:extLst>
                <a:ext uri="{FF2B5EF4-FFF2-40B4-BE49-F238E27FC236}">
                  <a16:creationId xmlns:a16="http://schemas.microsoft.com/office/drawing/2014/main" id="{70FB10C6-7C69-4A5B-BE1D-B9F84A6C6857}"/>
                </a:ext>
              </a:extLst>
            </p:cNvPr>
            <p:cNvSpPr/>
            <p:nvPr userDrawn="1"/>
          </p:nvSpPr>
          <p:spPr>
            <a:xfrm>
              <a:off x="-469420" y="7117574"/>
              <a:ext cx="827649" cy="859748"/>
            </a:xfrm>
            <a:custGeom>
              <a:avLst/>
              <a:gdLst>
                <a:gd name="connsiteX0" fmla="*/ 0 w 827649"/>
                <a:gd name="connsiteY0" fmla="*/ 0 h 859748"/>
                <a:gd name="connsiteX1" fmla="*/ 827649 w 827649"/>
                <a:gd name="connsiteY1" fmla="*/ 0 h 859748"/>
                <a:gd name="connsiteX2" fmla="*/ 469420 w 827649"/>
                <a:gd name="connsiteY2" fmla="*/ 859748 h 859748"/>
                <a:gd name="connsiteX3" fmla="*/ 469420 w 827649"/>
                <a:gd name="connsiteY3" fmla="*/ 1 h 859748"/>
                <a:gd name="connsiteX4" fmla="*/ 0 w 827649"/>
                <a:gd name="connsiteY4" fmla="*/ 1 h 859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649" h="859748">
                  <a:moveTo>
                    <a:pt x="0" y="0"/>
                  </a:moveTo>
                  <a:lnTo>
                    <a:pt x="827649" y="0"/>
                  </a:lnTo>
                  <a:lnTo>
                    <a:pt x="469420" y="859748"/>
                  </a:lnTo>
                  <a:lnTo>
                    <a:pt x="469420" y="1"/>
                  </a:lnTo>
                  <a:lnTo>
                    <a:pt x="0" y="1"/>
                  </a:lnTo>
                  <a:close/>
                </a:path>
              </a:pathLst>
            </a:cu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57" name="Parallelogram 56">
              <a:extLst>
                <a:ext uri="{FF2B5EF4-FFF2-40B4-BE49-F238E27FC236}">
                  <a16:creationId xmlns:a16="http://schemas.microsoft.com/office/drawing/2014/main" id="{25E515BB-1337-47A1-900B-E4B4546E9F1F}"/>
                </a:ext>
              </a:extLst>
            </p:cNvPr>
            <p:cNvSpPr/>
            <p:nvPr userDrawn="1"/>
          </p:nvSpPr>
          <p:spPr>
            <a:xfrm>
              <a:off x="1062144" y="7117574"/>
              <a:ext cx="3685157" cy="6858000"/>
            </a:xfrm>
            <a:prstGeom prst="parallelogram">
              <a:avLst>
                <a:gd name="adj" fmla="val 77541"/>
              </a:avLst>
            </a:pr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58" name="Freeform: Shape 57">
              <a:extLst>
                <a:ext uri="{FF2B5EF4-FFF2-40B4-BE49-F238E27FC236}">
                  <a16:creationId xmlns:a16="http://schemas.microsoft.com/office/drawing/2014/main" id="{EFBF0E38-3885-43AC-BFD8-4C6035C5EA5D}"/>
                </a:ext>
              </a:extLst>
            </p:cNvPr>
            <p:cNvSpPr/>
            <p:nvPr userDrawn="1"/>
          </p:nvSpPr>
          <p:spPr>
            <a:xfrm>
              <a:off x="0" y="7117574"/>
              <a:ext cx="3650033" cy="6858000"/>
            </a:xfrm>
            <a:custGeom>
              <a:avLst/>
              <a:gdLst>
                <a:gd name="connsiteX0" fmla="*/ 2822384 w 3650033"/>
                <a:gd name="connsiteY0" fmla="*/ 0 h 6858000"/>
                <a:gd name="connsiteX1" fmla="*/ 3650033 w 3650033"/>
                <a:gd name="connsiteY1" fmla="*/ 0 h 6858000"/>
                <a:gd name="connsiteX2" fmla="*/ 792525 w 3650033"/>
                <a:gd name="connsiteY2" fmla="*/ 6858000 h 6858000"/>
                <a:gd name="connsiteX3" fmla="*/ 0 w 3650033"/>
                <a:gd name="connsiteY3" fmla="*/ 6858000 h 6858000"/>
                <a:gd name="connsiteX4" fmla="*/ 0 w 3650033"/>
                <a:gd name="connsiteY4" fmla="*/ 6773703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0033" h="6858000">
                  <a:moveTo>
                    <a:pt x="2822384" y="0"/>
                  </a:moveTo>
                  <a:lnTo>
                    <a:pt x="3650033" y="0"/>
                  </a:lnTo>
                  <a:lnTo>
                    <a:pt x="792525" y="6858000"/>
                  </a:lnTo>
                  <a:lnTo>
                    <a:pt x="0" y="6858000"/>
                  </a:lnTo>
                  <a:lnTo>
                    <a:pt x="0" y="6773703"/>
                  </a:lnTo>
                  <a:close/>
                </a:path>
              </a:pathLst>
            </a:cu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59" name="Freeform: Shape 58">
              <a:extLst>
                <a:ext uri="{FF2B5EF4-FFF2-40B4-BE49-F238E27FC236}">
                  <a16:creationId xmlns:a16="http://schemas.microsoft.com/office/drawing/2014/main" id="{FCA89D43-698A-470A-9D13-CCBD23783992}"/>
                </a:ext>
              </a:extLst>
            </p:cNvPr>
            <p:cNvSpPr/>
            <p:nvPr userDrawn="1"/>
          </p:nvSpPr>
          <p:spPr>
            <a:xfrm>
              <a:off x="0" y="7117575"/>
              <a:ext cx="2552765" cy="6126619"/>
            </a:xfrm>
            <a:custGeom>
              <a:avLst/>
              <a:gdLst>
                <a:gd name="connsiteX0" fmla="*/ 1725116 w 2552765"/>
                <a:gd name="connsiteY0" fmla="*/ 0 h 6126619"/>
                <a:gd name="connsiteX1" fmla="*/ 2552765 w 2552765"/>
                <a:gd name="connsiteY1" fmla="*/ 0 h 6126619"/>
                <a:gd name="connsiteX2" fmla="*/ 0 w 2552765"/>
                <a:gd name="connsiteY2" fmla="*/ 6126619 h 6126619"/>
                <a:gd name="connsiteX3" fmla="*/ 0 w 2552765"/>
                <a:gd name="connsiteY3" fmla="*/ 4140267 h 6126619"/>
              </a:gdLst>
              <a:ahLst/>
              <a:cxnLst>
                <a:cxn ang="0">
                  <a:pos x="connsiteX0" y="connsiteY0"/>
                </a:cxn>
                <a:cxn ang="0">
                  <a:pos x="connsiteX1" y="connsiteY1"/>
                </a:cxn>
                <a:cxn ang="0">
                  <a:pos x="connsiteX2" y="connsiteY2"/>
                </a:cxn>
                <a:cxn ang="0">
                  <a:pos x="connsiteX3" y="connsiteY3"/>
                </a:cxn>
              </a:cxnLst>
              <a:rect l="l" t="t" r="r" b="b"/>
              <a:pathLst>
                <a:path w="2552765" h="6126619">
                  <a:moveTo>
                    <a:pt x="1725116" y="0"/>
                  </a:moveTo>
                  <a:lnTo>
                    <a:pt x="2552765" y="0"/>
                  </a:lnTo>
                  <a:lnTo>
                    <a:pt x="0" y="6126619"/>
                  </a:lnTo>
                  <a:lnTo>
                    <a:pt x="0" y="4140267"/>
                  </a:lnTo>
                  <a:close/>
                </a:path>
              </a:pathLst>
            </a:cu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60" name="Freeform: Shape 59">
              <a:extLst>
                <a:ext uri="{FF2B5EF4-FFF2-40B4-BE49-F238E27FC236}">
                  <a16:creationId xmlns:a16="http://schemas.microsoft.com/office/drawing/2014/main" id="{49C6D994-74D7-4805-B786-E8B59E759D89}"/>
                </a:ext>
              </a:extLst>
            </p:cNvPr>
            <p:cNvSpPr/>
            <p:nvPr userDrawn="1"/>
          </p:nvSpPr>
          <p:spPr>
            <a:xfrm>
              <a:off x="0" y="7117575"/>
              <a:ext cx="1455497" cy="3493183"/>
            </a:xfrm>
            <a:custGeom>
              <a:avLst/>
              <a:gdLst>
                <a:gd name="connsiteX0" fmla="*/ 627848 w 1455497"/>
                <a:gd name="connsiteY0" fmla="*/ 0 h 3493183"/>
                <a:gd name="connsiteX1" fmla="*/ 1455497 w 1455497"/>
                <a:gd name="connsiteY1" fmla="*/ 0 h 3493183"/>
                <a:gd name="connsiteX2" fmla="*/ 0 w 1455497"/>
                <a:gd name="connsiteY2" fmla="*/ 3493183 h 3493183"/>
                <a:gd name="connsiteX3" fmla="*/ 0 w 1455497"/>
                <a:gd name="connsiteY3" fmla="*/ 1506831 h 3493183"/>
              </a:gdLst>
              <a:ahLst/>
              <a:cxnLst>
                <a:cxn ang="0">
                  <a:pos x="connsiteX0" y="connsiteY0"/>
                </a:cxn>
                <a:cxn ang="0">
                  <a:pos x="connsiteX1" y="connsiteY1"/>
                </a:cxn>
                <a:cxn ang="0">
                  <a:pos x="connsiteX2" y="connsiteY2"/>
                </a:cxn>
                <a:cxn ang="0">
                  <a:pos x="connsiteX3" y="connsiteY3"/>
                </a:cxn>
              </a:cxnLst>
              <a:rect l="l" t="t" r="r" b="b"/>
              <a:pathLst>
                <a:path w="1455497" h="3493183">
                  <a:moveTo>
                    <a:pt x="627848" y="0"/>
                  </a:moveTo>
                  <a:lnTo>
                    <a:pt x="1455497" y="0"/>
                  </a:lnTo>
                  <a:lnTo>
                    <a:pt x="0" y="3493183"/>
                  </a:lnTo>
                  <a:lnTo>
                    <a:pt x="0" y="1506831"/>
                  </a:lnTo>
                  <a:close/>
                </a:path>
              </a:pathLst>
            </a:cu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61" name="Parallelogram 60">
              <a:extLst>
                <a:ext uri="{FF2B5EF4-FFF2-40B4-BE49-F238E27FC236}">
                  <a16:creationId xmlns:a16="http://schemas.microsoft.com/office/drawing/2014/main" id="{BE897109-82E2-43EF-88A1-2D63DB779DA1}"/>
                </a:ext>
              </a:extLst>
            </p:cNvPr>
            <p:cNvSpPr/>
            <p:nvPr userDrawn="1"/>
          </p:nvSpPr>
          <p:spPr>
            <a:xfrm>
              <a:off x="5451215" y="7117574"/>
              <a:ext cx="3685157" cy="6858000"/>
            </a:xfrm>
            <a:prstGeom prst="parallelogram">
              <a:avLst>
                <a:gd name="adj" fmla="val 77541"/>
              </a:avLst>
            </a:pr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62" name="Parallelogram 61">
              <a:extLst>
                <a:ext uri="{FF2B5EF4-FFF2-40B4-BE49-F238E27FC236}">
                  <a16:creationId xmlns:a16="http://schemas.microsoft.com/office/drawing/2014/main" id="{E5FAF060-EC06-481A-B2FC-7CBFA6B04877}"/>
                </a:ext>
              </a:extLst>
            </p:cNvPr>
            <p:cNvSpPr/>
            <p:nvPr userDrawn="1"/>
          </p:nvSpPr>
          <p:spPr>
            <a:xfrm>
              <a:off x="4353947" y="7117574"/>
              <a:ext cx="3685157" cy="6858000"/>
            </a:xfrm>
            <a:prstGeom prst="parallelogram">
              <a:avLst>
                <a:gd name="adj" fmla="val 77541"/>
              </a:avLst>
            </a:pr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63" name="Parallelogram 62">
              <a:extLst>
                <a:ext uri="{FF2B5EF4-FFF2-40B4-BE49-F238E27FC236}">
                  <a16:creationId xmlns:a16="http://schemas.microsoft.com/office/drawing/2014/main" id="{DDB4DA55-B255-4BF9-AC2D-67070DD7E0A3}"/>
                </a:ext>
              </a:extLst>
            </p:cNvPr>
            <p:cNvSpPr/>
            <p:nvPr userDrawn="1"/>
          </p:nvSpPr>
          <p:spPr>
            <a:xfrm>
              <a:off x="3256679" y="7117574"/>
              <a:ext cx="3685157" cy="6858000"/>
            </a:xfrm>
            <a:prstGeom prst="parallelogram">
              <a:avLst>
                <a:gd name="adj" fmla="val 77541"/>
              </a:avLst>
            </a:pr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64" name="Parallelogram 63">
              <a:extLst>
                <a:ext uri="{FF2B5EF4-FFF2-40B4-BE49-F238E27FC236}">
                  <a16:creationId xmlns:a16="http://schemas.microsoft.com/office/drawing/2014/main" id="{F1992D17-1ADA-47F8-9B4D-3B38C5C8E48D}"/>
                </a:ext>
              </a:extLst>
            </p:cNvPr>
            <p:cNvSpPr/>
            <p:nvPr userDrawn="1"/>
          </p:nvSpPr>
          <p:spPr>
            <a:xfrm>
              <a:off x="2159411" y="7117574"/>
              <a:ext cx="3685157" cy="6858000"/>
            </a:xfrm>
            <a:prstGeom prst="parallelogram">
              <a:avLst>
                <a:gd name="adj" fmla="val 77541"/>
              </a:avLst>
            </a:pr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65" name="Parallelogram 64">
              <a:extLst>
                <a:ext uri="{FF2B5EF4-FFF2-40B4-BE49-F238E27FC236}">
                  <a16:creationId xmlns:a16="http://schemas.microsoft.com/office/drawing/2014/main" id="{33A0C8BC-84AF-4A4C-86A3-A8CF6B649C7B}"/>
                </a:ext>
              </a:extLst>
            </p:cNvPr>
            <p:cNvSpPr/>
            <p:nvPr userDrawn="1"/>
          </p:nvSpPr>
          <p:spPr>
            <a:xfrm>
              <a:off x="7645750" y="7117574"/>
              <a:ext cx="3685157" cy="6858000"/>
            </a:xfrm>
            <a:prstGeom prst="parallelogram">
              <a:avLst>
                <a:gd name="adj" fmla="val 77541"/>
              </a:avLst>
            </a:pr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66" name="Parallelogram 65">
              <a:extLst>
                <a:ext uri="{FF2B5EF4-FFF2-40B4-BE49-F238E27FC236}">
                  <a16:creationId xmlns:a16="http://schemas.microsoft.com/office/drawing/2014/main" id="{8BEB1A19-093E-4DE3-8EAC-ABF3A65C55E6}"/>
                </a:ext>
              </a:extLst>
            </p:cNvPr>
            <p:cNvSpPr/>
            <p:nvPr userDrawn="1"/>
          </p:nvSpPr>
          <p:spPr>
            <a:xfrm>
              <a:off x="6548483" y="7117574"/>
              <a:ext cx="3685157" cy="6858000"/>
            </a:xfrm>
            <a:prstGeom prst="parallelogram">
              <a:avLst>
                <a:gd name="adj" fmla="val 77541"/>
              </a:avLst>
            </a:pr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67" name="Freeform: Shape 66">
              <a:extLst>
                <a:ext uri="{FF2B5EF4-FFF2-40B4-BE49-F238E27FC236}">
                  <a16:creationId xmlns:a16="http://schemas.microsoft.com/office/drawing/2014/main" id="{2037FD04-D060-40B6-85F1-FCA446FF1147}"/>
                </a:ext>
              </a:extLst>
            </p:cNvPr>
            <p:cNvSpPr/>
            <p:nvPr userDrawn="1"/>
          </p:nvSpPr>
          <p:spPr>
            <a:xfrm>
              <a:off x="9840286" y="7117574"/>
              <a:ext cx="3685157" cy="6858000"/>
            </a:xfrm>
            <a:custGeom>
              <a:avLst/>
              <a:gdLst>
                <a:gd name="connsiteX0" fmla="*/ 2351713 w 3685157"/>
                <a:gd name="connsiteY0" fmla="*/ 1213905 h 6858000"/>
                <a:gd name="connsiteX1" fmla="*/ 2351713 w 3685157"/>
                <a:gd name="connsiteY1" fmla="*/ 3200257 h 6858000"/>
                <a:gd name="connsiteX2" fmla="*/ 827649 w 3685157"/>
                <a:gd name="connsiteY2" fmla="*/ 6858000 h 6858000"/>
                <a:gd name="connsiteX3" fmla="*/ 0 w 3685157"/>
                <a:gd name="connsiteY3" fmla="*/ 6858000 h 6858000"/>
                <a:gd name="connsiteX4" fmla="*/ 2857508 w 3685157"/>
                <a:gd name="connsiteY4" fmla="*/ 0 h 6858000"/>
                <a:gd name="connsiteX5" fmla="*/ 3685157 w 3685157"/>
                <a:gd name="connsiteY5" fmla="*/ 0 h 6858000"/>
                <a:gd name="connsiteX6" fmla="*/ 3685157 w 3685157"/>
                <a:gd name="connsiteY6" fmla="*/ 1 h 6858000"/>
                <a:gd name="connsiteX7" fmla="*/ 2857508 w 3685157"/>
                <a:gd name="connsiteY7"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85157" h="6858000">
                  <a:moveTo>
                    <a:pt x="2351713" y="1213905"/>
                  </a:moveTo>
                  <a:lnTo>
                    <a:pt x="2351713" y="3200257"/>
                  </a:lnTo>
                  <a:lnTo>
                    <a:pt x="827649" y="6858000"/>
                  </a:lnTo>
                  <a:lnTo>
                    <a:pt x="0" y="6858000"/>
                  </a:lnTo>
                  <a:close/>
                  <a:moveTo>
                    <a:pt x="2857508" y="0"/>
                  </a:moveTo>
                  <a:lnTo>
                    <a:pt x="3685157" y="0"/>
                  </a:lnTo>
                  <a:lnTo>
                    <a:pt x="3685157" y="1"/>
                  </a:lnTo>
                  <a:lnTo>
                    <a:pt x="2857508" y="1"/>
                  </a:lnTo>
                  <a:close/>
                </a:path>
              </a:pathLst>
            </a:cu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68" name="Freeform: Shape 67">
              <a:extLst>
                <a:ext uri="{FF2B5EF4-FFF2-40B4-BE49-F238E27FC236}">
                  <a16:creationId xmlns:a16="http://schemas.microsoft.com/office/drawing/2014/main" id="{76A6565B-15B9-4A67-A1BF-95ABCDE68578}"/>
                </a:ext>
              </a:extLst>
            </p:cNvPr>
            <p:cNvSpPr/>
            <p:nvPr userDrawn="1"/>
          </p:nvSpPr>
          <p:spPr>
            <a:xfrm>
              <a:off x="8743018" y="7117574"/>
              <a:ext cx="3685157" cy="6858000"/>
            </a:xfrm>
            <a:custGeom>
              <a:avLst/>
              <a:gdLst>
                <a:gd name="connsiteX0" fmla="*/ 2857508 w 3685157"/>
                <a:gd name="connsiteY0" fmla="*/ 0 h 6858000"/>
                <a:gd name="connsiteX1" fmla="*/ 3685157 w 3685157"/>
                <a:gd name="connsiteY1" fmla="*/ 0 h 6858000"/>
                <a:gd name="connsiteX2" fmla="*/ 3685157 w 3685157"/>
                <a:gd name="connsiteY2" fmla="*/ 1 h 6858000"/>
                <a:gd name="connsiteX3" fmla="*/ 3448981 w 3685157"/>
                <a:gd name="connsiteY3" fmla="*/ 1 h 6858000"/>
                <a:gd name="connsiteX4" fmla="*/ 3448981 w 3685157"/>
                <a:gd name="connsiteY4" fmla="*/ 566821 h 6858000"/>
                <a:gd name="connsiteX5" fmla="*/ 827649 w 3685157"/>
                <a:gd name="connsiteY5" fmla="*/ 6858000 h 6858000"/>
                <a:gd name="connsiteX6" fmla="*/ 0 w 3685157"/>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85157" h="6858000">
                  <a:moveTo>
                    <a:pt x="2857508" y="0"/>
                  </a:moveTo>
                  <a:lnTo>
                    <a:pt x="3685157" y="0"/>
                  </a:lnTo>
                  <a:lnTo>
                    <a:pt x="3685157" y="1"/>
                  </a:lnTo>
                  <a:lnTo>
                    <a:pt x="3448981" y="1"/>
                  </a:lnTo>
                  <a:lnTo>
                    <a:pt x="3448981" y="566821"/>
                  </a:lnTo>
                  <a:lnTo>
                    <a:pt x="827649" y="6858000"/>
                  </a:lnTo>
                  <a:lnTo>
                    <a:pt x="0" y="6858000"/>
                  </a:lnTo>
                  <a:close/>
                </a:path>
              </a:pathLst>
            </a:cu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69" name="Freeform: Shape 68">
              <a:extLst>
                <a:ext uri="{FF2B5EF4-FFF2-40B4-BE49-F238E27FC236}">
                  <a16:creationId xmlns:a16="http://schemas.microsoft.com/office/drawing/2014/main" id="{F7BF7989-F870-4091-B126-E05DE0F450EC}"/>
                </a:ext>
              </a:extLst>
            </p:cNvPr>
            <p:cNvSpPr/>
            <p:nvPr userDrawn="1"/>
          </p:nvSpPr>
          <p:spPr>
            <a:xfrm>
              <a:off x="10937544" y="10964892"/>
              <a:ext cx="1254455" cy="3010683"/>
            </a:xfrm>
            <a:custGeom>
              <a:avLst/>
              <a:gdLst>
                <a:gd name="connsiteX0" fmla="*/ 1254455 w 1254455"/>
                <a:gd name="connsiteY0" fmla="*/ 0 h 3010683"/>
                <a:gd name="connsiteX1" fmla="*/ 1254455 w 1254455"/>
                <a:gd name="connsiteY1" fmla="*/ 1986352 h 3010683"/>
                <a:gd name="connsiteX2" fmla="*/ 827649 w 1254455"/>
                <a:gd name="connsiteY2" fmla="*/ 3010683 h 3010683"/>
                <a:gd name="connsiteX3" fmla="*/ 0 w 1254455"/>
                <a:gd name="connsiteY3" fmla="*/ 3010683 h 3010683"/>
              </a:gdLst>
              <a:ahLst/>
              <a:cxnLst>
                <a:cxn ang="0">
                  <a:pos x="connsiteX0" y="connsiteY0"/>
                </a:cxn>
                <a:cxn ang="0">
                  <a:pos x="connsiteX1" y="connsiteY1"/>
                </a:cxn>
                <a:cxn ang="0">
                  <a:pos x="connsiteX2" y="connsiteY2"/>
                </a:cxn>
                <a:cxn ang="0">
                  <a:pos x="connsiteX3" y="connsiteY3"/>
                </a:cxn>
              </a:cxnLst>
              <a:rect l="l" t="t" r="r" b="b"/>
              <a:pathLst>
                <a:path w="1254455" h="3010683">
                  <a:moveTo>
                    <a:pt x="1254455" y="0"/>
                  </a:moveTo>
                  <a:lnTo>
                    <a:pt x="1254455" y="1986352"/>
                  </a:lnTo>
                  <a:lnTo>
                    <a:pt x="827649" y="3010683"/>
                  </a:lnTo>
                  <a:lnTo>
                    <a:pt x="0" y="3010683"/>
                  </a:lnTo>
                  <a:close/>
                </a:path>
              </a:pathLst>
            </a:cu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grpSp>
      <p:sp>
        <p:nvSpPr>
          <p:cNvPr id="32" name="Round Same-side Corner of Rectangle 28">
            <a:extLst>
              <a:ext uri="{FF2B5EF4-FFF2-40B4-BE49-F238E27FC236}">
                <a16:creationId xmlns:a16="http://schemas.microsoft.com/office/drawing/2014/main" id="{82C94529-8F3E-40CE-8B2D-23ACC3D604DE}"/>
              </a:ext>
            </a:extLst>
          </p:cNvPr>
          <p:cNvSpPr/>
          <p:nvPr userDrawn="1"/>
        </p:nvSpPr>
        <p:spPr bwMode="black">
          <a:xfrm>
            <a:off x="630936" y="2393157"/>
            <a:ext cx="8125200" cy="2943394"/>
          </a:xfrm>
          <a:prstGeom prst="round2SameRect">
            <a:avLst>
              <a:gd name="adj1" fmla="val 9182"/>
              <a:gd name="adj2" fmla="val 11037"/>
            </a:avLst>
          </a:prstGeom>
          <a:solidFill>
            <a:schemeClr val="bg1">
              <a:alpha val="92969"/>
            </a:schemeClr>
          </a:solidFill>
          <a:ln>
            <a:noFill/>
          </a:ln>
          <a:effectLst>
            <a:outerShdw blurRad="381000" algn="ctr" rotWithShape="0">
              <a:schemeClr val="bg2">
                <a:lumMod val="10000"/>
                <a:alpha val="29973"/>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lnSpc>
                <a:spcPct val="95000"/>
              </a:lnSpc>
            </a:pPr>
            <a:endParaRPr lang="en-US" sz="2000" dirty="0">
              <a:solidFill>
                <a:prstClr val="white"/>
              </a:solidFill>
              <a:cs typeface="+mn-cs"/>
              <a:sym typeface="Trebuchet MS" panose="020B0603020202020204" pitchFamily="34" charset="0"/>
            </a:endParaRPr>
          </a:p>
        </p:txBody>
      </p:sp>
      <p:sp>
        <p:nvSpPr>
          <p:cNvPr id="33" name="Round Same-side Corner of Rectangle 33">
            <a:extLst>
              <a:ext uri="{FF2B5EF4-FFF2-40B4-BE49-F238E27FC236}">
                <a16:creationId xmlns:a16="http://schemas.microsoft.com/office/drawing/2014/main" id="{FCBA1DD2-CBD7-41FF-A0EC-5943EC7A4853}"/>
              </a:ext>
            </a:extLst>
          </p:cNvPr>
          <p:cNvSpPr/>
          <p:nvPr userDrawn="1"/>
        </p:nvSpPr>
        <p:spPr bwMode="black">
          <a:xfrm>
            <a:off x="630936" y="2393157"/>
            <a:ext cx="8125200" cy="2943394"/>
          </a:xfrm>
          <a:prstGeom prst="round2SameRect">
            <a:avLst>
              <a:gd name="adj1" fmla="val 4277"/>
              <a:gd name="adj2" fmla="val 0"/>
            </a:avLst>
          </a:prstGeom>
          <a:gradFill flip="none" rotWithShape="1">
            <a:gsLst>
              <a:gs pos="0">
                <a:srgbClr val="006F4E">
                  <a:alpha val="10000"/>
                </a:srgbClr>
              </a:gs>
              <a:gs pos="100000">
                <a:srgbClr val="009B9D">
                  <a:alpha val="4937"/>
                </a:srgb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lnSpc>
                <a:spcPct val="95000"/>
              </a:lnSpc>
            </a:pPr>
            <a:endParaRPr lang="en-US" sz="2000" dirty="0">
              <a:solidFill>
                <a:prstClr val="white"/>
              </a:solidFill>
              <a:cs typeface="+mn-cs"/>
              <a:sym typeface="Trebuchet MS" panose="020B0603020202020204" pitchFamily="34" charset="0"/>
            </a:endParaRPr>
          </a:p>
        </p:txBody>
      </p:sp>
      <p:sp>
        <p:nvSpPr>
          <p:cNvPr id="34" name="Overlay">
            <a:extLst>
              <a:ext uri="{FF2B5EF4-FFF2-40B4-BE49-F238E27FC236}">
                <a16:creationId xmlns:a16="http://schemas.microsoft.com/office/drawing/2014/main" id="{FE54E5D0-CBA8-4C72-AD52-20170FC84DA4}"/>
              </a:ext>
            </a:extLst>
          </p:cNvPr>
          <p:cNvSpPr/>
          <p:nvPr userDrawn="1">
            <p:custDataLst>
              <p:tags r:id="rId2"/>
            </p:custDataLst>
          </p:nvPr>
        </p:nvSpPr>
        <p:spPr>
          <a:xfrm>
            <a:off x="9340639" y="0"/>
            <a:ext cx="2242259" cy="2081213"/>
          </a:xfrm>
          <a:prstGeom prst="round2SameRect">
            <a:avLst>
              <a:gd name="adj1" fmla="val 0"/>
              <a:gd name="adj2" fmla="val 12079"/>
            </a:avLst>
          </a:prstGeom>
          <a:gradFill>
            <a:gsLst>
              <a:gs pos="0">
                <a:srgbClr val="009B9D">
                  <a:alpha val="21000"/>
                </a:srgbClr>
              </a:gs>
              <a:gs pos="100000">
                <a:srgbClr val="006F4E">
                  <a:alpha val="8897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cs typeface="+mn-cs"/>
            </a:endParaRPr>
          </a:p>
        </p:txBody>
      </p:sp>
      <p:sp>
        <p:nvSpPr>
          <p:cNvPr id="35" name="Freeform 32">
            <a:extLst>
              <a:ext uri="{FF2B5EF4-FFF2-40B4-BE49-F238E27FC236}">
                <a16:creationId xmlns:a16="http://schemas.microsoft.com/office/drawing/2014/main" id="{6B3A2F74-4BE5-4D17-9039-E0C854F4B7BD}"/>
              </a:ext>
            </a:extLst>
          </p:cNvPr>
          <p:cNvSpPr>
            <a:spLocks noChangeAspect="1"/>
          </p:cNvSpPr>
          <p:nvPr userDrawn="1"/>
        </p:nvSpPr>
        <p:spPr bwMode="auto">
          <a:xfrm>
            <a:off x="2810190" y="3471233"/>
            <a:ext cx="3766692" cy="787241"/>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177B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dirty="0">
              <a:cs typeface="+mn-cs"/>
            </a:endParaRPr>
          </a:p>
        </p:txBody>
      </p:sp>
      <p:sp>
        <p:nvSpPr>
          <p:cNvPr id="36" name="TextBox 35">
            <a:extLst>
              <a:ext uri="{FF2B5EF4-FFF2-40B4-BE49-F238E27FC236}">
                <a16:creationId xmlns:a16="http://schemas.microsoft.com/office/drawing/2014/main" id="{380B9B63-C710-4909-8300-696CD87561D7}"/>
              </a:ext>
            </a:extLst>
          </p:cNvPr>
          <p:cNvSpPr txBox="1"/>
          <p:nvPr userDrawn="1"/>
        </p:nvSpPr>
        <p:spPr bwMode="white">
          <a:xfrm>
            <a:off x="924979" y="4921094"/>
            <a:ext cx="840801" cy="170110"/>
          </a:xfrm>
          <a:prstGeom prst="rect">
            <a:avLst/>
          </a:prstGeom>
          <a:noFill/>
        </p:spPr>
        <p:txBody>
          <a:bodyPr wrap="none" lIns="0" tIns="0" rIns="0" bIns="0" rtlCol="0" anchor="b">
            <a:noAutofit/>
          </a:bodyPr>
          <a:lstStyle/>
          <a:p>
            <a:pPr rtl="0">
              <a:lnSpc>
                <a:spcPct val="90000"/>
              </a:lnSpc>
              <a:spcAft>
                <a:spcPts val="600"/>
              </a:spcAft>
            </a:pPr>
            <a:r>
              <a:rPr lang="en-US" sz="1200" dirty="0">
                <a:solidFill>
                  <a:srgbClr val="03522D"/>
                </a:solidFill>
                <a:latin typeface="+mn-lt"/>
                <a:cs typeface="+mn-cs"/>
                <a:sym typeface="Trebuchet MS" panose="020B0603020202020204" pitchFamily="34" charset="0"/>
              </a:rPr>
              <a:t>bcg.com</a:t>
            </a:r>
          </a:p>
        </p:txBody>
      </p:sp>
      <p:sp>
        <p:nvSpPr>
          <p:cNvPr id="37" name="Overlay">
            <a:extLst>
              <a:ext uri="{FF2B5EF4-FFF2-40B4-BE49-F238E27FC236}">
                <a16:creationId xmlns:a16="http://schemas.microsoft.com/office/drawing/2014/main" id="{07BB1B53-E3F8-4219-81FA-93C22A7B626D}"/>
              </a:ext>
            </a:extLst>
          </p:cNvPr>
          <p:cNvSpPr/>
          <p:nvPr userDrawn="1">
            <p:custDataLst>
              <p:tags r:id="rId3"/>
            </p:custDataLst>
          </p:nvPr>
        </p:nvSpPr>
        <p:spPr>
          <a:xfrm>
            <a:off x="630936" y="0"/>
            <a:ext cx="8112082" cy="1147011"/>
          </a:xfrm>
          <a:prstGeom prst="round2SameRect">
            <a:avLst>
              <a:gd name="adj1" fmla="val 0"/>
              <a:gd name="adj2" fmla="val 18373"/>
            </a:avLst>
          </a:prstGeom>
          <a:gradFill>
            <a:gsLst>
              <a:gs pos="0">
                <a:srgbClr val="009B9D">
                  <a:alpha val="21000"/>
                </a:srgbClr>
              </a:gs>
              <a:gs pos="100000">
                <a:srgbClr val="006F4E">
                  <a:alpha val="8897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cs typeface="+mn-cs"/>
            </a:endParaRPr>
          </a:p>
        </p:txBody>
      </p:sp>
      <p:sp>
        <p:nvSpPr>
          <p:cNvPr id="38" name="Overlay">
            <a:extLst>
              <a:ext uri="{FF2B5EF4-FFF2-40B4-BE49-F238E27FC236}">
                <a16:creationId xmlns:a16="http://schemas.microsoft.com/office/drawing/2014/main" id="{7382825D-15D2-4164-B327-1937D951EB61}"/>
              </a:ext>
            </a:extLst>
          </p:cNvPr>
          <p:cNvSpPr/>
          <p:nvPr userDrawn="1">
            <p:custDataLst>
              <p:tags r:id="rId4"/>
            </p:custDataLst>
          </p:nvPr>
        </p:nvSpPr>
        <p:spPr>
          <a:xfrm flipV="1">
            <a:off x="630936" y="5962750"/>
            <a:ext cx="8112082" cy="901664"/>
          </a:xfrm>
          <a:prstGeom prst="round2SameRect">
            <a:avLst>
              <a:gd name="adj1" fmla="val 0"/>
              <a:gd name="adj2" fmla="val 30760"/>
            </a:avLst>
          </a:prstGeom>
          <a:gradFill>
            <a:gsLst>
              <a:gs pos="0">
                <a:srgbClr val="009B9D">
                  <a:alpha val="21000"/>
                </a:srgbClr>
              </a:gs>
              <a:gs pos="100000">
                <a:srgbClr val="006F4E">
                  <a:alpha val="8897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cs typeface="+mn-cs"/>
            </a:endParaRPr>
          </a:p>
        </p:txBody>
      </p:sp>
      <p:sp>
        <p:nvSpPr>
          <p:cNvPr id="39" name="Overlay">
            <a:extLst>
              <a:ext uri="{FF2B5EF4-FFF2-40B4-BE49-F238E27FC236}">
                <a16:creationId xmlns:a16="http://schemas.microsoft.com/office/drawing/2014/main" id="{96440585-16F5-44AB-A7FD-0C7C037B6A18}"/>
              </a:ext>
            </a:extLst>
          </p:cNvPr>
          <p:cNvSpPr/>
          <p:nvPr userDrawn="1">
            <p:custDataLst>
              <p:tags r:id="rId5"/>
            </p:custDataLst>
          </p:nvPr>
        </p:nvSpPr>
        <p:spPr>
          <a:xfrm flipV="1">
            <a:off x="9340639" y="3101922"/>
            <a:ext cx="2242259" cy="3756078"/>
          </a:xfrm>
          <a:prstGeom prst="round2SameRect">
            <a:avLst>
              <a:gd name="adj1" fmla="val 0"/>
              <a:gd name="adj2" fmla="val 17445"/>
            </a:avLst>
          </a:prstGeom>
          <a:gradFill>
            <a:gsLst>
              <a:gs pos="0">
                <a:srgbClr val="009B9D">
                  <a:alpha val="21000"/>
                </a:srgbClr>
              </a:gs>
              <a:gs pos="100000">
                <a:srgbClr val="006F4E">
                  <a:alpha val="8897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cs typeface="+mn-cs"/>
            </a:endParaRPr>
          </a:p>
        </p:txBody>
      </p:sp>
    </p:spTree>
    <p:extLst>
      <p:ext uri="{BB962C8B-B14F-4D97-AF65-F5344CB8AC3E}">
        <p14:creationId xmlns:p14="http://schemas.microsoft.com/office/powerpoint/2010/main" val="38290792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E01C8DC-D1CB-42CF-96E7-4D321F19F9BA}"/>
              </a:ext>
            </a:extLst>
          </p:cNvPr>
          <p:cNvGraphicFramePr>
            <a:graphicFrameLocks noChangeAspect="1"/>
          </p:cNvGraphicFramePr>
          <p:nvPr userDrawn="1">
            <p:custDataLst>
              <p:tags r:id="rId1"/>
            </p:custDataLst>
            <p:extLst>
              <p:ext uri="{D42A27DB-BD31-4B8C-83A1-F6EECF244321}">
                <p14:modId xmlns:p14="http://schemas.microsoft.com/office/powerpoint/2010/main" val="2919812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4" name="think-cell data - do not delete" hidden="1">
                        <a:extLst>
                          <a:ext uri="{FF2B5EF4-FFF2-40B4-BE49-F238E27FC236}">
                            <a16:creationId xmlns:a16="http://schemas.microsoft.com/office/drawing/2014/main" id="{4E01C8DC-D1CB-42CF-96E7-4D321F19F9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rtl="0">
              <a:defRPr>
                <a:solidFill>
                  <a:schemeClr val="bg1">
                    <a:lumMod val="50000"/>
                  </a:schemeClr>
                </a:solidFill>
                <a:latin typeface="+mn-lt"/>
                <a:cs typeface="+mn-cs"/>
                <a:sym typeface="Trebuchet MS" panose="020B0603020202020204" pitchFamily="34" charset="0"/>
              </a:defRPr>
            </a:lvl1pPr>
          </a:lstStyle>
          <a:p>
            <a:endParaRPr lang="en-US" dirty="0"/>
          </a:p>
        </p:txBody>
      </p:sp>
      <p:grpSp>
        <p:nvGrpSpPr>
          <p:cNvPr id="3" name="Group 2">
            <a:extLst>
              <a:ext uri="{FF2B5EF4-FFF2-40B4-BE49-F238E27FC236}">
                <a16:creationId xmlns:a16="http://schemas.microsoft.com/office/drawing/2014/main" id="{13BC1689-D7A0-40B2-9D32-33D85BE1622D}"/>
              </a:ext>
            </a:extLst>
          </p:cNvPr>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solidFill>
                  <a:schemeClr val="tx1"/>
                </a:solidFill>
                <a:latin typeface="+mn-lt"/>
                <a:cs typeface="+mn-cs"/>
              </a:endParaRPr>
            </a:p>
          </p:txBody>
        </p:sp>
        <p:grpSp>
          <p:nvGrpSpPr>
            <p:cNvPr id="51" name="Baselines / anchors"/>
            <p:cNvGrpSpPr/>
            <p:nvPr/>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sp>
          <p:nvSpPr>
            <p:cNvPr id="57" name="Whitespace measure"/>
            <p:cNvSpPr>
              <a:spLocks noChangeArrowheads="1"/>
            </p:cNvSpPr>
            <p:nvPr/>
          </p:nvSpPr>
          <p:spPr bwMode="auto">
            <a:xfrm>
              <a:off x="629400" y="1931399"/>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grpSp>
          <p:nvGrpSpPr>
            <p:cNvPr id="58" name="Five column measure"/>
            <p:cNvGrpSpPr/>
            <p:nvPr/>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cs typeface="+mn-cs"/>
                </a:endParaRPr>
              </a:p>
            </p:txBody>
          </p:sp>
        </p:grpSp>
        <p:sp>
          <p:nvSpPr>
            <p:cNvPr id="59" name="Live area"/>
            <p:cNvSpPr/>
            <p:nvPr/>
          </p:nvSpPr>
          <p:spPr>
            <a:xfrm>
              <a:off x="629400" y="2514599"/>
              <a:ext cx="10933200" cy="3645001"/>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US" sz="1200" dirty="0">
                <a:solidFill>
                  <a:schemeClr val="bg1"/>
                </a:solidFill>
                <a:latin typeface="+mn-lt"/>
                <a:cs typeface="+mn-cs"/>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sp>
          <p:nvSpPr>
            <p:cNvPr id="56" name="Copyright"/>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cs typeface="+mn-cs"/>
                  <a:sym typeface="Trebuchet MS" panose="020B0603020202020204" pitchFamily="34" charset="0"/>
                </a:rPr>
                <a:t>Copyright © 2024 by Boston Consulting Group. All rights reserved.</a:t>
              </a:r>
            </a:p>
          </p:txBody>
        </p:sp>
      </p:grpSp>
    </p:spTree>
    <p:extLst>
      <p:ext uri="{BB962C8B-B14F-4D97-AF65-F5344CB8AC3E}">
        <p14:creationId xmlns:p14="http://schemas.microsoft.com/office/powerpoint/2010/main" val="40683268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955546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rtl="0">
              <a:lnSpc>
                <a:spcPct val="93000"/>
              </a:lnSpc>
              <a:spcBef>
                <a:spcPct val="0"/>
              </a:spcBef>
              <a:spcAft>
                <a:spcPct val="0"/>
              </a:spcAft>
            </a:pPr>
            <a:endParaRPr lang="en-US" sz="5400" dirty="0">
              <a:solidFill>
                <a:srgbClr val="FFFFFF"/>
              </a:solidFill>
              <a:cs typeface="+mn-cs"/>
              <a:sym typeface="Trebuchet MS" panose="020B0603020202020204" pitchFamily="34" charset="0"/>
            </a:endParaRPr>
          </a:p>
        </p:txBody>
      </p:sp>
      <p:sp>
        <p:nvSpPr>
          <p:cNvPr id="40" name="Rectangle 39">
            <a:extLst>
              <a:ext uri="{FF2B5EF4-FFF2-40B4-BE49-F238E27FC236}">
                <a16:creationId xmlns:a16="http://schemas.microsoft.com/office/drawing/2014/main" id="{E50CF26F-D796-4464-81B0-D724B131D230}"/>
              </a:ext>
            </a:extLst>
          </p:cNvPr>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US" sz="1200" dirty="0">
              <a:solidFill>
                <a:prstClr val="white"/>
              </a:solidFill>
              <a:cs typeface="+mn-cs"/>
              <a:sym typeface="Trebuchet MS" panose="020B0603020202020204" pitchFamily="34" charset="0"/>
            </a:endParaRPr>
          </a:p>
        </p:txBody>
      </p:sp>
      <p:pic>
        <p:nvPicPr>
          <p:cNvPr id="41" name="Picture 40">
            <a:extLst>
              <a:ext uri="{FF2B5EF4-FFF2-40B4-BE49-F238E27FC236}">
                <a16:creationId xmlns:a16="http://schemas.microsoft.com/office/drawing/2014/main" id="{B4DB8E74-37A3-4BE6-ADD3-ACF19ECFFE8F}"/>
              </a:ext>
            </a:extLst>
          </p:cNvPr>
          <p:cNvPicPr>
            <a:picLocks noChangeAspect="1"/>
          </p:cNvPicPr>
          <p:nvPr userDrawn="1"/>
        </p:nvPicPr>
        <p:blipFill rotWithShape="1">
          <a:blip r:embed="rId8" cstate="hqprint">
            <a:extLst>
              <a:ext uri="{28A0092B-C50C-407E-A947-70E740481C1C}">
                <a14:useLocalDpi xmlns:a14="http://schemas.microsoft.com/office/drawing/2010/main"/>
              </a:ext>
            </a:extLst>
          </a:blip>
          <a:srcRect r="-234"/>
          <a:stretch/>
        </p:blipFill>
        <p:spPr>
          <a:xfrm rot="16200000" flipH="1">
            <a:off x="8471925" y="2172355"/>
            <a:ext cx="580573" cy="6858000"/>
          </a:xfrm>
          <a:prstGeom prst="rect">
            <a:avLst/>
          </a:prstGeom>
        </p:spPr>
      </p:pic>
      <p:pic>
        <p:nvPicPr>
          <p:cNvPr id="42" name="Picture 2" descr="Design a landscape-oriented image of a future bank branch interior focusing on enhanced client relationships and personalized advisory. This modern, multifunctional space should be equipped for co-working, hosting social events, and private consultations, featuring a welcoming cafe area. It must include cutting-edge digital and GenAI technology tools for superior customer support. The layout is arranged so the most important elements are prominent, especially considering the landscape A4 format where the lower part might be less visible. The design combines professionalism with a cozy atmosphere, integrating comfortable seating, indoor greenery, and a modern aesthetic. Ensure the scene is photorealistic, emphasizing the innovative and multifunctional nature of the branch, without including any text. The composition should adapt well to a landscape A4 presentation, making sure the key aspects are clearly visible even if part of the image is obscured.">
            <a:extLst>
              <a:ext uri="{FF2B5EF4-FFF2-40B4-BE49-F238E27FC236}">
                <a16:creationId xmlns:a16="http://schemas.microsoft.com/office/drawing/2014/main" id="{580AF632-44F0-4A40-B7BA-D30802749C6A}"/>
              </a:ext>
            </a:extLst>
          </p:cNvPr>
          <p:cNvPicPr>
            <a:picLocks noChangeAspect="1" noChangeArrowheads="1"/>
          </p:cNvPicPr>
          <p:nvPr userDrawn="1"/>
        </p:nvPicPr>
        <p:blipFill rotWithShape="1">
          <a:blip r:embed="rId9" cstate="screen">
            <a:extLst>
              <a:ext uri="{28A0092B-C50C-407E-A947-70E740481C1C}">
                <a14:useLocalDpi xmlns:a14="http://schemas.microsoft.com/office/drawing/2010/main"/>
              </a:ext>
            </a:extLst>
          </a:blip>
          <a:srcRect/>
          <a:stretch/>
        </p:blipFill>
        <p:spPr bwMode="auto">
          <a:xfrm flipH="1">
            <a:off x="1"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6" name="Overlay">
            <a:extLst>
              <a:ext uri="{FF2B5EF4-FFF2-40B4-BE49-F238E27FC236}">
                <a16:creationId xmlns:a16="http://schemas.microsoft.com/office/drawing/2014/main" id="{3D0E53E5-F0E7-41B7-9171-FC98056C8F41}"/>
              </a:ext>
            </a:extLst>
          </p:cNvPr>
          <p:cNvSpPr/>
          <p:nvPr userDrawn="1">
            <p:custDataLst>
              <p:tags r:id="rId3"/>
            </p:custDataLst>
          </p:nvPr>
        </p:nvSpPr>
        <p:spPr>
          <a:xfrm>
            <a:off x="630936" y="0"/>
            <a:ext cx="8112082" cy="1147011"/>
          </a:xfrm>
          <a:prstGeom prst="round2SameRect">
            <a:avLst>
              <a:gd name="adj1" fmla="val 0"/>
              <a:gd name="adj2" fmla="val 12079"/>
            </a:avLst>
          </a:prstGeom>
          <a:gradFill>
            <a:gsLst>
              <a:gs pos="0">
                <a:srgbClr val="009B9D">
                  <a:alpha val="21000"/>
                </a:srgbClr>
              </a:gs>
              <a:gs pos="100000">
                <a:srgbClr val="006F4E">
                  <a:alpha val="8897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cs typeface="+mn-cs"/>
            </a:endParaRPr>
          </a:p>
        </p:txBody>
      </p:sp>
      <p:grpSp>
        <p:nvGrpSpPr>
          <p:cNvPr id="47" name="Group 46">
            <a:extLst>
              <a:ext uri="{FF2B5EF4-FFF2-40B4-BE49-F238E27FC236}">
                <a16:creationId xmlns:a16="http://schemas.microsoft.com/office/drawing/2014/main" id="{41BD51F4-48F2-476F-930B-CC05F81A552B}"/>
              </a:ext>
            </a:extLst>
          </p:cNvPr>
          <p:cNvGrpSpPr/>
          <p:nvPr userDrawn="1"/>
        </p:nvGrpSpPr>
        <p:grpSpPr>
          <a:xfrm>
            <a:off x="-464617" y="0"/>
            <a:ext cx="13994863" cy="6858001"/>
            <a:chOff x="-469420" y="7117574"/>
            <a:chExt cx="13994863" cy="6858001"/>
          </a:xfrm>
        </p:grpSpPr>
        <p:sp>
          <p:nvSpPr>
            <p:cNvPr id="48" name="Freeform: Shape 47">
              <a:extLst>
                <a:ext uri="{FF2B5EF4-FFF2-40B4-BE49-F238E27FC236}">
                  <a16:creationId xmlns:a16="http://schemas.microsoft.com/office/drawing/2014/main" id="{88C2BD42-5D78-40A8-876D-819C435EF279}"/>
                </a:ext>
              </a:extLst>
            </p:cNvPr>
            <p:cNvSpPr/>
            <p:nvPr userDrawn="1"/>
          </p:nvSpPr>
          <p:spPr>
            <a:xfrm>
              <a:off x="-469420" y="7117574"/>
              <a:ext cx="827649" cy="859748"/>
            </a:xfrm>
            <a:custGeom>
              <a:avLst/>
              <a:gdLst>
                <a:gd name="connsiteX0" fmla="*/ 0 w 827649"/>
                <a:gd name="connsiteY0" fmla="*/ 0 h 859748"/>
                <a:gd name="connsiteX1" fmla="*/ 827649 w 827649"/>
                <a:gd name="connsiteY1" fmla="*/ 0 h 859748"/>
                <a:gd name="connsiteX2" fmla="*/ 469420 w 827649"/>
                <a:gd name="connsiteY2" fmla="*/ 859748 h 859748"/>
                <a:gd name="connsiteX3" fmla="*/ 469420 w 827649"/>
                <a:gd name="connsiteY3" fmla="*/ 1 h 859748"/>
                <a:gd name="connsiteX4" fmla="*/ 0 w 827649"/>
                <a:gd name="connsiteY4" fmla="*/ 1 h 859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649" h="859748">
                  <a:moveTo>
                    <a:pt x="0" y="0"/>
                  </a:moveTo>
                  <a:lnTo>
                    <a:pt x="827649" y="0"/>
                  </a:lnTo>
                  <a:lnTo>
                    <a:pt x="469420" y="859748"/>
                  </a:lnTo>
                  <a:lnTo>
                    <a:pt x="469420" y="1"/>
                  </a:lnTo>
                  <a:lnTo>
                    <a:pt x="0" y="1"/>
                  </a:lnTo>
                  <a:close/>
                </a:path>
              </a:pathLst>
            </a:cu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49" name="Parallelogram 48">
              <a:extLst>
                <a:ext uri="{FF2B5EF4-FFF2-40B4-BE49-F238E27FC236}">
                  <a16:creationId xmlns:a16="http://schemas.microsoft.com/office/drawing/2014/main" id="{70413E84-D647-4673-80FA-A22D913C4977}"/>
                </a:ext>
              </a:extLst>
            </p:cNvPr>
            <p:cNvSpPr/>
            <p:nvPr userDrawn="1"/>
          </p:nvSpPr>
          <p:spPr>
            <a:xfrm>
              <a:off x="1062144" y="7117574"/>
              <a:ext cx="3685157" cy="6858000"/>
            </a:xfrm>
            <a:prstGeom prst="parallelogram">
              <a:avLst>
                <a:gd name="adj" fmla="val 77541"/>
              </a:avLst>
            </a:pr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50" name="Freeform: Shape 49">
              <a:extLst>
                <a:ext uri="{FF2B5EF4-FFF2-40B4-BE49-F238E27FC236}">
                  <a16:creationId xmlns:a16="http://schemas.microsoft.com/office/drawing/2014/main" id="{8B13443B-4DC9-4C7A-A991-5C72F75ED3F7}"/>
                </a:ext>
              </a:extLst>
            </p:cNvPr>
            <p:cNvSpPr/>
            <p:nvPr userDrawn="1"/>
          </p:nvSpPr>
          <p:spPr>
            <a:xfrm>
              <a:off x="0" y="7117574"/>
              <a:ext cx="3650033" cy="6858000"/>
            </a:xfrm>
            <a:custGeom>
              <a:avLst/>
              <a:gdLst>
                <a:gd name="connsiteX0" fmla="*/ 2822384 w 3650033"/>
                <a:gd name="connsiteY0" fmla="*/ 0 h 6858000"/>
                <a:gd name="connsiteX1" fmla="*/ 3650033 w 3650033"/>
                <a:gd name="connsiteY1" fmla="*/ 0 h 6858000"/>
                <a:gd name="connsiteX2" fmla="*/ 792525 w 3650033"/>
                <a:gd name="connsiteY2" fmla="*/ 6858000 h 6858000"/>
                <a:gd name="connsiteX3" fmla="*/ 0 w 3650033"/>
                <a:gd name="connsiteY3" fmla="*/ 6858000 h 6858000"/>
                <a:gd name="connsiteX4" fmla="*/ 0 w 3650033"/>
                <a:gd name="connsiteY4" fmla="*/ 6773703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0033" h="6858000">
                  <a:moveTo>
                    <a:pt x="2822384" y="0"/>
                  </a:moveTo>
                  <a:lnTo>
                    <a:pt x="3650033" y="0"/>
                  </a:lnTo>
                  <a:lnTo>
                    <a:pt x="792525" y="6858000"/>
                  </a:lnTo>
                  <a:lnTo>
                    <a:pt x="0" y="6858000"/>
                  </a:lnTo>
                  <a:lnTo>
                    <a:pt x="0" y="6773703"/>
                  </a:lnTo>
                  <a:close/>
                </a:path>
              </a:pathLst>
            </a:cu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51" name="Freeform: Shape 50">
              <a:extLst>
                <a:ext uri="{FF2B5EF4-FFF2-40B4-BE49-F238E27FC236}">
                  <a16:creationId xmlns:a16="http://schemas.microsoft.com/office/drawing/2014/main" id="{68BC0CA4-9F05-4F5F-94FD-A51B7394D48A}"/>
                </a:ext>
              </a:extLst>
            </p:cNvPr>
            <p:cNvSpPr/>
            <p:nvPr userDrawn="1"/>
          </p:nvSpPr>
          <p:spPr>
            <a:xfrm>
              <a:off x="0" y="7117575"/>
              <a:ext cx="2552765" cy="6126619"/>
            </a:xfrm>
            <a:custGeom>
              <a:avLst/>
              <a:gdLst>
                <a:gd name="connsiteX0" fmla="*/ 1725116 w 2552765"/>
                <a:gd name="connsiteY0" fmla="*/ 0 h 6126619"/>
                <a:gd name="connsiteX1" fmla="*/ 2552765 w 2552765"/>
                <a:gd name="connsiteY1" fmla="*/ 0 h 6126619"/>
                <a:gd name="connsiteX2" fmla="*/ 0 w 2552765"/>
                <a:gd name="connsiteY2" fmla="*/ 6126619 h 6126619"/>
                <a:gd name="connsiteX3" fmla="*/ 0 w 2552765"/>
                <a:gd name="connsiteY3" fmla="*/ 4140267 h 6126619"/>
              </a:gdLst>
              <a:ahLst/>
              <a:cxnLst>
                <a:cxn ang="0">
                  <a:pos x="connsiteX0" y="connsiteY0"/>
                </a:cxn>
                <a:cxn ang="0">
                  <a:pos x="connsiteX1" y="connsiteY1"/>
                </a:cxn>
                <a:cxn ang="0">
                  <a:pos x="connsiteX2" y="connsiteY2"/>
                </a:cxn>
                <a:cxn ang="0">
                  <a:pos x="connsiteX3" y="connsiteY3"/>
                </a:cxn>
              </a:cxnLst>
              <a:rect l="l" t="t" r="r" b="b"/>
              <a:pathLst>
                <a:path w="2552765" h="6126619">
                  <a:moveTo>
                    <a:pt x="1725116" y="0"/>
                  </a:moveTo>
                  <a:lnTo>
                    <a:pt x="2552765" y="0"/>
                  </a:lnTo>
                  <a:lnTo>
                    <a:pt x="0" y="6126619"/>
                  </a:lnTo>
                  <a:lnTo>
                    <a:pt x="0" y="4140267"/>
                  </a:lnTo>
                  <a:close/>
                </a:path>
              </a:pathLst>
            </a:cu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52" name="Freeform: Shape 51">
              <a:extLst>
                <a:ext uri="{FF2B5EF4-FFF2-40B4-BE49-F238E27FC236}">
                  <a16:creationId xmlns:a16="http://schemas.microsoft.com/office/drawing/2014/main" id="{05A0F3CA-3ADA-4E9B-A337-E4DB4219E78D}"/>
                </a:ext>
              </a:extLst>
            </p:cNvPr>
            <p:cNvSpPr/>
            <p:nvPr userDrawn="1"/>
          </p:nvSpPr>
          <p:spPr>
            <a:xfrm>
              <a:off x="0" y="7117575"/>
              <a:ext cx="1455497" cy="3493183"/>
            </a:xfrm>
            <a:custGeom>
              <a:avLst/>
              <a:gdLst>
                <a:gd name="connsiteX0" fmla="*/ 627848 w 1455497"/>
                <a:gd name="connsiteY0" fmla="*/ 0 h 3493183"/>
                <a:gd name="connsiteX1" fmla="*/ 1455497 w 1455497"/>
                <a:gd name="connsiteY1" fmla="*/ 0 h 3493183"/>
                <a:gd name="connsiteX2" fmla="*/ 0 w 1455497"/>
                <a:gd name="connsiteY2" fmla="*/ 3493183 h 3493183"/>
                <a:gd name="connsiteX3" fmla="*/ 0 w 1455497"/>
                <a:gd name="connsiteY3" fmla="*/ 1506831 h 3493183"/>
              </a:gdLst>
              <a:ahLst/>
              <a:cxnLst>
                <a:cxn ang="0">
                  <a:pos x="connsiteX0" y="connsiteY0"/>
                </a:cxn>
                <a:cxn ang="0">
                  <a:pos x="connsiteX1" y="connsiteY1"/>
                </a:cxn>
                <a:cxn ang="0">
                  <a:pos x="connsiteX2" y="connsiteY2"/>
                </a:cxn>
                <a:cxn ang="0">
                  <a:pos x="connsiteX3" y="connsiteY3"/>
                </a:cxn>
              </a:cxnLst>
              <a:rect l="l" t="t" r="r" b="b"/>
              <a:pathLst>
                <a:path w="1455497" h="3493183">
                  <a:moveTo>
                    <a:pt x="627848" y="0"/>
                  </a:moveTo>
                  <a:lnTo>
                    <a:pt x="1455497" y="0"/>
                  </a:lnTo>
                  <a:lnTo>
                    <a:pt x="0" y="3493183"/>
                  </a:lnTo>
                  <a:lnTo>
                    <a:pt x="0" y="1506831"/>
                  </a:lnTo>
                  <a:close/>
                </a:path>
              </a:pathLst>
            </a:cu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53" name="Parallelogram 52">
              <a:extLst>
                <a:ext uri="{FF2B5EF4-FFF2-40B4-BE49-F238E27FC236}">
                  <a16:creationId xmlns:a16="http://schemas.microsoft.com/office/drawing/2014/main" id="{7416519B-EA76-42ED-B5F0-DBFDF7F6EE87}"/>
                </a:ext>
              </a:extLst>
            </p:cNvPr>
            <p:cNvSpPr/>
            <p:nvPr userDrawn="1"/>
          </p:nvSpPr>
          <p:spPr>
            <a:xfrm>
              <a:off x="5451215" y="7117574"/>
              <a:ext cx="3685157" cy="6858000"/>
            </a:xfrm>
            <a:prstGeom prst="parallelogram">
              <a:avLst>
                <a:gd name="adj" fmla="val 77541"/>
              </a:avLst>
            </a:pr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54" name="Parallelogram 53">
              <a:extLst>
                <a:ext uri="{FF2B5EF4-FFF2-40B4-BE49-F238E27FC236}">
                  <a16:creationId xmlns:a16="http://schemas.microsoft.com/office/drawing/2014/main" id="{B8D3F0A0-54F5-489D-B25E-00E7E74AE6B1}"/>
                </a:ext>
              </a:extLst>
            </p:cNvPr>
            <p:cNvSpPr/>
            <p:nvPr userDrawn="1"/>
          </p:nvSpPr>
          <p:spPr>
            <a:xfrm>
              <a:off x="4353947" y="7117574"/>
              <a:ext cx="3685157" cy="6858000"/>
            </a:xfrm>
            <a:prstGeom prst="parallelogram">
              <a:avLst>
                <a:gd name="adj" fmla="val 77541"/>
              </a:avLst>
            </a:pr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55" name="Parallelogram 54">
              <a:extLst>
                <a:ext uri="{FF2B5EF4-FFF2-40B4-BE49-F238E27FC236}">
                  <a16:creationId xmlns:a16="http://schemas.microsoft.com/office/drawing/2014/main" id="{3BB7C043-95C7-4030-A921-6A1889920CF9}"/>
                </a:ext>
              </a:extLst>
            </p:cNvPr>
            <p:cNvSpPr/>
            <p:nvPr userDrawn="1"/>
          </p:nvSpPr>
          <p:spPr>
            <a:xfrm>
              <a:off x="3256679" y="7117574"/>
              <a:ext cx="3685157" cy="6858000"/>
            </a:xfrm>
            <a:prstGeom prst="parallelogram">
              <a:avLst>
                <a:gd name="adj" fmla="val 77541"/>
              </a:avLst>
            </a:pr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56" name="Parallelogram 55">
              <a:extLst>
                <a:ext uri="{FF2B5EF4-FFF2-40B4-BE49-F238E27FC236}">
                  <a16:creationId xmlns:a16="http://schemas.microsoft.com/office/drawing/2014/main" id="{1FB704F8-3A11-47A5-B2DF-EB36536BD8EA}"/>
                </a:ext>
              </a:extLst>
            </p:cNvPr>
            <p:cNvSpPr/>
            <p:nvPr userDrawn="1"/>
          </p:nvSpPr>
          <p:spPr>
            <a:xfrm>
              <a:off x="2159411" y="7117574"/>
              <a:ext cx="3685157" cy="6858000"/>
            </a:xfrm>
            <a:prstGeom prst="parallelogram">
              <a:avLst>
                <a:gd name="adj" fmla="val 77541"/>
              </a:avLst>
            </a:pr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57" name="Parallelogram 56">
              <a:extLst>
                <a:ext uri="{FF2B5EF4-FFF2-40B4-BE49-F238E27FC236}">
                  <a16:creationId xmlns:a16="http://schemas.microsoft.com/office/drawing/2014/main" id="{D43F8C7A-610B-438C-BBF3-7E01FBB53086}"/>
                </a:ext>
              </a:extLst>
            </p:cNvPr>
            <p:cNvSpPr/>
            <p:nvPr userDrawn="1"/>
          </p:nvSpPr>
          <p:spPr>
            <a:xfrm>
              <a:off x="7645750" y="7117574"/>
              <a:ext cx="3685157" cy="6858000"/>
            </a:xfrm>
            <a:prstGeom prst="parallelogram">
              <a:avLst>
                <a:gd name="adj" fmla="val 77541"/>
              </a:avLst>
            </a:pr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58" name="Parallelogram 57">
              <a:extLst>
                <a:ext uri="{FF2B5EF4-FFF2-40B4-BE49-F238E27FC236}">
                  <a16:creationId xmlns:a16="http://schemas.microsoft.com/office/drawing/2014/main" id="{A589AE33-DD88-4482-A839-DC77DE561FC2}"/>
                </a:ext>
              </a:extLst>
            </p:cNvPr>
            <p:cNvSpPr/>
            <p:nvPr userDrawn="1"/>
          </p:nvSpPr>
          <p:spPr>
            <a:xfrm>
              <a:off x="6548483" y="7117574"/>
              <a:ext cx="3685157" cy="6858000"/>
            </a:xfrm>
            <a:prstGeom prst="parallelogram">
              <a:avLst>
                <a:gd name="adj" fmla="val 77541"/>
              </a:avLst>
            </a:pr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59" name="Freeform: Shape 58">
              <a:extLst>
                <a:ext uri="{FF2B5EF4-FFF2-40B4-BE49-F238E27FC236}">
                  <a16:creationId xmlns:a16="http://schemas.microsoft.com/office/drawing/2014/main" id="{DC2D5883-A39D-489B-AE48-D82314ABF0DF}"/>
                </a:ext>
              </a:extLst>
            </p:cNvPr>
            <p:cNvSpPr/>
            <p:nvPr userDrawn="1"/>
          </p:nvSpPr>
          <p:spPr>
            <a:xfrm>
              <a:off x="9840286" y="7117574"/>
              <a:ext cx="3685157" cy="6858000"/>
            </a:xfrm>
            <a:custGeom>
              <a:avLst/>
              <a:gdLst>
                <a:gd name="connsiteX0" fmla="*/ 2351713 w 3685157"/>
                <a:gd name="connsiteY0" fmla="*/ 1213905 h 6858000"/>
                <a:gd name="connsiteX1" fmla="*/ 2351713 w 3685157"/>
                <a:gd name="connsiteY1" fmla="*/ 3200257 h 6858000"/>
                <a:gd name="connsiteX2" fmla="*/ 827649 w 3685157"/>
                <a:gd name="connsiteY2" fmla="*/ 6858000 h 6858000"/>
                <a:gd name="connsiteX3" fmla="*/ 0 w 3685157"/>
                <a:gd name="connsiteY3" fmla="*/ 6858000 h 6858000"/>
                <a:gd name="connsiteX4" fmla="*/ 2857508 w 3685157"/>
                <a:gd name="connsiteY4" fmla="*/ 0 h 6858000"/>
                <a:gd name="connsiteX5" fmla="*/ 3685157 w 3685157"/>
                <a:gd name="connsiteY5" fmla="*/ 0 h 6858000"/>
                <a:gd name="connsiteX6" fmla="*/ 3685157 w 3685157"/>
                <a:gd name="connsiteY6" fmla="*/ 1 h 6858000"/>
                <a:gd name="connsiteX7" fmla="*/ 2857508 w 3685157"/>
                <a:gd name="connsiteY7"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85157" h="6858000">
                  <a:moveTo>
                    <a:pt x="2351713" y="1213905"/>
                  </a:moveTo>
                  <a:lnTo>
                    <a:pt x="2351713" y="3200257"/>
                  </a:lnTo>
                  <a:lnTo>
                    <a:pt x="827649" y="6858000"/>
                  </a:lnTo>
                  <a:lnTo>
                    <a:pt x="0" y="6858000"/>
                  </a:lnTo>
                  <a:close/>
                  <a:moveTo>
                    <a:pt x="2857508" y="0"/>
                  </a:moveTo>
                  <a:lnTo>
                    <a:pt x="3685157" y="0"/>
                  </a:lnTo>
                  <a:lnTo>
                    <a:pt x="3685157" y="1"/>
                  </a:lnTo>
                  <a:lnTo>
                    <a:pt x="2857508" y="1"/>
                  </a:lnTo>
                  <a:close/>
                </a:path>
              </a:pathLst>
            </a:cu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60" name="Freeform: Shape 59">
              <a:extLst>
                <a:ext uri="{FF2B5EF4-FFF2-40B4-BE49-F238E27FC236}">
                  <a16:creationId xmlns:a16="http://schemas.microsoft.com/office/drawing/2014/main" id="{2471CBCF-B1E6-4ECB-B84F-E9B8320C2F16}"/>
                </a:ext>
              </a:extLst>
            </p:cNvPr>
            <p:cNvSpPr/>
            <p:nvPr userDrawn="1"/>
          </p:nvSpPr>
          <p:spPr>
            <a:xfrm>
              <a:off x="8743018" y="7117574"/>
              <a:ext cx="3685157" cy="6858000"/>
            </a:xfrm>
            <a:custGeom>
              <a:avLst/>
              <a:gdLst>
                <a:gd name="connsiteX0" fmla="*/ 2857508 w 3685157"/>
                <a:gd name="connsiteY0" fmla="*/ 0 h 6858000"/>
                <a:gd name="connsiteX1" fmla="*/ 3685157 w 3685157"/>
                <a:gd name="connsiteY1" fmla="*/ 0 h 6858000"/>
                <a:gd name="connsiteX2" fmla="*/ 3685157 w 3685157"/>
                <a:gd name="connsiteY2" fmla="*/ 1 h 6858000"/>
                <a:gd name="connsiteX3" fmla="*/ 3448981 w 3685157"/>
                <a:gd name="connsiteY3" fmla="*/ 1 h 6858000"/>
                <a:gd name="connsiteX4" fmla="*/ 3448981 w 3685157"/>
                <a:gd name="connsiteY4" fmla="*/ 566821 h 6858000"/>
                <a:gd name="connsiteX5" fmla="*/ 827649 w 3685157"/>
                <a:gd name="connsiteY5" fmla="*/ 6858000 h 6858000"/>
                <a:gd name="connsiteX6" fmla="*/ 0 w 3685157"/>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85157" h="6858000">
                  <a:moveTo>
                    <a:pt x="2857508" y="0"/>
                  </a:moveTo>
                  <a:lnTo>
                    <a:pt x="3685157" y="0"/>
                  </a:lnTo>
                  <a:lnTo>
                    <a:pt x="3685157" y="1"/>
                  </a:lnTo>
                  <a:lnTo>
                    <a:pt x="3448981" y="1"/>
                  </a:lnTo>
                  <a:lnTo>
                    <a:pt x="3448981" y="566821"/>
                  </a:lnTo>
                  <a:lnTo>
                    <a:pt x="827649" y="6858000"/>
                  </a:lnTo>
                  <a:lnTo>
                    <a:pt x="0" y="6858000"/>
                  </a:lnTo>
                  <a:close/>
                </a:path>
              </a:pathLst>
            </a:cu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sp>
          <p:nvSpPr>
            <p:cNvPr id="61" name="Freeform: Shape 60">
              <a:extLst>
                <a:ext uri="{FF2B5EF4-FFF2-40B4-BE49-F238E27FC236}">
                  <a16:creationId xmlns:a16="http://schemas.microsoft.com/office/drawing/2014/main" id="{24C388FD-804B-4EFD-A368-9250F47BF4A5}"/>
                </a:ext>
              </a:extLst>
            </p:cNvPr>
            <p:cNvSpPr/>
            <p:nvPr userDrawn="1"/>
          </p:nvSpPr>
          <p:spPr>
            <a:xfrm>
              <a:off x="10937544" y="10964892"/>
              <a:ext cx="1254455" cy="3010683"/>
            </a:xfrm>
            <a:custGeom>
              <a:avLst/>
              <a:gdLst>
                <a:gd name="connsiteX0" fmla="*/ 1254455 w 1254455"/>
                <a:gd name="connsiteY0" fmla="*/ 0 h 3010683"/>
                <a:gd name="connsiteX1" fmla="*/ 1254455 w 1254455"/>
                <a:gd name="connsiteY1" fmla="*/ 1986352 h 3010683"/>
                <a:gd name="connsiteX2" fmla="*/ 827649 w 1254455"/>
                <a:gd name="connsiteY2" fmla="*/ 3010683 h 3010683"/>
                <a:gd name="connsiteX3" fmla="*/ 0 w 1254455"/>
                <a:gd name="connsiteY3" fmla="*/ 3010683 h 3010683"/>
              </a:gdLst>
              <a:ahLst/>
              <a:cxnLst>
                <a:cxn ang="0">
                  <a:pos x="connsiteX0" y="connsiteY0"/>
                </a:cxn>
                <a:cxn ang="0">
                  <a:pos x="connsiteX1" y="connsiteY1"/>
                </a:cxn>
                <a:cxn ang="0">
                  <a:pos x="connsiteX2" y="connsiteY2"/>
                </a:cxn>
                <a:cxn ang="0">
                  <a:pos x="connsiteX3" y="connsiteY3"/>
                </a:cxn>
              </a:cxnLst>
              <a:rect l="l" t="t" r="r" b="b"/>
              <a:pathLst>
                <a:path w="1254455" h="3010683">
                  <a:moveTo>
                    <a:pt x="1254455" y="0"/>
                  </a:moveTo>
                  <a:lnTo>
                    <a:pt x="1254455" y="1986352"/>
                  </a:lnTo>
                  <a:lnTo>
                    <a:pt x="827649" y="3010683"/>
                  </a:lnTo>
                  <a:lnTo>
                    <a:pt x="0" y="3010683"/>
                  </a:lnTo>
                  <a:close/>
                </a:path>
              </a:pathLst>
            </a:custGeom>
            <a:gradFill>
              <a:gsLst>
                <a:gs pos="100000">
                  <a:srgbClr val="006F4E">
                    <a:alpha val="47000"/>
                  </a:srgbClr>
                </a:gs>
                <a:gs pos="0">
                  <a:srgbClr val="009B9D">
                    <a:alpha val="7294"/>
                  </a:srgbClr>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dirty="0">
                <a:solidFill>
                  <a:srgbClr val="FFFFFF"/>
                </a:solidFill>
                <a:cs typeface="+mn-cs"/>
              </a:endParaRPr>
            </a:p>
          </p:txBody>
        </p:sp>
      </p:grpSp>
      <p:sp>
        <p:nvSpPr>
          <p:cNvPr id="62" name="Round Same-side Corner of Rectangle 38">
            <a:extLst>
              <a:ext uri="{FF2B5EF4-FFF2-40B4-BE49-F238E27FC236}">
                <a16:creationId xmlns:a16="http://schemas.microsoft.com/office/drawing/2014/main" id="{29F66231-00E1-4D57-A796-987287446C27}"/>
              </a:ext>
            </a:extLst>
          </p:cNvPr>
          <p:cNvSpPr/>
          <p:nvPr userDrawn="1"/>
        </p:nvSpPr>
        <p:spPr bwMode="black">
          <a:xfrm>
            <a:off x="630936" y="2393157"/>
            <a:ext cx="8125200" cy="4464844"/>
          </a:xfrm>
          <a:prstGeom prst="round2SameRect">
            <a:avLst>
              <a:gd name="adj1" fmla="val 4277"/>
              <a:gd name="adj2" fmla="val 0"/>
            </a:avLst>
          </a:prstGeom>
          <a:solidFill>
            <a:schemeClr val="bg1">
              <a:alpha val="92969"/>
            </a:schemeClr>
          </a:solidFill>
          <a:ln>
            <a:noFill/>
          </a:ln>
          <a:effectLst>
            <a:outerShdw blurRad="381000" algn="ctr" rotWithShape="0">
              <a:schemeClr val="bg2">
                <a:lumMod val="10000"/>
                <a:alpha val="29973"/>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lnSpc>
                <a:spcPct val="95000"/>
              </a:lnSpc>
            </a:pPr>
            <a:endParaRPr lang="en-US" sz="2000" dirty="0">
              <a:solidFill>
                <a:prstClr val="white"/>
              </a:solidFill>
              <a:cs typeface="+mn-cs"/>
              <a:sym typeface="Trebuchet MS" panose="020B0603020202020204" pitchFamily="34" charset="0"/>
            </a:endParaRPr>
          </a:p>
        </p:txBody>
      </p:sp>
      <p:sp>
        <p:nvSpPr>
          <p:cNvPr id="63" name="Round Same-side Corner of Rectangle 43">
            <a:extLst>
              <a:ext uri="{FF2B5EF4-FFF2-40B4-BE49-F238E27FC236}">
                <a16:creationId xmlns:a16="http://schemas.microsoft.com/office/drawing/2014/main" id="{38093347-C94C-45A0-9D94-6F820F373DE3}"/>
              </a:ext>
            </a:extLst>
          </p:cNvPr>
          <p:cNvSpPr/>
          <p:nvPr userDrawn="1"/>
        </p:nvSpPr>
        <p:spPr bwMode="black">
          <a:xfrm>
            <a:off x="414328" y="2393157"/>
            <a:ext cx="8125200" cy="4464844"/>
          </a:xfrm>
          <a:prstGeom prst="round2SameRect">
            <a:avLst>
              <a:gd name="adj1" fmla="val 4277"/>
              <a:gd name="adj2" fmla="val 0"/>
            </a:avLst>
          </a:prstGeom>
          <a:gradFill flip="none" rotWithShape="1">
            <a:gsLst>
              <a:gs pos="0">
                <a:srgbClr val="006F4E">
                  <a:alpha val="10000"/>
                </a:srgbClr>
              </a:gs>
              <a:gs pos="100000">
                <a:srgbClr val="009B9D">
                  <a:alpha val="4937"/>
                </a:srgb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lnSpc>
                <a:spcPct val="95000"/>
              </a:lnSpc>
            </a:pPr>
            <a:endParaRPr lang="en-US" sz="2000" dirty="0">
              <a:solidFill>
                <a:prstClr val="white"/>
              </a:solidFill>
              <a:cs typeface="+mn-cs"/>
              <a:sym typeface="Trebuchet MS" panose="020B0603020202020204" pitchFamily="34" charset="0"/>
            </a:endParaRPr>
          </a:p>
        </p:txBody>
      </p:sp>
      <p:sp>
        <p:nvSpPr>
          <p:cNvPr id="64" name="Round Same-side Corner of Rectangle 44">
            <a:extLst>
              <a:ext uri="{FF2B5EF4-FFF2-40B4-BE49-F238E27FC236}">
                <a16:creationId xmlns:a16="http://schemas.microsoft.com/office/drawing/2014/main" id="{E228D9C0-8627-47D5-A7FA-0AFFFBFAD522}"/>
              </a:ext>
            </a:extLst>
          </p:cNvPr>
          <p:cNvSpPr/>
          <p:nvPr userDrawn="1"/>
        </p:nvSpPr>
        <p:spPr bwMode="black">
          <a:xfrm>
            <a:off x="9340638" y="5084617"/>
            <a:ext cx="2242259" cy="1773383"/>
          </a:xfrm>
          <a:prstGeom prst="round2SameRect">
            <a:avLst>
              <a:gd name="adj1" fmla="val 8183"/>
              <a:gd name="adj2" fmla="val 0"/>
            </a:avLst>
          </a:prstGeom>
          <a:solidFill>
            <a:schemeClr val="bg1">
              <a:alpha val="92969"/>
            </a:schemeClr>
          </a:solidFill>
          <a:ln>
            <a:noFill/>
          </a:ln>
          <a:effectLst>
            <a:outerShdw blurRad="381000" algn="ctr" rotWithShape="0">
              <a:schemeClr val="bg2">
                <a:lumMod val="10000"/>
                <a:alpha val="29973"/>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lnSpc>
                <a:spcPct val="95000"/>
              </a:lnSpc>
            </a:pPr>
            <a:endParaRPr lang="en-US" sz="2000" dirty="0">
              <a:solidFill>
                <a:prstClr val="white"/>
              </a:solidFill>
              <a:cs typeface="+mn-cs"/>
              <a:sym typeface="Trebuchet MS" panose="020B0603020202020204" pitchFamily="34" charset="0"/>
            </a:endParaRPr>
          </a:p>
        </p:txBody>
      </p:sp>
      <p:sp>
        <p:nvSpPr>
          <p:cNvPr id="65" name="Picture Placeholder 8">
            <a:extLst>
              <a:ext uri="{FF2B5EF4-FFF2-40B4-BE49-F238E27FC236}">
                <a16:creationId xmlns:a16="http://schemas.microsoft.com/office/drawing/2014/main" id="{32B5118D-CE41-40EF-B688-D1C029A27D68}"/>
              </a:ext>
            </a:extLst>
          </p:cNvPr>
          <p:cNvSpPr>
            <a:spLocks noGrp="1"/>
          </p:cNvSpPr>
          <p:nvPr>
            <p:ph type="pic" sz="quarter" idx="13" hasCustomPrompt="1"/>
          </p:nvPr>
        </p:nvSpPr>
        <p:spPr>
          <a:xfrm>
            <a:off x="9527801" y="5570642"/>
            <a:ext cx="1867935" cy="896833"/>
          </a:xfrm>
          <a:prstGeom prst="rect">
            <a:avLst/>
          </a:prstGeom>
        </p:spPr>
        <p:txBody>
          <a:bodyPr anchor="b"/>
          <a:lstStyle>
            <a:lvl1pPr algn="ctr" rtl="0">
              <a:defRPr sz="1600">
                <a:solidFill>
                  <a:schemeClr val="tx1"/>
                </a:solidFill>
                <a:latin typeface="Trebuchet MS" panose="020B0603020202020204" pitchFamily="34" charset="0"/>
                <a:cs typeface="+mn-cs"/>
                <a:sym typeface="Trebuchet MS" panose="020B0603020202020204" pitchFamily="34" charset="0"/>
              </a:defRPr>
            </a:lvl1pPr>
          </a:lstStyle>
          <a:p>
            <a:r>
              <a:rPr lang="en-US" dirty="0"/>
              <a:t>Logo</a:t>
            </a:r>
          </a:p>
        </p:txBody>
      </p:sp>
      <p:sp>
        <p:nvSpPr>
          <p:cNvPr id="66" name="Overlay">
            <a:extLst>
              <a:ext uri="{FF2B5EF4-FFF2-40B4-BE49-F238E27FC236}">
                <a16:creationId xmlns:a16="http://schemas.microsoft.com/office/drawing/2014/main" id="{10631BFD-98A9-4E66-81B6-9179F8477110}"/>
              </a:ext>
            </a:extLst>
          </p:cNvPr>
          <p:cNvSpPr/>
          <p:nvPr userDrawn="1">
            <p:custDataLst>
              <p:tags r:id="rId4"/>
            </p:custDataLst>
          </p:nvPr>
        </p:nvSpPr>
        <p:spPr>
          <a:xfrm>
            <a:off x="9340639" y="0"/>
            <a:ext cx="2242259" cy="2081213"/>
          </a:xfrm>
          <a:prstGeom prst="round2SameRect">
            <a:avLst>
              <a:gd name="adj1" fmla="val 0"/>
              <a:gd name="adj2" fmla="val 12079"/>
            </a:avLst>
          </a:prstGeom>
          <a:gradFill>
            <a:gsLst>
              <a:gs pos="0">
                <a:srgbClr val="009B9D">
                  <a:alpha val="21000"/>
                </a:srgbClr>
              </a:gs>
              <a:gs pos="100000">
                <a:srgbClr val="006F4E">
                  <a:alpha val="88979"/>
                </a:srgbClr>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cs typeface="+mn-cs"/>
            </a:endParaRPr>
          </a:p>
        </p:txBody>
      </p:sp>
      <p:sp>
        <p:nvSpPr>
          <p:cNvPr id="67" name="Text Placeholder 6">
            <a:extLst>
              <a:ext uri="{FF2B5EF4-FFF2-40B4-BE49-F238E27FC236}">
                <a16:creationId xmlns:a16="http://schemas.microsoft.com/office/drawing/2014/main" id="{F3917426-D77A-4508-B37D-8AB9CF6D4DCA}"/>
              </a:ext>
            </a:extLst>
          </p:cNvPr>
          <p:cNvSpPr>
            <a:spLocks noGrp="1"/>
          </p:cNvSpPr>
          <p:nvPr>
            <p:ph type="body" sz="quarter" idx="12" hasCustomPrompt="1"/>
          </p:nvPr>
        </p:nvSpPr>
        <p:spPr bwMode="black">
          <a:xfrm>
            <a:off x="1117415" y="6207842"/>
            <a:ext cx="6868800" cy="327148"/>
          </a:xfrm>
          <a:prstGeom prst="rect">
            <a:avLst/>
          </a:prstGeom>
          <a:noFill/>
        </p:spPr>
        <p:txBody>
          <a:bodyPr anchor="ctr"/>
          <a:lstStyle>
            <a:lvl1pPr algn="l" rtl="0">
              <a:lnSpc>
                <a:spcPct val="110000"/>
              </a:lnSpc>
              <a:buNone/>
              <a:defRPr sz="1000" b="1" cap="all" baseline="0">
                <a:solidFill>
                  <a:srgbClr val="7F7F7F"/>
                </a:solidFill>
                <a:latin typeface="+mn-lt"/>
                <a:cs typeface="+mn-cs"/>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68" name="Subtitle 2">
            <a:extLst>
              <a:ext uri="{FF2B5EF4-FFF2-40B4-BE49-F238E27FC236}">
                <a16:creationId xmlns:a16="http://schemas.microsoft.com/office/drawing/2014/main" id="{89DBE637-EF0A-4D65-9948-DD0630674891}"/>
              </a:ext>
            </a:extLst>
          </p:cNvPr>
          <p:cNvSpPr>
            <a:spLocks noGrp="1"/>
          </p:cNvSpPr>
          <p:nvPr>
            <p:ph type="subTitle" idx="1" hasCustomPrompt="1"/>
          </p:nvPr>
        </p:nvSpPr>
        <p:spPr bwMode="white">
          <a:xfrm>
            <a:off x="1117415" y="5607063"/>
            <a:ext cx="6868800" cy="436195"/>
          </a:xfrm>
          <a:prstGeom prst="rect">
            <a:avLst/>
          </a:prstGeom>
        </p:spPr>
        <p:txBody>
          <a:bodyPr anchor="ctr"/>
          <a:lstStyle>
            <a:lvl1pPr marL="0" indent="0" algn="l" rtl="0">
              <a:lnSpc>
                <a:spcPct val="110000"/>
              </a:lnSpc>
              <a:buNone/>
              <a:defRPr sz="1400" baseline="0">
                <a:solidFill>
                  <a:srgbClr val="03522D"/>
                </a:solidFill>
                <a:latin typeface="+mn-lt"/>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69" name="Title 1">
            <a:extLst>
              <a:ext uri="{FF2B5EF4-FFF2-40B4-BE49-F238E27FC236}">
                <a16:creationId xmlns:a16="http://schemas.microsoft.com/office/drawing/2014/main" id="{3AF68955-93C5-4DE0-A8E0-DA967B36C35F}"/>
              </a:ext>
            </a:extLst>
          </p:cNvPr>
          <p:cNvSpPr>
            <a:spLocks noGrp="1"/>
          </p:cNvSpPr>
          <p:nvPr>
            <p:ph type="ctrTitle" hasCustomPrompt="1"/>
          </p:nvPr>
        </p:nvSpPr>
        <p:spPr bwMode="ltGray">
          <a:xfrm>
            <a:off x="1117415" y="2242851"/>
            <a:ext cx="6868800" cy="3138423"/>
          </a:xfrm>
          <a:prstGeom prst="rect">
            <a:avLst/>
          </a:prstGeom>
        </p:spPr>
        <p:txBody>
          <a:bodyPr vert="horz" anchor="b">
            <a:normAutofit/>
          </a:bodyPr>
          <a:lstStyle>
            <a:lvl1pPr algn="l" rtl="0">
              <a:lnSpc>
                <a:spcPct val="93000"/>
              </a:lnSpc>
              <a:defRPr sz="4800" baseline="0">
                <a:solidFill>
                  <a:srgbClr val="03522D"/>
                </a:solidFill>
                <a:latin typeface="+mj-lt"/>
                <a:cs typeface="+mj-cs"/>
                <a:sym typeface="Trebuchet MS" panose="020B0603020202020204" pitchFamily="34" charset="0"/>
              </a:defRPr>
            </a:lvl1pPr>
          </a:lstStyle>
          <a:p>
            <a:r>
              <a:rPr lang="en-US" dirty="0"/>
              <a:t>Title in Title Case</a:t>
            </a:r>
          </a:p>
        </p:txBody>
      </p:sp>
      <p:sp>
        <p:nvSpPr>
          <p:cNvPr id="70" name="Freeform 42">
            <a:extLst>
              <a:ext uri="{FF2B5EF4-FFF2-40B4-BE49-F238E27FC236}">
                <a16:creationId xmlns:a16="http://schemas.microsoft.com/office/drawing/2014/main" id="{03C2BC69-71D9-4B03-8F98-1CBD3A1EA268}"/>
              </a:ext>
            </a:extLst>
          </p:cNvPr>
          <p:cNvSpPr>
            <a:spLocks noChangeAspect="1"/>
          </p:cNvSpPr>
          <p:nvPr userDrawn="1"/>
        </p:nvSpPr>
        <p:spPr bwMode="auto">
          <a:xfrm>
            <a:off x="1115178" y="2752927"/>
            <a:ext cx="2049190" cy="428282"/>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177B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dirty="0">
              <a:cs typeface="+mn-cs"/>
            </a:endParaRPr>
          </a:p>
        </p:txBody>
      </p:sp>
    </p:spTree>
    <p:extLst>
      <p:ext uri="{BB962C8B-B14F-4D97-AF65-F5344CB8AC3E}">
        <p14:creationId xmlns:p14="http://schemas.microsoft.com/office/powerpoint/2010/main" val="30905263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oleObject" Target="../embeddings/oleObject1.bin"/><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71"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95.xml"/><Relationship Id="rId21" Type="http://schemas.openxmlformats.org/officeDocument/2006/relationships/slideLayout" Target="../slideLayouts/slideLayout90.xml"/><Relationship Id="rId42" Type="http://schemas.openxmlformats.org/officeDocument/2006/relationships/slideLayout" Target="../slideLayouts/slideLayout111.xml"/><Relationship Id="rId47" Type="http://schemas.openxmlformats.org/officeDocument/2006/relationships/slideLayout" Target="../slideLayouts/slideLayout116.xml"/><Relationship Id="rId63" Type="http://schemas.openxmlformats.org/officeDocument/2006/relationships/slideLayout" Target="../slideLayouts/slideLayout132.xml"/><Relationship Id="rId68" Type="http://schemas.openxmlformats.org/officeDocument/2006/relationships/slideLayout" Target="../slideLayouts/slideLayout137.xml"/><Relationship Id="rId2" Type="http://schemas.openxmlformats.org/officeDocument/2006/relationships/slideLayout" Target="../slideLayouts/slideLayout71.xml"/><Relationship Id="rId16" Type="http://schemas.openxmlformats.org/officeDocument/2006/relationships/slideLayout" Target="../slideLayouts/slideLayout85.xml"/><Relationship Id="rId29" Type="http://schemas.openxmlformats.org/officeDocument/2006/relationships/slideLayout" Target="../slideLayouts/slideLayout98.xml"/><Relationship Id="rId11" Type="http://schemas.openxmlformats.org/officeDocument/2006/relationships/slideLayout" Target="../slideLayouts/slideLayout80.xml"/><Relationship Id="rId24" Type="http://schemas.openxmlformats.org/officeDocument/2006/relationships/slideLayout" Target="../slideLayouts/slideLayout93.xml"/><Relationship Id="rId32" Type="http://schemas.openxmlformats.org/officeDocument/2006/relationships/slideLayout" Target="../slideLayouts/slideLayout101.xml"/><Relationship Id="rId37" Type="http://schemas.openxmlformats.org/officeDocument/2006/relationships/slideLayout" Target="../slideLayouts/slideLayout106.xml"/><Relationship Id="rId40" Type="http://schemas.openxmlformats.org/officeDocument/2006/relationships/slideLayout" Target="../slideLayouts/slideLayout109.xml"/><Relationship Id="rId45" Type="http://schemas.openxmlformats.org/officeDocument/2006/relationships/slideLayout" Target="../slideLayouts/slideLayout114.xml"/><Relationship Id="rId53" Type="http://schemas.openxmlformats.org/officeDocument/2006/relationships/slideLayout" Target="../slideLayouts/slideLayout122.xml"/><Relationship Id="rId58" Type="http://schemas.openxmlformats.org/officeDocument/2006/relationships/slideLayout" Target="../slideLayouts/slideLayout127.xml"/><Relationship Id="rId66" Type="http://schemas.openxmlformats.org/officeDocument/2006/relationships/slideLayout" Target="../slideLayouts/slideLayout135.xml"/><Relationship Id="rId5" Type="http://schemas.openxmlformats.org/officeDocument/2006/relationships/slideLayout" Target="../slideLayouts/slideLayout74.xml"/><Relationship Id="rId61" Type="http://schemas.openxmlformats.org/officeDocument/2006/relationships/slideLayout" Target="../slideLayouts/slideLayout130.xml"/><Relationship Id="rId19" Type="http://schemas.openxmlformats.org/officeDocument/2006/relationships/slideLayout" Target="../slideLayouts/slideLayout88.xml"/><Relationship Id="rId14" Type="http://schemas.openxmlformats.org/officeDocument/2006/relationships/slideLayout" Target="../slideLayouts/slideLayout83.xml"/><Relationship Id="rId22" Type="http://schemas.openxmlformats.org/officeDocument/2006/relationships/slideLayout" Target="../slideLayouts/slideLayout91.xml"/><Relationship Id="rId27" Type="http://schemas.openxmlformats.org/officeDocument/2006/relationships/slideLayout" Target="../slideLayouts/slideLayout96.xml"/><Relationship Id="rId30" Type="http://schemas.openxmlformats.org/officeDocument/2006/relationships/slideLayout" Target="../slideLayouts/slideLayout99.xml"/><Relationship Id="rId35" Type="http://schemas.openxmlformats.org/officeDocument/2006/relationships/slideLayout" Target="../slideLayouts/slideLayout104.xml"/><Relationship Id="rId43" Type="http://schemas.openxmlformats.org/officeDocument/2006/relationships/slideLayout" Target="../slideLayouts/slideLayout112.xml"/><Relationship Id="rId48" Type="http://schemas.openxmlformats.org/officeDocument/2006/relationships/slideLayout" Target="../slideLayouts/slideLayout117.xml"/><Relationship Id="rId56" Type="http://schemas.openxmlformats.org/officeDocument/2006/relationships/slideLayout" Target="../slideLayouts/slideLayout125.xml"/><Relationship Id="rId64" Type="http://schemas.openxmlformats.org/officeDocument/2006/relationships/slideLayout" Target="../slideLayouts/slideLayout133.xml"/><Relationship Id="rId69" Type="http://schemas.openxmlformats.org/officeDocument/2006/relationships/slideLayout" Target="../slideLayouts/slideLayout138.xml"/><Relationship Id="rId8" Type="http://schemas.openxmlformats.org/officeDocument/2006/relationships/slideLayout" Target="../slideLayouts/slideLayout77.xml"/><Relationship Id="rId51" Type="http://schemas.openxmlformats.org/officeDocument/2006/relationships/slideLayout" Target="../slideLayouts/slideLayout120.xml"/><Relationship Id="rId72" Type="http://schemas.openxmlformats.org/officeDocument/2006/relationships/oleObject" Target="../embeddings/oleObject1.bin"/><Relationship Id="rId3" Type="http://schemas.openxmlformats.org/officeDocument/2006/relationships/slideLayout" Target="../slideLayouts/slideLayout72.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5" Type="http://schemas.openxmlformats.org/officeDocument/2006/relationships/slideLayout" Target="../slideLayouts/slideLayout94.xml"/><Relationship Id="rId33" Type="http://schemas.openxmlformats.org/officeDocument/2006/relationships/slideLayout" Target="../slideLayouts/slideLayout102.xml"/><Relationship Id="rId38" Type="http://schemas.openxmlformats.org/officeDocument/2006/relationships/slideLayout" Target="../slideLayouts/slideLayout107.xml"/><Relationship Id="rId46" Type="http://schemas.openxmlformats.org/officeDocument/2006/relationships/slideLayout" Target="../slideLayouts/slideLayout115.xml"/><Relationship Id="rId59" Type="http://schemas.openxmlformats.org/officeDocument/2006/relationships/slideLayout" Target="../slideLayouts/slideLayout128.xml"/><Relationship Id="rId67" Type="http://schemas.openxmlformats.org/officeDocument/2006/relationships/slideLayout" Target="../slideLayouts/slideLayout136.xml"/><Relationship Id="rId20" Type="http://schemas.openxmlformats.org/officeDocument/2006/relationships/slideLayout" Target="../slideLayouts/slideLayout89.xml"/><Relationship Id="rId41" Type="http://schemas.openxmlformats.org/officeDocument/2006/relationships/slideLayout" Target="../slideLayouts/slideLayout110.xml"/><Relationship Id="rId54" Type="http://schemas.openxmlformats.org/officeDocument/2006/relationships/slideLayout" Target="../slideLayouts/slideLayout123.xml"/><Relationship Id="rId62" Type="http://schemas.openxmlformats.org/officeDocument/2006/relationships/slideLayout" Target="../slideLayouts/slideLayout131.xml"/><Relationship Id="rId70" Type="http://schemas.openxmlformats.org/officeDocument/2006/relationships/theme" Target="../theme/theme2.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5" Type="http://schemas.openxmlformats.org/officeDocument/2006/relationships/slideLayout" Target="../slideLayouts/slideLayout84.xml"/><Relationship Id="rId23" Type="http://schemas.openxmlformats.org/officeDocument/2006/relationships/slideLayout" Target="../slideLayouts/slideLayout92.xml"/><Relationship Id="rId28" Type="http://schemas.openxmlformats.org/officeDocument/2006/relationships/slideLayout" Target="../slideLayouts/slideLayout97.xml"/><Relationship Id="rId36" Type="http://schemas.openxmlformats.org/officeDocument/2006/relationships/slideLayout" Target="../slideLayouts/slideLayout105.xml"/><Relationship Id="rId49" Type="http://schemas.openxmlformats.org/officeDocument/2006/relationships/slideLayout" Target="../slideLayouts/slideLayout118.xml"/><Relationship Id="rId57" Type="http://schemas.openxmlformats.org/officeDocument/2006/relationships/slideLayout" Target="../slideLayouts/slideLayout126.xml"/><Relationship Id="rId10" Type="http://schemas.openxmlformats.org/officeDocument/2006/relationships/slideLayout" Target="../slideLayouts/slideLayout79.xml"/><Relationship Id="rId31" Type="http://schemas.openxmlformats.org/officeDocument/2006/relationships/slideLayout" Target="../slideLayouts/slideLayout100.xml"/><Relationship Id="rId44" Type="http://schemas.openxmlformats.org/officeDocument/2006/relationships/slideLayout" Target="../slideLayouts/slideLayout113.xml"/><Relationship Id="rId52" Type="http://schemas.openxmlformats.org/officeDocument/2006/relationships/slideLayout" Target="../slideLayouts/slideLayout121.xml"/><Relationship Id="rId60" Type="http://schemas.openxmlformats.org/officeDocument/2006/relationships/slideLayout" Target="../slideLayouts/slideLayout129.xml"/><Relationship Id="rId65" Type="http://schemas.openxmlformats.org/officeDocument/2006/relationships/slideLayout" Target="../slideLayouts/slideLayout134.xml"/><Relationship Id="rId73" Type="http://schemas.openxmlformats.org/officeDocument/2006/relationships/image" Target="../media/image1.emf"/><Relationship Id="rId4" Type="http://schemas.openxmlformats.org/officeDocument/2006/relationships/slideLayout" Target="../slideLayouts/slideLayout73.xml"/><Relationship Id="rId9" Type="http://schemas.openxmlformats.org/officeDocument/2006/relationships/slideLayout" Target="../slideLayouts/slideLayout78.xml"/><Relationship Id="rId13" Type="http://schemas.openxmlformats.org/officeDocument/2006/relationships/slideLayout" Target="../slideLayouts/slideLayout82.xml"/><Relationship Id="rId18" Type="http://schemas.openxmlformats.org/officeDocument/2006/relationships/slideLayout" Target="../slideLayouts/slideLayout87.xml"/><Relationship Id="rId39" Type="http://schemas.openxmlformats.org/officeDocument/2006/relationships/slideLayout" Target="../slideLayouts/slideLayout108.xml"/><Relationship Id="rId34" Type="http://schemas.openxmlformats.org/officeDocument/2006/relationships/slideLayout" Target="../slideLayouts/slideLayout103.xml"/><Relationship Id="rId50" Type="http://schemas.openxmlformats.org/officeDocument/2006/relationships/slideLayout" Target="../slideLayouts/slideLayout119.xml"/><Relationship Id="rId55" Type="http://schemas.openxmlformats.org/officeDocument/2006/relationships/slideLayout" Target="../slideLayouts/slideLayout124.xml"/><Relationship Id="rId7" Type="http://schemas.openxmlformats.org/officeDocument/2006/relationships/slideLayout" Target="../slideLayouts/slideLayout76.xml"/><Relationship Id="rId71" Type="http://schemas.openxmlformats.org/officeDocument/2006/relationships/tags" Target="../tags/tag13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46.xml"/><Relationship Id="rId13" Type="http://schemas.openxmlformats.org/officeDocument/2006/relationships/slideLayout" Target="../slideLayouts/slideLayout151.xml"/><Relationship Id="rId18" Type="http://schemas.openxmlformats.org/officeDocument/2006/relationships/image" Target="../media/image62.emf"/><Relationship Id="rId3" Type="http://schemas.openxmlformats.org/officeDocument/2006/relationships/slideLayout" Target="../slideLayouts/slideLayout141.xml"/><Relationship Id="rId7" Type="http://schemas.openxmlformats.org/officeDocument/2006/relationships/slideLayout" Target="../slideLayouts/slideLayout145.xml"/><Relationship Id="rId12" Type="http://schemas.openxmlformats.org/officeDocument/2006/relationships/slideLayout" Target="../slideLayouts/slideLayout150.xml"/><Relationship Id="rId17" Type="http://schemas.openxmlformats.org/officeDocument/2006/relationships/theme" Target="../theme/theme3.xml"/><Relationship Id="rId2" Type="http://schemas.openxmlformats.org/officeDocument/2006/relationships/slideLayout" Target="../slideLayouts/slideLayout140.xml"/><Relationship Id="rId16" Type="http://schemas.openxmlformats.org/officeDocument/2006/relationships/slideLayout" Target="../slideLayouts/slideLayout154.xml"/><Relationship Id="rId1" Type="http://schemas.openxmlformats.org/officeDocument/2006/relationships/slideLayout" Target="../slideLayouts/slideLayout139.xml"/><Relationship Id="rId6" Type="http://schemas.openxmlformats.org/officeDocument/2006/relationships/slideLayout" Target="../slideLayouts/slideLayout144.xml"/><Relationship Id="rId11" Type="http://schemas.openxmlformats.org/officeDocument/2006/relationships/slideLayout" Target="../slideLayouts/slideLayout149.xml"/><Relationship Id="rId5" Type="http://schemas.openxmlformats.org/officeDocument/2006/relationships/slideLayout" Target="../slideLayouts/slideLayout143.xml"/><Relationship Id="rId15" Type="http://schemas.openxmlformats.org/officeDocument/2006/relationships/slideLayout" Target="../slideLayouts/slideLayout153.xml"/><Relationship Id="rId10" Type="http://schemas.openxmlformats.org/officeDocument/2006/relationships/slideLayout" Target="../slideLayouts/slideLayout148.xml"/><Relationship Id="rId4" Type="http://schemas.openxmlformats.org/officeDocument/2006/relationships/slideLayout" Target="../slideLayouts/slideLayout142.xml"/><Relationship Id="rId9" Type="http://schemas.openxmlformats.org/officeDocument/2006/relationships/slideLayout" Target="../slideLayouts/slideLayout147.xml"/><Relationship Id="rId14" Type="http://schemas.openxmlformats.org/officeDocument/2006/relationships/slideLayout" Target="../slideLayouts/slideLayout15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62.xml"/><Relationship Id="rId13" Type="http://schemas.openxmlformats.org/officeDocument/2006/relationships/slideLayout" Target="../slideLayouts/slideLayout167.xml"/><Relationship Id="rId18" Type="http://schemas.openxmlformats.org/officeDocument/2006/relationships/tags" Target="../tags/tag263.xml"/><Relationship Id="rId3" Type="http://schemas.openxmlformats.org/officeDocument/2006/relationships/slideLayout" Target="../slideLayouts/slideLayout157.xml"/><Relationship Id="rId21" Type="http://schemas.openxmlformats.org/officeDocument/2006/relationships/image" Target="../media/image62.emf"/><Relationship Id="rId7" Type="http://schemas.openxmlformats.org/officeDocument/2006/relationships/slideLayout" Target="../slideLayouts/slideLayout161.xml"/><Relationship Id="rId12" Type="http://schemas.openxmlformats.org/officeDocument/2006/relationships/slideLayout" Target="../slideLayouts/slideLayout166.xml"/><Relationship Id="rId17" Type="http://schemas.openxmlformats.org/officeDocument/2006/relationships/theme" Target="../theme/theme4.xml"/><Relationship Id="rId2" Type="http://schemas.openxmlformats.org/officeDocument/2006/relationships/slideLayout" Target="../slideLayouts/slideLayout156.xml"/><Relationship Id="rId16" Type="http://schemas.openxmlformats.org/officeDocument/2006/relationships/slideLayout" Target="../slideLayouts/slideLayout170.xml"/><Relationship Id="rId20" Type="http://schemas.openxmlformats.org/officeDocument/2006/relationships/image" Target="../media/image73.emf"/><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slideLayout" Target="../slideLayouts/slideLayout165.xml"/><Relationship Id="rId5" Type="http://schemas.openxmlformats.org/officeDocument/2006/relationships/slideLayout" Target="../slideLayouts/slideLayout159.xml"/><Relationship Id="rId15" Type="http://schemas.openxmlformats.org/officeDocument/2006/relationships/slideLayout" Target="../slideLayouts/slideLayout169.xml"/><Relationship Id="rId10" Type="http://schemas.openxmlformats.org/officeDocument/2006/relationships/slideLayout" Target="../slideLayouts/slideLayout164.xml"/><Relationship Id="rId19" Type="http://schemas.openxmlformats.org/officeDocument/2006/relationships/oleObject" Target="../embeddings/oleObject70.bin"/><Relationship Id="rId4" Type="http://schemas.openxmlformats.org/officeDocument/2006/relationships/slideLayout" Target="../slideLayouts/slideLayout158.xml"/><Relationship Id="rId9" Type="http://schemas.openxmlformats.org/officeDocument/2006/relationships/slideLayout" Target="../slideLayouts/slideLayout163.xml"/><Relationship Id="rId14" Type="http://schemas.openxmlformats.org/officeDocument/2006/relationships/slideLayout" Target="../slideLayouts/slideLayout16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1"/>
            </p:custDataLst>
            <p:extLst>
              <p:ext uri="{D42A27DB-BD31-4B8C-83A1-F6EECF244321}">
                <p14:modId xmlns:p14="http://schemas.microsoft.com/office/powerpoint/2010/main" val="39112600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2" imgW="270" imgH="270" progId="TCLayout.ActiveDocument.1">
                  <p:embed/>
                </p:oleObj>
              </mc:Choice>
              <mc:Fallback>
                <p:oleObj name="think-cell Slide" r:id="rId72" imgW="270" imgH="270" progId="TCLayout.ActiveDocument.1">
                  <p:embed/>
                  <p:pic>
                    <p:nvPicPr>
                      <p:cNvPr id="2" name="Object 1" hidden="1"/>
                      <p:cNvPicPr/>
                      <p:nvPr/>
                    </p:nvPicPr>
                    <p:blipFill>
                      <a:blip r:embed="rId73"/>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cs typeface="+mn-cs"/>
                <a:sym typeface="Trebuchet MS" panose="020B0603020202020204" pitchFamily="34" charset="0"/>
              </a:defRPr>
            </a:lvl1pPr>
          </a:lstStyle>
          <a:p>
            <a:endParaRPr lang="en-US" dirty="0"/>
          </a:p>
        </p:txBody>
      </p:sp>
      <p:sp>
        <p:nvSpPr>
          <p:cNvPr id="12" name="TextBox 11"/>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2514599"/>
            <a:ext cx="10933350" cy="3662363"/>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7476810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7" r:id="rId67"/>
    <p:sldLayoutId id="2147483728" r:id="rId68"/>
    <p:sldLayoutId id="2147483730" r:id="rId6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84">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1"/>
            </p:custDataLst>
            <p:extLst>
              <p:ext uri="{D42A27DB-BD31-4B8C-83A1-F6EECF244321}">
                <p14:modId xmlns:p14="http://schemas.microsoft.com/office/powerpoint/2010/main" val="30671799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2" imgW="270" imgH="270" progId="TCLayout.ActiveDocument.1">
                  <p:embed/>
                </p:oleObj>
              </mc:Choice>
              <mc:Fallback>
                <p:oleObj name="think-cell Slide" r:id="rId72" imgW="270" imgH="270" progId="TCLayout.ActiveDocument.1">
                  <p:embed/>
                  <p:pic>
                    <p:nvPicPr>
                      <p:cNvPr id="2" name="Object 1" hidden="1"/>
                      <p:cNvPicPr/>
                      <p:nvPr/>
                    </p:nvPicPr>
                    <p:blipFill>
                      <a:blip r:embed="rId73"/>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cs typeface="+mn-cs"/>
                <a:sym typeface="Trebuchet MS" panose="020B0603020202020204" pitchFamily="34" charset="0"/>
              </a:defRPr>
            </a:lvl1pPr>
          </a:lstStyle>
          <a:p>
            <a:endParaRPr lang="en-US" dirty="0"/>
          </a:p>
        </p:txBody>
      </p:sp>
      <p:sp>
        <p:nvSpPr>
          <p:cNvPr id="12" name="TextBox 11"/>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2514599"/>
            <a:ext cx="10933350" cy="3662363"/>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76676237"/>
      </p:ext>
    </p:extLst>
  </p:cSld>
  <p:clrMap bg1="lt1" tx1="dk1" bg2="lt2" tx2="dk2" accent1="accent1" accent2="accent2" accent3="accent3" accent4="accent4" accent5="accent5" accent6="accent6" hlink="hlink" folHlink="folHlink"/>
  <p:sldLayoutIdLst>
    <p:sldLayoutId id="2147484508" r:id="rId1"/>
    <p:sldLayoutId id="2147484509" r:id="rId2"/>
    <p:sldLayoutId id="2147484510" r:id="rId3"/>
    <p:sldLayoutId id="2147484511" r:id="rId4"/>
    <p:sldLayoutId id="2147484512" r:id="rId5"/>
    <p:sldLayoutId id="2147484513" r:id="rId6"/>
    <p:sldLayoutId id="2147484514" r:id="rId7"/>
    <p:sldLayoutId id="2147484515" r:id="rId8"/>
    <p:sldLayoutId id="2147484516" r:id="rId9"/>
    <p:sldLayoutId id="2147484517" r:id="rId10"/>
    <p:sldLayoutId id="2147484518" r:id="rId11"/>
    <p:sldLayoutId id="2147484519" r:id="rId12"/>
    <p:sldLayoutId id="2147484520" r:id="rId13"/>
    <p:sldLayoutId id="2147484521" r:id="rId14"/>
    <p:sldLayoutId id="2147484522" r:id="rId15"/>
    <p:sldLayoutId id="2147484523" r:id="rId16"/>
    <p:sldLayoutId id="2147484524" r:id="rId17"/>
    <p:sldLayoutId id="2147484525" r:id="rId18"/>
    <p:sldLayoutId id="2147484526" r:id="rId19"/>
    <p:sldLayoutId id="2147484527" r:id="rId20"/>
    <p:sldLayoutId id="2147484528" r:id="rId21"/>
    <p:sldLayoutId id="2147484529" r:id="rId22"/>
    <p:sldLayoutId id="2147484530" r:id="rId23"/>
    <p:sldLayoutId id="2147484531" r:id="rId24"/>
    <p:sldLayoutId id="2147484532" r:id="rId25"/>
    <p:sldLayoutId id="2147484533" r:id="rId26"/>
    <p:sldLayoutId id="2147484534" r:id="rId27"/>
    <p:sldLayoutId id="2147484535" r:id="rId28"/>
    <p:sldLayoutId id="2147484536" r:id="rId29"/>
    <p:sldLayoutId id="2147484537" r:id="rId30"/>
    <p:sldLayoutId id="2147484538" r:id="rId31"/>
    <p:sldLayoutId id="2147484539" r:id="rId32"/>
    <p:sldLayoutId id="2147484540" r:id="rId33"/>
    <p:sldLayoutId id="2147484541" r:id="rId34"/>
    <p:sldLayoutId id="2147484542" r:id="rId35"/>
    <p:sldLayoutId id="2147484543" r:id="rId36"/>
    <p:sldLayoutId id="2147484544" r:id="rId37"/>
    <p:sldLayoutId id="2147484545" r:id="rId38"/>
    <p:sldLayoutId id="2147484546" r:id="rId39"/>
    <p:sldLayoutId id="2147484547" r:id="rId40"/>
    <p:sldLayoutId id="2147484548" r:id="rId41"/>
    <p:sldLayoutId id="2147484549" r:id="rId42"/>
    <p:sldLayoutId id="2147484550" r:id="rId43"/>
    <p:sldLayoutId id="2147484551" r:id="rId44"/>
    <p:sldLayoutId id="2147484552" r:id="rId45"/>
    <p:sldLayoutId id="2147484553" r:id="rId46"/>
    <p:sldLayoutId id="2147484554" r:id="rId47"/>
    <p:sldLayoutId id="2147484555" r:id="rId48"/>
    <p:sldLayoutId id="2147484556" r:id="rId49"/>
    <p:sldLayoutId id="2147484557" r:id="rId50"/>
    <p:sldLayoutId id="2147484558" r:id="rId51"/>
    <p:sldLayoutId id="2147484559" r:id="rId52"/>
    <p:sldLayoutId id="2147484560" r:id="rId53"/>
    <p:sldLayoutId id="2147484561" r:id="rId54"/>
    <p:sldLayoutId id="2147484562" r:id="rId55"/>
    <p:sldLayoutId id="2147484563" r:id="rId56"/>
    <p:sldLayoutId id="2147484564" r:id="rId57"/>
    <p:sldLayoutId id="2147484565" r:id="rId58"/>
    <p:sldLayoutId id="2147484566" r:id="rId59"/>
    <p:sldLayoutId id="2147484567" r:id="rId60"/>
    <p:sldLayoutId id="2147484568" r:id="rId61"/>
    <p:sldLayoutId id="2147484569" r:id="rId62"/>
    <p:sldLayoutId id="2147484570" r:id="rId63"/>
    <p:sldLayoutId id="2147484571" r:id="rId64"/>
    <p:sldLayoutId id="2147484572" r:id="rId65"/>
    <p:sldLayoutId id="2147484573" r:id="rId66"/>
    <p:sldLayoutId id="2147484574" r:id="rId67"/>
    <p:sldLayoutId id="2147484575" r:id="rId68"/>
    <p:sldLayoutId id="2147484576" r:id="rId6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84">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bwMode="gray">
          <a:xfrm>
            <a:off x="2255574" y="381000"/>
            <a:ext cx="9439013" cy="1463824"/>
          </a:xfrm>
          <a:prstGeom prst="rect">
            <a:avLst/>
          </a:prstGeom>
        </p:spPr>
        <p:txBody>
          <a:bodyPr vert="horz" lIns="0" tIns="0" rIns="0" bIns="0" rtlCol="0" anchor="b" anchorCtr="0">
            <a:noAutofit/>
          </a:bodyPr>
          <a:lstStyle/>
          <a:p>
            <a:r>
              <a:rPr lang="pl-PL" noProof="0" dirty="0"/>
              <a:t>Tytuł</a:t>
            </a:r>
          </a:p>
        </p:txBody>
      </p:sp>
      <p:sp>
        <p:nvSpPr>
          <p:cNvPr id="3" name="Espace réservé du texte 2"/>
          <p:cNvSpPr>
            <a:spLocks noGrp="1"/>
          </p:cNvSpPr>
          <p:nvPr>
            <p:ph type="body" idx="1"/>
          </p:nvPr>
        </p:nvSpPr>
        <p:spPr bwMode="gray">
          <a:xfrm>
            <a:off x="2255573" y="2006621"/>
            <a:ext cx="9439011" cy="4019532"/>
          </a:xfrm>
          <a:prstGeom prst="rect">
            <a:avLst/>
          </a:prstGeom>
        </p:spPr>
        <p:txBody>
          <a:bodyPr vert="horz" lIns="0" tIns="0" rIns="0" bIns="0" rtlCol="0" anchor="t" anchorCtr="0">
            <a:noAutofit/>
          </a:bodyPr>
          <a:lstStyle/>
          <a:p>
            <a:pPr lvl="0"/>
            <a:r>
              <a:rPr lang="pl-PL" noProof="0" dirty="0"/>
              <a:t>Pierwszy poziom tekstu</a:t>
            </a:r>
          </a:p>
          <a:p>
            <a:pPr lvl="1"/>
            <a:r>
              <a:rPr lang="pl-PL" noProof="0" dirty="0"/>
              <a:t>Drugi poziom tekstu</a:t>
            </a:r>
          </a:p>
          <a:p>
            <a:pPr lvl="2"/>
            <a:r>
              <a:rPr lang="pl-PL" noProof="0" dirty="0"/>
              <a:t>Trzeci poziom tekstu</a:t>
            </a:r>
          </a:p>
          <a:p>
            <a:pPr lvl="3"/>
            <a:r>
              <a:rPr lang="pl-PL" noProof="0" dirty="0"/>
              <a:t>Czwarty poziom tekstu</a:t>
            </a:r>
          </a:p>
          <a:p>
            <a:pPr lvl="4"/>
            <a:r>
              <a:rPr lang="pl-PL" noProof="0" dirty="0"/>
              <a:t>Piąty poziom tekstu</a:t>
            </a:r>
          </a:p>
        </p:txBody>
      </p:sp>
      <p:pic>
        <p:nvPicPr>
          <p:cNvPr id="13" name="Image 9" descr="logo_gauche.pdf"/>
          <p:cNvPicPr>
            <a:picLocks noChangeAspect="1"/>
          </p:cNvPicPr>
          <p:nvPr userDrawn="1"/>
        </p:nvPicPr>
        <p:blipFill>
          <a:blip r:embed="rId18" cstate="hqprint">
            <a:extLst>
              <a:ext uri="{28A0092B-C50C-407E-A947-70E740481C1C}">
                <a14:useLocalDpi xmlns:a14="http://schemas.microsoft.com/office/drawing/2010/main"/>
              </a:ext>
            </a:extLst>
          </a:blip>
          <a:stretch>
            <a:fillRect/>
          </a:stretch>
        </p:blipFill>
        <p:spPr bwMode="gray">
          <a:xfrm>
            <a:off x="11616061" y="6488445"/>
            <a:ext cx="288000" cy="199111"/>
          </a:xfrm>
          <a:prstGeom prst="rect">
            <a:avLst/>
          </a:prstGeom>
        </p:spPr>
      </p:pic>
      <p:sp>
        <p:nvSpPr>
          <p:cNvPr id="6" name="Symbol zastępczy numeru slajdu 5">
            <a:extLst>
              <a:ext uri="{FF2B5EF4-FFF2-40B4-BE49-F238E27FC236}">
                <a16:creationId xmlns:a16="http://schemas.microsoft.com/office/drawing/2014/main" id="{5797FB04-C354-0A02-AA3B-9B254CE61409}"/>
              </a:ext>
            </a:extLst>
          </p:cNvPr>
          <p:cNvSpPr>
            <a:spLocks noGrp="1"/>
          </p:cNvSpPr>
          <p:nvPr>
            <p:ph type="sldNum" sz="quarter" idx="4"/>
          </p:nvPr>
        </p:nvSpPr>
        <p:spPr>
          <a:xfrm>
            <a:off x="48673" y="6429034"/>
            <a:ext cx="943180" cy="366183"/>
          </a:xfrm>
          <a:prstGeom prst="rect">
            <a:avLst/>
          </a:prstGeom>
        </p:spPr>
        <p:txBody>
          <a:bodyPr vert="horz" lIns="91440" tIns="45720" rIns="91440" bIns="45720" rtlCol="0" anchor="ctr"/>
          <a:lstStyle>
            <a:lvl1pPr algn="l">
              <a:defRPr sz="1067">
                <a:solidFill>
                  <a:srgbClr val="7E93A5"/>
                </a:solidFill>
              </a:defRPr>
            </a:lvl1pPr>
          </a:lstStyle>
          <a:p>
            <a:fld id="{332DF002-2E43-485C-89F8-8DCEF59D6C4F}" type="slidenum">
              <a:rPr lang="pl-PL" smtClean="0"/>
              <a:pPr/>
              <a:t>‹#›</a:t>
            </a:fld>
            <a:endParaRPr lang="pl-PL" dirty="0"/>
          </a:p>
        </p:txBody>
      </p:sp>
    </p:spTree>
    <p:extLst>
      <p:ext uri="{BB962C8B-B14F-4D97-AF65-F5344CB8AC3E}">
        <p14:creationId xmlns:p14="http://schemas.microsoft.com/office/powerpoint/2010/main" val="3415173326"/>
      </p:ext>
    </p:extLst>
  </p:cSld>
  <p:clrMap bg1="lt1" tx1="dk1" bg2="lt2" tx2="dk2" accent1="accent1" accent2="accent2" accent3="accent3" accent4="accent4" accent5="accent5" accent6="accent6" hlink="hlink" folHlink="folHlink"/>
  <p:sldLayoutIdLst>
    <p:sldLayoutId id="2147484663" r:id="rId1"/>
    <p:sldLayoutId id="2147484664" r:id="rId2"/>
    <p:sldLayoutId id="2147484665" r:id="rId3"/>
    <p:sldLayoutId id="2147484666" r:id="rId4"/>
    <p:sldLayoutId id="2147484667" r:id="rId5"/>
    <p:sldLayoutId id="2147484668" r:id="rId6"/>
    <p:sldLayoutId id="2147484669" r:id="rId7"/>
    <p:sldLayoutId id="2147484670" r:id="rId8"/>
    <p:sldLayoutId id="2147484671" r:id="rId9"/>
    <p:sldLayoutId id="2147484672" r:id="rId10"/>
    <p:sldLayoutId id="2147484673" r:id="rId11"/>
    <p:sldLayoutId id="2147484674" r:id="rId12"/>
    <p:sldLayoutId id="2147484675" r:id="rId13"/>
    <p:sldLayoutId id="2147484676" r:id="rId14"/>
    <p:sldLayoutId id="2147484765" r:id="rId15"/>
    <p:sldLayoutId id="2147484766" r:id="rId16"/>
  </p:sldLayoutIdLst>
  <p:hf hdr="0" ftr="0" dt="0"/>
  <p:txStyles>
    <p:titleStyle>
      <a:lvl1pPr algn="l" defTabSz="914341" rtl="0" eaLnBrk="1" latinLnBrk="0" hangingPunct="1">
        <a:lnSpc>
          <a:spcPct val="90000"/>
        </a:lnSpc>
        <a:spcBef>
          <a:spcPts val="0"/>
        </a:spcBef>
        <a:spcAft>
          <a:spcPts val="0"/>
        </a:spcAft>
        <a:buNone/>
        <a:defRPr sz="3733" b="1" kern="1200" cap="none" baseline="0">
          <a:solidFill>
            <a:schemeClr val="accent1"/>
          </a:solidFill>
          <a:latin typeface="+mj-lt"/>
          <a:ea typeface="+mj-ea"/>
          <a:cs typeface="+mj-cs"/>
        </a:defRPr>
      </a:lvl1pPr>
    </p:titleStyle>
    <p:bodyStyle>
      <a:lvl1pPr marL="359991" indent="-359991" algn="l" defTabSz="914341" rtl="0" eaLnBrk="1" latinLnBrk="0" hangingPunct="1">
        <a:lnSpc>
          <a:spcPct val="82000"/>
        </a:lnSpc>
        <a:spcBef>
          <a:spcPts val="0"/>
        </a:spcBef>
        <a:spcAft>
          <a:spcPts val="1600"/>
        </a:spcAft>
        <a:buSzPct val="80000"/>
        <a:buFont typeface="Wingdings" pitchFamily="2" charset="2"/>
        <a:buChar char="n"/>
        <a:defRPr sz="1867" b="1" kern="1200" cap="none" baseline="0">
          <a:solidFill>
            <a:schemeClr val="accent1"/>
          </a:solidFill>
          <a:latin typeface="+mn-lt"/>
          <a:ea typeface="+mn-ea"/>
          <a:cs typeface="+mn-cs"/>
        </a:defRPr>
      </a:lvl1pPr>
      <a:lvl2pPr marL="815980" indent="-239994" algn="l" defTabSz="914341" rtl="0" eaLnBrk="1" latinLnBrk="0" hangingPunct="1">
        <a:lnSpc>
          <a:spcPct val="82000"/>
        </a:lnSpc>
        <a:spcBef>
          <a:spcPts val="0"/>
        </a:spcBef>
        <a:spcAft>
          <a:spcPts val="1600"/>
        </a:spcAft>
        <a:buSzPct val="100000"/>
        <a:buFont typeface="Wingdings" pitchFamily="2" charset="2"/>
        <a:buChar char="§"/>
        <a:defRPr sz="1867" kern="1200" cap="none">
          <a:solidFill>
            <a:schemeClr val="tx1"/>
          </a:solidFill>
          <a:latin typeface="+mn-lt"/>
          <a:ea typeface="+mn-ea"/>
          <a:cs typeface="+mn-cs"/>
        </a:defRPr>
      </a:lvl2pPr>
      <a:lvl3pPr marL="1391965" indent="-239994" algn="l" defTabSz="914341" rtl="0" eaLnBrk="1" latinLnBrk="0" hangingPunct="1">
        <a:lnSpc>
          <a:spcPct val="82000"/>
        </a:lnSpc>
        <a:spcBef>
          <a:spcPts val="0"/>
        </a:spcBef>
        <a:spcAft>
          <a:spcPts val="1600"/>
        </a:spcAft>
        <a:buClr>
          <a:schemeClr val="accent3"/>
        </a:buClr>
        <a:buSzPct val="100000"/>
        <a:buFont typeface="Wingdings" pitchFamily="2" charset="2"/>
        <a:buChar char="§"/>
        <a:defRPr sz="1867" kern="1200" cap="none">
          <a:solidFill>
            <a:schemeClr val="accent3"/>
          </a:solidFill>
          <a:latin typeface="+mn-lt"/>
          <a:ea typeface="+mn-ea"/>
          <a:cs typeface="+mn-cs"/>
        </a:defRPr>
      </a:lvl3pPr>
      <a:lvl4pPr marL="1967951" indent="-239994" algn="l" defTabSz="914341" rtl="0" eaLnBrk="1" latinLnBrk="0" hangingPunct="1">
        <a:lnSpc>
          <a:spcPct val="82000"/>
        </a:lnSpc>
        <a:spcBef>
          <a:spcPts val="0"/>
        </a:spcBef>
        <a:spcAft>
          <a:spcPts val="1600"/>
        </a:spcAft>
        <a:buClr>
          <a:schemeClr val="accent1"/>
        </a:buClr>
        <a:buSzPct val="100000"/>
        <a:buFont typeface="Wingdings" pitchFamily="2" charset="2"/>
        <a:buChar char="§"/>
        <a:defRPr sz="1867" b="0" kern="1200" cap="none" baseline="0">
          <a:solidFill>
            <a:schemeClr val="tx1"/>
          </a:solidFill>
          <a:latin typeface="+mn-lt"/>
          <a:ea typeface="+mn-ea"/>
          <a:cs typeface="+mn-cs"/>
        </a:defRPr>
      </a:lvl4pPr>
      <a:lvl5pPr marL="2543936" indent="-239994" algn="l" defTabSz="914341" rtl="0" eaLnBrk="1" latinLnBrk="0" hangingPunct="1">
        <a:lnSpc>
          <a:spcPct val="95000"/>
        </a:lnSpc>
        <a:spcBef>
          <a:spcPts val="0"/>
        </a:spcBef>
        <a:spcAft>
          <a:spcPts val="1600"/>
        </a:spcAft>
        <a:buClr>
          <a:schemeClr val="accent1"/>
        </a:buClr>
        <a:buSzPct val="100000"/>
        <a:buFont typeface="Wingdings" pitchFamily="2" charset="2"/>
        <a:buChar char="§"/>
        <a:defRPr sz="1867" kern="1200" cap="none">
          <a:solidFill>
            <a:schemeClr val="tx1"/>
          </a:solidFill>
          <a:latin typeface="+mn-lt"/>
          <a:ea typeface="+mn-ea"/>
          <a:cs typeface="+mn-cs"/>
        </a:defRPr>
      </a:lvl5pPr>
      <a:lvl6pPr marL="2514436"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0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7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4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1" rtl="0" eaLnBrk="1" latinLnBrk="0" hangingPunct="1">
        <a:defRPr sz="1800" kern="1200">
          <a:solidFill>
            <a:schemeClr val="tx1"/>
          </a:solidFill>
          <a:latin typeface="+mn-lt"/>
          <a:ea typeface="+mn-ea"/>
          <a:cs typeface="+mn-cs"/>
        </a:defRPr>
      </a:lvl1pPr>
      <a:lvl2pPr marL="457171" algn="l" defTabSz="914341" rtl="0" eaLnBrk="1" latinLnBrk="0" hangingPunct="1">
        <a:defRPr sz="1800" kern="1200">
          <a:solidFill>
            <a:schemeClr val="tx1"/>
          </a:solidFill>
          <a:latin typeface="+mn-lt"/>
          <a:ea typeface="+mn-ea"/>
          <a:cs typeface="+mn-cs"/>
        </a:defRPr>
      </a:lvl2pPr>
      <a:lvl3pPr marL="914341" algn="l" defTabSz="914341" rtl="0" eaLnBrk="1" latinLnBrk="0" hangingPunct="1">
        <a:defRPr sz="1800" kern="1200">
          <a:solidFill>
            <a:schemeClr val="tx1"/>
          </a:solidFill>
          <a:latin typeface="+mn-lt"/>
          <a:ea typeface="+mn-ea"/>
          <a:cs typeface="+mn-cs"/>
        </a:defRPr>
      </a:lvl3pPr>
      <a:lvl4pPr marL="1371511" algn="l" defTabSz="914341" rtl="0" eaLnBrk="1" latinLnBrk="0" hangingPunct="1">
        <a:defRPr sz="1800" kern="1200">
          <a:solidFill>
            <a:schemeClr val="tx1"/>
          </a:solidFill>
          <a:latin typeface="+mn-lt"/>
          <a:ea typeface="+mn-ea"/>
          <a:cs typeface="+mn-cs"/>
        </a:defRPr>
      </a:lvl4pPr>
      <a:lvl5pPr marL="1828681" algn="l" defTabSz="914341" rtl="0" eaLnBrk="1" latinLnBrk="0" hangingPunct="1">
        <a:defRPr sz="1800" kern="1200">
          <a:solidFill>
            <a:schemeClr val="tx1"/>
          </a:solidFill>
          <a:latin typeface="+mn-lt"/>
          <a:ea typeface="+mn-ea"/>
          <a:cs typeface="+mn-cs"/>
        </a:defRPr>
      </a:lvl5pPr>
      <a:lvl6pPr marL="2285852" algn="l" defTabSz="914341" rtl="0" eaLnBrk="1" latinLnBrk="0" hangingPunct="1">
        <a:defRPr sz="1800" kern="1200">
          <a:solidFill>
            <a:schemeClr val="tx1"/>
          </a:solidFill>
          <a:latin typeface="+mn-lt"/>
          <a:ea typeface="+mn-ea"/>
          <a:cs typeface="+mn-cs"/>
        </a:defRPr>
      </a:lvl6pPr>
      <a:lvl7pPr marL="2743022" algn="l" defTabSz="914341" rtl="0" eaLnBrk="1" latinLnBrk="0" hangingPunct="1">
        <a:defRPr sz="1800" kern="1200">
          <a:solidFill>
            <a:schemeClr val="tx1"/>
          </a:solidFill>
          <a:latin typeface="+mn-lt"/>
          <a:ea typeface="+mn-ea"/>
          <a:cs typeface="+mn-cs"/>
        </a:defRPr>
      </a:lvl7pPr>
      <a:lvl8pPr marL="3200192" algn="l" defTabSz="914341" rtl="0" eaLnBrk="1" latinLnBrk="0" hangingPunct="1">
        <a:defRPr sz="1800" kern="1200">
          <a:solidFill>
            <a:schemeClr val="tx1"/>
          </a:solidFill>
          <a:latin typeface="+mn-lt"/>
          <a:ea typeface="+mn-ea"/>
          <a:cs typeface="+mn-cs"/>
        </a:defRPr>
      </a:lvl8pPr>
      <a:lvl9pPr marL="3657363" algn="l" defTabSz="91434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4708">
          <p15:clr>
            <a:srgbClr val="F26B43"/>
          </p15:clr>
        </p15:guide>
        <p15:guide id="3" pos="183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iekt 3" hidden="1">
            <a:extLst>
              <a:ext uri="{FF2B5EF4-FFF2-40B4-BE49-F238E27FC236}">
                <a16:creationId xmlns:a16="http://schemas.microsoft.com/office/drawing/2014/main" id="{C3C2AB52-234C-4FE5-82F3-D0CDE1D9BF77}"/>
              </a:ext>
            </a:extLst>
          </p:cNvPr>
          <p:cNvGraphicFramePr>
            <a:graphicFrameLocks noChangeAspect="1"/>
          </p:cNvGraphicFramePr>
          <p:nvPr userDrawn="1">
            <p:custDataLst>
              <p:tags r:id="rId18"/>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19" imgW="408" imgH="408" progId="TCLayout.ActiveDocument.1">
                  <p:embed/>
                </p:oleObj>
              </mc:Choice>
              <mc:Fallback>
                <p:oleObj name="think-cell Slide" r:id="rId19" imgW="408" imgH="408" progId="TCLayout.ActiveDocument.1">
                  <p:embed/>
                  <p:pic>
                    <p:nvPicPr>
                      <p:cNvPr id="4" name="Obiekt 3" hidden="1">
                        <a:extLst>
                          <a:ext uri="{FF2B5EF4-FFF2-40B4-BE49-F238E27FC236}">
                            <a16:creationId xmlns:a16="http://schemas.microsoft.com/office/drawing/2014/main" id="{C3C2AB52-234C-4FE5-82F3-D0CDE1D9BF77}"/>
                          </a:ext>
                        </a:extLst>
                      </p:cNvPr>
                      <p:cNvPicPr/>
                      <p:nvPr/>
                    </p:nvPicPr>
                    <p:blipFill>
                      <a:blip r:embed="rId20"/>
                      <a:stretch>
                        <a:fillRect/>
                      </a:stretch>
                    </p:blipFill>
                    <p:spPr>
                      <a:xfrm>
                        <a:off x="2118" y="2118"/>
                        <a:ext cx="2117" cy="2117"/>
                      </a:xfrm>
                      <a:prstGeom prst="rect">
                        <a:avLst/>
                      </a:prstGeom>
                    </p:spPr>
                  </p:pic>
                </p:oleObj>
              </mc:Fallback>
            </mc:AlternateContent>
          </a:graphicData>
        </a:graphic>
      </p:graphicFrame>
      <p:sp>
        <p:nvSpPr>
          <p:cNvPr id="2" name="Espace réservé du titre 1"/>
          <p:cNvSpPr>
            <a:spLocks noGrp="1"/>
          </p:cNvSpPr>
          <p:nvPr>
            <p:ph type="title"/>
          </p:nvPr>
        </p:nvSpPr>
        <p:spPr bwMode="gray">
          <a:xfrm>
            <a:off x="2255574" y="381000"/>
            <a:ext cx="9439013" cy="1463824"/>
          </a:xfrm>
          <a:prstGeom prst="rect">
            <a:avLst/>
          </a:prstGeom>
        </p:spPr>
        <p:txBody>
          <a:bodyPr vert="horz" lIns="0" tIns="0" rIns="0" bIns="0" rtlCol="0" anchor="b" anchorCtr="0">
            <a:noAutofit/>
          </a:bodyPr>
          <a:lstStyle/>
          <a:p>
            <a:r>
              <a:rPr lang="pl-PL" noProof="0" dirty="0"/>
              <a:t>Tytuł</a:t>
            </a:r>
          </a:p>
        </p:txBody>
      </p:sp>
      <p:sp>
        <p:nvSpPr>
          <p:cNvPr id="3" name="Espace réservé du texte 2"/>
          <p:cNvSpPr>
            <a:spLocks noGrp="1"/>
          </p:cNvSpPr>
          <p:nvPr>
            <p:ph type="body" idx="1"/>
          </p:nvPr>
        </p:nvSpPr>
        <p:spPr bwMode="gray">
          <a:xfrm>
            <a:off x="2255573" y="2006621"/>
            <a:ext cx="9439011" cy="4019532"/>
          </a:xfrm>
          <a:prstGeom prst="rect">
            <a:avLst/>
          </a:prstGeom>
        </p:spPr>
        <p:txBody>
          <a:bodyPr vert="horz" lIns="0" tIns="0" rIns="0" bIns="0" rtlCol="0" anchor="t" anchorCtr="0">
            <a:noAutofit/>
          </a:bodyPr>
          <a:lstStyle/>
          <a:p>
            <a:pPr lvl="0"/>
            <a:r>
              <a:rPr lang="pl-PL" noProof="0" dirty="0"/>
              <a:t>Pierwszy poziom tekstu</a:t>
            </a:r>
          </a:p>
          <a:p>
            <a:pPr lvl="1"/>
            <a:r>
              <a:rPr lang="pl-PL" noProof="0" dirty="0"/>
              <a:t>Drugi poziom tekstu</a:t>
            </a:r>
          </a:p>
          <a:p>
            <a:pPr lvl="2"/>
            <a:r>
              <a:rPr lang="pl-PL" noProof="0" dirty="0"/>
              <a:t>Trzeci poziom tekstu</a:t>
            </a:r>
          </a:p>
          <a:p>
            <a:pPr lvl="3"/>
            <a:r>
              <a:rPr lang="pl-PL" noProof="0" dirty="0"/>
              <a:t>Czwarty poziom tekstu</a:t>
            </a:r>
          </a:p>
          <a:p>
            <a:pPr lvl="4"/>
            <a:r>
              <a:rPr lang="pl-PL" noProof="0" dirty="0"/>
              <a:t>Piąty poziom tekstu</a:t>
            </a:r>
          </a:p>
        </p:txBody>
      </p:sp>
      <p:pic>
        <p:nvPicPr>
          <p:cNvPr id="13" name="Image 9" descr="logo_gauche.pdf"/>
          <p:cNvPicPr>
            <a:picLocks noChangeAspect="1"/>
          </p:cNvPicPr>
          <p:nvPr userDrawn="1"/>
        </p:nvPicPr>
        <p:blipFill>
          <a:blip r:embed="rId21" cstate="hqprint">
            <a:extLst>
              <a:ext uri="{28A0092B-C50C-407E-A947-70E740481C1C}">
                <a14:useLocalDpi xmlns:a14="http://schemas.microsoft.com/office/drawing/2010/main"/>
              </a:ext>
            </a:extLst>
          </a:blip>
          <a:stretch>
            <a:fillRect/>
          </a:stretch>
        </p:blipFill>
        <p:spPr bwMode="gray">
          <a:xfrm>
            <a:off x="11616061" y="6488445"/>
            <a:ext cx="288000" cy="199111"/>
          </a:xfrm>
          <a:prstGeom prst="rect">
            <a:avLst/>
          </a:prstGeom>
        </p:spPr>
      </p:pic>
      <p:sp>
        <p:nvSpPr>
          <p:cNvPr id="6" name="Symbol zastępczy numeru slajdu 5">
            <a:extLst>
              <a:ext uri="{FF2B5EF4-FFF2-40B4-BE49-F238E27FC236}">
                <a16:creationId xmlns:a16="http://schemas.microsoft.com/office/drawing/2014/main" id="{5797FB04-C354-0A02-AA3B-9B254CE61409}"/>
              </a:ext>
            </a:extLst>
          </p:cNvPr>
          <p:cNvSpPr>
            <a:spLocks noGrp="1"/>
          </p:cNvSpPr>
          <p:nvPr>
            <p:ph type="sldNum" sz="quarter" idx="4"/>
          </p:nvPr>
        </p:nvSpPr>
        <p:spPr>
          <a:xfrm>
            <a:off x="48673" y="6429034"/>
            <a:ext cx="943180" cy="366183"/>
          </a:xfrm>
          <a:prstGeom prst="rect">
            <a:avLst/>
          </a:prstGeom>
        </p:spPr>
        <p:txBody>
          <a:bodyPr vert="horz" lIns="91440" tIns="45720" rIns="91440" bIns="45720" rtlCol="0" anchor="ctr"/>
          <a:lstStyle>
            <a:lvl1pPr algn="l">
              <a:defRPr sz="1067">
                <a:solidFill>
                  <a:srgbClr val="7E93A5"/>
                </a:solidFill>
              </a:defRPr>
            </a:lvl1pPr>
          </a:lstStyle>
          <a:p>
            <a:fld id="{332DF002-2E43-485C-89F8-8DCEF59D6C4F}" type="slidenum">
              <a:rPr lang="pl-PL" smtClean="0"/>
              <a:pPr/>
              <a:t>‹#›</a:t>
            </a:fld>
            <a:endParaRPr lang="pl-PL" dirty="0"/>
          </a:p>
        </p:txBody>
      </p:sp>
    </p:spTree>
    <p:extLst>
      <p:ext uri="{BB962C8B-B14F-4D97-AF65-F5344CB8AC3E}">
        <p14:creationId xmlns:p14="http://schemas.microsoft.com/office/powerpoint/2010/main" val="720382168"/>
      </p:ext>
    </p:extLst>
  </p:cSld>
  <p:clrMap bg1="lt1" tx1="dk1" bg2="lt2" tx2="dk2" accent1="accent1" accent2="accent2" accent3="accent3" accent4="accent4" accent5="accent5" accent6="accent6" hlink="hlink" folHlink="folHlink"/>
  <p:sldLayoutIdLst>
    <p:sldLayoutId id="2147484749" r:id="rId1"/>
    <p:sldLayoutId id="2147484750" r:id="rId2"/>
    <p:sldLayoutId id="2147484751" r:id="rId3"/>
    <p:sldLayoutId id="2147484752" r:id="rId4"/>
    <p:sldLayoutId id="2147484753" r:id="rId5"/>
    <p:sldLayoutId id="2147484754" r:id="rId6"/>
    <p:sldLayoutId id="2147484755" r:id="rId7"/>
    <p:sldLayoutId id="2147484756" r:id="rId8"/>
    <p:sldLayoutId id="2147484757" r:id="rId9"/>
    <p:sldLayoutId id="2147484758" r:id="rId10"/>
    <p:sldLayoutId id="2147484759" r:id="rId11"/>
    <p:sldLayoutId id="2147484760" r:id="rId12"/>
    <p:sldLayoutId id="2147484761" r:id="rId13"/>
    <p:sldLayoutId id="2147484762" r:id="rId14"/>
    <p:sldLayoutId id="2147484763" r:id="rId15"/>
    <p:sldLayoutId id="2147484764" r:id="rId16"/>
  </p:sldLayoutIdLst>
  <p:hf hdr="0" ftr="0" dt="0"/>
  <p:txStyles>
    <p:titleStyle>
      <a:lvl1pPr algn="l" defTabSz="914341" rtl="0" eaLnBrk="1" latinLnBrk="0" hangingPunct="1">
        <a:lnSpc>
          <a:spcPct val="90000"/>
        </a:lnSpc>
        <a:spcBef>
          <a:spcPts val="0"/>
        </a:spcBef>
        <a:spcAft>
          <a:spcPts val="0"/>
        </a:spcAft>
        <a:buNone/>
        <a:defRPr sz="3733" b="1" kern="1200" cap="none" baseline="0">
          <a:solidFill>
            <a:schemeClr val="accent1"/>
          </a:solidFill>
          <a:latin typeface="+mj-lt"/>
          <a:ea typeface="+mj-ea"/>
          <a:cs typeface="+mj-cs"/>
        </a:defRPr>
      </a:lvl1pPr>
    </p:titleStyle>
    <p:bodyStyle>
      <a:lvl1pPr marL="359991" indent="-359991" algn="l" defTabSz="914341" rtl="0" eaLnBrk="1" latinLnBrk="0" hangingPunct="1">
        <a:lnSpc>
          <a:spcPct val="82000"/>
        </a:lnSpc>
        <a:spcBef>
          <a:spcPts val="0"/>
        </a:spcBef>
        <a:spcAft>
          <a:spcPts val="1600"/>
        </a:spcAft>
        <a:buSzPct val="80000"/>
        <a:buFont typeface="Wingdings" pitchFamily="2" charset="2"/>
        <a:buChar char="n"/>
        <a:defRPr sz="1867" b="1" kern="1200" cap="none" baseline="0">
          <a:solidFill>
            <a:schemeClr val="accent1"/>
          </a:solidFill>
          <a:latin typeface="+mn-lt"/>
          <a:ea typeface="+mn-ea"/>
          <a:cs typeface="+mn-cs"/>
        </a:defRPr>
      </a:lvl1pPr>
      <a:lvl2pPr marL="815980" indent="-239994" algn="l" defTabSz="914341" rtl="0" eaLnBrk="1" latinLnBrk="0" hangingPunct="1">
        <a:lnSpc>
          <a:spcPct val="82000"/>
        </a:lnSpc>
        <a:spcBef>
          <a:spcPts val="0"/>
        </a:spcBef>
        <a:spcAft>
          <a:spcPts val="1600"/>
        </a:spcAft>
        <a:buSzPct val="100000"/>
        <a:buFont typeface="Wingdings" pitchFamily="2" charset="2"/>
        <a:buChar char="§"/>
        <a:defRPr sz="1867" kern="1200" cap="none">
          <a:solidFill>
            <a:schemeClr val="tx1"/>
          </a:solidFill>
          <a:latin typeface="+mn-lt"/>
          <a:ea typeface="+mn-ea"/>
          <a:cs typeface="+mn-cs"/>
        </a:defRPr>
      </a:lvl2pPr>
      <a:lvl3pPr marL="1391965" indent="-239994" algn="l" defTabSz="914341" rtl="0" eaLnBrk="1" latinLnBrk="0" hangingPunct="1">
        <a:lnSpc>
          <a:spcPct val="82000"/>
        </a:lnSpc>
        <a:spcBef>
          <a:spcPts val="0"/>
        </a:spcBef>
        <a:spcAft>
          <a:spcPts val="1600"/>
        </a:spcAft>
        <a:buClr>
          <a:schemeClr val="accent3"/>
        </a:buClr>
        <a:buSzPct val="100000"/>
        <a:buFont typeface="Wingdings" pitchFamily="2" charset="2"/>
        <a:buChar char="§"/>
        <a:defRPr sz="1867" kern="1200" cap="none">
          <a:solidFill>
            <a:schemeClr val="accent3"/>
          </a:solidFill>
          <a:latin typeface="+mn-lt"/>
          <a:ea typeface="+mn-ea"/>
          <a:cs typeface="+mn-cs"/>
        </a:defRPr>
      </a:lvl3pPr>
      <a:lvl4pPr marL="1967951" indent="-239994" algn="l" defTabSz="914341" rtl="0" eaLnBrk="1" latinLnBrk="0" hangingPunct="1">
        <a:lnSpc>
          <a:spcPct val="82000"/>
        </a:lnSpc>
        <a:spcBef>
          <a:spcPts val="0"/>
        </a:spcBef>
        <a:spcAft>
          <a:spcPts val="1600"/>
        </a:spcAft>
        <a:buClr>
          <a:schemeClr val="accent1"/>
        </a:buClr>
        <a:buSzPct val="100000"/>
        <a:buFont typeface="Wingdings" pitchFamily="2" charset="2"/>
        <a:buChar char="§"/>
        <a:defRPr sz="1867" b="0" kern="1200" cap="none" baseline="0">
          <a:solidFill>
            <a:schemeClr val="tx1"/>
          </a:solidFill>
          <a:latin typeface="+mn-lt"/>
          <a:ea typeface="+mn-ea"/>
          <a:cs typeface="+mn-cs"/>
        </a:defRPr>
      </a:lvl4pPr>
      <a:lvl5pPr marL="2543936" indent="-239994" algn="l" defTabSz="914341" rtl="0" eaLnBrk="1" latinLnBrk="0" hangingPunct="1">
        <a:lnSpc>
          <a:spcPct val="95000"/>
        </a:lnSpc>
        <a:spcBef>
          <a:spcPts val="0"/>
        </a:spcBef>
        <a:spcAft>
          <a:spcPts val="1600"/>
        </a:spcAft>
        <a:buClr>
          <a:schemeClr val="accent1"/>
        </a:buClr>
        <a:buSzPct val="100000"/>
        <a:buFont typeface="Wingdings" pitchFamily="2" charset="2"/>
        <a:buChar char="§"/>
        <a:defRPr sz="1867" kern="1200" cap="none">
          <a:solidFill>
            <a:schemeClr val="tx1"/>
          </a:solidFill>
          <a:latin typeface="+mn-lt"/>
          <a:ea typeface="+mn-ea"/>
          <a:cs typeface="+mn-cs"/>
        </a:defRPr>
      </a:lvl5pPr>
      <a:lvl6pPr marL="2514436"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0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7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4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1" rtl="0" eaLnBrk="1" latinLnBrk="0" hangingPunct="1">
        <a:defRPr sz="1800" kern="1200">
          <a:solidFill>
            <a:schemeClr val="tx1"/>
          </a:solidFill>
          <a:latin typeface="+mn-lt"/>
          <a:ea typeface="+mn-ea"/>
          <a:cs typeface="+mn-cs"/>
        </a:defRPr>
      </a:lvl1pPr>
      <a:lvl2pPr marL="457171" algn="l" defTabSz="914341" rtl="0" eaLnBrk="1" latinLnBrk="0" hangingPunct="1">
        <a:defRPr sz="1800" kern="1200">
          <a:solidFill>
            <a:schemeClr val="tx1"/>
          </a:solidFill>
          <a:latin typeface="+mn-lt"/>
          <a:ea typeface="+mn-ea"/>
          <a:cs typeface="+mn-cs"/>
        </a:defRPr>
      </a:lvl2pPr>
      <a:lvl3pPr marL="914341" algn="l" defTabSz="914341" rtl="0" eaLnBrk="1" latinLnBrk="0" hangingPunct="1">
        <a:defRPr sz="1800" kern="1200">
          <a:solidFill>
            <a:schemeClr val="tx1"/>
          </a:solidFill>
          <a:latin typeface="+mn-lt"/>
          <a:ea typeface="+mn-ea"/>
          <a:cs typeface="+mn-cs"/>
        </a:defRPr>
      </a:lvl3pPr>
      <a:lvl4pPr marL="1371511" algn="l" defTabSz="914341" rtl="0" eaLnBrk="1" latinLnBrk="0" hangingPunct="1">
        <a:defRPr sz="1800" kern="1200">
          <a:solidFill>
            <a:schemeClr val="tx1"/>
          </a:solidFill>
          <a:latin typeface="+mn-lt"/>
          <a:ea typeface="+mn-ea"/>
          <a:cs typeface="+mn-cs"/>
        </a:defRPr>
      </a:lvl4pPr>
      <a:lvl5pPr marL="1828681" algn="l" defTabSz="914341" rtl="0" eaLnBrk="1" latinLnBrk="0" hangingPunct="1">
        <a:defRPr sz="1800" kern="1200">
          <a:solidFill>
            <a:schemeClr val="tx1"/>
          </a:solidFill>
          <a:latin typeface="+mn-lt"/>
          <a:ea typeface="+mn-ea"/>
          <a:cs typeface="+mn-cs"/>
        </a:defRPr>
      </a:lvl5pPr>
      <a:lvl6pPr marL="2285852" algn="l" defTabSz="914341" rtl="0" eaLnBrk="1" latinLnBrk="0" hangingPunct="1">
        <a:defRPr sz="1800" kern="1200">
          <a:solidFill>
            <a:schemeClr val="tx1"/>
          </a:solidFill>
          <a:latin typeface="+mn-lt"/>
          <a:ea typeface="+mn-ea"/>
          <a:cs typeface="+mn-cs"/>
        </a:defRPr>
      </a:lvl6pPr>
      <a:lvl7pPr marL="2743022" algn="l" defTabSz="914341" rtl="0" eaLnBrk="1" latinLnBrk="0" hangingPunct="1">
        <a:defRPr sz="1800" kern="1200">
          <a:solidFill>
            <a:schemeClr val="tx1"/>
          </a:solidFill>
          <a:latin typeface="+mn-lt"/>
          <a:ea typeface="+mn-ea"/>
          <a:cs typeface="+mn-cs"/>
        </a:defRPr>
      </a:lvl7pPr>
      <a:lvl8pPr marL="3200192" algn="l" defTabSz="914341" rtl="0" eaLnBrk="1" latinLnBrk="0" hangingPunct="1">
        <a:defRPr sz="1800" kern="1200">
          <a:solidFill>
            <a:schemeClr val="tx1"/>
          </a:solidFill>
          <a:latin typeface="+mn-lt"/>
          <a:ea typeface="+mn-ea"/>
          <a:cs typeface="+mn-cs"/>
        </a:defRPr>
      </a:lvl8pPr>
      <a:lvl9pPr marL="3657363" algn="l" defTabSz="91434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4708">
          <p15:clr>
            <a:srgbClr val="F26B43"/>
          </p15:clr>
        </p15:guide>
        <p15:guide id="3" pos="183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7.png"/><Relationship Id="rId7" Type="http://schemas.openxmlformats.org/officeDocument/2006/relationships/image" Target="../media/image79.jpeg"/><Relationship Id="rId2" Type="http://schemas.openxmlformats.org/officeDocument/2006/relationships/image" Target="../media/image76.jpeg"/><Relationship Id="rId1" Type="http://schemas.openxmlformats.org/officeDocument/2006/relationships/slideLayout" Target="../slideLayouts/slideLayout140.xml"/><Relationship Id="rId6" Type="http://schemas.microsoft.com/office/2007/relationships/hdphoto" Target="../media/hdphoto2.wdp"/><Relationship Id="rId5" Type="http://schemas.openxmlformats.org/officeDocument/2006/relationships/image" Target="../media/image78.png"/><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15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5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5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50.xml"/></Relationships>
</file>

<file path=ppt/slides/_rels/slide14.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emf"/><Relationship Id="rId1" Type="http://schemas.openxmlformats.org/officeDocument/2006/relationships/slideLayout" Target="../slideLayouts/slideLayout138.xml"/><Relationship Id="rId4" Type="http://schemas.openxmlformats.org/officeDocument/2006/relationships/image" Target="../media/image118.jpeg"/></Relationships>
</file>

<file path=ppt/slides/_rels/slide15.xml.rels><?xml version="1.0" encoding="UTF-8" standalone="yes"?>
<Relationships xmlns="http://schemas.openxmlformats.org/package/2006/relationships"><Relationship Id="rId3" Type="http://schemas.openxmlformats.org/officeDocument/2006/relationships/image" Target="../media/image101.svg"/><Relationship Id="rId2" Type="http://schemas.openxmlformats.org/officeDocument/2006/relationships/image" Target="../media/image100.png"/><Relationship Id="rId1" Type="http://schemas.openxmlformats.org/officeDocument/2006/relationships/slideLayout" Target="../slideLayouts/slideLayout144.xml"/><Relationship Id="rId5" Type="http://schemas.openxmlformats.org/officeDocument/2006/relationships/image" Target="../media/image119.png"/><Relationship Id="rId4" Type="http://schemas.openxmlformats.org/officeDocument/2006/relationships/chart" Target="../charts/chart1.xml"/></Relationships>
</file>

<file path=ppt/slides/_rels/slide16.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50.xml"/></Relationships>
</file>

<file path=ppt/slides/_rels/slide17.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50.xml"/></Relationships>
</file>

<file path=ppt/slides/_rels/slide18.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15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50.xml"/></Relationships>
</file>

<file path=ppt/slides/_rels/slide2.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141.xml"/></Relationships>
</file>

<file path=ppt/slides/_rels/slide20.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Layout" Target="../slideLayouts/slideLayout14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50.xml"/></Relationships>
</file>

<file path=ppt/slides/_rels/slide22.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89.jpeg"/><Relationship Id="rId1" Type="http://schemas.openxmlformats.org/officeDocument/2006/relationships/slideLayout" Target="../slideLayouts/slideLayout150.xml"/></Relationships>
</file>

<file path=ppt/slides/_rels/slide23.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xml"/><Relationship Id="rId1" Type="http://schemas.openxmlformats.org/officeDocument/2006/relationships/slideLayout" Target="../slideLayouts/slideLayout150.xml"/><Relationship Id="rId4" Type="http://schemas.openxmlformats.org/officeDocument/2006/relationships/chart" Target="../charts/chart7.xml"/></Relationships>
</file>

<file path=ppt/slides/_rels/slide24.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2.xml"/><Relationship Id="rId1" Type="http://schemas.openxmlformats.org/officeDocument/2006/relationships/slideLayout" Target="../slideLayouts/slideLayout150.xml"/><Relationship Id="rId4" Type="http://schemas.openxmlformats.org/officeDocument/2006/relationships/chart" Target="../charts/chart9.xml"/></Relationships>
</file>

<file path=ppt/slides/_rels/slide25.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3.xml"/><Relationship Id="rId1" Type="http://schemas.openxmlformats.org/officeDocument/2006/relationships/slideLayout" Target="../slideLayouts/slideLayout150.xml"/><Relationship Id="rId4" Type="http://schemas.openxmlformats.org/officeDocument/2006/relationships/chart" Target="../charts/chart11.xml"/></Relationships>
</file>

<file path=ppt/slides/_rels/slide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7.png"/><Relationship Id="rId1" Type="http://schemas.openxmlformats.org/officeDocument/2006/relationships/slideLayout" Target="../slideLayouts/slideLayout141.xml"/><Relationship Id="rId4" Type="http://schemas.openxmlformats.org/officeDocument/2006/relationships/image" Target="../media/image114.png"/></Relationships>
</file>

<file path=ppt/slides/_rels/slide27.xml.rels><?xml version="1.0" encoding="UTF-8" standalone="yes"?>
<Relationships xmlns="http://schemas.openxmlformats.org/package/2006/relationships"><Relationship Id="rId8" Type="http://schemas.openxmlformats.org/officeDocument/2006/relationships/image" Target="../media/image128.png"/><Relationship Id="rId13" Type="http://schemas.openxmlformats.org/officeDocument/2006/relationships/image" Target="../media/image133.svg"/><Relationship Id="rId18" Type="http://schemas.openxmlformats.org/officeDocument/2006/relationships/image" Target="../media/image138.png"/><Relationship Id="rId3" Type="http://schemas.openxmlformats.org/officeDocument/2006/relationships/image" Target="../media/image123.png"/><Relationship Id="rId7" Type="http://schemas.openxmlformats.org/officeDocument/2006/relationships/image" Target="../media/image127.svg"/><Relationship Id="rId12" Type="http://schemas.openxmlformats.org/officeDocument/2006/relationships/image" Target="../media/image132.png"/><Relationship Id="rId17" Type="http://schemas.openxmlformats.org/officeDocument/2006/relationships/image" Target="../media/image137.svg"/><Relationship Id="rId2" Type="http://schemas.openxmlformats.org/officeDocument/2006/relationships/image" Target="../media/image122.png"/><Relationship Id="rId16" Type="http://schemas.openxmlformats.org/officeDocument/2006/relationships/image" Target="../media/image136.png"/><Relationship Id="rId1" Type="http://schemas.openxmlformats.org/officeDocument/2006/relationships/slideLayout" Target="../slideLayouts/slideLayout150.xml"/><Relationship Id="rId6" Type="http://schemas.openxmlformats.org/officeDocument/2006/relationships/image" Target="../media/image126.png"/><Relationship Id="rId11" Type="http://schemas.openxmlformats.org/officeDocument/2006/relationships/image" Target="../media/image131.svg"/><Relationship Id="rId5" Type="http://schemas.openxmlformats.org/officeDocument/2006/relationships/image" Target="../media/image125.svg"/><Relationship Id="rId15" Type="http://schemas.openxmlformats.org/officeDocument/2006/relationships/image" Target="../media/image135.svg"/><Relationship Id="rId10" Type="http://schemas.openxmlformats.org/officeDocument/2006/relationships/image" Target="../media/image130.png"/><Relationship Id="rId19" Type="http://schemas.openxmlformats.org/officeDocument/2006/relationships/image" Target="../media/image139.svg"/><Relationship Id="rId4" Type="http://schemas.openxmlformats.org/officeDocument/2006/relationships/image" Target="../media/image124.png"/><Relationship Id="rId9" Type="http://schemas.openxmlformats.org/officeDocument/2006/relationships/image" Target="../media/image129.svg"/><Relationship Id="rId14" Type="http://schemas.openxmlformats.org/officeDocument/2006/relationships/image" Target="../media/image134.png"/></Relationships>
</file>

<file path=ppt/slides/_rels/slide28.xml.rels><?xml version="1.0" encoding="UTF-8" standalone="yes"?>
<Relationships xmlns="http://schemas.openxmlformats.org/package/2006/relationships"><Relationship Id="rId3" Type="http://schemas.openxmlformats.org/officeDocument/2006/relationships/image" Target="../media/image141.svg"/><Relationship Id="rId2" Type="http://schemas.openxmlformats.org/officeDocument/2006/relationships/image" Target="../media/image140.png"/><Relationship Id="rId1" Type="http://schemas.openxmlformats.org/officeDocument/2006/relationships/slideLayout" Target="../slideLayouts/slideLayout142.xml"/></Relationships>
</file>

<file path=ppt/slides/_rels/slide29.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image" Target="../media/image122.png"/><Relationship Id="rId1" Type="http://schemas.openxmlformats.org/officeDocument/2006/relationships/slideLayout" Target="../slideLayouts/slideLayout150.xml"/><Relationship Id="rId6" Type="http://schemas.openxmlformats.org/officeDocument/2006/relationships/image" Target="../media/image145.svg"/><Relationship Id="rId5" Type="http://schemas.openxmlformats.org/officeDocument/2006/relationships/image" Target="../media/image144.png"/><Relationship Id="rId4" Type="http://schemas.openxmlformats.org/officeDocument/2006/relationships/image" Target="../media/image143.svg"/></Relationships>
</file>

<file path=ppt/slides/_rels/slide3.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image" Target="../media/image82.jpeg"/><Relationship Id="rId1" Type="http://schemas.openxmlformats.org/officeDocument/2006/relationships/slideLayout" Target="../slideLayouts/slideLayout138.xml"/></Relationships>
</file>

<file path=ppt/slides/_rels/slide3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7.png"/><Relationship Id="rId1" Type="http://schemas.openxmlformats.org/officeDocument/2006/relationships/slideLayout" Target="../slideLayouts/slideLayout141.xml"/><Relationship Id="rId4" Type="http://schemas.openxmlformats.org/officeDocument/2006/relationships/image" Target="../media/image114.png"/></Relationships>
</file>

<file path=ppt/slides/_rels/slide31.xml.rels><?xml version="1.0" encoding="UTF-8" standalone="yes"?>
<Relationships xmlns="http://schemas.openxmlformats.org/package/2006/relationships"><Relationship Id="rId8" Type="http://schemas.openxmlformats.org/officeDocument/2006/relationships/image" Target="../media/image151.png"/><Relationship Id="rId3" Type="http://schemas.openxmlformats.org/officeDocument/2006/relationships/image" Target="../media/image146.png"/><Relationship Id="rId7" Type="http://schemas.openxmlformats.org/officeDocument/2006/relationships/image" Target="../media/image150.png"/><Relationship Id="rId2" Type="http://schemas.openxmlformats.org/officeDocument/2006/relationships/notesSlide" Target="../notesSlides/notesSlide4.xml"/><Relationship Id="rId1" Type="http://schemas.openxmlformats.org/officeDocument/2006/relationships/slideLayout" Target="../slideLayouts/slideLayout153.xml"/><Relationship Id="rId6" Type="http://schemas.openxmlformats.org/officeDocument/2006/relationships/image" Target="../media/image149.png"/><Relationship Id="rId5" Type="http://schemas.openxmlformats.org/officeDocument/2006/relationships/image" Target="../media/image148.png"/><Relationship Id="rId10" Type="http://schemas.openxmlformats.org/officeDocument/2006/relationships/image" Target="../media/image153.png"/><Relationship Id="rId4" Type="http://schemas.openxmlformats.org/officeDocument/2006/relationships/image" Target="../media/image147.png"/><Relationship Id="rId9" Type="http://schemas.openxmlformats.org/officeDocument/2006/relationships/image" Target="../media/image152.png"/></Relationships>
</file>

<file path=ppt/slides/_rels/slide32.xml.rels><?xml version="1.0" encoding="UTF-8" standalone="yes"?>
<Relationships xmlns="http://schemas.openxmlformats.org/package/2006/relationships"><Relationship Id="rId8" Type="http://schemas.openxmlformats.org/officeDocument/2006/relationships/image" Target="../media/image159.svg"/><Relationship Id="rId3" Type="http://schemas.openxmlformats.org/officeDocument/2006/relationships/image" Target="../media/image154.png"/><Relationship Id="rId7" Type="http://schemas.openxmlformats.org/officeDocument/2006/relationships/image" Target="../media/image158.png"/><Relationship Id="rId12" Type="http://schemas.openxmlformats.org/officeDocument/2006/relationships/image" Target="../media/image163.png"/><Relationship Id="rId2" Type="http://schemas.openxmlformats.org/officeDocument/2006/relationships/notesSlide" Target="../notesSlides/notesSlide5.xml"/><Relationship Id="rId1" Type="http://schemas.openxmlformats.org/officeDocument/2006/relationships/slideLayout" Target="../slideLayouts/slideLayout154.xml"/><Relationship Id="rId6" Type="http://schemas.openxmlformats.org/officeDocument/2006/relationships/image" Target="../media/image157.png"/><Relationship Id="rId11" Type="http://schemas.openxmlformats.org/officeDocument/2006/relationships/image" Target="../media/image162.png"/><Relationship Id="rId5" Type="http://schemas.openxmlformats.org/officeDocument/2006/relationships/image" Target="../media/image156.png"/><Relationship Id="rId10" Type="http://schemas.openxmlformats.org/officeDocument/2006/relationships/image" Target="../media/image161.png"/><Relationship Id="rId4" Type="http://schemas.openxmlformats.org/officeDocument/2006/relationships/image" Target="../media/image155.jpeg"/><Relationship Id="rId9" Type="http://schemas.openxmlformats.org/officeDocument/2006/relationships/image" Target="../media/image160.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60.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0.xml"/></Relationships>
</file>

<file path=ppt/slides/_rels/slide4.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138.xml"/></Relationships>
</file>

<file path=ppt/slides/_rels/slide5.xml.rels><?xml version="1.0" encoding="UTF-8" standalone="yes"?>
<Relationships xmlns="http://schemas.openxmlformats.org/package/2006/relationships"><Relationship Id="rId3" Type="http://schemas.openxmlformats.org/officeDocument/2006/relationships/image" Target="../media/image87.png"/><Relationship Id="rId7" Type="http://schemas.openxmlformats.org/officeDocument/2006/relationships/image" Target="../media/image91.svg"/><Relationship Id="rId2" Type="http://schemas.openxmlformats.org/officeDocument/2006/relationships/image" Target="../media/image86.png"/><Relationship Id="rId1" Type="http://schemas.openxmlformats.org/officeDocument/2006/relationships/slideLayout" Target="../slideLayouts/slideLayout150.xml"/><Relationship Id="rId6" Type="http://schemas.openxmlformats.org/officeDocument/2006/relationships/image" Target="../media/image90.png"/><Relationship Id="rId5" Type="http://schemas.openxmlformats.org/officeDocument/2006/relationships/image" Target="../media/image89.jpeg"/><Relationship Id="rId4" Type="http://schemas.openxmlformats.org/officeDocument/2006/relationships/image" Target="../media/image88.svg"/></Relationships>
</file>

<file path=ppt/slides/_rels/slide6.xml.rels><?xml version="1.0" encoding="UTF-8" standalone="yes"?>
<Relationships xmlns="http://schemas.openxmlformats.org/package/2006/relationships"><Relationship Id="rId8" Type="http://schemas.openxmlformats.org/officeDocument/2006/relationships/image" Target="../media/image97.svg"/><Relationship Id="rId13" Type="http://schemas.openxmlformats.org/officeDocument/2006/relationships/image" Target="../media/image102.png"/><Relationship Id="rId18" Type="http://schemas.openxmlformats.org/officeDocument/2006/relationships/image" Target="../media/image107.svg"/><Relationship Id="rId3" Type="http://schemas.openxmlformats.org/officeDocument/2006/relationships/image" Target="../media/image92.png"/><Relationship Id="rId7" Type="http://schemas.openxmlformats.org/officeDocument/2006/relationships/image" Target="../media/image96.png"/><Relationship Id="rId12" Type="http://schemas.openxmlformats.org/officeDocument/2006/relationships/image" Target="../media/image101.svg"/><Relationship Id="rId17" Type="http://schemas.openxmlformats.org/officeDocument/2006/relationships/image" Target="../media/image106.png"/><Relationship Id="rId2" Type="http://schemas.openxmlformats.org/officeDocument/2006/relationships/image" Target="../media/image89.jpeg"/><Relationship Id="rId16" Type="http://schemas.openxmlformats.org/officeDocument/2006/relationships/image" Target="../media/image105.svg"/><Relationship Id="rId1" Type="http://schemas.openxmlformats.org/officeDocument/2006/relationships/slideLayout" Target="../slideLayouts/slideLayout150.xml"/><Relationship Id="rId6" Type="http://schemas.openxmlformats.org/officeDocument/2006/relationships/image" Target="../media/image95.svg"/><Relationship Id="rId11" Type="http://schemas.openxmlformats.org/officeDocument/2006/relationships/image" Target="../media/image100.png"/><Relationship Id="rId5" Type="http://schemas.openxmlformats.org/officeDocument/2006/relationships/image" Target="../media/image94.png"/><Relationship Id="rId15" Type="http://schemas.openxmlformats.org/officeDocument/2006/relationships/image" Target="../media/image104.png"/><Relationship Id="rId10" Type="http://schemas.openxmlformats.org/officeDocument/2006/relationships/image" Target="../media/image99.svg"/><Relationship Id="rId4" Type="http://schemas.openxmlformats.org/officeDocument/2006/relationships/image" Target="../media/image93.svg"/><Relationship Id="rId9" Type="http://schemas.openxmlformats.org/officeDocument/2006/relationships/image" Target="../media/image98.png"/><Relationship Id="rId14" Type="http://schemas.openxmlformats.org/officeDocument/2006/relationships/image" Target="../media/image103.svg"/></Relationships>
</file>

<file path=ppt/slides/_rels/slide7.xml.rels><?xml version="1.0" encoding="UTF-8" standalone="yes"?>
<Relationships xmlns="http://schemas.openxmlformats.org/package/2006/relationships"><Relationship Id="rId2" Type="http://schemas.openxmlformats.org/officeDocument/2006/relationships/image" Target="../media/image89.jpeg"/><Relationship Id="rId1" Type="http://schemas.openxmlformats.org/officeDocument/2006/relationships/slideLayout" Target="../slideLayouts/slideLayout150.xml"/></Relationships>
</file>

<file path=ppt/slides/_rels/slide8.xml.rels><?xml version="1.0" encoding="UTF-8" standalone="yes"?>
<Relationships xmlns="http://schemas.openxmlformats.org/package/2006/relationships"><Relationship Id="rId3" Type="http://schemas.openxmlformats.org/officeDocument/2006/relationships/image" Target="../media/image109.svg"/><Relationship Id="rId7" Type="http://schemas.openxmlformats.org/officeDocument/2006/relationships/image" Target="../media/image113.svg"/><Relationship Id="rId2" Type="http://schemas.openxmlformats.org/officeDocument/2006/relationships/image" Target="../media/image108.png"/><Relationship Id="rId1" Type="http://schemas.openxmlformats.org/officeDocument/2006/relationships/slideLayout" Target="../slideLayouts/slideLayout150.xml"/><Relationship Id="rId6" Type="http://schemas.openxmlformats.org/officeDocument/2006/relationships/image" Target="../media/image112.png"/><Relationship Id="rId5" Type="http://schemas.openxmlformats.org/officeDocument/2006/relationships/image" Target="../media/image111.svg"/><Relationship Id="rId4" Type="http://schemas.openxmlformats.org/officeDocument/2006/relationships/image" Target="../media/image110.png"/></Relationships>
</file>

<file path=ppt/slides/_rels/slide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7.png"/><Relationship Id="rId1" Type="http://schemas.openxmlformats.org/officeDocument/2006/relationships/slideLayout" Target="../slideLayouts/slideLayout141.xml"/><Relationship Id="rId4" Type="http://schemas.openxmlformats.org/officeDocument/2006/relationships/image" Target="../media/image1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ytuł 4">
            <a:extLst>
              <a:ext uri="{FF2B5EF4-FFF2-40B4-BE49-F238E27FC236}">
                <a16:creationId xmlns:a16="http://schemas.microsoft.com/office/drawing/2014/main" id="{0D429662-F346-F63B-C244-51C7FA4228B9}"/>
              </a:ext>
            </a:extLst>
          </p:cNvPr>
          <p:cNvSpPr>
            <a:spLocks noGrp="1"/>
          </p:cNvSpPr>
          <p:nvPr>
            <p:ph type="title"/>
          </p:nvPr>
        </p:nvSpPr>
        <p:spPr>
          <a:xfrm>
            <a:off x="312268" y="2709000"/>
            <a:ext cx="4997672" cy="1440000"/>
          </a:xfrm>
        </p:spPr>
        <p:txBody>
          <a:bodyPr/>
          <a:lstStyle/>
          <a:p>
            <a:pPr>
              <a:lnSpc>
                <a:spcPct val="150000"/>
              </a:lnSpc>
            </a:pPr>
            <a:br>
              <a:rPr lang="pl-PL" sz="3200" dirty="0">
                <a:latin typeface="Arial Black" panose="020B0A04020102020204" pitchFamily="34" charset="0"/>
              </a:rPr>
            </a:br>
            <a:r>
              <a:rPr lang="pl-PL" sz="3200" dirty="0" err="1">
                <a:latin typeface="Arial Black" panose="020B0A04020102020204" pitchFamily="34" charset="0"/>
              </a:rPr>
              <a:t>Omnichannel</a:t>
            </a:r>
            <a:r>
              <a:rPr lang="pl-PL" sz="3200" dirty="0">
                <a:latin typeface="Arial Black" panose="020B0A04020102020204" pitchFamily="34" charset="0"/>
              </a:rPr>
              <a:t> FOCUS</a:t>
            </a:r>
            <a:br>
              <a:rPr lang="pl-PL" sz="3200" dirty="0">
                <a:latin typeface="Arial Black" panose="020B0A04020102020204" pitchFamily="34" charset="0"/>
              </a:rPr>
            </a:br>
            <a:br>
              <a:rPr lang="pl-PL" sz="2667" dirty="0">
                <a:latin typeface="Arial Black" panose="020B0A04020102020204" pitchFamily="34" charset="0"/>
              </a:rPr>
            </a:br>
            <a:br>
              <a:rPr lang="pl-PL" sz="2667" dirty="0">
                <a:latin typeface="Arial Black" panose="020B0A04020102020204" pitchFamily="34" charset="0"/>
              </a:rPr>
            </a:br>
            <a:br>
              <a:rPr lang="pl-PL" sz="2667" dirty="0">
                <a:latin typeface="Arial Black" panose="020B0A04020102020204" pitchFamily="34" charset="0"/>
              </a:rPr>
            </a:br>
            <a:endParaRPr lang="pl-PL" sz="2667" dirty="0">
              <a:solidFill>
                <a:srgbClr val="92D050"/>
              </a:solidFill>
              <a:latin typeface="Arial Black" panose="020B0A04020102020204" pitchFamily="34" charset="0"/>
            </a:endParaRPr>
          </a:p>
        </p:txBody>
      </p:sp>
      <p:sp>
        <p:nvSpPr>
          <p:cNvPr id="6" name="Symbol zastępczy tekstu 5">
            <a:extLst>
              <a:ext uri="{FF2B5EF4-FFF2-40B4-BE49-F238E27FC236}">
                <a16:creationId xmlns:a16="http://schemas.microsoft.com/office/drawing/2014/main" id="{91E26E86-033C-5BF8-CB00-FD9AB57B8F46}"/>
              </a:ext>
            </a:extLst>
          </p:cNvPr>
          <p:cNvSpPr>
            <a:spLocks noGrp="1"/>
          </p:cNvSpPr>
          <p:nvPr>
            <p:ph type="body" sz="quarter" idx="20"/>
          </p:nvPr>
        </p:nvSpPr>
        <p:spPr>
          <a:xfrm>
            <a:off x="312268" y="5349021"/>
            <a:ext cx="4997672" cy="168000"/>
          </a:xfrm>
        </p:spPr>
        <p:txBody>
          <a:bodyPr/>
          <a:lstStyle/>
          <a:p>
            <a:r>
              <a:rPr lang="pl-PL" sz="1600" dirty="0"/>
              <a:t>Wrocław, March 2026</a:t>
            </a:r>
          </a:p>
        </p:txBody>
      </p:sp>
      <p:sp>
        <p:nvSpPr>
          <p:cNvPr id="7" name="Owal 6">
            <a:extLst>
              <a:ext uri="{FF2B5EF4-FFF2-40B4-BE49-F238E27FC236}">
                <a16:creationId xmlns:a16="http://schemas.microsoft.com/office/drawing/2014/main" id="{31B121CC-3CC3-4DDA-9ECA-EB2AA58344BD}"/>
              </a:ext>
            </a:extLst>
          </p:cNvPr>
          <p:cNvSpPr/>
          <p:nvPr/>
        </p:nvSpPr>
        <p:spPr>
          <a:xfrm>
            <a:off x="8912569" y="3064721"/>
            <a:ext cx="2674465" cy="2674465"/>
          </a:xfrm>
          <a:prstGeom prst="ellipse">
            <a:avLst/>
          </a:prstGeom>
          <a:blipFill dpi="0" rotWithShape="1">
            <a:blip r:embed="rId2">
              <a:extLst>
                <a:ext uri="{28A0092B-C50C-407E-A947-70E740481C1C}">
                  <a14:useLocalDpi xmlns:a14="http://schemas.microsoft.com/office/drawing/2010/main" val="0"/>
                </a:ext>
              </a:extLst>
            </a:blip>
            <a:srcRect/>
            <a:stretch>
              <a:fillRect/>
            </a:stretch>
          </a:blipFill>
          <a:ln w="28575" cap="rnd" cmpd="sng" algn="ctr">
            <a:solidFill>
              <a:schemeClr val="bg1">
                <a:lumMod val="85000"/>
              </a:schemeClr>
            </a:solidFill>
            <a:prstDash val="solid"/>
            <a:round/>
            <a:headEnd type="none" w="med" len="med"/>
            <a:tailEnd type="none" w="med" len="med"/>
          </a:ln>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8" name="Owal 7">
            <a:extLst>
              <a:ext uri="{FF2B5EF4-FFF2-40B4-BE49-F238E27FC236}">
                <a16:creationId xmlns:a16="http://schemas.microsoft.com/office/drawing/2014/main" id="{E05839A7-7CAB-4163-936E-FA1545C94DE5}"/>
              </a:ext>
            </a:extLst>
          </p:cNvPr>
          <p:cNvSpPr/>
          <p:nvPr/>
        </p:nvSpPr>
        <p:spPr>
          <a:xfrm>
            <a:off x="5521160" y="2579851"/>
            <a:ext cx="2674465" cy="2674465"/>
          </a:xfrm>
          <a:prstGeom prst="ellipse">
            <a:avLst/>
          </a:prstGeom>
          <a:blipFill dpi="0" rotWithShape="1">
            <a:blip r:embed="rId3">
              <a:extLst>
                <a:ext uri="{BEBA8EAE-BF5A-486C-A8C5-ECC9F3942E4B}">
                  <a14:imgProps xmlns:a14="http://schemas.microsoft.com/office/drawing/2010/main">
                    <a14:imgLayer r:embed="rId4">
                      <a14:imgEffect>
                        <a14:brightnessContrast bright="20000"/>
                      </a14:imgEffect>
                    </a14:imgLayer>
                  </a14:imgProps>
                </a:ext>
                <a:ext uri="{28A0092B-C50C-407E-A947-70E740481C1C}">
                  <a14:useLocalDpi xmlns:a14="http://schemas.microsoft.com/office/drawing/2010/main" val="0"/>
                </a:ext>
              </a:extLst>
            </a:blip>
            <a:srcRect/>
            <a:stretch>
              <a:fillRect/>
            </a:stretch>
          </a:blipFill>
          <a:ln w="28575" cap="rnd" cmpd="sng" algn="ctr">
            <a:solidFill>
              <a:schemeClr val="bg1">
                <a:lumMod val="85000"/>
              </a:schemeClr>
            </a:solidFill>
            <a:prstDash val="solid"/>
            <a:round/>
            <a:headEnd type="none" w="med" len="med"/>
            <a:tailEnd type="none" w="med" len="med"/>
          </a:ln>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9" name="Owal 8">
            <a:extLst>
              <a:ext uri="{FF2B5EF4-FFF2-40B4-BE49-F238E27FC236}">
                <a16:creationId xmlns:a16="http://schemas.microsoft.com/office/drawing/2014/main" id="{A3567347-3ADB-4DED-80B1-EA834D7824E7}"/>
              </a:ext>
            </a:extLst>
          </p:cNvPr>
          <p:cNvSpPr/>
          <p:nvPr/>
        </p:nvSpPr>
        <p:spPr>
          <a:xfrm>
            <a:off x="3914897" y="4011788"/>
            <a:ext cx="2674465" cy="2674465"/>
          </a:xfrm>
          <a:prstGeom prst="ellipse">
            <a:avLst/>
          </a:prstGeom>
          <a:blipFill dpi="0" rotWithShape="1">
            <a:blip r:embed="rId5">
              <a:extLst>
                <a:ext uri="{BEBA8EAE-BF5A-486C-A8C5-ECC9F3942E4B}">
                  <a14:imgProps xmlns:a14="http://schemas.microsoft.com/office/drawing/2010/main">
                    <a14:imgLayer r:embed="rId6">
                      <a14:imgEffect>
                        <a14:brightnessContrast bright="20000"/>
                      </a14:imgEffect>
                    </a14:imgLayer>
                  </a14:imgProps>
                </a:ext>
                <a:ext uri="{28A0092B-C50C-407E-A947-70E740481C1C}">
                  <a14:useLocalDpi xmlns:a14="http://schemas.microsoft.com/office/drawing/2010/main" val="0"/>
                </a:ext>
              </a:extLst>
            </a:blip>
            <a:srcRect/>
            <a:stretch>
              <a:fillRect/>
            </a:stretch>
          </a:blipFill>
          <a:ln w="28575" cap="rnd" cmpd="sng" algn="ctr">
            <a:solidFill>
              <a:schemeClr val="bg1">
                <a:lumMod val="85000"/>
              </a:schemeClr>
            </a:solidFill>
            <a:prstDash val="solid"/>
            <a:round/>
            <a:headEnd type="none" w="med" len="med"/>
            <a:tailEnd type="none" w="med" len="med"/>
          </a:ln>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10" name="Owal 9">
            <a:extLst>
              <a:ext uri="{FF2B5EF4-FFF2-40B4-BE49-F238E27FC236}">
                <a16:creationId xmlns:a16="http://schemas.microsoft.com/office/drawing/2014/main" id="{099D762C-3A36-4DE0-AE86-2F481F3E2E11}"/>
              </a:ext>
            </a:extLst>
          </p:cNvPr>
          <p:cNvSpPr/>
          <p:nvPr/>
        </p:nvSpPr>
        <p:spPr>
          <a:xfrm>
            <a:off x="7994650" y="1013430"/>
            <a:ext cx="2674465" cy="2674465"/>
          </a:xfrm>
          <a:prstGeom prst="ellipse">
            <a:avLst/>
          </a:prstGeom>
          <a:blipFill dpi="0" rotWithShape="1">
            <a:blip r:embed="rId7">
              <a:extLst>
                <a:ext uri="{28A0092B-C50C-407E-A947-70E740481C1C}">
                  <a14:useLocalDpi xmlns:a14="http://schemas.microsoft.com/office/drawing/2010/main" val="0"/>
                </a:ext>
              </a:extLst>
            </a:blip>
            <a:srcRect/>
            <a:stretch>
              <a:fillRect/>
            </a:stretch>
          </a:blipFill>
          <a:ln w="28575" cap="rnd" cmpd="sng" algn="ctr">
            <a:solidFill>
              <a:schemeClr val="bg1">
                <a:lumMod val="85000"/>
              </a:schemeClr>
            </a:solidFill>
            <a:prstDash val="solid"/>
            <a:round/>
            <a:headEnd type="none" w="med" len="med"/>
            <a:tailEnd type="none" w="med" len="med"/>
          </a:ln>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3" name="AutoShape 2">
            <a:extLst>
              <a:ext uri="{FF2B5EF4-FFF2-40B4-BE49-F238E27FC236}">
                <a16:creationId xmlns:a16="http://schemas.microsoft.com/office/drawing/2014/main" id="{8E8A1CA9-5C89-4F81-B623-3874BC913BBA}"/>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a:p>
        </p:txBody>
      </p:sp>
      <p:sp>
        <p:nvSpPr>
          <p:cNvPr id="4" name="AutoShape 4">
            <a:extLst>
              <a:ext uri="{FF2B5EF4-FFF2-40B4-BE49-F238E27FC236}">
                <a16:creationId xmlns:a16="http://schemas.microsoft.com/office/drawing/2014/main" id="{70D380F7-C7C9-42A6-BCA6-68B8AB2D2C3C}"/>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a:p>
        </p:txBody>
      </p:sp>
    </p:spTree>
    <p:extLst>
      <p:ext uri="{BB962C8B-B14F-4D97-AF65-F5344CB8AC3E}">
        <p14:creationId xmlns:p14="http://schemas.microsoft.com/office/powerpoint/2010/main" val="197915393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Prostokąt 85">
            <a:extLst>
              <a:ext uri="{FF2B5EF4-FFF2-40B4-BE49-F238E27FC236}">
                <a16:creationId xmlns:a16="http://schemas.microsoft.com/office/drawing/2014/main" id="{1F5921AE-D1B8-486E-8314-4A7FEF7BB615}"/>
              </a:ext>
            </a:extLst>
          </p:cNvPr>
          <p:cNvSpPr/>
          <p:nvPr/>
        </p:nvSpPr>
        <p:spPr>
          <a:xfrm>
            <a:off x="215936" y="3079360"/>
            <a:ext cx="4345929" cy="308292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67539"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FFFFFF"/>
              </a:solidFill>
              <a:effectLst/>
              <a:uLnTx/>
              <a:uFillTx/>
              <a:latin typeface="Arial"/>
              <a:ea typeface="+mn-ea"/>
              <a:cs typeface="+mn-cs"/>
            </a:endParaRPr>
          </a:p>
        </p:txBody>
      </p:sp>
      <p:sp>
        <p:nvSpPr>
          <p:cNvPr id="42" name="Prostokąt 41">
            <a:extLst>
              <a:ext uri="{FF2B5EF4-FFF2-40B4-BE49-F238E27FC236}">
                <a16:creationId xmlns:a16="http://schemas.microsoft.com/office/drawing/2014/main" id="{44D3D3AE-6B23-49D9-B283-14985BBDA763}"/>
              </a:ext>
            </a:extLst>
          </p:cNvPr>
          <p:cNvSpPr/>
          <p:nvPr/>
        </p:nvSpPr>
        <p:spPr>
          <a:xfrm>
            <a:off x="4775986" y="3056588"/>
            <a:ext cx="4345929" cy="308292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67539"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Rectangle: Rounded Corners 5">
            <a:extLst>
              <a:ext uri="{FF2B5EF4-FFF2-40B4-BE49-F238E27FC236}">
                <a16:creationId xmlns:a16="http://schemas.microsoft.com/office/drawing/2014/main" id="{1BCCFB4D-74E7-4495-ADDD-CF72C7179EB8}"/>
              </a:ext>
            </a:extLst>
          </p:cNvPr>
          <p:cNvSpPr/>
          <p:nvPr/>
        </p:nvSpPr>
        <p:spPr>
          <a:xfrm>
            <a:off x="5375993" y="1044674"/>
            <a:ext cx="2040023" cy="494655"/>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67539" rtl="0" eaLnBrk="1" fontAlgn="auto" latinLnBrk="0" hangingPunct="1">
              <a:lnSpc>
                <a:spcPct val="100000"/>
              </a:lnSpc>
              <a:spcBef>
                <a:spcPts val="0"/>
              </a:spcBef>
              <a:spcAft>
                <a:spcPts val="0"/>
              </a:spcAft>
              <a:buClrTx/>
              <a:buSzTx/>
              <a:buFontTx/>
              <a:buNone/>
              <a:tabLst/>
              <a:defRPr/>
            </a:pPr>
            <a:r>
              <a:rPr kumimoji="0" lang="pl-PL" sz="1467" b="1" i="0" u="none" strike="noStrike" kern="1200" cap="none" spc="0" normalizeH="0" baseline="0" noProof="0" dirty="0">
                <a:ln>
                  <a:noFill/>
                </a:ln>
                <a:solidFill>
                  <a:srgbClr val="FFFFFF"/>
                </a:solidFill>
                <a:effectLst/>
                <a:uLnTx/>
                <a:uFillTx/>
                <a:latin typeface="Arial"/>
                <a:ea typeface="+mn-ea"/>
                <a:cs typeface="+mn-cs"/>
              </a:rPr>
              <a:t>Contact Center </a:t>
            </a:r>
            <a:r>
              <a:rPr kumimoji="0" lang="pl-PL" sz="1467" b="1" i="0" u="none" strike="noStrike" kern="1200" cap="none" spc="0" normalizeH="0" baseline="0" noProof="0" dirty="0" err="1">
                <a:ln>
                  <a:noFill/>
                </a:ln>
                <a:solidFill>
                  <a:srgbClr val="FFFFFF"/>
                </a:solidFill>
                <a:effectLst/>
                <a:uLnTx/>
                <a:uFillTx/>
                <a:latin typeface="Arial"/>
                <a:ea typeface="+mn-ea"/>
                <a:cs typeface="+mn-cs"/>
              </a:rPr>
              <a:t>Department</a:t>
            </a:r>
            <a:endParaRPr kumimoji="0" lang="en-US" sz="1467" b="1" i="0" u="none" strike="noStrike" kern="1200" cap="none" spc="0" normalizeH="0" baseline="0" noProof="0" dirty="0">
              <a:ln>
                <a:noFill/>
              </a:ln>
              <a:solidFill>
                <a:srgbClr val="FFFFFF"/>
              </a:solidFill>
              <a:effectLst/>
              <a:uLnTx/>
              <a:uFillTx/>
              <a:latin typeface="Arial"/>
              <a:ea typeface="+mn-ea"/>
              <a:cs typeface="+mn-cs"/>
            </a:endParaRPr>
          </a:p>
        </p:txBody>
      </p:sp>
      <p:sp>
        <p:nvSpPr>
          <p:cNvPr id="15" name="Rectangle: Rounded Corners 14">
            <a:extLst>
              <a:ext uri="{FF2B5EF4-FFF2-40B4-BE49-F238E27FC236}">
                <a16:creationId xmlns:a16="http://schemas.microsoft.com/office/drawing/2014/main" id="{7F235001-0834-45CD-9CD2-EB50E75CC8F1}"/>
              </a:ext>
            </a:extLst>
          </p:cNvPr>
          <p:cNvSpPr/>
          <p:nvPr/>
        </p:nvSpPr>
        <p:spPr>
          <a:xfrm>
            <a:off x="5986225" y="2803861"/>
            <a:ext cx="1717879" cy="505457"/>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67539" rtl="0" eaLnBrk="1" fontAlgn="auto" latinLnBrk="0" hangingPunct="1">
              <a:lnSpc>
                <a:spcPct val="100000"/>
              </a:lnSpc>
              <a:spcBef>
                <a:spcPts val="0"/>
              </a:spcBef>
              <a:spcAft>
                <a:spcPts val="0"/>
              </a:spcAft>
              <a:buClrTx/>
              <a:buSzTx/>
              <a:buFontTx/>
              <a:buNone/>
              <a:tabLst/>
              <a:defRPr/>
            </a:pPr>
            <a:r>
              <a:rPr kumimoji="0" lang="pl-PL" sz="1467" b="1" i="0" u="none" strike="noStrike" kern="1200" cap="none" spc="0" normalizeH="0" baseline="0" noProof="0" dirty="0">
                <a:ln>
                  <a:noFill/>
                </a:ln>
                <a:solidFill>
                  <a:srgbClr val="FFFFFF"/>
                </a:solidFill>
                <a:effectLst/>
                <a:uLnTx/>
                <a:uFillTx/>
                <a:latin typeface="Arial"/>
                <a:ea typeface="+mn-ea"/>
                <a:cs typeface="+mn-cs"/>
              </a:rPr>
              <a:t>Sales Center</a:t>
            </a:r>
            <a:endParaRPr kumimoji="0" lang="en-US" sz="1467" b="1" i="0" u="none" strike="noStrike" kern="1200" cap="none" spc="0" normalizeH="0" baseline="0" noProof="0" dirty="0">
              <a:ln>
                <a:noFill/>
              </a:ln>
              <a:solidFill>
                <a:srgbClr val="FFFFFF"/>
              </a:solidFill>
              <a:effectLst/>
              <a:uLnTx/>
              <a:uFillTx/>
              <a:latin typeface="Arial"/>
              <a:ea typeface="+mn-ea"/>
              <a:cs typeface="+mn-cs"/>
            </a:endParaRPr>
          </a:p>
        </p:txBody>
      </p:sp>
      <p:sp>
        <p:nvSpPr>
          <p:cNvPr id="21" name="Rectangle: Rounded Corners 20">
            <a:extLst>
              <a:ext uri="{FF2B5EF4-FFF2-40B4-BE49-F238E27FC236}">
                <a16:creationId xmlns:a16="http://schemas.microsoft.com/office/drawing/2014/main" id="{FF09FA36-2137-46BD-8259-17132A23FE99}"/>
              </a:ext>
            </a:extLst>
          </p:cNvPr>
          <p:cNvSpPr/>
          <p:nvPr/>
        </p:nvSpPr>
        <p:spPr>
          <a:xfrm>
            <a:off x="9418178" y="2823896"/>
            <a:ext cx="1717879" cy="505457"/>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67539" rtl="0" eaLnBrk="1" fontAlgn="auto" latinLnBrk="0" hangingPunct="1">
              <a:lnSpc>
                <a:spcPct val="100000"/>
              </a:lnSpc>
              <a:spcBef>
                <a:spcPts val="0"/>
              </a:spcBef>
              <a:spcAft>
                <a:spcPts val="0"/>
              </a:spcAft>
              <a:buClrTx/>
              <a:buSzTx/>
              <a:buFontTx/>
              <a:buNone/>
              <a:tabLst/>
              <a:defRPr/>
            </a:pPr>
            <a:r>
              <a:rPr kumimoji="0" lang="pl-PL" sz="1467" b="1" i="0" u="none" strike="noStrike" kern="1200" cap="none" spc="0" normalizeH="0" baseline="0" noProof="0" dirty="0" err="1">
                <a:ln>
                  <a:noFill/>
                </a:ln>
                <a:solidFill>
                  <a:srgbClr val="FFFFFF"/>
                </a:solidFill>
                <a:effectLst/>
                <a:uLnTx/>
                <a:uFillTx/>
                <a:latin typeface="Arial"/>
                <a:ea typeface="+mn-ea"/>
                <a:cs typeface="+mn-cs"/>
              </a:rPr>
              <a:t>Standards</a:t>
            </a:r>
            <a:r>
              <a:rPr kumimoji="0" lang="pl-PL" sz="1467" b="1" i="0" u="none" strike="noStrike" kern="1200" cap="none" spc="0" normalizeH="0" baseline="0" noProof="0" dirty="0">
                <a:ln>
                  <a:noFill/>
                </a:ln>
                <a:solidFill>
                  <a:srgbClr val="FFFFFF"/>
                </a:solidFill>
                <a:effectLst/>
                <a:uLnTx/>
                <a:uFillTx/>
                <a:latin typeface="Arial"/>
                <a:ea typeface="+mn-ea"/>
                <a:cs typeface="+mn-cs"/>
              </a:rPr>
              <a:t> Management</a:t>
            </a:r>
            <a:endParaRPr kumimoji="0" lang="en-US" sz="1467" b="1" i="0" u="none" strike="noStrike" kern="1200" cap="none" spc="0" normalizeH="0" baseline="0" noProof="0" dirty="0">
              <a:ln>
                <a:noFill/>
              </a:ln>
              <a:solidFill>
                <a:srgbClr val="FFFFFF"/>
              </a:solidFill>
              <a:effectLst/>
              <a:uLnTx/>
              <a:uFillTx/>
              <a:latin typeface="Arial"/>
              <a:ea typeface="+mn-ea"/>
              <a:cs typeface="+mn-cs"/>
            </a:endParaRPr>
          </a:p>
        </p:txBody>
      </p:sp>
      <p:sp>
        <p:nvSpPr>
          <p:cNvPr id="33" name="Rectangle: Rounded Corners 32">
            <a:extLst>
              <a:ext uri="{FF2B5EF4-FFF2-40B4-BE49-F238E27FC236}">
                <a16:creationId xmlns:a16="http://schemas.microsoft.com/office/drawing/2014/main" id="{457A3F17-960E-49FC-87A9-74EE3D35D673}"/>
              </a:ext>
            </a:extLst>
          </p:cNvPr>
          <p:cNvSpPr/>
          <p:nvPr/>
        </p:nvSpPr>
        <p:spPr>
          <a:xfrm>
            <a:off x="2615964" y="3761264"/>
            <a:ext cx="1829177" cy="431744"/>
          </a:xfrm>
          <a:prstGeom prst="roundRect">
            <a:avLst>
              <a:gd name="adj" fmla="val 5000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67539" rtl="0" eaLnBrk="1" fontAlgn="auto" latinLnBrk="0" hangingPunct="1">
              <a:lnSpc>
                <a:spcPct val="100000"/>
              </a:lnSpc>
              <a:spcBef>
                <a:spcPts val="0"/>
              </a:spcBef>
              <a:spcAft>
                <a:spcPts val="0"/>
              </a:spcAft>
              <a:buClrTx/>
              <a:buSzTx/>
              <a:buFontTx/>
              <a:buNone/>
              <a:tabLst/>
              <a:defRPr/>
            </a:pPr>
            <a:r>
              <a:rPr kumimoji="0" lang="pl-PL" sz="1333" b="1" i="0" u="none" strike="noStrike" kern="1200" cap="none" spc="0" normalizeH="0" baseline="0" noProof="0" dirty="0">
                <a:ln>
                  <a:noFill/>
                </a:ln>
                <a:solidFill>
                  <a:srgbClr val="FFFFFF"/>
                </a:solidFill>
                <a:effectLst/>
                <a:uLnTx/>
                <a:uFillTx/>
                <a:latin typeface="Arial"/>
                <a:ea typeface="+mn-ea"/>
                <a:cs typeface="+mn-cs"/>
              </a:rPr>
              <a:t>SECURITY </a:t>
            </a:r>
            <a:r>
              <a:rPr kumimoji="0" lang="pl-PL" sz="1333" b="1" i="0" u="none" strike="noStrike" kern="1200" cap="none" spc="0" normalizeH="0" baseline="0" noProof="0" dirty="0" err="1">
                <a:ln>
                  <a:noFill/>
                </a:ln>
                <a:solidFill>
                  <a:srgbClr val="FFFFFF"/>
                </a:solidFill>
                <a:effectLst/>
                <a:uLnTx/>
                <a:uFillTx/>
                <a:latin typeface="Arial"/>
                <a:ea typeface="+mn-ea"/>
                <a:cs typeface="+mn-cs"/>
              </a:rPr>
              <a:t>actions</a:t>
            </a:r>
            <a:endParaRPr kumimoji="0" lang="en-US" sz="1333" b="1" i="0" u="none" strike="noStrike" kern="1200" cap="none" spc="0" normalizeH="0" baseline="0" noProof="0" dirty="0">
              <a:ln>
                <a:noFill/>
              </a:ln>
              <a:solidFill>
                <a:srgbClr val="FFFFFF"/>
              </a:solidFill>
              <a:effectLst/>
              <a:uLnTx/>
              <a:uFillTx/>
              <a:latin typeface="Arial"/>
              <a:ea typeface="+mn-ea"/>
              <a:cs typeface="+mn-cs"/>
            </a:endParaRPr>
          </a:p>
        </p:txBody>
      </p:sp>
      <p:sp>
        <p:nvSpPr>
          <p:cNvPr id="45" name="Rectangle: Rounded Corners 44">
            <a:extLst>
              <a:ext uri="{FF2B5EF4-FFF2-40B4-BE49-F238E27FC236}">
                <a16:creationId xmlns:a16="http://schemas.microsoft.com/office/drawing/2014/main" id="{F9715FD6-9A92-438F-95F8-686FC88D5DC6}"/>
              </a:ext>
            </a:extLst>
          </p:cNvPr>
          <p:cNvSpPr/>
          <p:nvPr/>
        </p:nvSpPr>
        <p:spPr>
          <a:xfrm>
            <a:off x="306778" y="4404952"/>
            <a:ext cx="1829177" cy="431744"/>
          </a:xfrm>
          <a:prstGeom prst="roundRect">
            <a:avLst>
              <a:gd name="adj" fmla="val 5000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67539" rtl="0" eaLnBrk="1" fontAlgn="auto" latinLnBrk="0" hangingPunct="1">
              <a:lnSpc>
                <a:spcPct val="100000"/>
              </a:lnSpc>
              <a:spcBef>
                <a:spcPts val="0"/>
              </a:spcBef>
              <a:spcAft>
                <a:spcPts val="0"/>
              </a:spcAft>
              <a:buClrTx/>
              <a:buSzTx/>
              <a:buFontTx/>
              <a:buNone/>
              <a:tabLst/>
              <a:defRPr/>
            </a:pPr>
            <a:r>
              <a:rPr kumimoji="0" lang="pl-PL" sz="1333" b="1" i="0" u="none" strike="noStrike" kern="1200" cap="none" spc="0" normalizeH="0" baseline="0" noProof="0" dirty="0">
                <a:ln>
                  <a:noFill/>
                </a:ln>
                <a:solidFill>
                  <a:srgbClr val="FFFFFF"/>
                </a:solidFill>
                <a:effectLst/>
                <a:uLnTx/>
                <a:uFillTx/>
                <a:latin typeface="Arial"/>
                <a:ea typeface="+mn-ea"/>
                <a:cs typeface="+mn-cs"/>
              </a:rPr>
              <a:t>SOHO </a:t>
            </a:r>
            <a:r>
              <a:rPr kumimoji="0" lang="pl-PL" sz="1333" b="1" i="0" u="none" strike="noStrike" kern="1200" cap="none" spc="0" normalizeH="0" baseline="0" noProof="0" dirty="0" err="1">
                <a:ln>
                  <a:noFill/>
                </a:ln>
                <a:solidFill>
                  <a:srgbClr val="FFFFFF"/>
                </a:solidFill>
                <a:effectLst/>
                <a:uLnTx/>
                <a:uFillTx/>
                <a:latin typeface="Arial"/>
                <a:ea typeface="+mn-ea"/>
                <a:cs typeface="+mn-cs"/>
              </a:rPr>
              <a:t>Clients</a:t>
            </a:r>
            <a:endParaRPr kumimoji="0" lang="en-US" sz="1333" b="1" i="0" u="none" strike="noStrike" kern="1200" cap="none" spc="0" normalizeH="0" baseline="0" noProof="0" dirty="0">
              <a:ln>
                <a:noFill/>
              </a:ln>
              <a:solidFill>
                <a:srgbClr val="FFFFFF"/>
              </a:solidFill>
              <a:effectLst/>
              <a:uLnTx/>
              <a:uFillTx/>
              <a:latin typeface="Arial"/>
              <a:ea typeface="+mn-ea"/>
              <a:cs typeface="+mn-cs"/>
            </a:endParaRPr>
          </a:p>
        </p:txBody>
      </p:sp>
      <p:sp>
        <p:nvSpPr>
          <p:cNvPr id="63" name="Symbol zastępczy numeru slajdu 62">
            <a:extLst>
              <a:ext uri="{FF2B5EF4-FFF2-40B4-BE49-F238E27FC236}">
                <a16:creationId xmlns:a16="http://schemas.microsoft.com/office/drawing/2014/main" id="{2B46B365-A628-C72F-EFF2-72E55F14F35F}"/>
              </a:ext>
            </a:extLst>
          </p:cNvPr>
          <p:cNvSpPr>
            <a:spLocks noGrp="1"/>
          </p:cNvSpPr>
          <p:nvPr>
            <p:ph type="sldNum" sz="quarter" idx="10"/>
          </p:nvPr>
        </p:nvSpPr>
        <p:spPr/>
        <p:txBody>
          <a:bodyPr/>
          <a:lstStyle/>
          <a:p>
            <a:pPr marL="0" marR="0" lvl="0" indent="0" algn="l" defTabSz="467539" rtl="0" eaLnBrk="1" fontAlgn="auto" latinLnBrk="0" hangingPunct="1">
              <a:lnSpc>
                <a:spcPct val="100000"/>
              </a:lnSpc>
              <a:spcBef>
                <a:spcPts val="0"/>
              </a:spcBef>
              <a:spcAft>
                <a:spcPts val="0"/>
              </a:spcAft>
              <a:buClrTx/>
              <a:buSzTx/>
              <a:buFontTx/>
              <a:buNone/>
              <a:tabLst/>
              <a:defRPr/>
            </a:pPr>
            <a:fld id="{332DF002-2E43-485C-89F8-8DCEF59D6C4F}" type="slidenum">
              <a:rPr kumimoji="0" lang="pl-PL" sz="1067" b="0" i="0" u="none" strike="noStrike" kern="1200" cap="none" spc="0" normalizeH="0" baseline="0" noProof="0">
                <a:ln>
                  <a:noFill/>
                </a:ln>
                <a:solidFill>
                  <a:srgbClr val="7E93A5"/>
                </a:solidFill>
                <a:effectLst/>
                <a:uLnTx/>
                <a:uFillTx/>
                <a:latin typeface="Arial"/>
                <a:ea typeface="+mn-ea"/>
                <a:cs typeface="+mn-cs"/>
              </a:rPr>
              <a:pPr marL="0" marR="0" lvl="0" indent="0" algn="l" defTabSz="467539" rtl="0" eaLnBrk="1" fontAlgn="auto" latinLnBrk="0" hangingPunct="1">
                <a:lnSpc>
                  <a:spcPct val="100000"/>
                </a:lnSpc>
                <a:spcBef>
                  <a:spcPts val="0"/>
                </a:spcBef>
                <a:spcAft>
                  <a:spcPts val="0"/>
                </a:spcAft>
                <a:buClrTx/>
                <a:buSzTx/>
                <a:buFontTx/>
                <a:buNone/>
                <a:tabLst/>
                <a:defRPr/>
              </a:pPr>
              <a:t>10</a:t>
            </a:fld>
            <a:endParaRPr kumimoji="0" lang="pl-PL" sz="1067" b="0" i="0" u="none" strike="noStrike" kern="1200" cap="none" spc="0" normalizeH="0" baseline="0" noProof="0" dirty="0">
              <a:ln>
                <a:noFill/>
              </a:ln>
              <a:solidFill>
                <a:srgbClr val="7E93A5"/>
              </a:solidFill>
              <a:effectLst/>
              <a:uLnTx/>
              <a:uFillTx/>
              <a:latin typeface="Arial"/>
              <a:ea typeface="+mn-ea"/>
              <a:cs typeface="+mn-cs"/>
            </a:endParaRPr>
          </a:p>
        </p:txBody>
      </p:sp>
      <p:pic>
        <p:nvPicPr>
          <p:cNvPr id="67" name="Obraz 66">
            <a:extLst>
              <a:ext uri="{FF2B5EF4-FFF2-40B4-BE49-F238E27FC236}">
                <a16:creationId xmlns:a16="http://schemas.microsoft.com/office/drawing/2014/main" id="{6EBC5C5C-923D-4DCF-A15F-1A5230B49BF6}"/>
              </a:ext>
            </a:extLst>
          </p:cNvPr>
          <p:cNvPicPr>
            <a:picLocks noChangeAspect="1"/>
          </p:cNvPicPr>
          <p:nvPr/>
        </p:nvPicPr>
        <p:blipFill>
          <a:blip r:embed="rId2"/>
          <a:stretch>
            <a:fillRect/>
          </a:stretch>
        </p:blipFill>
        <p:spPr>
          <a:xfrm flipH="1">
            <a:off x="6096000" y="442016"/>
            <a:ext cx="598293" cy="580765"/>
          </a:xfrm>
          <a:prstGeom prst="rect">
            <a:avLst/>
          </a:prstGeom>
        </p:spPr>
      </p:pic>
      <p:sp>
        <p:nvSpPr>
          <p:cNvPr id="9" name="Rectangle: Rounded Corners 8">
            <a:extLst>
              <a:ext uri="{FF2B5EF4-FFF2-40B4-BE49-F238E27FC236}">
                <a16:creationId xmlns:a16="http://schemas.microsoft.com/office/drawing/2014/main" id="{46667098-2960-49C8-9E2A-E19A61F0AECA}"/>
              </a:ext>
            </a:extLst>
          </p:cNvPr>
          <p:cNvSpPr/>
          <p:nvPr/>
        </p:nvSpPr>
        <p:spPr>
          <a:xfrm>
            <a:off x="1536914" y="2803861"/>
            <a:ext cx="1717879" cy="505457"/>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67539" rtl="0" eaLnBrk="1" fontAlgn="auto" latinLnBrk="0" hangingPunct="1">
              <a:lnSpc>
                <a:spcPct val="100000"/>
              </a:lnSpc>
              <a:spcBef>
                <a:spcPts val="0"/>
              </a:spcBef>
              <a:spcAft>
                <a:spcPts val="0"/>
              </a:spcAft>
              <a:buClrTx/>
              <a:buSzTx/>
              <a:buFontTx/>
              <a:buNone/>
              <a:tabLst/>
              <a:defRPr/>
            </a:pPr>
            <a:r>
              <a:rPr kumimoji="0" lang="pl-PL" sz="1467" b="1" i="0" u="none" strike="noStrike" kern="1200" cap="none" spc="0" normalizeH="0" baseline="0" noProof="0" dirty="0" err="1">
                <a:ln>
                  <a:noFill/>
                </a:ln>
                <a:solidFill>
                  <a:srgbClr val="FFFFFF"/>
                </a:solidFill>
                <a:effectLst/>
                <a:uLnTx/>
                <a:uFillTx/>
                <a:latin typeface="Arial"/>
                <a:ea typeface="+mn-ea"/>
                <a:cs typeface="+mn-cs"/>
              </a:rPr>
              <a:t>Customer</a:t>
            </a:r>
            <a:r>
              <a:rPr kumimoji="0" lang="pl-PL" sz="1467" b="1" i="0" u="none" strike="noStrike" kern="1200" cap="none" spc="0" normalizeH="0" baseline="0" noProof="0" dirty="0">
                <a:ln>
                  <a:noFill/>
                </a:ln>
                <a:solidFill>
                  <a:srgbClr val="FFFFFF"/>
                </a:solidFill>
                <a:effectLst/>
                <a:uLnTx/>
                <a:uFillTx/>
                <a:latin typeface="Arial"/>
                <a:ea typeface="+mn-ea"/>
                <a:cs typeface="+mn-cs"/>
              </a:rPr>
              <a:t> Service Center</a:t>
            </a:r>
            <a:endParaRPr kumimoji="0" lang="en-US" sz="1467" b="1" i="0" u="none" strike="noStrike" kern="1200" cap="none" spc="0" normalizeH="0" baseline="0" noProof="0" dirty="0">
              <a:ln>
                <a:noFill/>
              </a:ln>
              <a:solidFill>
                <a:srgbClr val="FFFFFF"/>
              </a:solidFill>
              <a:effectLst/>
              <a:uLnTx/>
              <a:uFillTx/>
              <a:latin typeface="Arial"/>
              <a:ea typeface="+mn-ea"/>
              <a:cs typeface="+mn-cs"/>
            </a:endParaRPr>
          </a:p>
        </p:txBody>
      </p:sp>
      <p:sp>
        <p:nvSpPr>
          <p:cNvPr id="27" name="Rectangle: Rounded Corners 26">
            <a:extLst>
              <a:ext uri="{FF2B5EF4-FFF2-40B4-BE49-F238E27FC236}">
                <a16:creationId xmlns:a16="http://schemas.microsoft.com/office/drawing/2014/main" id="{700A34AC-D5EB-47CD-A658-D50E456F4B7F}"/>
              </a:ext>
            </a:extLst>
          </p:cNvPr>
          <p:cNvSpPr/>
          <p:nvPr/>
        </p:nvSpPr>
        <p:spPr>
          <a:xfrm>
            <a:off x="306780" y="3761264"/>
            <a:ext cx="1829177" cy="431744"/>
          </a:xfrm>
          <a:prstGeom prst="roundRect">
            <a:avLst>
              <a:gd name="adj" fmla="val 50000"/>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67539" rtl="0" eaLnBrk="1" fontAlgn="auto" latinLnBrk="0" hangingPunct="1">
              <a:lnSpc>
                <a:spcPct val="100000"/>
              </a:lnSpc>
              <a:spcBef>
                <a:spcPts val="0"/>
              </a:spcBef>
              <a:spcAft>
                <a:spcPts val="0"/>
              </a:spcAft>
              <a:buClrTx/>
              <a:buSzTx/>
              <a:buFontTx/>
              <a:buNone/>
              <a:tabLst/>
              <a:defRPr/>
            </a:pPr>
            <a:r>
              <a:rPr kumimoji="0" lang="pl-PL" sz="1333" b="1" i="0" u="none" strike="noStrike" kern="1200" cap="none" spc="0" normalizeH="0" baseline="0" noProof="0" dirty="0">
                <a:ln>
                  <a:noFill/>
                </a:ln>
                <a:solidFill>
                  <a:srgbClr val="FFFFFF"/>
                </a:solidFill>
                <a:effectLst/>
                <a:uLnTx/>
                <a:uFillTx/>
                <a:latin typeface="Arial"/>
                <a:ea typeface="+mn-ea"/>
                <a:cs typeface="+mn-cs"/>
              </a:rPr>
              <a:t>AFTER SALES service</a:t>
            </a:r>
            <a:endParaRPr kumimoji="0" lang="en-US" sz="1333" b="1" i="0" u="none" strike="noStrike" kern="1200" cap="none" spc="0" normalizeH="0" baseline="0" noProof="0" dirty="0">
              <a:ln>
                <a:noFill/>
              </a:ln>
              <a:solidFill>
                <a:srgbClr val="FFFFFF"/>
              </a:solidFill>
              <a:effectLst/>
              <a:uLnTx/>
              <a:uFillTx/>
              <a:latin typeface="Arial"/>
              <a:ea typeface="+mn-ea"/>
              <a:cs typeface="+mn-cs"/>
            </a:endParaRPr>
          </a:p>
        </p:txBody>
      </p:sp>
      <p:sp>
        <p:nvSpPr>
          <p:cNvPr id="39" name="Rectangle: Rounded Corners 38">
            <a:extLst>
              <a:ext uri="{FF2B5EF4-FFF2-40B4-BE49-F238E27FC236}">
                <a16:creationId xmlns:a16="http://schemas.microsoft.com/office/drawing/2014/main" id="{53439E84-4F25-466C-89CC-12C0CA56F20C}"/>
              </a:ext>
            </a:extLst>
          </p:cNvPr>
          <p:cNvSpPr/>
          <p:nvPr/>
        </p:nvSpPr>
        <p:spPr>
          <a:xfrm>
            <a:off x="5015989" y="3738043"/>
            <a:ext cx="1829177" cy="431744"/>
          </a:xfrm>
          <a:prstGeom prst="roundRect">
            <a:avLst>
              <a:gd name="adj" fmla="val 5000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67539" rtl="0" eaLnBrk="1" fontAlgn="auto" latinLnBrk="0" hangingPunct="1">
              <a:lnSpc>
                <a:spcPct val="100000"/>
              </a:lnSpc>
              <a:spcBef>
                <a:spcPts val="0"/>
              </a:spcBef>
              <a:spcAft>
                <a:spcPts val="0"/>
              </a:spcAft>
              <a:buClrTx/>
              <a:buSzTx/>
              <a:buFontTx/>
              <a:buNone/>
              <a:tabLst/>
              <a:defRPr/>
            </a:pPr>
            <a:r>
              <a:rPr kumimoji="0" lang="pl-PL" sz="1333" b="1" i="0" u="none" strike="noStrike" kern="1200" cap="none" spc="0" normalizeH="0" baseline="0" noProof="0" dirty="0">
                <a:ln>
                  <a:noFill/>
                </a:ln>
                <a:solidFill>
                  <a:srgbClr val="FFFFFF"/>
                </a:solidFill>
                <a:effectLst/>
                <a:uLnTx/>
                <a:uFillTx/>
                <a:latin typeface="Arial"/>
                <a:ea typeface="+mn-ea"/>
                <a:cs typeface="+mn-cs"/>
              </a:rPr>
              <a:t>PRIME </a:t>
            </a:r>
            <a:r>
              <a:rPr kumimoji="0" lang="pl-PL" sz="1333" b="1" i="0" u="none" strike="noStrike" kern="1200" cap="none" spc="0" normalizeH="0" baseline="0" noProof="0" dirty="0" err="1">
                <a:ln>
                  <a:noFill/>
                </a:ln>
                <a:solidFill>
                  <a:srgbClr val="FFFFFF"/>
                </a:solidFill>
                <a:effectLst/>
                <a:uLnTx/>
                <a:uFillTx/>
                <a:latin typeface="Arial"/>
                <a:ea typeface="+mn-ea"/>
                <a:cs typeface="+mn-cs"/>
              </a:rPr>
              <a:t>Clients</a:t>
            </a:r>
            <a:endParaRPr kumimoji="0" lang="en-US" sz="1333" b="1" i="0" u="none" strike="noStrike" kern="1200" cap="none" spc="0" normalizeH="0" baseline="0" noProof="0" dirty="0">
              <a:ln>
                <a:noFill/>
              </a:ln>
              <a:solidFill>
                <a:srgbClr val="FFFFFF"/>
              </a:solidFill>
              <a:effectLst/>
              <a:uLnTx/>
              <a:uFillTx/>
              <a:latin typeface="Arial"/>
              <a:ea typeface="+mn-ea"/>
              <a:cs typeface="+mn-cs"/>
            </a:endParaRPr>
          </a:p>
        </p:txBody>
      </p:sp>
      <p:sp>
        <p:nvSpPr>
          <p:cNvPr id="64" name="Tytuł 1">
            <a:extLst>
              <a:ext uri="{FF2B5EF4-FFF2-40B4-BE49-F238E27FC236}">
                <a16:creationId xmlns:a16="http://schemas.microsoft.com/office/drawing/2014/main" id="{DB0317A6-A365-4C9F-80A2-7F76E7E1E7A7}"/>
              </a:ext>
            </a:extLst>
          </p:cNvPr>
          <p:cNvSpPr>
            <a:spLocks noGrp="1"/>
          </p:cNvSpPr>
          <p:nvPr>
            <p:ph type="title"/>
          </p:nvPr>
        </p:nvSpPr>
        <p:spPr>
          <a:xfrm>
            <a:off x="170114" y="250608"/>
            <a:ext cx="5481185" cy="753532"/>
          </a:xfrm>
        </p:spPr>
        <p:txBody>
          <a:bodyPr vert="horz" lIns="0" tIns="0" rIns="0" bIns="0" rtlCol="0" anchor="b" anchorCtr="0">
            <a:noAutofit/>
          </a:bodyPr>
          <a:lstStyle/>
          <a:p>
            <a:r>
              <a:rPr lang="pl-PL" sz="3200" dirty="0">
                <a:latin typeface="Arial Black" panose="020B0A04020102020204" pitchFamily="34" charset="0"/>
              </a:rPr>
              <a:t>Contact Center</a:t>
            </a:r>
            <a:br>
              <a:rPr lang="pl-PL" sz="3200" dirty="0">
                <a:latin typeface="Arial Black" panose="020B0A04020102020204" pitchFamily="34" charset="0"/>
              </a:rPr>
            </a:br>
            <a:r>
              <a:rPr lang="pl-PL" sz="2400" dirty="0" err="1">
                <a:solidFill>
                  <a:schemeClr val="bg2"/>
                </a:solidFill>
                <a:latin typeface="Arial Black" panose="020B0A04020102020204" pitchFamily="34" charset="0"/>
              </a:rPr>
              <a:t>our</a:t>
            </a:r>
            <a:r>
              <a:rPr lang="pl-PL" sz="2400" dirty="0">
                <a:solidFill>
                  <a:schemeClr val="bg2"/>
                </a:solidFill>
                <a:latin typeface="Arial Black" panose="020B0A04020102020204" pitchFamily="34" charset="0"/>
              </a:rPr>
              <a:t> </a:t>
            </a:r>
            <a:r>
              <a:rPr lang="pl-PL" sz="2400" dirty="0" err="1">
                <a:solidFill>
                  <a:schemeClr val="bg2"/>
                </a:solidFill>
                <a:latin typeface="Arial Black" panose="020B0A04020102020204" pitchFamily="34" charset="0"/>
              </a:rPr>
              <a:t>structure</a:t>
            </a:r>
            <a:r>
              <a:rPr lang="pl-PL" sz="2400" dirty="0">
                <a:solidFill>
                  <a:schemeClr val="bg2"/>
                </a:solidFill>
                <a:latin typeface="Arial Black" panose="020B0A04020102020204" pitchFamily="34" charset="0"/>
              </a:rPr>
              <a:t> </a:t>
            </a:r>
            <a:r>
              <a:rPr lang="pl-PL" sz="2400" dirty="0" err="1">
                <a:solidFill>
                  <a:schemeClr val="bg2"/>
                </a:solidFill>
                <a:latin typeface="Arial Black" panose="020B0A04020102020204" pitchFamily="34" charset="0"/>
              </a:rPr>
              <a:t>before</a:t>
            </a:r>
            <a:r>
              <a:rPr lang="pl-PL" sz="2400" dirty="0">
                <a:solidFill>
                  <a:schemeClr val="bg2"/>
                </a:solidFill>
                <a:latin typeface="Arial Black" panose="020B0A04020102020204" pitchFamily="34" charset="0"/>
              </a:rPr>
              <a:t> 2025</a:t>
            </a:r>
            <a:endParaRPr lang="pl-PL" sz="2667" dirty="0">
              <a:solidFill>
                <a:schemeClr val="bg2"/>
              </a:solidFill>
              <a:latin typeface="Arial Black" panose="020B0A04020102020204" pitchFamily="34" charset="0"/>
            </a:endParaRPr>
          </a:p>
        </p:txBody>
      </p:sp>
      <p:sp>
        <p:nvSpPr>
          <p:cNvPr id="65" name="Rectangle: Rounded Corners 38">
            <a:extLst>
              <a:ext uri="{FF2B5EF4-FFF2-40B4-BE49-F238E27FC236}">
                <a16:creationId xmlns:a16="http://schemas.microsoft.com/office/drawing/2014/main" id="{EAC7793D-DD52-4766-B9D4-B60B4A1D90FF}"/>
              </a:ext>
            </a:extLst>
          </p:cNvPr>
          <p:cNvSpPr/>
          <p:nvPr/>
        </p:nvSpPr>
        <p:spPr>
          <a:xfrm>
            <a:off x="6021421" y="5059132"/>
            <a:ext cx="1829177" cy="431744"/>
          </a:xfrm>
          <a:prstGeom prst="roundRect">
            <a:avLst>
              <a:gd name="adj" fmla="val 5000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67539" rtl="0" eaLnBrk="1" fontAlgn="auto" latinLnBrk="0" hangingPunct="1">
              <a:lnSpc>
                <a:spcPct val="100000"/>
              </a:lnSpc>
              <a:spcBef>
                <a:spcPts val="0"/>
              </a:spcBef>
              <a:spcAft>
                <a:spcPts val="0"/>
              </a:spcAft>
              <a:buClrTx/>
              <a:buSzTx/>
              <a:buFontTx/>
              <a:buNone/>
              <a:tabLst/>
              <a:defRPr/>
            </a:pPr>
            <a:r>
              <a:rPr kumimoji="0" lang="pl-PL" sz="1333" b="1" i="0" u="none" strike="noStrike" kern="1200" cap="none" spc="0" normalizeH="0" baseline="0" noProof="0" dirty="0">
                <a:ln>
                  <a:noFill/>
                </a:ln>
                <a:solidFill>
                  <a:srgbClr val="FFFFFF"/>
                </a:solidFill>
                <a:effectLst/>
                <a:uLnTx/>
                <a:uFillTx/>
                <a:latin typeface="Arial"/>
                <a:ea typeface="+mn-ea"/>
                <a:cs typeface="+mn-cs"/>
              </a:rPr>
              <a:t>REMOTE </a:t>
            </a:r>
            <a:r>
              <a:rPr kumimoji="0" lang="pl-PL" sz="1333" b="1" i="0" u="none" strike="noStrike" kern="1200" cap="none" spc="0" normalizeH="0" baseline="0" noProof="0" dirty="0" err="1">
                <a:ln>
                  <a:noFill/>
                </a:ln>
                <a:solidFill>
                  <a:srgbClr val="FFFFFF"/>
                </a:solidFill>
                <a:effectLst/>
                <a:uLnTx/>
                <a:uFillTx/>
                <a:latin typeface="Arial"/>
                <a:ea typeface="+mn-ea"/>
                <a:cs typeface="+mn-cs"/>
              </a:rPr>
              <a:t>Branch</a:t>
            </a:r>
            <a:endParaRPr kumimoji="0" lang="en-US" sz="1333" b="1" i="0" u="none" strike="noStrike" kern="1200" cap="none" spc="0" normalizeH="0" baseline="0" noProof="0" dirty="0">
              <a:ln>
                <a:noFill/>
              </a:ln>
              <a:solidFill>
                <a:srgbClr val="FFFFFF"/>
              </a:solidFill>
              <a:effectLst/>
              <a:uLnTx/>
              <a:uFillTx/>
              <a:latin typeface="Arial"/>
              <a:ea typeface="+mn-ea"/>
              <a:cs typeface="+mn-cs"/>
            </a:endParaRPr>
          </a:p>
        </p:txBody>
      </p:sp>
      <p:sp>
        <p:nvSpPr>
          <p:cNvPr id="10" name="Prostokąt: zaokrąglone rogi 9">
            <a:extLst>
              <a:ext uri="{FF2B5EF4-FFF2-40B4-BE49-F238E27FC236}">
                <a16:creationId xmlns:a16="http://schemas.microsoft.com/office/drawing/2014/main" id="{DFB66C7A-31D4-4721-9E0C-C881417C0256}"/>
              </a:ext>
            </a:extLst>
          </p:cNvPr>
          <p:cNvSpPr/>
          <p:nvPr/>
        </p:nvSpPr>
        <p:spPr>
          <a:xfrm>
            <a:off x="8448361" y="282307"/>
            <a:ext cx="1054131" cy="464135"/>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67539" rtl="0" eaLnBrk="1" fontAlgn="auto" latinLnBrk="0" hangingPunct="1">
              <a:lnSpc>
                <a:spcPct val="100000"/>
              </a:lnSpc>
              <a:spcBef>
                <a:spcPts val="0"/>
              </a:spcBef>
              <a:spcAft>
                <a:spcPts val="0"/>
              </a:spcAft>
              <a:buClrTx/>
              <a:buSzTx/>
              <a:buFontTx/>
              <a:buNone/>
              <a:tabLst/>
              <a:defRPr/>
            </a:pPr>
            <a:r>
              <a:rPr kumimoji="0" lang="pl-PL" sz="1333" b="0" i="0" u="none" strike="noStrike" kern="1200" cap="none" spc="0" normalizeH="0" baseline="0" noProof="0" dirty="0" err="1">
                <a:ln>
                  <a:noFill/>
                </a:ln>
                <a:solidFill>
                  <a:srgbClr val="FFFFFF"/>
                </a:solidFill>
                <a:effectLst/>
                <a:uLnTx/>
                <a:uFillTx/>
                <a:latin typeface="Arial"/>
                <a:ea typeface="+mn-ea"/>
                <a:cs typeface="+mn-cs"/>
              </a:rPr>
              <a:t>inbound</a:t>
            </a:r>
            <a:endParaRPr kumimoji="0" lang="pl-PL" sz="1333" b="0" i="0" u="none" strike="noStrike" kern="1200" cap="none" spc="0" normalizeH="0" baseline="0" noProof="0" dirty="0">
              <a:ln>
                <a:noFill/>
              </a:ln>
              <a:solidFill>
                <a:srgbClr val="FFFFFF"/>
              </a:solidFill>
              <a:effectLst/>
              <a:uLnTx/>
              <a:uFillTx/>
              <a:latin typeface="Arial"/>
              <a:ea typeface="+mn-ea"/>
              <a:cs typeface="+mn-cs"/>
            </a:endParaRPr>
          </a:p>
        </p:txBody>
      </p:sp>
      <p:sp>
        <p:nvSpPr>
          <p:cNvPr id="66" name="Prostokąt: zaokrąglone rogi 65">
            <a:extLst>
              <a:ext uri="{FF2B5EF4-FFF2-40B4-BE49-F238E27FC236}">
                <a16:creationId xmlns:a16="http://schemas.microsoft.com/office/drawing/2014/main" id="{E5F80454-8A42-4DCF-BBC2-C00A5E3EC1BA}"/>
              </a:ext>
            </a:extLst>
          </p:cNvPr>
          <p:cNvSpPr/>
          <p:nvPr/>
        </p:nvSpPr>
        <p:spPr>
          <a:xfrm>
            <a:off x="9648374" y="280006"/>
            <a:ext cx="1054131" cy="464135"/>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67539" rtl="0" eaLnBrk="1" fontAlgn="auto" latinLnBrk="0" hangingPunct="1">
              <a:lnSpc>
                <a:spcPct val="100000"/>
              </a:lnSpc>
              <a:spcBef>
                <a:spcPts val="0"/>
              </a:spcBef>
              <a:spcAft>
                <a:spcPts val="0"/>
              </a:spcAft>
              <a:buClrTx/>
              <a:buSzTx/>
              <a:buFontTx/>
              <a:buNone/>
              <a:tabLst/>
              <a:defRPr/>
            </a:pPr>
            <a:r>
              <a:rPr kumimoji="0" lang="pl-PL" sz="1333" b="0" i="0" u="none" strike="noStrike" kern="1200" cap="none" spc="0" normalizeH="0" baseline="0" noProof="0" dirty="0" err="1">
                <a:ln>
                  <a:noFill/>
                </a:ln>
                <a:solidFill>
                  <a:srgbClr val="FFFFFF"/>
                </a:solidFill>
                <a:effectLst/>
                <a:uLnTx/>
                <a:uFillTx/>
                <a:latin typeface="Arial"/>
                <a:ea typeface="+mn-ea"/>
                <a:cs typeface="+mn-cs"/>
              </a:rPr>
              <a:t>outbound</a:t>
            </a:r>
            <a:endParaRPr kumimoji="0" lang="pl-PL" sz="1333" b="0" i="0" u="none" strike="noStrike" kern="1200" cap="none" spc="0" normalizeH="0" baseline="0" noProof="0" dirty="0">
              <a:ln>
                <a:noFill/>
              </a:ln>
              <a:solidFill>
                <a:srgbClr val="FFFFFF"/>
              </a:solidFill>
              <a:effectLst/>
              <a:uLnTx/>
              <a:uFillTx/>
              <a:latin typeface="Arial"/>
              <a:ea typeface="+mn-ea"/>
              <a:cs typeface="+mn-cs"/>
            </a:endParaRPr>
          </a:p>
        </p:txBody>
      </p:sp>
      <p:sp>
        <p:nvSpPr>
          <p:cNvPr id="68" name="Prostokąt: zaokrąglone rogi 67">
            <a:extLst>
              <a:ext uri="{FF2B5EF4-FFF2-40B4-BE49-F238E27FC236}">
                <a16:creationId xmlns:a16="http://schemas.microsoft.com/office/drawing/2014/main" id="{977B1CF5-EFC8-4770-AA9B-6DF54622BDBB}"/>
              </a:ext>
            </a:extLst>
          </p:cNvPr>
          <p:cNvSpPr/>
          <p:nvPr/>
        </p:nvSpPr>
        <p:spPr>
          <a:xfrm>
            <a:off x="10826032" y="280006"/>
            <a:ext cx="1054131" cy="464135"/>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67539"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err="1">
                <a:ln>
                  <a:noFill/>
                </a:ln>
                <a:solidFill>
                  <a:srgbClr val="FFFFFF"/>
                </a:solidFill>
                <a:effectLst/>
                <a:uLnTx/>
                <a:uFillTx/>
                <a:latin typeface="Arial"/>
                <a:ea typeface="+mn-ea"/>
                <a:cs typeface="+mn-cs"/>
              </a:rPr>
              <a:t>inbound</a:t>
            </a:r>
            <a:r>
              <a:rPr kumimoji="0" lang="pl-PL" sz="1200" b="0" i="0" u="none" strike="noStrike" kern="1200" cap="none" spc="0" normalizeH="0" baseline="0" noProof="0" dirty="0">
                <a:ln>
                  <a:noFill/>
                </a:ln>
                <a:solidFill>
                  <a:srgbClr val="FFFFFF"/>
                </a:solidFill>
                <a:effectLst/>
                <a:uLnTx/>
                <a:uFillTx/>
                <a:latin typeface="Arial"/>
                <a:ea typeface="+mn-ea"/>
                <a:cs typeface="+mn-cs"/>
              </a:rPr>
              <a:t> &amp; </a:t>
            </a:r>
            <a:r>
              <a:rPr kumimoji="0" lang="pl-PL" sz="1200" b="0" i="0" u="none" strike="noStrike" kern="1200" cap="none" spc="0" normalizeH="0" baseline="0" noProof="0" dirty="0" err="1">
                <a:ln>
                  <a:noFill/>
                </a:ln>
                <a:solidFill>
                  <a:srgbClr val="FFFFFF"/>
                </a:solidFill>
                <a:effectLst/>
                <a:uLnTx/>
                <a:uFillTx/>
                <a:latin typeface="Arial"/>
                <a:ea typeface="+mn-ea"/>
                <a:cs typeface="+mn-cs"/>
              </a:rPr>
              <a:t>outbound</a:t>
            </a:r>
            <a:endParaRPr kumimoji="0" lang="pl-PL"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69" name="Rectangle: Rounded Corners 38">
            <a:extLst>
              <a:ext uri="{FF2B5EF4-FFF2-40B4-BE49-F238E27FC236}">
                <a16:creationId xmlns:a16="http://schemas.microsoft.com/office/drawing/2014/main" id="{CFD8D13E-3BA2-479A-BD9F-128A56642BCF}"/>
              </a:ext>
            </a:extLst>
          </p:cNvPr>
          <p:cNvSpPr/>
          <p:nvPr/>
        </p:nvSpPr>
        <p:spPr>
          <a:xfrm>
            <a:off x="5012660" y="4411652"/>
            <a:ext cx="1829177" cy="431744"/>
          </a:xfrm>
          <a:prstGeom prst="roundRect">
            <a:avLst>
              <a:gd name="adj" fmla="val 5000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67539" rtl="0" eaLnBrk="1" fontAlgn="auto" latinLnBrk="0" hangingPunct="1">
              <a:lnSpc>
                <a:spcPct val="100000"/>
              </a:lnSpc>
              <a:spcBef>
                <a:spcPts val="0"/>
              </a:spcBef>
              <a:spcAft>
                <a:spcPts val="0"/>
              </a:spcAft>
              <a:buClrTx/>
              <a:buSzTx/>
              <a:buFontTx/>
              <a:buNone/>
              <a:tabLst/>
              <a:defRPr/>
            </a:pPr>
            <a:r>
              <a:rPr kumimoji="0" lang="pl-PL" sz="1333" b="1" i="0" u="none" strike="noStrike" kern="1200" cap="none" spc="0" normalizeH="0" baseline="0" noProof="0" dirty="0">
                <a:ln>
                  <a:noFill/>
                </a:ln>
                <a:solidFill>
                  <a:srgbClr val="FFFFFF"/>
                </a:solidFill>
                <a:effectLst/>
                <a:uLnTx/>
                <a:uFillTx/>
                <a:latin typeface="Arial"/>
                <a:ea typeface="+mn-ea"/>
                <a:cs typeface="+mn-cs"/>
              </a:rPr>
              <a:t>SALES</a:t>
            </a:r>
            <a:endParaRPr kumimoji="0" lang="en-US" sz="1333" b="1" i="0" u="none" strike="noStrike" kern="1200" cap="none" spc="0" normalizeH="0" baseline="0" noProof="0" dirty="0">
              <a:ln>
                <a:noFill/>
              </a:ln>
              <a:solidFill>
                <a:srgbClr val="FFFFFF"/>
              </a:solidFill>
              <a:effectLst/>
              <a:uLnTx/>
              <a:uFillTx/>
              <a:latin typeface="Arial"/>
              <a:ea typeface="+mn-ea"/>
              <a:cs typeface="+mn-cs"/>
            </a:endParaRPr>
          </a:p>
        </p:txBody>
      </p:sp>
      <p:sp>
        <p:nvSpPr>
          <p:cNvPr id="76" name="Rectangle: Rounded Corners 38">
            <a:extLst>
              <a:ext uri="{FF2B5EF4-FFF2-40B4-BE49-F238E27FC236}">
                <a16:creationId xmlns:a16="http://schemas.microsoft.com/office/drawing/2014/main" id="{546D4103-F333-4C07-A59D-9E4D19EEE629}"/>
              </a:ext>
            </a:extLst>
          </p:cNvPr>
          <p:cNvSpPr/>
          <p:nvPr/>
        </p:nvSpPr>
        <p:spPr>
          <a:xfrm>
            <a:off x="6932681" y="4418568"/>
            <a:ext cx="1829177" cy="431744"/>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67539" rtl="0" eaLnBrk="1" fontAlgn="auto" latinLnBrk="0" hangingPunct="1">
              <a:lnSpc>
                <a:spcPct val="100000"/>
              </a:lnSpc>
              <a:spcBef>
                <a:spcPts val="0"/>
              </a:spcBef>
              <a:spcAft>
                <a:spcPts val="0"/>
              </a:spcAft>
              <a:buClrTx/>
              <a:buSzTx/>
              <a:buFontTx/>
              <a:buNone/>
              <a:tabLst/>
              <a:defRPr/>
            </a:pPr>
            <a:r>
              <a:rPr kumimoji="0" lang="pl-PL" sz="1333" b="1" i="0" u="none" strike="noStrike" kern="1200" cap="none" spc="0" normalizeH="0" baseline="0" noProof="0" dirty="0">
                <a:ln>
                  <a:noFill/>
                </a:ln>
                <a:solidFill>
                  <a:srgbClr val="FFFFFF"/>
                </a:solidFill>
                <a:effectLst/>
                <a:uLnTx/>
                <a:uFillTx/>
                <a:latin typeface="Arial"/>
                <a:ea typeface="+mn-ea"/>
                <a:cs typeface="+mn-cs"/>
              </a:rPr>
              <a:t>RETENTION </a:t>
            </a:r>
            <a:r>
              <a:rPr kumimoji="0" lang="pl-PL" sz="1333" b="1" i="0" u="none" strike="noStrike" kern="1200" cap="none" spc="0" normalizeH="0" baseline="0" noProof="0" dirty="0" err="1">
                <a:ln>
                  <a:noFill/>
                </a:ln>
                <a:solidFill>
                  <a:srgbClr val="FFFFFF"/>
                </a:solidFill>
                <a:effectLst/>
                <a:uLnTx/>
                <a:uFillTx/>
                <a:latin typeface="Arial"/>
                <a:ea typeface="+mn-ea"/>
                <a:cs typeface="+mn-cs"/>
              </a:rPr>
              <a:t>campaigns</a:t>
            </a:r>
            <a:endParaRPr kumimoji="0" lang="en-US" sz="1333" b="1" i="0" u="none" strike="noStrike" kern="1200" cap="none" spc="0" normalizeH="0" baseline="0" noProof="0" dirty="0">
              <a:ln>
                <a:noFill/>
              </a:ln>
              <a:solidFill>
                <a:srgbClr val="FFFFFF"/>
              </a:solidFill>
              <a:effectLst/>
              <a:uLnTx/>
              <a:uFillTx/>
              <a:latin typeface="Arial"/>
              <a:ea typeface="+mn-ea"/>
              <a:cs typeface="+mn-cs"/>
            </a:endParaRPr>
          </a:p>
        </p:txBody>
      </p:sp>
      <p:sp>
        <p:nvSpPr>
          <p:cNvPr id="79" name="Rectangle: Rounded Corners 32">
            <a:extLst>
              <a:ext uri="{FF2B5EF4-FFF2-40B4-BE49-F238E27FC236}">
                <a16:creationId xmlns:a16="http://schemas.microsoft.com/office/drawing/2014/main" id="{E29F0A71-337F-41BD-96F9-201B115F09CF}"/>
              </a:ext>
            </a:extLst>
          </p:cNvPr>
          <p:cNvSpPr/>
          <p:nvPr/>
        </p:nvSpPr>
        <p:spPr>
          <a:xfrm>
            <a:off x="2615962" y="4409904"/>
            <a:ext cx="1829177" cy="431744"/>
          </a:xfrm>
          <a:prstGeom prst="roundRect">
            <a:avLst>
              <a:gd name="adj" fmla="val 50000"/>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67539" rtl="0" eaLnBrk="1" fontAlgn="auto" latinLnBrk="0" hangingPunct="1">
              <a:lnSpc>
                <a:spcPct val="100000"/>
              </a:lnSpc>
              <a:spcBef>
                <a:spcPts val="0"/>
              </a:spcBef>
              <a:spcAft>
                <a:spcPts val="0"/>
              </a:spcAft>
              <a:buClrTx/>
              <a:buSzTx/>
              <a:buFontTx/>
              <a:buNone/>
              <a:tabLst/>
              <a:defRPr/>
            </a:pPr>
            <a:r>
              <a:rPr kumimoji="0" lang="pl-PL" sz="1333" b="1" i="0" u="none" strike="noStrike" kern="1200" cap="none" spc="0" normalizeH="0" baseline="0" noProof="0" dirty="0">
                <a:ln>
                  <a:noFill/>
                </a:ln>
                <a:solidFill>
                  <a:srgbClr val="FFFFFF"/>
                </a:solidFill>
                <a:effectLst/>
                <a:uLnTx/>
                <a:uFillTx/>
                <a:latin typeface="Arial"/>
                <a:ea typeface="+mn-ea"/>
                <a:cs typeface="+mn-cs"/>
              </a:rPr>
              <a:t>CHATS</a:t>
            </a:r>
            <a:endParaRPr kumimoji="0" lang="en-US" sz="1333" b="1" i="0" u="none" strike="noStrike" kern="1200" cap="none" spc="0" normalizeH="0" baseline="0" noProof="0" dirty="0">
              <a:ln>
                <a:noFill/>
              </a:ln>
              <a:solidFill>
                <a:srgbClr val="FFFFFF"/>
              </a:solidFill>
              <a:effectLst/>
              <a:uLnTx/>
              <a:uFillTx/>
              <a:latin typeface="Arial"/>
              <a:ea typeface="+mn-ea"/>
              <a:cs typeface="+mn-cs"/>
            </a:endParaRPr>
          </a:p>
        </p:txBody>
      </p:sp>
      <p:sp>
        <p:nvSpPr>
          <p:cNvPr id="80" name="Rectangle: Rounded Corners 32">
            <a:extLst>
              <a:ext uri="{FF2B5EF4-FFF2-40B4-BE49-F238E27FC236}">
                <a16:creationId xmlns:a16="http://schemas.microsoft.com/office/drawing/2014/main" id="{AF87FBE2-1C4D-4874-96B9-75F644907018}"/>
              </a:ext>
            </a:extLst>
          </p:cNvPr>
          <p:cNvSpPr/>
          <p:nvPr/>
        </p:nvSpPr>
        <p:spPr>
          <a:xfrm>
            <a:off x="2653136" y="5059132"/>
            <a:ext cx="1829177" cy="431744"/>
          </a:xfrm>
          <a:prstGeom prst="roundRect">
            <a:avLst>
              <a:gd name="adj" fmla="val 50000"/>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67539" rtl="0" eaLnBrk="1" fontAlgn="auto" latinLnBrk="0" hangingPunct="1">
              <a:lnSpc>
                <a:spcPct val="100000"/>
              </a:lnSpc>
              <a:spcBef>
                <a:spcPts val="0"/>
              </a:spcBef>
              <a:spcAft>
                <a:spcPts val="0"/>
              </a:spcAft>
              <a:buClrTx/>
              <a:buSzTx/>
              <a:buFontTx/>
              <a:buNone/>
              <a:tabLst/>
              <a:defRPr/>
            </a:pPr>
            <a:r>
              <a:rPr kumimoji="0" lang="pl-PL" sz="1333" b="1" i="0" u="none" strike="noStrike" kern="1200" cap="none" spc="0" normalizeH="0" baseline="0" noProof="0" dirty="0">
                <a:ln>
                  <a:noFill/>
                </a:ln>
                <a:solidFill>
                  <a:srgbClr val="FFFFFF"/>
                </a:solidFill>
                <a:effectLst/>
                <a:uLnTx/>
                <a:uFillTx/>
                <a:latin typeface="Arial"/>
                <a:ea typeface="+mn-ea"/>
                <a:cs typeface="+mn-cs"/>
              </a:rPr>
              <a:t>EMAILS</a:t>
            </a:r>
            <a:endParaRPr kumimoji="0" lang="en-US" sz="1333" b="1" i="0" u="none" strike="noStrike" kern="1200" cap="none" spc="0" normalizeH="0" baseline="0" noProof="0" dirty="0">
              <a:ln>
                <a:noFill/>
              </a:ln>
              <a:solidFill>
                <a:srgbClr val="FFFFFF"/>
              </a:solidFill>
              <a:effectLst/>
              <a:uLnTx/>
              <a:uFillTx/>
              <a:latin typeface="Arial"/>
              <a:ea typeface="+mn-ea"/>
              <a:cs typeface="+mn-cs"/>
            </a:endParaRPr>
          </a:p>
        </p:txBody>
      </p:sp>
      <p:sp>
        <p:nvSpPr>
          <p:cNvPr id="81" name="Rectangle: Rounded Corners 32">
            <a:extLst>
              <a:ext uri="{FF2B5EF4-FFF2-40B4-BE49-F238E27FC236}">
                <a16:creationId xmlns:a16="http://schemas.microsoft.com/office/drawing/2014/main" id="{A80927EA-2A3E-4341-ABCA-815EEE324324}"/>
              </a:ext>
            </a:extLst>
          </p:cNvPr>
          <p:cNvSpPr/>
          <p:nvPr/>
        </p:nvSpPr>
        <p:spPr>
          <a:xfrm>
            <a:off x="1506793" y="5637285"/>
            <a:ext cx="1829177" cy="431744"/>
          </a:xfrm>
          <a:prstGeom prst="roundRect">
            <a:avLst>
              <a:gd name="adj" fmla="val 50000"/>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67539" rtl="0" eaLnBrk="1" fontAlgn="auto" latinLnBrk="0" hangingPunct="1">
              <a:lnSpc>
                <a:spcPct val="100000"/>
              </a:lnSpc>
              <a:spcBef>
                <a:spcPts val="0"/>
              </a:spcBef>
              <a:spcAft>
                <a:spcPts val="0"/>
              </a:spcAft>
              <a:buClrTx/>
              <a:buSzTx/>
              <a:buFontTx/>
              <a:buNone/>
              <a:tabLst/>
              <a:defRPr/>
            </a:pPr>
            <a:r>
              <a:rPr kumimoji="0" lang="pl-PL" sz="1333" b="1" i="0" u="none" strike="noStrike" kern="1200" cap="none" spc="0" normalizeH="0" baseline="0" noProof="0" dirty="0">
                <a:ln>
                  <a:noFill/>
                </a:ln>
                <a:solidFill>
                  <a:srgbClr val="FFFFFF"/>
                </a:solidFill>
                <a:effectLst/>
                <a:uLnTx/>
                <a:uFillTx/>
                <a:latin typeface="Arial"/>
                <a:ea typeface="+mn-ea"/>
                <a:cs typeface="+mn-cs"/>
              </a:rPr>
              <a:t>SOCIAL MEDIA</a:t>
            </a:r>
            <a:endParaRPr kumimoji="0" lang="en-US" sz="1333" b="1" i="0" u="none" strike="noStrike" kern="1200" cap="none" spc="0" normalizeH="0" baseline="0" noProof="0" dirty="0">
              <a:ln>
                <a:noFill/>
              </a:ln>
              <a:solidFill>
                <a:srgbClr val="FFFFFF"/>
              </a:solidFill>
              <a:effectLst/>
              <a:uLnTx/>
              <a:uFillTx/>
              <a:latin typeface="Arial"/>
              <a:ea typeface="+mn-ea"/>
              <a:cs typeface="+mn-cs"/>
            </a:endParaRPr>
          </a:p>
        </p:txBody>
      </p:sp>
      <p:sp>
        <p:nvSpPr>
          <p:cNvPr id="82" name="Rectangle: Rounded Corners 38">
            <a:extLst>
              <a:ext uri="{FF2B5EF4-FFF2-40B4-BE49-F238E27FC236}">
                <a16:creationId xmlns:a16="http://schemas.microsoft.com/office/drawing/2014/main" id="{593D2889-3D90-44B6-95DB-91E1785FA0D8}"/>
              </a:ext>
            </a:extLst>
          </p:cNvPr>
          <p:cNvSpPr/>
          <p:nvPr/>
        </p:nvSpPr>
        <p:spPr>
          <a:xfrm>
            <a:off x="6936010" y="3738695"/>
            <a:ext cx="1829177" cy="431744"/>
          </a:xfrm>
          <a:prstGeom prst="roundRect">
            <a:avLst>
              <a:gd name="adj" fmla="val 5000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67539" rtl="0" eaLnBrk="1" fontAlgn="auto" latinLnBrk="0" hangingPunct="1">
              <a:lnSpc>
                <a:spcPct val="100000"/>
              </a:lnSpc>
              <a:spcBef>
                <a:spcPts val="0"/>
              </a:spcBef>
              <a:spcAft>
                <a:spcPts val="0"/>
              </a:spcAft>
              <a:buClrTx/>
              <a:buSzTx/>
              <a:buFontTx/>
              <a:buNone/>
              <a:tabLst/>
              <a:defRPr/>
            </a:pPr>
            <a:r>
              <a:rPr kumimoji="0" lang="pl-PL" sz="1333" b="1" i="0" u="none" strike="noStrike" kern="1200" cap="none" spc="0" normalizeH="0" baseline="0" noProof="0" dirty="0">
                <a:ln>
                  <a:noFill/>
                </a:ln>
                <a:solidFill>
                  <a:srgbClr val="FFFFFF"/>
                </a:solidFill>
                <a:effectLst/>
                <a:uLnTx/>
                <a:uFillTx/>
                <a:latin typeface="Arial"/>
                <a:ea typeface="+mn-ea"/>
                <a:cs typeface="+mn-cs"/>
              </a:rPr>
              <a:t>MORTGAGES</a:t>
            </a:r>
            <a:endParaRPr kumimoji="0" lang="en-US" sz="1333" b="1" i="0" u="none" strike="noStrike" kern="1200" cap="none" spc="0" normalizeH="0" baseline="0" noProof="0" dirty="0">
              <a:ln>
                <a:noFill/>
              </a:ln>
              <a:solidFill>
                <a:srgbClr val="FFFFFF"/>
              </a:solidFill>
              <a:effectLst/>
              <a:uLnTx/>
              <a:uFillTx/>
              <a:latin typeface="Arial"/>
              <a:ea typeface="+mn-ea"/>
              <a:cs typeface="+mn-cs"/>
            </a:endParaRPr>
          </a:p>
        </p:txBody>
      </p:sp>
      <p:sp>
        <p:nvSpPr>
          <p:cNvPr id="83" name="Rectangle: Rounded Corners 32">
            <a:extLst>
              <a:ext uri="{FF2B5EF4-FFF2-40B4-BE49-F238E27FC236}">
                <a16:creationId xmlns:a16="http://schemas.microsoft.com/office/drawing/2014/main" id="{495C5B3D-2118-40E7-997C-A3EC1BA24DF5}"/>
              </a:ext>
            </a:extLst>
          </p:cNvPr>
          <p:cNvSpPr/>
          <p:nvPr/>
        </p:nvSpPr>
        <p:spPr>
          <a:xfrm>
            <a:off x="301190" y="5025301"/>
            <a:ext cx="1909345" cy="431744"/>
          </a:xfrm>
          <a:prstGeom prst="roundRect">
            <a:avLst>
              <a:gd name="adj" fmla="val 50000"/>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67539" rtl="0" eaLnBrk="1" fontAlgn="auto" latinLnBrk="0" hangingPunct="1">
              <a:lnSpc>
                <a:spcPct val="100000"/>
              </a:lnSpc>
              <a:spcBef>
                <a:spcPts val="0"/>
              </a:spcBef>
              <a:spcAft>
                <a:spcPts val="0"/>
              </a:spcAft>
              <a:buClrTx/>
              <a:buSzTx/>
              <a:buFontTx/>
              <a:buNone/>
              <a:tabLst/>
              <a:defRPr/>
            </a:pPr>
            <a:r>
              <a:rPr kumimoji="0" lang="pl-PL" sz="1067" b="1" i="0" u="none" strike="noStrike" kern="1200" cap="none" spc="0" normalizeH="0" baseline="0" noProof="0" dirty="0">
                <a:ln>
                  <a:noFill/>
                </a:ln>
                <a:solidFill>
                  <a:srgbClr val="FFFFFF"/>
                </a:solidFill>
                <a:effectLst/>
                <a:uLnTx/>
                <a:uFillTx/>
                <a:latin typeface="Arial"/>
                <a:ea typeface="+mn-ea"/>
                <a:cs typeface="+mn-cs"/>
              </a:rPr>
              <a:t>FOREIGN LANGUAGES </a:t>
            </a:r>
            <a:r>
              <a:rPr kumimoji="0" lang="pl-PL" sz="1067" b="1" i="0" u="none" strike="noStrike" kern="1200" cap="none" spc="0" normalizeH="0" baseline="0" noProof="0" dirty="0" err="1">
                <a:ln>
                  <a:noFill/>
                </a:ln>
                <a:solidFill>
                  <a:srgbClr val="FFFFFF"/>
                </a:solidFill>
                <a:effectLst/>
                <a:uLnTx/>
                <a:uFillTx/>
                <a:latin typeface="Arial"/>
                <a:ea typeface="+mn-ea"/>
                <a:cs typeface="+mn-cs"/>
              </a:rPr>
              <a:t>customers</a:t>
            </a:r>
            <a:endParaRPr kumimoji="0" lang="en-US" sz="1067" b="1" i="0" u="none" strike="noStrike" kern="1200" cap="none" spc="0" normalizeH="0" baseline="0" noProof="0" dirty="0">
              <a:ln>
                <a:noFill/>
              </a:ln>
              <a:solidFill>
                <a:srgbClr val="FFFFFF"/>
              </a:solidFill>
              <a:effectLst/>
              <a:uLnTx/>
              <a:uFillTx/>
              <a:latin typeface="Arial"/>
              <a:ea typeface="+mn-ea"/>
              <a:cs typeface="+mn-cs"/>
            </a:endParaRPr>
          </a:p>
        </p:txBody>
      </p:sp>
      <p:cxnSp>
        <p:nvCxnSpPr>
          <p:cNvPr id="12" name="Łącznik: łamany 11">
            <a:extLst>
              <a:ext uri="{FF2B5EF4-FFF2-40B4-BE49-F238E27FC236}">
                <a16:creationId xmlns:a16="http://schemas.microsoft.com/office/drawing/2014/main" id="{9FBEBFAB-70BB-4776-A2BA-EFC40C91FA06}"/>
              </a:ext>
            </a:extLst>
          </p:cNvPr>
          <p:cNvCxnSpPr>
            <a:stCxn id="6" idx="2"/>
            <a:endCxn id="23" idx="4"/>
          </p:cNvCxnSpPr>
          <p:nvPr/>
        </p:nvCxnSpPr>
        <p:spPr>
          <a:xfrm rot="16200000" flipH="1">
            <a:off x="7583672" y="351660"/>
            <a:ext cx="1281432" cy="3656769"/>
          </a:xfrm>
          <a:prstGeom prst="bentConnector4">
            <a:avLst>
              <a:gd name="adj1" fmla="val 50000"/>
              <a:gd name="adj2" fmla="val 108335"/>
            </a:avLst>
          </a:prstGeom>
        </p:spPr>
        <p:style>
          <a:lnRef idx="1">
            <a:schemeClr val="accent1"/>
          </a:lnRef>
          <a:fillRef idx="0">
            <a:schemeClr val="accent1"/>
          </a:fillRef>
          <a:effectRef idx="0">
            <a:schemeClr val="accent1"/>
          </a:effectRef>
          <a:fontRef idx="minor">
            <a:schemeClr val="tx1"/>
          </a:fontRef>
        </p:style>
      </p:cxnSp>
      <p:cxnSp>
        <p:nvCxnSpPr>
          <p:cNvPr id="28" name="Łącznik: łamany 27">
            <a:extLst>
              <a:ext uri="{FF2B5EF4-FFF2-40B4-BE49-F238E27FC236}">
                <a16:creationId xmlns:a16="http://schemas.microsoft.com/office/drawing/2014/main" id="{68B6099B-7338-4E21-8BE3-B47F63AD309E}"/>
              </a:ext>
            </a:extLst>
          </p:cNvPr>
          <p:cNvCxnSpPr>
            <a:stCxn id="6" idx="2"/>
            <a:endCxn id="15" idx="0"/>
          </p:cNvCxnSpPr>
          <p:nvPr/>
        </p:nvCxnSpPr>
        <p:spPr>
          <a:xfrm rot="16200000" flipH="1">
            <a:off x="5988319" y="1947013"/>
            <a:ext cx="1264532" cy="449160"/>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30" name="Łącznik: łamany 29">
            <a:extLst>
              <a:ext uri="{FF2B5EF4-FFF2-40B4-BE49-F238E27FC236}">
                <a16:creationId xmlns:a16="http://schemas.microsoft.com/office/drawing/2014/main" id="{EFB18B88-4530-42A1-AE4A-A326DA853710}"/>
              </a:ext>
            </a:extLst>
          </p:cNvPr>
          <p:cNvCxnSpPr>
            <a:stCxn id="6" idx="2"/>
            <a:endCxn id="9" idx="0"/>
          </p:cNvCxnSpPr>
          <p:nvPr/>
        </p:nvCxnSpPr>
        <p:spPr>
          <a:xfrm rot="5400000">
            <a:off x="3763665" y="171519"/>
            <a:ext cx="1264532" cy="4000151"/>
          </a:xfrm>
          <a:prstGeom prst="bentConnector3">
            <a:avLst/>
          </a:prstGeom>
        </p:spPr>
        <p:style>
          <a:lnRef idx="1">
            <a:schemeClr val="accent1"/>
          </a:lnRef>
          <a:fillRef idx="0">
            <a:schemeClr val="accent1"/>
          </a:fillRef>
          <a:effectRef idx="0">
            <a:schemeClr val="accent1"/>
          </a:effectRef>
          <a:fontRef idx="minor">
            <a:schemeClr val="tx1"/>
          </a:fontRef>
        </p:style>
      </p:cxnSp>
      <p:pic>
        <p:nvPicPr>
          <p:cNvPr id="70" name="Obraz 69">
            <a:extLst>
              <a:ext uri="{FF2B5EF4-FFF2-40B4-BE49-F238E27FC236}">
                <a16:creationId xmlns:a16="http://schemas.microsoft.com/office/drawing/2014/main" id="{31B45314-4FAA-4E83-992E-BAC549E86FCA}"/>
              </a:ext>
            </a:extLst>
          </p:cNvPr>
          <p:cNvPicPr>
            <a:picLocks noChangeAspect="1"/>
          </p:cNvPicPr>
          <p:nvPr/>
        </p:nvPicPr>
        <p:blipFill>
          <a:blip r:embed="rId2"/>
          <a:stretch>
            <a:fillRect/>
          </a:stretch>
        </p:blipFill>
        <p:spPr>
          <a:xfrm flipH="1">
            <a:off x="2050916" y="2243687"/>
            <a:ext cx="598293" cy="580765"/>
          </a:xfrm>
          <a:prstGeom prst="rect">
            <a:avLst/>
          </a:prstGeom>
          <a:solidFill>
            <a:schemeClr val="bg1"/>
          </a:solidFill>
        </p:spPr>
      </p:pic>
      <p:pic>
        <p:nvPicPr>
          <p:cNvPr id="84" name="Obraz 83">
            <a:extLst>
              <a:ext uri="{FF2B5EF4-FFF2-40B4-BE49-F238E27FC236}">
                <a16:creationId xmlns:a16="http://schemas.microsoft.com/office/drawing/2014/main" id="{62DDBABE-3B23-49A6-BB51-DC6BC1954024}"/>
              </a:ext>
            </a:extLst>
          </p:cNvPr>
          <p:cNvPicPr>
            <a:picLocks noChangeAspect="1"/>
          </p:cNvPicPr>
          <p:nvPr/>
        </p:nvPicPr>
        <p:blipFill>
          <a:blip r:embed="rId2"/>
          <a:stretch>
            <a:fillRect/>
          </a:stretch>
        </p:blipFill>
        <p:spPr>
          <a:xfrm flipH="1">
            <a:off x="6546016" y="2249083"/>
            <a:ext cx="598293" cy="580765"/>
          </a:xfrm>
          <a:prstGeom prst="rect">
            <a:avLst/>
          </a:prstGeom>
          <a:solidFill>
            <a:schemeClr val="bg1"/>
          </a:solidFill>
        </p:spPr>
      </p:pic>
      <p:pic>
        <p:nvPicPr>
          <p:cNvPr id="85" name="Obraz 84">
            <a:extLst>
              <a:ext uri="{FF2B5EF4-FFF2-40B4-BE49-F238E27FC236}">
                <a16:creationId xmlns:a16="http://schemas.microsoft.com/office/drawing/2014/main" id="{693B2A74-055C-474B-A60F-F2DAAB740E39}"/>
              </a:ext>
            </a:extLst>
          </p:cNvPr>
          <p:cNvPicPr>
            <a:picLocks noChangeAspect="1"/>
          </p:cNvPicPr>
          <p:nvPr/>
        </p:nvPicPr>
        <p:blipFill>
          <a:blip r:embed="rId2"/>
          <a:stretch>
            <a:fillRect/>
          </a:stretch>
        </p:blipFill>
        <p:spPr>
          <a:xfrm flipH="1">
            <a:off x="9923691" y="2249083"/>
            <a:ext cx="598293" cy="580765"/>
          </a:xfrm>
          <a:prstGeom prst="rect">
            <a:avLst/>
          </a:prstGeom>
          <a:solidFill>
            <a:schemeClr val="bg1"/>
          </a:solidFill>
        </p:spPr>
      </p:pic>
    </p:spTree>
    <p:extLst>
      <p:ext uri="{BB962C8B-B14F-4D97-AF65-F5344CB8AC3E}">
        <p14:creationId xmlns:p14="http://schemas.microsoft.com/office/powerpoint/2010/main" val="242965299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ytuł 1">
            <a:extLst>
              <a:ext uri="{FF2B5EF4-FFF2-40B4-BE49-F238E27FC236}">
                <a16:creationId xmlns:a16="http://schemas.microsoft.com/office/drawing/2014/main" id="{FDF54FA9-2BE5-442D-991D-402EDAE4C246}"/>
              </a:ext>
            </a:extLst>
          </p:cNvPr>
          <p:cNvSpPr>
            <a:spLocks noGrp="1"/>
          </p:cNvSpPr>
          <p:nvPr>
            <p:ph type="title"/>
          </p:nvPr>
        </p:nvSpPr>
        <p:spPr>
          <a:xfrm>
            <a:off x="219797" y="671355"/>
            <a:ext cx="11720479" cy="753532"/>
          </a:xfrm>
        </p:spPr>
        <p:txBody>
          <a:bodyPr vert="horz" lIns="0" tIns="0" rIns="0" bIns="0" rtlCol="0" anchor="b" anchorCtr="0">
            <a:noAutofit/>
          </a:bodyPr>
          <a:lstStyle/>
          <a:p>
            <a:r>
              <a:rPr lang="pl-PL" sz="3200" dirty="0">
                <a:latin typeface="Arial Black" panose="020B0A04020102020204" pitchFamily="34" charset="0"/>
              </a:rPr>
              <a:t>New </a:t>
            </a:r>
            <a:r>
              <a:rPr lang="pl-PL" sz="3200" dirty="0" err="1">
                <a:latin typeface="Arial Black" panose="020B0A04020102020204" pitchFamily="34" charset="0"/>
              </a:rPr>
              <a:t>structure</a:t>
            </a:r>
            <a:r>
              <a:rPr lang="pl-PL" sz="3200" dirty="0">
                <a:latin typeface="Arial Black" panose="020B0A04020102020204" pitchFamily="34" charset="0"/>
              </a:rPr>
              <a:t> – </a:t>
            </a:r>
            <a:r>
              <a:rPr lang="pl-PL" sz="3200" dirty="0" err="1">
                <a:latin typeface="Arial Black" panose="020B0A04020102020204" pitchFamily="34" charset="0"/>
              </a:rPr>
              <a:t>phase</a:t>
            </a:r>
            <a:r>
              <a:rPr lang="pl-PL" sz="3200" dirty="0">
                <a:latin typeface="Arial Black" panose="020B0A04020102020204" pitchFamily="34" charset="0"/>
              </a:rPr>
              <a:t> 1</a:t>
            </a:r>
            <a:br>
              <a:rPr lang="pl-PL" sz="3200" dirty="0">
                <a:latin typeface="Arial Black" panose="020B0A04020102020204" pitchFamily="34" charset="0"/>
              </a:rPr>
            </a:br>
            <a:r>
              <a:rPr lang="pl-PL" sz="2400" dirty="0">
                <a:solidFill>
                  <a:schemeClr val="bg2"/>
                </a:solidFill>
                <a:latin typeface="Arial Black" panose="020B0A04020102020204" pitchFamily="34" charset="0"/>
              </a:rPr>
              <a:t>start January 2025</a:t>
            </a:r>
            <a:br>
              <a:rPr lang="pl-PL" sz="3200" dirty="0">
                <a:latin typeface="Arial Black" panose="020B0A04020102020204" pitchFamily="34" charset="0"/>
              </a:rPr>
            </a:br>
            <a:endParaRPr lang="pl-PL" sz="3200" dirty="0">
              <a:solidFill>
                <a:schemeClr val="bg2"/>
              </a:solidFill>
              <a:latin typeface="Arial Black" panose="020B0A04020102020204" pitchFamily="34" charset="0"/>
            </a:endParaRPr>
          </a:p>
        </p:txBody>
      </p:sp>
      <p:sp>
        <p:nvSpPr>
          <p:cNvPr id="10" name="Rectangle 9"/>
          <p:cNvSpPr/>
          <p:nvPr/>
        </p:nvSpPr>
        <p:spPr>
          <a:xfrm>
            <a:off x="4700022" y="872027"/>
            <a:ext cx="2760031" cy="861435"/>
          </a:xfrm>
          <a:prstGeom prst="roundRect">
            <a:avLst/>
          </a:prstGeom>
          <a:solidFill>
            <a:schemeClr val="accent1"/>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algn="ctr" defTabSz="533360">
              <a:lnSpc>
                <a:spcPct val="150000"/>
              </a:lnSpc>
              <a:spcBef>
                <a:spcPct val="0"/>
              </a:spcBef>
              <a:spcAft>
                <a:spcPct val="35000"/>
              </a:spcAft>
              <a:defRPr/>
            </a:pPr>
            <a:r>
              <a:rPr lang="pl-PL" sz="1467" b="1" dirty="0">
                <a:solidFill>
                  <a:srgbClr val="FFFFFF"/>
                </a:solidFill>
                <a:latin typeface="Arial"/>
              </a:rPr>
              <a:t>D</a:t>
            </a:r>
            <a:r>
              <a:rPr lang="en-US" sz="1467" b="1" dirty="0" err="1">
                <a:solidFill>
                  <a:srgbClr val="FFFFFF"/>
                </a:solidFill>
                <a:latin typeface="Arial"/>
              </a:rPr>
              <a:t>epartment</a:t>
            </a:r>
            <a:r>
              <a:rPr lang="en-US" sz="1467" b="1" dirty="0">
                <a:solidFill>
                  <a:srgbClr val="FFFFFF"/>
                </a:solidFill>
                <a:latin typeface="Arial"/>
              </a:rPr>
              <a:t> </a:t>
            </a:r>
            <a:r>
              <a:rPr lang="pl-PL" sz="1467" b="1" dirty="0">
                <a:solidFill>
                  <a:srgbClr val="FFFFFF"/>
                </a:solidFill>
                <a:latin typeface="Arial"/>
              </a:rPr>
              <a:t>of </a:t>
            </a:r>
            <a:r>
              <a:rPr lang="pl-PL" sz="1467" b="1" dirty="0" err="1">
                <a:solidFill>
                  <a:srgbClr val="FFFFFF"/>
                </a:solidFill>
                <a:latin typeface="Arial"/>
              </a:rPr>
              <a:t>Omnichannel</a:t>
            </a:r>
            <a:r>
              <a:rPr lang="pl-PL" sz="1467" b="1" dirty="0">
                <a:solidFill>
                  <a:srgbClr val="FFFFFF"/>
                </a:solidFill>
                <a:latin typeface="Arial"/>
              </a:rPr>
              <a:t> </a:t>
            </a:r>
            <a:r>
              <a:rPr lang="en-US" sz="1467" b="1" dirty="0">
                <a:solidFill>
                  <a:srgbClr val="FFFFFF"/>
                </a:solidFill>
                <a:latin typeface="Arial"/>
              </a:rPr>
              <a:t>Customer </a:t>
            </a:r>
            <a:r>
              <a:rPr lang="pl-PL" sz="1467" b="1" dirty="0">
                <a:solidFill>
                  <a:srgbClr val="FFFFFF"/>
                </a:solidFill>
                <a:latin typeface="Arial"/>
              </a:rPr>
              <a:t>Relations</a:t>
            </a:r>
          </a:p>
        </p:txBody>
      </p:sp>
      <p:sp>
        <p:nvSpPr>
          <p:cNvPr id="14" name="Rectangle 13"/>
          <p:cNvSpPr/>
          <p:nvPr/>
        </p:nvSpPr>
        <p:spPr>
          <a:xfrm>
            <a:off x="1917270" y="2214810"/>
            <a:ext cx="1742719" cy="718557"/>
          </a:xfrm>
          <a:prstGeom prst="roundRect">
            <a:avLst/>
          </a:prstGeom>
          <a:solidFill>
            <a:schemeClr val="accent1"/>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algn="ctr" defTabSz="533360">
              <a:lnSpc>
                <a:spcPct val="90000"/>
              </a:lnSpc>
              <a:spcBef>
                <a:spcPct val="0"/>
              </a:spcBef>
              <a:spcAft>
                <a:spcPct val="35000"/>
              </a:spcAft>
              <a:defRPr/>
            </a:pPr>
            <a:r>
              <a:rPr lang="pl-PL" sz="1333" b="1" dirty="0" err="1">
                <a:solidFill>
                  <a:srgbClr val="FFFFFF"/>
                </a:solidFill>
                <a:latin typeface="Arial"/>
              </a:rPr>
              <a:t>Customer</a:t>
            </a:r>
            <a:r>
              <a:rPr lang="pl-PL" sz="1333" b="1" dirty="0">
                <a:solidFill>
                  <a:srgbClr val="FFFFFF"/>
                </a:solidFill>
                <a:latin typeface="Arial"/>
              </a:rPr>
              <a:t> </a:t>
            </a:r>
            <a:r>
              <a:rPr lang="pl-PL" sz="1333" b="1" dirty="0" err="1">
                <a:solidFill>
                  <a:srgbClr val="FFFFFF"/>
                </a:solidFill>
                <a:latin typeface="Arial"/>
              </a:rPr>
              <a:t>Contact</a:t>
            </a:r>
            <a:r>
              <a:rPr lang="pl-PL" sz="1333" b="1" dirty="0">
                <a:solidFill>
                  <a:srgbClr val="FFFFFF"/>
                </a:solidFill>
                <a:latin typeface="Arial"/>
              </a:rPr>
              <a:t> </a:t>
            </a:r>
          </a:p>
          <a:p>
            <a:pPr algn="ctr" defTabSz="533360">
              <a:lnSpc>
                <a:spcPct val="90000"/>
              </a:lnSpc>
              <a:spcBef>
                <a:spcPct val="0"/>
              </a:spcBef>
              <a:spcAft>
                <a:spcPct val="35000"/>
              </a:spcAft>
              <a:defRPr/>
            </a:pPr>
            <a:r>
              <a:rPr lang="pl-PL" sz="1333" b="1" dirty="0">
                <a:solidFill>
                  <a:srgbClr val="FFFFFF"/>
                </a:solidFill>
                <a:latin typeface="Arial"/>
              </a:rPr>
              <a:t>Center</a:t>
            </a:r>
            <a:endParaRPr lang="en-US" sz="1333" b="1" dirty="0">
              <a:solidFill>
                <a:srgbClr val="FFFFFF"/>
              </a:solidFill>
              <a:latin typeface="Arial"/>
            </a:endParaRPr>
          </a:p>
        </p:txBody>
      </p:sp>
      <p:sp>
        <p:nvSpPr>
          <p:cNvPr id="15" name="Rectangle 14"/>
          <p:cNvSpPr/>
          <p:nvPr/>
        </p:nvSpPr>
        <p:spPr>
          <a:xfrm>
            <a:off x="4140959" y="2214810"/>
            <a:ext cx="1742719" cy="718557"/>
          </a:xfrm>
          <a:prstGeom prst="roundRect">
            <a:avLst/>
          </a:prstGeom>
          <a:solidFill>
            <a:schemeClr val="accent1"/>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algn="ctr" defTabSz="533360">
              <a:lnSpc>
                <a:spcPct val="90000"/>
              </a:lnSpc>
              <a:spcBef>
                <a:spcPct val="0"/>
              </a:spcBef>
              <a:spcAft>
                <a:spcPct val="35000"/>
              </a:spcAft>
              <a:defRPr/>
            </a:pPr>
            <a:r>
              <a:rPr lang="pl-PL" sz="1400" b="1" dirty="0" err="1">
                <a:solidFill>
                  <a:srgbClr val="FFFFFF"/>
                </a:solidFill>
                <a:latin typeface="Arial"/>
              </a:rPr>
              <a:t>Customer</a:t>
            </a:r>
            <a:r>
              <a:rPr lang="pl-PL" sz="1400" b="1" dirty="0">
                <a:solidFill>
                  <a:srgbClr val="FFFFFF"/>
                </a:solidFill>
                <a:latin typeface="Arial"/>
              </a:rPr>
              <a:t> Sales &amp; Service </a:t>
            </a:r>
            <a:br>
              <a:rPr lang="pl-PL" sz="1400" b="1" dirty="0">
                <a:solidFill>
                  <a:srgbClr val="FFFFFF"/>
                </a:solidFill>
                <a:latin typeface="Arial"/>
              </a:rPr>
            </a:br>
            <a:r>
              <a:rPr lang="pl-PL" sz="1400" b="1" dirty="0" err="1">
                <a:solidFill>
                  <a:srgbClr val="FFFFFF"/>
                </a:solidFill>
                <a:latin typeface="Arial"/>
              </a:rPr>
              <a:t>Specialised</a:t>
            </a:r>
            <a:r>
              <a:rPr lang="pl-PL" sz="1400" b="1" dirty="0">
                <a:solidFill>
                  <a:srgbClr val="FFFFFF"/>
                </a:solidFill>
                <a:latin typeface="Arial"/>
              </a:rPr>
              <a:t> Center</a:t>
            </a:r>
            <a:endParaRPr lang="en-US" sz="1400" b="1" dirty="0">
              <a:solidFill>
                <a:srgbClr val="FFFFFF"/>
              </a:solidFill>
              <a:latin typeface="Arial"/>
            </a:endParaRPr>
          </a:p>
        </p:txBody>
      </p:sp>
      <p:sp>
        <p:nvSpPr>
          <p:cNvPr id="16" name="Rectangle 15"/>
          <p:cNvSpPr/>
          <p:nvPr/>
        </p:nvSpPr>
        <p:spPr>
          <a:xfrm>
            <a:off x="6334598" y="2214810"/>
            <a:ext cx="1742719" cy="718557"/>
          </a:xfrm>
          <a:prstGeom prst="roundRect">
            <a:avLst/>
          </a:prstGeom>
          <a:solidFill>
            <a:schemeClr val="accent1"/>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algn="ctr" defTabSz="533360">
              <a:lnSpc>
                <a:spcPct val="90000"/>
              </a:lnSpc>
              <a:spcBef>
                <a:spcPct val="0"/>
              </a:spcBef>
              <a:spcAft>
                <a:spcPct val="35000"/>
              </a:spcAft>
              <a:defRPr/>
            </a:pPr>
            <a:r>
              <a:rPr lang="pl-PL" sz="1333" b="1" dirty="0">
                <a:solidFill>
                  <a:srgbClr val="FFFFFF"/>
                </a:solidFill>
                <a:latin typeface="Arial"/>
              </a:rPr>
              <a:t>Automation &amp; Remote </a:t>
            </a:r>
            <a:r>
              <a:rPr lang="pl-PL" sz="1333" b="1" dirty="0" err="1">
                <a:solidFill>
                  <a:srgbClr val="FFFFFF"/>
                </a:solidFill>
                <a:latin typeface="Arial"/>
              </a:rPr>
              <a:t>Customer</a:t>
            </a:r>
            <a:r>
              <a:rPr lang="pl-PL" sz="1333" b="1" dirty="0">
                <a:solidFill>
                  <a:srgbClr val="FFFFFF"/>
                </a:solidFill>
                <a:latin typeface="Arial"/>
              </a:rPr>
              <a:t> Service Center</a:t>
            </a:r>
            <a:endParaRPr lang="en-US" sz="1333" b="1" dirty="0">
              <a:solidFill>
                <a:srgbClr val="FFFFFF"/>
              </a:solidFill>
              <a:latin typeface="Arial"/>
            </a:endParaRPr>
          </a:p>
        </p:txBody>
      </p:sp>
      <p:cxnSp>
        <p:nvCxnSpPr>
          <p:cNvPr id="30" name="Elbow Connector 29"/>
          <p:cNvCxnSpPr>
            <a:cxnSpLocks/>
          </p:cNvCxnSpPr>
          <p:nvPr/>
        </p:nvCxnSpPr>
        <p:spPr>
          <a:xfrm rot="5400000">
            <a:off x="4193661" y="328430"/>
            <a:ext cx="481348" cy="3291408"/>
          </a:xfrm>
          <a:prstGeom prst="bentConnector3">
            <a:avLst>
              <a:gd name="adj1" fmla="val 50000"/>
            </a:avLst>
          </a:prstGeom>
          <a:ln w="6350">
            <a:solidFill>
              <a:schemeClr val="bg1">
                <a:lumMod val="50000"/>
                <a:alpha val="75000"/>
              </a:schemeClr>
            </a:solidFill>
            <a:tailEnd type="none" w="lg" len="lg"/>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a:cxnSpLocks/>
          </p:cNvCxnSpPr>
          <p:nvPr/>
        </p:nvCxnSpPr>
        <p:spPr>
          <a:xfrm>
            <a:off x="2788628" y="1939940"/>
            <a:ext cx="0" cy="274871"/>
          </a:xfrm>
          <a:prstGeom prst="straightConnector1">
            <a:avLst/>
          </a:prstGeom>
          <a:ln w="6350">
            <a:solidFill>
              <a:schemeClr val="bg1">
                <a:lumMod val="50000"/>
                <a:alpha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 name="Symbol zastępczy numeru slajdu 2">
            <a:extLst>
              <a:ext uri="{FF2B5EF4-FFF2-40B4-BE49-F238E27FC236}">
                <a16:creationId xmlns:a16="http://schemas.microsoft.com/office/drawing/2014/main" id="{1E147699-A2D5-18EC-410D-09965882AE50}"/>
              </a:ext>
            </a:extLst>
          </p:cNvPr>
          <p:cNvSpPr>
            <a:spLocks noGrp="1"/>
          </p:cNvSpPr>
          <p:nvPr>
            <p:ph type="sldNum" sz="quarter" idx="10"/>
          </p:nvPr>
        </p:nvSpPr>
        <p:spPr/>
        <p:txBody>
          <a:bodyPr/>
          <a:lstStyle/>
          <a:p>
            <a:pPr defTabSz="467527">
              <a:defRPr/>
            </a:pPr>
            <a:fld id="{332DF002-2E43-485C-89F8-8DCEF59D6C4F}" type="slidenum">
              <a:rPr lang="pl-PL">
                <a:latin typeface="Arial"/>
              </a:rPr>
              <a:pPr defTabSz="467527">
                <a:defRPr/>
              </a:pPr>
              <a:t>11</a:t>
            </a:fld>
            <a:endParaRPr lang="pl-PL" dirty="0">
              <a:latin typeface="Arial"/>
            </a:endParaRPr>
          </a:p>
        </p:txBody>
      </p:sp>
      <p:sp>
        <p:nvSpPr>
          <p:cNvPr id="33" name="Rectangle 15">
            <a:extLst>
              <a:ext uri="{FF2B5EF4-FFF2-40B4-BE49-F238E27FC236}">
                <a16:creationId xmlns:a16="http://schemas.microsoft.com/office/drawing/2014/main" id="{95A68504-9748-460A-BB17-9808C33D2DAF}"/>
              </a:ext>
            </a:extLst>
          </p:cNvPr>
          <p:cNvSpPr/>
          <p:nvPr/>
        </p:nvSpPr>
        <p:spPr>
          <a:xfrm>
            <a:off x="8527766" y="3139951"/>
            <a:ext cx="1742719" cy="619283"/>
          </a:xfrm>
          <a:prstGeom prst="roundRect">
            <a:avLst/>
          </a:prstGeom>
          <a:solidFill>
            <a:schemeClr val="accent1"/>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algn="ctr" defTabSz="533360">
              <a:lnSpc>
                <a:spcPct val="90000"/>
              </a:lnSpc>
              <a:spcBef>
                <a:spcPct val="0"/>
              </a:spcBef>
              <a:spcAft>
                <a:spcPct val="35000"/>
              </a:spcAft>
              <a:defRPr/>
            </a:pPr>
            <a:r>
              <a:rPr lang="pl-PL" sz="1200" dirty="0" err="1">
                <a:solidFill>
                  <a:srgbClr val="FFFFFF"/>
                </a:solidFill>
                <a:latin typeface="Arial"/>
              </a:rPr>
              <a:t>Cooperation</a:t>
            </a:r>
            <a:r>
              <a:rPr lang="pl-PL" sz="1200" dirty="0">
                <a:solidFill>
                  <a:srgbClr val="FFFFFF"/>
                </a:solidFill>
                <a:latin typeface="Arial"/>
              </a:rPr>
              <a:t> with </a:t>
            </a:r>
            <a:r>
              <a:rPr lang="pl-PL" sz="1200" dirty="0" err="1">
                <a:solidFill>
                  <a:srgbClr val="FFFFFF"/>
                </a:solidFill>
                <a:latin typeface="Arial"/>
              </a:rPr>
              <a:t>Tribes</a:t>
            </a:r>
            <a:endParaRPr lang="en-US" sz="1200" dirty="0">
              <a:solidFill>
                <a:srgbClr val="FFFFFF"/>
              </a:solidFill>
              <a:latin typeface="Arial"/>
            </a:endParaRPr>
          </a:p>
        </p:txBody>
      </p:sp>
      <p:sp>
        <p:nvSpPr>
          <p:cNvPr id="34" name="Rectangle 15">
            <a:extLst>
              <a:ext uri="{FF2B5EF4-FFF2-40B4-BE49-F238E27FC236}">
                <a16:creationId xmlns:a16="http://schemas.microsoft.com/office/drawing/2014/main" id="{AF07F048-01FF-4D4D-BB35-596574F91ECA}"/>
              </a:ext>
            </a:extLst>
          </p:cNvPr>
          <p:cNvSpPr/>
          <p:nvPr/>
        </p:nvSpPr>
        <p:spPr>
          <a:xfrm>
            <a:off x="8549591" y="2207338"/>
            <a:ext cx="1742719" cy="718557"/>
          </a:xfrm>
          <a:prstGeom prst="roundRect">
            <a:avLst/>
          </a:prstGeom>
          <a:solidFill>
            <a:schemeClr val="accent1"/>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algn="ctr" defTabSz="533360">
              <a:lnSpc>
                <a:spcPct val="90000"/>
              </a:lnSpc>
              <a:spcBef>
                <a:spcPct val="0"/>
              </a:spcBef>
              <a:spcAft>
                <a:spcPct val="35000"/>
              </a:spcAft>
              <a:defRPr/>
            </a:pPr>
            <a:r>
              <a:rPr lang="pl-PL" sz="1333" b="1" dirty="0" err="1">
                <a:solidFill>
                  <a:srgbClr val="FFFFFF"/>
                </a:solidFill>
                <a:latin typeface="Arial"/>
              </a:rPr>
              <a:t>Customer</a:t>
            </a:r>
            <a:r>
              <a:rPr lang="pl-PL" sz="1333" b="1" dirty="0">
                <a:solidFill>
                  <a:srgbClr val="FFFFFF"/>
                </a:solidFill>
                <a:latin typeface="Arial"/>
              </a:rPr>
              <a:t> </a:t>
            </a:r>
            <a:r>
              <a:rPr lang="pl-PL" sz="1333" b="1" dirty="0" err="1">
                <a:solidFill>
                  <a:srgbClr val="FFFFFF"/>
                </a:solidFill>
                <a:latin typeface="Arial"/>
              </a:rPr>
              <a:t>Experience</a:t>
            </a:r>
            <a:r>
              <a:rPr lang="pl-PL" sz="1333" b="1" dirty="0">
                <a:solidFill>
                  <a:srgbClr val="FFFFFF"/>
                </a:solidFill>
                <a:latin typeface="Arial"/>
              </a:rPr>
              <a:t> Management Center</a:t>
            </a:r>
            <a:endParaRPr lang="en-US" sz="1333" b="1" dirty="0">
              <a:solidFill>
                <a:srgbClr val="FFFFFF"/>
              </a:solidFill>
              <a:latin typeface="Arial"/>
            </a:endParaRPr>
          </a:p>
        </p:txBody>
      </p:sp>
      <p:cxnSp>
        <p:nvCxnSpPr>
          <p:cNvPr id="47" name="Elbow Connector 29">
            <a:extLst>
              <a:ext uri="{FF2B5EF4-FFF2-40B4-BE49-F238E27FC236}">
                <a16:creationId xmlns:a16="http://schemas.microsoft.com/office/drawing/2014/main" id="{19CE28CF-423D-4D9B-B052-3734E5AE408E}"/>
              </a:ext>
            </a:extLst>
          </p:cNvPr>
          <p:cNvCxnSpPr>
            <a:cxnSpLocks/>
          </p:cNvCxnSpPr>
          <p:nvPr/>
        </p:nvCxnSpPr>
        <p:spPr>
          <a:xfrm rot="5400000">
            <a:off x="5305506" y="1440277"/>
            <a:ext cx="481348" cy="1067719"/>
          </a:xfrm>
          <a:prstGeom prst="bentConnector3">
            <a:avLst>
              <a:gd name="adj1" fmla="val 50000"/>
            </a:avLst>
          </a:prstGeom>
          <a:ln w="6350">
            <a:solidFill>
              <a:schemeClr val="bg1">
                <a:lumMod val="50000"/>
                <a:alpha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Elbow Connector 29">
            <a:extLst>
              <a:ext uri="{FF2B5EF4-FFF2-40B4-BE49-F238E27FC236}">
                <a16:creationId xmlns:a16="http://schemas.microsoft.com/office/drawing/2014/main" id="{2DE9089F-23C8-4467-994A-AA4CA0BB5F24}"/>
              </a:ext>
            </a:extLst>
          </p:cNvPr>
          <p:cNvCxnSpPr>
            <a:cxnSpLocks/>
          </p:cNvCxnSpPr>
          <p:nvPr/>
        </p:nvCxnSpPr>
        <p:spPr>
          <a:xfrm rot="16200000" flipH="1">
            <a:off x="6402325" y="1411174"/>
            <a:ext cx="481348" cy="1125920"/>
          </a:xfrm>
          <a:prstGeom prst="bentConnector3">
            <a:avLst>
              <a:gd name="adj1" fmla="val 50000"/>
            </a:avLst>
          </a:prstGeom>
          <a:ln w="6350">
            <a:solidFill>
              <a:schemeClr val="bg1">
                <a:lumMod val="50000"/>
                <a:alpha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6" name="Elbow Connector 29">
            <a:extLst>
              <a:ext uri="{FF2B5EF4-FFF2-40B4-BE49-F238E27FC236}">
                <a16:creationId xmlns:a16="http://schemas.microsoft.com/office/drawing/2014/main" id="{75DFAAED-58B3-4A93-BCD9-6761A02D3719}"/>
              </a:ext>
            </a:extLst>
          </p:cNvPr>
          <p:cNvCxnSpPr>
            <a:cxnSpLocks/>
          </p:cNvCxnSpPr>
          <p:nvPr/>
        </p:nvCxnSpPr>
        <p:spPr>
          <a:xfrm rot="16200000" flipH="1">
            <a:off x="7513555" y="299944"/>
            <a:ext cx="473877" cy="3340913"/>
          </a:xfrm>
          <a:prstGeom prst="bentConnector3">
            <a:avLst>
              <a:gd name="adj1" fmla="val 50000"/>
            </a:avLst>
          </a:prstGeom>
          <a:ln w="6350">
            <a:solidFill>
              <a:schemeClr val="bg1">
                <a:lumMod val="50000"/>
                <a:alpha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9" name="Rectangle 15">
            <a:extLst>
              <a:ext uri="{FF2B5EF4-FFF2-40B4-BE49-F238E27FC236}">
                <a16:creationId xmlns:a16="http://schemas.microsoft.com/office/drawing/2014/main" id="{B14BFD3B-854D-4C34-9513-065972010BF8}"/>
              </a:ext>
            </a:extLst>
          </p:cNvPr>
          <p:cNvSpPr/>
          <p:nvPr/>
        </p:nvSpPr>
        <p:spPr>
          <a:xfrm>
            <a:off x="8527766" y="3859959"/>
            <a:ext cx="1742719" cy="619283"/>
          </a:xfrm>
          <a:prstGeom prst="roundRect">
            <a:avLst/>
          </a:prstGeom>
          <a:solidFill>
            <a:schemeClr val="accent1"/>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algn="ctr" defTabSz="533360">
              <a:lnSpc>
                <a:spcPct val="90000"/>
              </a:lnSpc>
              <a:spcBef>
                <a:spcPct val="0"/>
              </a:spcBef>
              <a:spcAft>
                <a:spcPct val="35000"/>
              </a:spcAft>
              <a:defRPr/>
            </a:pPr>
            <a:r>
              <a:rPr lang="pl-PL" sz="1200" dirty="0" err="1">
                <a:solidFill>
                  <a:srgbClr val="FFFFFF"/>
                </a:solidFill>
                <a:latin typeface="Arial"/>
              </a:rPr>
              <a:t>Projects</a:t>
            </a:r>
            <a:r>
              <a:rPr lang="pl-PL" sz="1200" dirty="0">
                <a:solidFill>
                  <a:srgbClr val="FFFFFF"/>
                </a:solidFill>
                <a:latin typeface="Arial"/>
              </a:rPr>
              <a:t> </a:t>
            </a:r>
            <a:r>
              <a:rPr lang="pl-PL" sz="1200" dirty="0" err="1">
                <a:solidFill>
                  <a:srgbClr val="FFFFFF"/>
                </a:solidFill>
                <a:latin typeface="Arial"/>
              </a:rPr>
              <a:t>related</a:t>
            </a:r>
            <a:r>
              <a:rPr lang="pl-PL" sz="1200" dirty="0">
                <a:solidFill>
                  <a:srgbClr val="FFFFFF"/>
                </a:solidFill>
                <a:latin typeface="Arial"/>
              </a:rPr>
              <a:t> to </a:t>
            </a:r>
            <a:r>
              <a:rPr lang="pl-PL" sz="1200" dirty="0" err="1">
                <a:solidFill>
                  <a:srgbClr val="FFFFFF"/>
                </a:solidFill>
                <a:latin typeface="Arial"/>
              </a:rPr>
              <a:t>clients</a:t>
            </a:r>
            <a:r>
              <a:rPr lang="pl-PL" sz="1200" dirty="0">
                <a:solidFill>
                  <a:srgbClr val="FFFFFF"/>
                </a:solidFill>
                <a:latin typeface="Arial"/>
              </a:rPr>
              <a:t>’ feedback</a:t>
            </a:r>
            <a:endParaRPr lang="en-US" sz="1200" dirty="0">
              <a:solidFill>
                <a:srgbClr val="FFFFFF"/>
              </a:solidFill>
              <a:latin typeface="Arial"/>
            </a:endParaRPr>
          </a:p>
        </p:txBody>
      </p:sp>
      <p:sp>
        <p:nvSpPr>
          <p:cNvPr id="100" name="Rectangle 15">
            <a:extLst>
              <a:ext uri="{FF2B5EF4-FFF2-40B4-BE49-F238E27FC236}">
                <a16:creationId xmlns:a16="http://schemas.microsoft.com/office/drawing/2014/main" id="{D7A3D095-4D4C-4A3E-8F02-9262D1C7E638}"/>
              </a:ext>
            </a:extLst>
          </p:cNvPr>
          <p:cNvSpPr/>
          <p:nvPr/>
        </p:nvSpPr>
        <p:spPr>
          <a:xfrm>
            <a:off x="8527766" y="4572629"/>
            <a:ext cx="1742719" cy="619283"/>
          </a:xfrm>
          <a:prstGeom prst="roundRect">
            <a:avLst/>
          </a:prstGeom>
          <a:solidFill>
            <a:schemeClr val="accent1"/>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algn="ctr" defTabSz="533360">
              <a:lnSpc>
                <a:spcPct val="90000"/>
              </a:lnSpc>
              <a:spcBef>
                <a:spcPct val="0"/>
              </a:spcBef>
              <a:spcAft>
                <a:spcPct val="35000"/>
              </a:spcAft>
              <a:defRPr/>
            </a:pPr>
            <a:r>
              <a:rPr lang="en-US" sz="1200" dirty="0">
                <a:solidFill>
                  <a:srgbClr val="FFFFFF"/>
                </a:solidFill>
                <a:latin typeface="Arial"/>
              </a:rPr>
              <a:t>Projects related to improving employee satisfaction</a:t>
            </a:r>
          </a:p>
        </p:txBody>
      </p:sp>
      <p:sp>
        <p:nvSpPr>
          <p:cNvPr id="48" name="Rectangle 15">
            <a:extLst>
              <a:ext uri="{FF2B5EF4-FFF2-40B4-BE49-F238E27FC236}">
                <a16:creationId xmlns:a16="http://schemas.microsoft.com/office/drawing/2014/main" id="{16F29A13-786D-4C6C-AB5B-4B135F1B7F7E}"/>
              </a:ext>
            </a:extLst>
          </p:cNvPr>
          <p:cNvSpPr/>
          <p:nvPr/>
        </p:nvSpPr>
        <p:spPr>
          <a:xfrm>
            <a:off x="8527766" y="5285301"/>
            <a:ext cx="1742719" cy="619283"/>
          </a:xfrm>
          <a:prstGeom prst="roundRect">
            <a:avLst/>
          </a:prstGeom>
          <a:solidFill>
            <a:schemeClr val="accent1"/>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algn="ctr" defTabSz="533360">
              <a:lnSpc>
                <a:spcPct val="90000"/>
              </a:lnSpc>
              <a:spcBef>
                <a:spcPct val="0"/>
              </a:spcBef>
              <a:spcAft>
                <a:spcPct val="35000"/>
              </a:spcAft>
              <a:defRPr/>
            </a:pPr>
            <a:r>
              <a:rPr lang="pl-PL" sz="1200" dirty="0" err="1">
                <a:solidFill>
                  <a:srgbClr val="FFFFFF"/>
                </a:solidFill>
                <a:latin typeface="Arial"/>
              </a:rPr>
              <a:t>Survays</a:t>
            </a:r>
            <a:endParaRPr lang="en-US" sz="1200" dirty="0">
              <a:solidFill>
                <a:srgbClr val="FFFFFF"/>
              </a:solidFill>
              <a:latin typeface="Arial"/>
            </a:endParaRPr>
          </a:p>
        </p:txBody>
      </p:sp>
      <p:sp>
        <p:nvSpPr>
          <p:cNvPr id="38" name="Rectangle 15">
            <a:extLst>
              <a:ext uri="{FF2B5EF4-FFF2-40B4-BE49-F238E27FC236}">
                <a16:creationId xmlns:a16="http://schemas.microsoft.com/office/drawing/2014/main" id="{094D5DA9-4D9A-40D7-9489-055972AD0485}"/>
              </a:ext>
            </a:extLst>
          </p:cNvPr>
          <p:cNvSpPr/>
          <p:nvPr/>
        </p:nvSpPr>
        <p:spPr>
          <a:xfrm>
            <a:off x="8526722" y="6003283"/>
            <a:ext cx="1742719" cy="619283"/>
          </a:xfrm>
          <a:prstGeom prst="roundRect">
            <a:avLst/>
          </a:prstGeom>
          <a:solidFill>
            <a:schemeClr val="accent1"/>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algn="ctr" defTabSz="533360">
              <a:lnSpc>
                <a:spcPct val="90000"/>
              </a:lnSpc>
              <a:spcBef>
                <a:spcPct val="0"/>
              </a:spcBef>
              <a:spcAft>
                <a:spcPct val="35000"/>
              </a:spcAft>
              <a:defRPr/>
            </a:pPr>
            <a:r>
              <a:rPr lang="pl-PL" sz="1200" dirty="0" err="1">
                <a:solidFill>
                  <a:srgbClr val="FFFFFF"/>
                </a:solidFill>
                <a:latin typeface="Arial"/>
              </a:rPr>
              <a:t>Recommending</a:t>
            </a:r>
            <a:r>
              <a:rPr lang="pl-PL" sz="1200" dirty="0">
                <a:solidFill>
                  <a:srgbClr val="FFFFFF"/>
                </a:solidFill>
                <a:latin typeface="Arial"/>
              </a:rPr>
              <a:t> </a:t>
            </a:r>
            <a:r>
              <a:rPr lang="pl-PL" sz="1200" dirty="0" err="1">
                <a:solidFill>
                  <a:srgbClr val="FFFFFF"/>
                </a:solidFill>
                <a:latin typeface="Arial"/>
              </a:rPr>
              <a:t>adjustments</a:t>
            </a:r>
            <a:r>
              <a:rPr lang="pl-PL" sz="1200" dirty="0">
                <a:solidFill>
                  <a:srgbClr val="FFFFFF"/>
                </a:solidFill>
                <a:latin typeface="Arial"/>
              </a:rPr>
              <a:t> </a:t>
            </a:r>
            <a:r>
              <a:rPr lang="pl-PL" sz="1200" dirty="0" err="1">
                <a:solidFill>
                  <a:srgbClr val="FFFFFF"/>
                </a:solidFill>
                <a:latin typeface="Arial"/>
              </a:rPr>
              <a:t>related</a:t>
            </a:r>
            <a:r>
              <a:rPr lang="pl-PL" sz="1200" dirty="0">
                <a:solidFill>
                  <a:srgbClr val="FFFFFF"/>
                </a:solidFill>
                <a:latin typeface="Arial"/>
              </a:rPr>
              <a:t> to </a:t>
            </a:r>
            <a:r>
              <a:rPr lang="pl-PL" sz="1200" dirty="0" err="1">
                <a:solidFill>
                  <a:srgbClr val="FFFFFF"/>
                </a:solidFill>
                <a:latin typeface="Arial"/>
              </a:rPr>
              <a:t>clients</a:t>
            </a:r>
            <a:r>
              <a:rPr lang="pl-PL" sz="1200" dirty="0">
                <a:solidFill>
                  <a:srgbClr val="FFFFFF"/>
                </a:solidFill>
                <a:latin typeface="Arial"/>
              </a:rPr>
              <a:t>’ feedback</a:t>
            </a:r>
            <a:endParaRPr lang="en-US" sz="1200" dirty="0">
              <a:solidFill>
                <a:srgbClr val="FFFFFF"/>
              </a:solidFill>
              <a:latin typeface="Arial"/>
            </a:endParaRPr>
          </a:p>
        </p:txBody>
      </p:sp>
      <p:sp>
        <p:nvSpPr>
          <p:cNvPr id="53" name="Rectangle: Rounded Corners 32">
            <a:extLst>
              <a:ext uri="{FF2B5EF4-FFF2-40B4-BE49-F238E27FC236}">
                <a16:creationId xmlns:a16="http://schemas.microsoft.com/office/drawing/2014/main" id="{243F61CB-43C2-444B-B629-8A1DF14ED39C}"/>
              </a:ext>
            </a:extLst>
          </p:cNvPr>
          <p:cNvSpPr/>
          <p:nvPr/>
        </p:nvSpPr>
        <p:spPr>
          <a:xfrm>
            <a:off x="1874222" y="4341731"/>
            <a:ext cx="1829177" cy="431744"/>
          </a:xfrm>
          <a:prstGeom prst="roundRect">
            <a:avLst>
              <a:gd name="adj" fmla="val 5000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7539"/>
            <a:r>
              <a:rPr lang="pl-PL" sz="1333" b="1" dirty="0">
                <a:solidFill>
                  <a:srgbClr val="FFFFFF"/>
                </a:solidFill>
                <a:latin typeface="Arial"/>
              </a:rPr>
              <a:t>SECURITY </a:t>
            </a:r>
            <a:r>
              <a:rPr lang="pl-PL" sz="1333" b="1" dirty="0" err="1">
                <a:solidFill>
                  <a:srgbClr val="FFFFFF"/>
                </a:solidFill>
                <a:latin typeface="Arial"/>
              </a:rPr>
              <a:t>actions</a:t>
            </a:r>
            <a:endParaRPr lang="en-US" sz="1333" b="1" dirty="0">
              <a:solidFill>
                <a:srgbClr val="FFFFFF"/>
              </a:solidFill>
              <a:latin typeface="Arial"/>
            </a:endParaRPr>
          </a:p>
        </p:txBody>
      </p:sp>
      <p:sp>
        <p:nvSpPr>
          <p:cNvPr id="54" name="Rectangle: Rounded Corners 44">
            <a:extLst>
              <a:ext uri="{FF2B5EF4-FFF2-40B4-BE49-F238E27FC236}">
                <a16:creationId xmlns:a16="http://schemas.microsoft.com/office/drawing/2014/main" id="{C3067731-AD3D-4747-9C0D-1AAC237F43C7}"/>
              </a:ext>
            </a:extLst>
          </p:cNvPr>
          <p:cNvSpPr/>
          <p:nvPr/>
        </p:nvSpPr>
        <p:spPr>
          <a:xfrm>
            <a:off x="4093200" y="4361603"/>
            <a:ext cx="1829177" cy="431744"/>
          </a:xfrm>
          <a:prstGeom prst="roundRect">
            <a:avLst>
              <a:gd name="adj" fmla="val 5000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7539"/>
            <a:r>
              <a:rPr lang="pl-PL" sz="1333" b="1" dirty="0">
                <a:solidFill>
                  <a:srgbClr val="FFFFFF"/>
                </a:solidFill>
                <a:latin typeface="Arial"/>
              </a:rPr>
              <a:t>SOHO </a:t>
            </a:r>
            <a:r>
              <a:rPr lang="pl-PL" sz="1333" b="1" dirty="0" err="1">
                <a:solidFill>
                  <a:srgbClr val="FFFFFF"/>
                </a:solidFill>
                <a:latin typeface="Arial"/>
              </a:rPr>
              <a:t>Clients</a:t>
            </a:r>
            <a:endParaRPr lang="en-US" sz="1333" b="1" dirty="0">
              <a:solidFill>
                <a:srgbClr val="FFFFFF"/>
              </a:solidFill>
              <a:latin typeface="Arial"/>
            </a:endParaRPr>
          </a:p>
        </p:txBody>
      </p:sp>
      <p:sp>
        <p:nvSpPr>
          <p:cNvPr id="60" name="Rectangle: Rounded Corners 26">
            <a:extLst>
              <a:ext uri="{FF2B5EF4-FFF2-40B4-BE49-F238E27FC236}">
                <a16:creationId xmlns:a16="http://schemas.microsoft.com/office/drawing/2014/main" id="{8EEDA1BC-99A8-4858-8033-DDCD4F4ECFD2}"/>
              </a:ext>
            </a:extLst>
          </p:cNvPr>
          <p:cNvSpPr/>
          <p:nvPr/>
        </p:nvSpPr>
        <p:spPr>
          <a:xfrm>
            <a:off x="1874041" y="3161839"/>
            <a:ext cx="1829177" cy="431744"/>
          </a:xfrm>
          <a:prstGeom prst="roundRect">
            <a:avLst>
              <a:gd name="adj" fmla="val 50000"/>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7539"/>
            <a:r>
              <a:rPr lang="pl-PL" sz="1333" b="1" dirty="0">
                <a:solidFill>
                  <a:srgbClr val="FFFFFF"/>
                </a:solidFill>
                <a:latin typeface="Arial"/>
              </a:rPr>
              <a:t>AFTER SALES service</a:t>
            </a:r>
            <a:endParaRPr lang="en-US" sz="1333" b="1" dirty="0">
              <a:solidFill>
                <a:srgbClr val="FFFFFF"/>
              </a:solidFill>
              <a:latin typeface="Arial"/>
            </a:endParaRPr>
          </a:p>
        </p:txBody>
      </p:sp>
      <p:sp>
        <p:nvSpPr>
          <p:cNvPr id="61" name="Rectangle: Rounded Corners 38">
            <a:extLst>
              <a:ext uri="{FF2B5EF4-FFF2-40B4-BE49-F238E27FC236}">
                <a16:creationId xmlns:a16="http://schemas.microsoft.com/office/drawing/2014/main" id="{B17F0010-47BA-4B5D-BB13-14FD1BAA6DBB}"/>
              </a:ext>
            </a:extLst>
          </p:cNvPr>
          <p:cNvSpPr/>
          <p:nvPr/>
        </p:nvSpPr>
        <p:spPr>
          <a:xfrm>
            <a:off x="4093200" y="3164315"/>
            <a:ext cx="1829177" cy="431744"/>
          </a:xfrm>
          <a:prstGeom prst="roundRect">
            <a:avLst>
              <a:gd name="adj" fmla="val 5000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7539"/>
            <a:r>
              <a:rPr lang="pl-PL" sz="1333" b="1" dirty="0">
                <a:solidFill>
                  <a:srgbClr val="FFFFFF"/>
                </a:solidFill>
                <a:latin typeface="Arial"/>
              </a:rPr>
              <a:t>PRIME </a:t>
            </a:r>
            <a:r>
              <a:rPr lang="pl-PL" sz="1333" b="1" dirty="0" err="1">
                <a:solidFill>
                  <a:srgbClr val="FFFFFF"/>
                </a:solidFill>
                <a:latin typeface="Arial"/>
              </a:rPr>
              <a:t>Clients</a:t>
            </a:r>
            <a:endParaRPr lang="en-US" sz="1333" b="1" dirty="0">
              <a:solidFill>
                <a:srgbClr val="FFFFFF"/>
              </a:solidFill>
              <a:latin typeface="Arial"/>
            </a:endParaRPr>
          </a:p>
        </p:txBody>
      </p:sp>
      <p:sp>
        <p:nvSpPr>
          <p:cNvPr id="66" name="Rectangle: Rounded Corners 38">
            <a:extLst>
              <a:ext uri="{FF2B5EF4-FFF2-40B4-BE49-F238E27FC236}">
                <a16:creationId xmlns:a16="http://schemas.microsoft.com/office/drawing/2014/main" id="{3DC1B911-CD27-47EC-91BC-579A474A7245}"/>
              </a:ext>
            </a:extLst>
          </p:cNvPr>
          <p:cNvSpPr/>
          <p:nvPr/>
        </p:nvSpPr>
        <p:spPr>
          <a:xfrm>
            <a:off x="1874041" y="3754967"/>
            <a:ext cx="1829177" cy="431744"/>
          </a:xfrm>
          <a:prstGeom prst="roundRect">
            <a:avLst>
              <a:gd name="adj" fmla="val 5000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7539"/>
            <a:r>
              <a:rPr lang="pl-PL" sz="1333" b="1" dirty="0">
                <a:solidFill>
                  <a:srgbClr val="FFFFFF"/>
                </a:solidFill>
                <a:latin typeface="Arial"/>
              </a:rPr>
              <a:t>SALES</a:t>
            </a:r>
            <a:endParaRPr lang="en-US" sz="1333" b="1" dirty="0">
              <a:solidFill>
                <a:srgbClr val="FFFFFF"/>
              </a:solidFill>
              <a:latin typeface="Arial"/>
            </a:endParaRPr>
          </a:p>
        </p:txBody>
      </p:sp>
      <p:sp>
        <p:nvSpPr>
          <p:cNvPr id="67" name="Rectangle: Rounded Corners 38">
            <a:extLst>
              <a:ext uri="{FF2B5EF4-FFF2-40B4-BE49-F238E27FC236}">
                <a16:creationId xmlns:a16="http://schemas.microsoft.com/office/drawing/2014/main" id="{337EC717-F363-4772-8737-2BD7F263B8A4}"/>
              </a:ext>
            </a:extLst>
          </p:cNvPr>
          <p:cNvSpPr/>
          <p:nvPr/>
        </p:nvSpPr>
        <p:spPr>
          <a:xfrm>
            <a:off x="4093200" y="3762959"/>
            <a:ext cx="1829177" cy="431744"/>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7539"/>
            <a:r>
              <a:rPr lang="pl-PL" sz="1333" b="1" dirty="0">
                <a:solidFill>
                  <a:srgbClr val="FFFFFF"/>
                </a:solidFill>
                <a:latin typeface="Arial"/>
              </a:rPr>
              <a:t>RETENTION </a:t>
            </a:r>
            <a:r>
              <a:rPr lang="pl-PL" sz="1333" b="1" dirty="0" err="1">
                <a:solidFill>
                  <a:srgbClr val="FFFFFF"/>
                </a:solidFill>
                <a:latin typeface="Arial"/>
              </a:rPr>
              <a:t>campaigns</a:t>
            </a:r>
            <a:endParaRPr lang="en-US" sz="1333" b="1" dirty="0">
              <a:solidFill>
                <a:srgbClr val="FFFFFF"/>
              </a:solidFill>
              <a:latin typeface="Arial"/>
            </a:endParaRPr>
          </a:p>
        </p:txBody>
      </p:sp>
      <p:sp>
        <p:nvSpPr>
          <p:cNvPr id="68" name="Rectangle: Rounded Corners 32">
            <a:extLst>
              <a:ext uri="{FF2B5EF4-FFF2-40B4-BE49-F238E27FC236}">
                <a16:creationId xmlns:a16="http://schemas.microsoft.com/office/drawing/2014/main" id="{C25BA4EB-EE23-424D-95BF-68C3E3BCF2A9}"/>
              </a:ext>
            </a:extLst>
          </p:cNvPr>
          <p:cNvSpPr/>
          <p:nvPr/>
        </p:nvSpPr>
        <p:spPr>
          <a:xfrm>
            <a:off x="6304076" y="3139951"/>
            <a:ext cx="1829177" cy="431744"/>
          </a:xfrm>
          <a:prstGeom prst="roundRect">
            <a:avLst>
              <a:gd name="adj" fmla="val 50000"/>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7539"/>
            <a:r>
              <a:rPr lang="pl-PL" sz="1333" b="1" dirty="0">
                <a:solidFill>
                  <a:srgbClr val="FFFFFF"/>
                </a:solidFill>
                <a:latin typeface="Arial"/>
              </a:rPr>
              <a:t>CHATS</a:t>
            </a:r>
            <a:endParaRPr lang="en-US" sz="1333" b="1" dirty="0">
              <a:solidFill>
                <a:srgbClr val="FFFFFF"/>
              </a:solidFill>
              <a:latin typeface="Arial"/>
            </a:endParaRPr>
          </a:p>
        </p:txBody>
      </p:sp>
      <p:sp>
        <p:nvSpPr>
          <p:cNvPr id="69" name="Rectangle: Rounded Corners 32">
            <a:extLst>
              <a:ext uri="{FF2B5EF4-FFF2-40B4-BE49-F238E27FC236}">
                <a16:creationId xmlns:a16="http://schemas.microsoft.com/office/drawing/2014/main" id="{CF0B5239-E06A-44DB-B779-88C4DA559305}"/>
              </a:ext>
            </a:extLst>
          </p:cNvPr>
          <p:cNvSpPr/>
          <p:nvPr/>
        </p:nvSpPr>
        <p:spPr>
          <a:xfrm>
            <a:off x="6304076" y="3744454"/>
            <a:ext cx="1829177" cy="431744"/>
          </a:xfrm>
          <a:prstGeom prst="roundRect">
            <a:avLst>
              <a:gd name="adj" fmla="val 50000"/>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7539"/>
            <a:r>
              <a:rPr lang="pl-PL" sz="1333" b="1" dirty="0">
                <a:solidFill>
                  <a:srgbClr val="FFFFFF"/>
                </a:solidFill>
                <a:latin typeface="Arial"/>
              </a:rPr>
              <a:t>EMAILS</a:t>
            </a:r>
            <a:endParaRPr lang="en-US" sz="1333" b="1" dirty="0">
              <a:solidFill>
                <a:srgbClr val="FFFFFF"/>
              </a:solidFill>
              <a:latin typeface="Arial"/>
            </a:endParaRPr>
          </a:p>
        </p:txBody>
      </p:sp>
      <p:sp>
        <p:nvSpPr>
          <p:cNvPr id="71" name="Rectangle: Rounded Corners 32">
            <a:extLst>
              <a:ext uri="{FF2B5EF4-FFF2-40B4-BE49-F238E27FC236}">
                <a16:creationId xmlns:a16="http://schemas.microsoft.com/office/drawing/2014/main" id="{1E07A34C-3AA6-4921-BF94-5036072E092E}"/>
              </a:ext>
            </a:extLst>
          </p:cNvPr>
          <p:cNvSpPr/>
          <p:nvPr/>
        </p:nvSpPr>
        <p:spPr>
          <a:xfrm>
            <a:off x="6318249" y="4349422"/>
            <a:ext cx="1829177" cy="431744"/>
          </a:xfrm>
          <a:prstGeom prst="roundRect">
            <a:avLst>
              <a:gd name="adj" fmla="val 50000"/>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7539"/>
            <a:r>
              <a:rPr lang="pl-PL" sz="1333" b="1" dirty="0">
                <a:solidFill>
                  <a:srgbClr val="FFFFFF"/>
                </a:solidFill>
                <a:latin typeface="Arial"/>
              </a:rPr>
              <a:t>SOCIAL MEDIA</a:t>
            </a:r>
            <a:endParaRPr lang="en-US" sz="1333" b="1" dirty="0">
              <a:solidFill>
                <a:srgbClr val="FFFFFF"/>
              </a:solidFill>
              <a:latin typeface="Arial"/>
            </a:endParaRPr>
          </a:p>
        </p:txBody>
      </p:sp>
      <p:sp>
        <p:nvSpPr>
          <p:cNvPr id="74" name="Rectangle: Rounded Corners 38">
            <a:extLst>
              <a:ext uri="{FF2B5EF4-FFF2-40B4-BE49-F238E27FC236}">
                <a16:creationId xmlns:a16="http://schemas.microsoft.com/office/drawing/2014/main" id="{61CD2973-FD9E-4EBA-8053-345322FA2EEB}"/>
              </a:ext>
            </a:extLst>
          </p:cNvPr>
          <p:cNvSpPr/>
          <p:nvPr/>
        </p:nvSpPr>
        <p:spPr>
          <a:xfrm>
            <a:off x="4093200" y="4960247"/>
            <a:ext cx="1829177" cy="431744"/>
          </a:xfrm>
          <a:prstGeom prst="roundRect">
            <a:avLst>
              <a:gd name="adj" fmla="val 5000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7539"/>
            <a:r>
              <a:rPr lang="pl-PL" sz="1333" b="1" dirty="0">
                <a:solidFill>
                  <a:srgbClr val="FFFFFF"/>
                </a:solidFill>
                <a:latin typeface="Arial"/>
              </a:rPr>
              <a:t>MORTGAGES</a:t>
            </a:r>
            <a:endParaRPr lang="en-US" sz="1333" b="1" dirty="0">
              <a:solidFill>
                <a:srgbClr val="FFFFFF"/>
              </a:solidFill>
              <a:latin typeface="Arial"/>
            </a:endParaRPr>
          </a:p>
        </p:txBody>
      </p:sp>
      <p:sp>
        <p:nvSpPr>
          <p:cNvPr id="75" name="Rectangle: Rounded Corners 32">
            <a:extLst>
              <a:ext uri="{FF2B5EF4-FFF2-40B4-BE49-F238E27FC236}">
                <a16:creationId xmlns:a16="http://schemas.microsoft.com/office/drawing/2014/main" id="{0AEA469B-C3CA-44D1-9E8F-4B861ABCB3AF}"/>
              </a:ext>
            </a:extLst>
          </p:cNvPr>
          <p:cNvSpPr/>
          <p:nvPr/>
        </p:nvSpPr>
        <p:spPr>
          <a:xfrm>
            <a:off x="4093200" y="5558891"/>
            <a:ext cx="1829177" cy="431744"/>
          </a:xfrm>
          <a:prstGeom prst="roundRect">
            <a:avLst>
              <a:gd name="adj" fmla="val 50000"/>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7539"/>
            <a:r>
              <a:rPr lang="pl-PL" sz="1000" b="1" dirty="0">
                <a:solidFill>
                  <a:srgbClr val="FFFFFF"/>
                </a:solidFill>
                <a:latin typeface="Arial"/>
              </a:rPr>
              <a:t>FOREIGN LANGUAGES </a:t>
            </a:r>
            <a:r>
              <a:rPr lang="pl-PL" sz="1000" b="1" dirty="0" err="1">
                <a:solidFill>
                  <a:srgbClr val="FFFFFF"/>
                </a:solidFill>
                <a:latin typeface="Arial"/>
              </a:rPr>
              <a:t>customers</a:t>
            </a:r>
            <a:endParaRPr lang="en-US" sz="1000" b="1" dirty="0">
              <a:solidFill>
                <a:srgbClr val="FFFFFF"/>
              </a:solidFill>
              <a:latin typeface="Arial"/>
            </a:endParaRPr>
          </a:p>
        </p:txBody>
      </p:sp>
    </p:spTree>
    <p:extLst>
      <p:ext uri="{BB962C8B-B14F-4D97-AF65-F5344CB8AC3E}">
        <p14:creationId xmlns:p14="http://schemas.microsoft.com/office/powerpoint/2010/main" val="365427533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57CD16-8CEA-9485-D038-82527101820F}"/>
            </a:ext>
          </a:extLst>
        </p:cNvPr>
        <p:cNvGrpSpPr/>
        <p:nvPr/>
      </p:nvGrpSpPr>
      <p:grpSpPr>
        <a:xfrm>
          <a:off x="0" y="0"/>
          <a:ext cx="0" cy="0"/>
          <a:chOff x="0" y="0"/>
          <a:chExt cx="0" cy="0"/>
        </a:xfrm>
      </p:grpSpPr>
      <p:sp>
        <p:nvSpPr>
          <p:cNvPr id="10" name="Rectangle 9">
            <a:extLst>
              <a:ext uri="{FF2B5EF4-FFF2-40B4-BE49-F238E27FC236}">
                <a16:creationId xmlns:a16="http://schemas.microsoft.com/office/drawing/2014/main" id="{93A7FBC4-D51E-07DC-2371-86753A539DD7}"/>
              </a:ext>
            </a:extLst>
          </p:cNvPr>
          <p:cNvSpPr/>
          <p:nvPr/>
        </p:nvSpPr>
        <p:spPr>
          <a:xfrm>
            <a:off x="4238340" y="901283"/>
            <a:ext cx="2760031" cy="861435"/>
          </a:xfrm>
          <a:prstGeom prst="roundRect">
            <a:avLst/>
          </a:prstGeom>
          <a:solidFill>
            <a:schemeClr val="accent1"/>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algn="ctr" defTabSz="533360">
              <a:lnSpc>
                <a:spcPct val="150000"/>
              </a:lnSpc>
              <a:spcBef>
                <a:spcPct val="0"/>
              </a:spcBef>
              <a:spcAft>
                <a:spcPct val="35000"/>
              </a:spcAft>
              <a:defRPr/>
            </a:pPr>
            <a:r>
              <a:rPr lang="pl-PL" sz="1467" b="1" dirty="0">
                <a:solidFill>
                  <a:srgbClr val="FFFFFF"/>
                </a:solidFill>
                <a:latin typeface="Arial"/>
              </a:rPr>
              <a:t>D</a:t>
            </a:r>
            <a:r>
              <a:rPr lang="en-US" sz="1467" b="1" dirty="0" err="1">
                <a:solidFill>
                  <a:srgbClr val="FFFFFF"/>
                </a:solidFill>
                <a:latin typeface="Arial"/>
              </a:rPr>
              <a:t>epartment</a:t>
            </a:r>
            <a:r>
              <a:rPr lang="en-US" sz="1467" b="1" dirty="0">
                <a:solidFill>
                  <a:srgbClr val="FFFFFF"/>
                </a:solidFill>
                <a:latin typeface="Arial"/>
              </a:rPr>
              <a:t> </a:t>
            </a:r>
            <a:r>
              <a:rPr lang="pl-PL" sz="1467" b="1" dirty="0">
                <a:solidFill>
                  <a:srgbClr val="FFFFFF"/>
                </a:solidFill>
                <a:latin typeface="Arial"/>
              </a:rPr>
              <a:t>of </a:t>
            </a:r>
            <a:r>
              <a:rPr lang="pl-PL" sz="1467" b="1" dirty="0" err="1">
                <a:solidFill>
                  <a:srgbClr val="FFFFFF"/>
                </a:solidFill>
                <a:latin typeface="Arial"/>
              </a:rPr>
              <a:t>Omnichannel</a:t>
            </a:r>
            <a:r>
              <a:rPr lang="pl-PL" sz="1467" b="1" dirty="0">
                <a:solidFill>
                  <a:srgbClr val="FFFFFF"/>
                </a:solidFill>
                <a:latin typeface="Arial"/>
              </a:rPr>
              <a:t> </a:t>
            </a:r>
            <a:r>
              <a:rPr lang="en-US" sz="1467" b="1" dirty="0">
                <a:solidFill>
                  <a:srgbClr val="FFFFFF"/>
                </a:solidFill>
                <a:latin typeface="Arial"/>
              </a:rPr>
              <a:t>Customer </a:t>
            </a:r>
            <a:r>
              <a:rPr lang="pl-PL" sz="1467" b="1" dirty="0">
                <a:solidFill>
                  <a:srgbClr val="FFFFFF"/>
                </a:solidFill>
                <a:latin typeface="Arial"/>
              </a:rPr>
              <a:t>Relations</a:t>
            </a:r>
          </a:p>
        </p:txBody>
      </p:sp>
      <p:sp>
        <p:nvSpPr>
          <p:cNvPr id="14" name="Rectangle 13">
            <a:extLst>
              <a:ext uri="{FF2B5EF4-FFF2-40B4-BE49-F238E27FC236}">
                <a16:creationId xmlns:a16="http://schemas.microsoft.com/office/drawing/2014/main" id="{6CF74245-D373-3E8C-8120-1B05D96AB8CF}"/>
              </a:ext>
            </a:extLst>
          </p:cNvPr>
          <p:cNvSpPr/>
          <p:nvPr/>
        </p:nvSpPr>
        <p:spPr>
          <a:xfrm>
            <a:off x="2582942" y="2118560"/>
            <a:ext cx="1742719" cy="718557"/>
          </a:xfrm>
          <a:prstGeom prst="roundRect">
            <a:avLst/>
          </a:prstGeom>
          <a:solidFill>
            <a:schemeClr val="accent1"/>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algn="ctr" defTabSz="533360">
              <a:lnSpc>
                <a:spcPct val="90000"/>
              </a:lnSpc>
              <a:spcBef>
                <a:spcPct val="0"/>
              </a:spcBef>
              <a:spcAft>
                <a:spcPct val="35000"/>
              </a:spcAft>
              <a:defRPr/>
            </a:pPr>
            <a:r>
              <a:rPr lang="pl-PL" sz="1333" b="1" dirty="0" err="1">
                <a:solidFill>
                  <a:srgbClr val="FFFFFF"/>
                </a:solidFill>
                <a:latin typeface="Arial"/>
              </a:rPr>
              <a:t>Customer</a:t>
            </a:r>
            <a:r>
              <a:rPr lang="pl-PL" sz="1333" b="1" dirty="0">
                <a:solidFill>
                  <a:srgbClr val="FFFFFF"/>
                </a:solidFill>
                <a:latin typeface="Arial"/>
              </a:rPr>
              <a:t> Service </a:t>
            </a:r>
          </a:p>
          <a:p>
            <a:pPr algn="ctr" defTabSz="533360">
              <a:lnSpc>
                <a:spcPct val="90000"/>
              </a:lnSpc>
              <a:spcBef>
                <a:spcPct val="0"/>
              </a:spcBef>
              <a:spcAft>
                <a:spcPct val="35000"/>
              </a:spcAft>
              <a:defRPr/>
            </a:pPr>
            <a:r>
              <a:rPr lang="pl-PL" sz="1333" b="1" dirty="0">
                <a:solidFill>
                  <a:srgbClr val="FFFFFF"/>
                </a:solidFill>
                <a:latin typeface="Arial"/>
              </a:rPr>
              <a:t>Center</a:t>
            </a:r>
            <a:endParaRPr lang="en-US" sz="1333" b="1" dirty="0">
              <a:solidFill>
                <a:srgbClr val="FFFFFF"/>
              </a:solidFill>
              <a:latin typeface="Arial"/>
            </a:endParaRPr>
          </a:p>
        </p:txBody>
      </p:sp>
      <p:sp>
        <p:nvSpPr>
          <p:cNvPr id="15" name="Rectangle 14">
            <a:extLst>
              <a:ext uri="{FF2B5EF4-FFF2-40B4-BE49-F238E27FC236}">
                <a16:creationId xmlns:a16="http://schemas.microsoft.com/office/drawing/2014/main" id="{5FE33AA2-E662-1B69-27BD-450220F03970}"/>
              </a:ext>
            </a:extLst>
          </p:cNvPr>
          <p:cNvSpPr/>
          <p:nvPr/>
        </p:nvSpPr>
        <p:spPr>
          <a:xfrm>
            <a:off x="7137250" y="2118560"/>
            <a:ext cx="1742719" cy="718557"/>
          </a:xfrm>
          <a:prstGeom prst="roundRect">
            <a:avLst/>
          </a:prstGeom>
          <a:solidFill>
            <a:schemeClr val="accent1"/>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algn="ctr" defTabSz="533360">
              <a:lnSpc>
                <a:spcPct val="90000"/>
              </a:lnSpc>
              <a:spcBef>
                <a:spcPct val="0"/>
              </a:spcBef>
              <a:spcAft>
                <a:spcPct val="35000"/>
              </a:spcAft>
              <a:defRPr/>
            </a:pPr>
            <a:r>
              <a:rPr lang="pl-PL" sz="1400" b="1" dirty="0" err="1">
                <a:solidFill>
                  <a:srgbClr val="FFFFFF"/>
                </a:solidFill>
                <a:latin typeface="Arial"/>
              </a:rPr>
              <a:t>Customer</a:t>
            </a:r>
            <a:r>
              <a:rPr lang="pl-PL" sz="1400" b="1" dirty="0">
                <a:solidFill>
                  <a:srgbClr val="FFFFFF"/>
                </a:solidFill>
                <a:latin typeface="Arial"/>
              </a:rPr>
              <a:t> Sales &amp; Service </a:t>
            </a:r>
            <a:br>
              <a:rPr lang="pl-PL" sz="1400" b="1" dirty="0">
                <a:solidFill>
                  <a:srgbClr val="FFFFFF"/>
                </a:solidFill>
                <a:latin typeface="Arial"/>
              </a:rPr>
            </a:br>
            <a:r>
              <a:rPr lang="pl-PL" sz="1400" b="1" dirty="0" err="1">
                <a:solidFill>
                  <a:srgbClr val="FFFFFF"/>
                </a:solidFill>
                <a:latin typeface="Arial"/>
              </a:rPr>
              <a:t>Specialised</a:t>
            </a:r>
            <a:r>
              <a:rPr lang="pl-PL" sz="1400" b="1" dirty="0">
                <a:solidFill>
                  <a:srgbClr val="FFFFFF"/>
                </a:solidFill>
                <a:latin typeface="Arial"/>
              </a:rPr>
              <a:t> Center</a:t>
            </a:r>
            <a:endParaRPr lang="en-US" sz="1400" b="1" dirty="0">
              <a:solidFill>
                <a:srgbClr val="FFFFFF"/>
              </a:solidFill>
              <a:latin typeface="Arial"/>
            </a:endParaRPr>
          </a:p>
        </p:txBody>
      </p:sp>
      <p:sp>
        <p:nvSpPr>
          <p:cNvPr id="3" name="Symbol zastępczy numeru slajdu 2">
            <a:extLst>
              <a:ext uri="{FF2B5EF4-FFF2-40B4-BE49-F238E27FC236}">
                <a16:creationId xmlns:a16="http://schemas.microsoft.com/office/drawing/2014/main" id="{61E681E0-E54F-1494-5394-063A785E904D}"/>
              </a:ext>
            </a:extLst>
          </p:cNvPr>
          <p:cNvSpPr>
            <a:spLocks noGrp="1"/>
          </p:cNvSpPr>
          <p:nvPr>
            <p:ph type="sldNum" sz="quarter" idx="10"/>
          </p:nvPr>
        </p:nvSpPr>
        <p:spPr/>
        <p:txBody>
          <a:bodyPr/>
          <a:lstStyle/>
          <a:p>
            <a:pPr defTabSz="467527">
              <a:defRPr/>
            </a:pPr>
            <a:fld id="{332DF002-2E43-485C-89F8-8DCEF59D6C4F}" type="slidenum">
              <a:rPr lang="pl-PL">
                <a:latin typeface="Arial"/>
              </a:rPr>
              <a:pPr defTabSz="467527">
                <a:defRPr/>
              </a:pPr>
              <a:t>12</a:t>
            </a:fld>
            <a:endParaRPr lang="pl-PL" dirty="0">
              <a:latin typeface="Arial"/>
            </a:endParaRPr>
          </a:p>
        </p:txBody>
      </p:sp>
      <p:sp>
        <p:nvSpPr>
          <p:cNvPr id="35" name="Rectangle: Rounded Corners 14">
            <a:extLst>
              <a:ext uri="{FF2B5EF4-FFF2-40B4-BE49-F238E27FC236}">
                <a16:creationId xmlns:a16="http://schemas.microsoft.com/office/drawing/2014/main" id="{65F3DD71-BCC5-0076-F7E4-7622AEEA79E9}"/>
              </a:ext>
            </a:extLst>
          </p:cNvPr>
          <p:cNvSpPr/>
          <p:nvPr/>
        </p:nvSpPr>
        <p:spPr>
          <a:xfrm>
            <a:off x="2582941" y="4773470"/>
            <a:ext cx="1742717" cy="632938"/>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b="1" dirty="0"/>
              <a:t>Multi-</a:t>
            </a:r>
            <a:r>
              <a:rPr lang="pl-PL" sz="1400" b="1" dirty="0" err="1"/>
              <a:t>contact</a:t>
            </a:r>
            <a:r>
              <a:rPr lang="pl-PL" sz="1400" b="1" dirty="0"/>
              <a:t> Team</a:t>
            </a:r>
            <a:endParaRPr lang="en-US" sz="1400" b="1" dirty="0"/>
          </a:p>
        </p:txBody>
      </p:sp>
      <p:sp>
        <p:nvSpPr>
          <p:cNvPr id="36" name="Rectangle: Rounded Corners 14">
            <a:extLst>
              <a:ext uri="{FF2B5EF4-FFF2-40B4-BE49-F238E27FC236}">
                <a16:creationId xmlns:a16="http://schemas.microsoft.com/office/drawing/2014/main" id="{6B9ED425-EDEB-6EB8-F547-B207508B4110}"/>
              </a:ext>
            </a:extLst>
          </p:cNvPr>
          <p:cNvSpPr/>
          <p:nvPr/>
        </p:nvSpPr>
        <p:spPr>
          <a:xfrm>
            <a:off x="2582941" y="3947128"/>
            <a:ext cx="1742718" cy="632938"/>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200" b="1" dirty="0" err="1"/>
              <a:t>Transformation</a:t>
            </a:r>
            <a:r>
              <a:rPr lang="pl-PL" sz="1200" b="1" dirty="0"/>
              <a:t> Team</a:t>
            </a:r>
            <a:endParaRPr lang="en-US" sz="1200" b="1" dirty="0"/>
          </a:p>
        </p:txBody>
      </p:sp>
      <p:sp>
        <p:nvSpPr>
          <p:cNvPr id="37" name="Rectangle: Rounded Corners 8">
            <a:extLst>
              <a:ext uri="{FF2B5EF4-FFF2-40B4-BE49-F238E27FC236}">
                <a16:creationId xmlns:a16="http://schemas.microsoft.com/office/drawing/2014/main" id="{849A9A33-B66F-E062-295A-1F5B32B48DEA}"/>
              </a:ext>
            </a:extLst>
          </p:cNvPr>
          <p:cNvSpPr/>
          <p:nvPr/>
        </p:nvSpPr>
        <p:spPr>
          <a:xfrm>
            <a:off x="2584785" y="3129545"/>
            <a:ext cx="1742719" cy="632938"/>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200" b="1" dirty="0" err="1"/>
              <a:t>Onboarding</a:t>
            </a:r>
            <a:r>
              <a:rPr lang="pl-PL" sz="1200" b="1" dirty="0"/>
              <a:t> Team</a:t>
            </a:r>
          </a:p>
        </p:txBody>
      </p:sp>
      <p:sp>
        <p:nvSpPr>
          <p:cNvPr id="2" name="pole tekstowe 1">
            <a:extLst>
              <a:ext uri="{FF2B5EF4-FFF2-40B4-BE49-F238E27FC236}">
                <a16:creationId xmlns:a16="http://schemas.microsoft.com/office/drawing/2014/main" id="{0F698E83-4404-9395-58C8-026AB68275F2}"/>
              </a:ext>
            </a:extLst>
          </p:cNvPr>
          <p:cNvSpPr txBox="1"/>
          <p:nvPr/>
        </p:nvSpPr>
        <p:spPr>
          <a:xfrm>
            <a:off x="1260198" y="3162864"/>
            <a:ext cx="1633203" cy="577081"/>
          </a:xfrm>
          <a:prstGeom prst="rect">
            <a:avLst/>
          </a:prstGeom>
          <a:noFill/>
        </p:spPr>
        <p:txBody>
          <a:bodyPr wrap="square" rtlCol="0">
            <a:spAutoFit/>
          </a:bodyPr>
          <a:lstStyle>
            <a:defPPr>
              <a:defRPr lang="pl-PL"/>
            </a:defPPr>
            <a:lvl1pPr algn="ctr">
              <a:defRPr sz="1600" b="1">
                <a:latin typeface="Bradley Hand ITC" panose="03070402050302030203" pitchFamily="66" charset="0"/>
              </a:defRPr>
            </a:lvl1pPr>
          </a:lstStyle>
          <a:p>
            <a:r>
              <a:rPr lang="pl-PL" sz="1050" dirty="0"/>
              <a:t>New </a:t>
            </a:r>
            <a:r>
              <a:rPr lang="pl-PL" sz="1050" dirty="0" err="1"/>
              <a:t>employees</a:t>
            </a:r>
            <a:r>
              <a:rPr lang="pl-PL" sz="1050" dirty="0"/>
              <a:t> </a:t>
            </a:r>
            <a:br>
              <a:rPr lang="pl-PL" sz="1050" dirty="0"/>
            </a:br>
            <a:r>
              <a:rPr lang="pl-PL" sz="1050" dirty="0"/>
              <a:t>0 &lt; 12 </a:t>
            </a:r>
            <a:r>
              <a:rPr lang="pl-PL" sz="1050" dirty="0" err="1"/>
              <a:t>months</a:t>
            </a:r>
            <a:br>
              <a:rPr lang="pl-PL" sz="1050" dirty="0"/>
            </a:br>
            <a:r>
              <a:rPr lang="pl-PL" sz="1050" dirty="0" err="1"/>
              <a:t>sales</a:t>
            </a:r>
            <a:r>
              <a:rPr lang="pl-PL" sz="1050" dirty="0"/>
              <a:t> &amp; </a:t>
            </a:r>
            <a:r>
              <a:rPr lang="pl-PL" sz="1050" dirty="0" err="1"/>
              <a:t>aftersales</a:t>
            </a:r>
            <a:endParaRPr lang="pl-PL" sz="1050" dirty="0"/>
          </a:p>
        </p:txBody>
      </p:sp>
      <p:sp>
        <p:nvSpPr>
          <p:cNvPr id="40" name="Rectangle: Rounded Corners 14">
            <a:extLst>
              <a:ext uri="{FF2B5EF4-FFF2-40B4-BE49-F238E27FC236}">
                <a16:creationId xmlns:a16="http://schemas.microsoft.com/office/drawing/2014/main" id="{5412AD74-9575-9D5D-8D4B-4D8767BDE0A8}"/>
              </a:ext>
            </a:extLst>
          </p:cNvPr>
          <p:cNvSpPr/>
          <p:nvPr/>
        </p:nvSpPr>
        <p:spPr>
          <a:xfrm>
            <a:off x="7137250" y="5599812"/>
            <a:ext cx="1742400" cy="633600"/>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050" b="1" dirty="0"/>
              <a:t>SAFETY </a:t>
            </a:r>
          </a:p>
          <a:p>
            <a:pPr algn="ctr"/>
            <a:r>
              <a:rPr lang="pl-PL" sz="1050" b="1" dirty="0"/>
              <a:t>TEAM</a:t>
            </a:r>
            <a:endParaRPr lang="en-US" sz="1050" b="1" dirty="0"/>
          </a:p>
        </p:txBody>
      </p:sp>
      <p:sp>
        <p:nvSpPr>
          <p:cNvPr id="41" name="Rectangle: Rounded Corners 14">
            <a:extLst>
              <a:ext uri="{FF2B5EF4-FFF2-40B4-BE49-F238E27FC236}">
                <a16:creationId xmlns:a16="http://schemas.microsoft.com/office/drawing/2014/main" id="{EE5C47C6-8602-F417-2D36-5E633601C100}"/>
              </a:ext>
            </a:extLst>
          </p:cNvPr>
          <p:cNvSpPr/>
          <p:nvPr/>
        </p:nvSpPr>
        <p:spPr>
          <a:xfrm>
            <a:off x="7137250" y="3947128"/>
            <a:ext cx="1742400" cy="633600"/>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050" b="1" dirty="0"/>
              <a:t>MORTGAGE </a:t>
            </a:r>
          </a:p>
          <a:p>
            <a:pPr algn="ctr"/>
            <a:r>
              <a:rPr lang="pl-PL" sz="1050" b="1" dirty="0"/>
              <a:t>TEAM</a:t>
            </a:r>
            <a:endParaRPr lang="en-US" sz="1050" b="1" dirty="0"/>
          </a:p>
        </p:txBody>
      </p:sp>
      <p:sp>
        <p:nvSpPr>
          <p:cNvPr id="43" name="Rectangle: Rounded Corners 8">
            <a:extLst>
              <a:ext uri="{FF2B5EF4-FFF2-40B4-BE49-F238E27FC236}">
                <a16:creationId xmlns:a16="http://schemas.microsoft.com/office/drawing/2014/main" id="{D14F8771-4F61-00DC-F910-F67C078705BA}"/>
              </a:ext>
            </a:extLst>
          </p:cNvPr>
          <p:cNvSpPr/>
          <p:nvPr/>
        </p:nvSpPr>
        <p:spPr>
          <a:xfrm>
            <a:off x="7137250" y="3129214"/>
            <a:ext cx="1742400" cy="633600"/>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050" b="1" dirty="0"/>
              <a:t>PRIME </a:t>
            </a:r>
          </a:p>
          <a:p>
            <a:pPr algn="ctr"/>
            <a:r>
              <a:rPr lang="pl-PL" sz="1050" b="1" dirty="0"/>
              <a:t>TEAM</a:t>
            </a:r>
            <a:endParaRPr lang="en-US" sz="1050" b="1" dirty="0"/>
          </a:p>
        </p:txBody>
      </p:sp>
      <p:sp>
        <p:nvSpPr>
          <p:cNvPr id="44" name="Rectangle: Rounded Corners 14">
            <a:extLst>
              <a:ext uri="{FF2B5EF4-FFF2-40B4-BE49-F238E27FC236}">
                <a16:creationId xmlns:a16="http://schemas.microsoft.com/office/drawing/2014/main" id="{106D5CA1-60B8-2749-9BDD-9BD9B3C473A8}"/>
              </a:ext>
            </a:extLst>
          </p:cNvPr>
          <p:cNvSpPr/>
          <p:nvPr/>
        </p:nvSpPr>
        <p:spPr>
          <a:xfrm>
            <a:off x="7137250" y="4773470"/>
            <a:ext cx="1742400" cy="633600"/>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050" b="1" dirty="0"/>
              <a:t>SOHO </a:t>
            </a:r>
          </a:p>
          <a:p>
            <a:pPr algn="ctr"/>
            <a:r>
              <a:rPr lang="pl-PL" sz="1050" b="1" dirty="0"/>
              <a:t>TEAM</a:t>
            </a:r>
            <a:endParaRPr lang="en-US" sz="1050" b="1" dirty="0"/>
          </a:p>
        </p:txBody>
      </p:sp>
      <p:sp>
        <p:nvSpPr>
          <p:cNvPr id="46" name="Rectangle: Rounded Corners 8">
            <a:extLst>
              <a:ext uri="{FF2B5EF4-FFF2-40B4-BE49-F238E27FC236}">
                <a16:creationId xmlns:a16="http://schemas.microsoft.com/office/drawing/2014/main" id="{6139CD55-1BC4-01CF-26EE-2A67B3EE8EED}"/>
              </a:ext>
            </a:extLst>
          </p:cNvPr>
          <p:cNvSpPr/>
          <p:nvPr/>
        </p:nvSpPr>
        <p:spPr>
          <a:xfrm>
            <a:off x="2582941" y="5599812"/>
            <a:ext cx="1742400" cy="633600"/>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050" b="1" dirty="0"/>
              <a:t>REMOTE CUSTOMERS </a:t>
            </a:r>
          </a:p>
          <a:p>
            <a:pPr algn="ctr"/>
            <a:r>
              <a:rPr lang="pl-PL" sz="1050" b="1" dirty="0"/>
              <a:t>TEAM</a:t>
            </a:r>
            <a:endParaRPr lang="en-US" sz="1050" b="1" dirty="0"/>
          </a:p>
        </p:txBody>
      </p:sp>
      <p:sp>
        <p:nvSpPr>
          <p:cNvPr id="49" name="pole tekstowe 48">
            <a:extLst>
              <a:ext uri="{FF2B5EF4-FFF2-40B4-BE49-F238E27FC236}">
                <a16:creationId xmlns:a16="http://schemas.microsoft.com/office/drawing/2014/main" id="{CDF0B9F9-BBB3-83C4-160B-36334B6A2DFF}"/>
              </a:ext>
            </a:extLst>
          </p:cNvPr>
          <p:cNvSpPr txBox="1"/>
          <p:nvPr/>
        </p:nvSpPr>
        <p:spPr>
          <a:xfrm>
            <a:off x="1669872" y="5663040"/>
            <a:ext cx="927695" cy="432961"/>
          </a:xfrm>
          <a:prstGeom prst="rect">
            <a:avLst/>
          </a:prstGeom>
          <a:noFill/>
        </p:spPr>
        <p:txBody>
          <a:bodyPr wrap="square" rtlCol="0">
            <a:spAutoFit/>
          </a:bodyPr>
          <a:lstStyle/>
          <a:p>
            <a:pPr algn="ctr"/>
            <a:r>
              <a:rPr lang="pl-PL" sz="1100" b="1" dirty="0">
                <a:latin typeface="Bradley Hand ITC" panose="03070402050302030203" pitchFamily="66" charset="0"/>
              </a:rPr>
              <a:t>Chat/email/</a:t>
            </a:r>
            <a:r>
              <a:rPr lang="pl-PL" sz="1100" b="1" dirty="0" err="1">
                <a:latin typeface="Bradley Hand ITC" panose="03070402050302030203" pitchFamily="66" charset="0"/>
              </a:rPr>
              <a:t>social</a:t>
            </a:r>
            <a:r>
              <a:rPr lang="pl-PL" sz="1100" b="1" dirty="0">
                <a:latin typeface="Bradley Hand ITC" panose="03070402050302030203" pitchFamily="66" charset="0"/>
              </a:rPr>
              <a:t> media</a:t>
            </a:r>
          </a:p>
        </p:txBody>
      </p:sp>
      <p:sp>
        <p:nvSpPr>
          <p:cNvPr id="32" name="Tytuł 1">
            <a:extLst>
              <a:ext uri="{FF2B5EF4-FFF2-40B4-BE49-F238E27FC236}">
                <a16:creationId xmlns:a16="http://schemas.microsoft.com/office/drawing/2014/main" id="{6D6C3056-EE78-341D-3482-3D90DF7C170E}"/>
              </a:ext>
            </a:extLst>
          </p:cNvPr>
          <p:cNvSpPr>
            <a:spLocks noGrp="1"/>
          </p:cNvSpPr>
          <p:nvPr>
            <p:ph type="title"/>
          </p:nvPr>
        </p:nvSpPr>
        <p:spPr>
          <a:xfrm>
            <a:off x="219797" y="671355"/>
            <a:ext cx="11720479" cy="753532"/>
          </a:xfrm>
        </p:spPr>
        <p:txBody>
          <a:bodyPr vert="horz" lIns="0" tIns="0" rIns="0" bIns="0" rtlCol="0" anchor="b" anchorCtr="0">
            <a:noAutofit/>
          </a:bodyPr>
          <a:lstStyle/>
          <a:p>
            <a:r>
              <a:rPr lang="pl-PL" sz="3200" dirty="0">
                <a:latin typeface="Arial Black" panose="020B0A04020102020204" pitchFamily="34" charset="0"/>
              </a:rPr>
              <a:t>New </a:t>
            </a:r>
            <a:r>
              <a:rPr lang="pl-PL" sz="3200" dirty="0" err="1">
                <a:latin typeface="Arial Black" panose="020B0A04020102020204" pitchFamily="34" charset="0"/>
              </a:rPr>
              <a:t>structure</a:t>
            </a:r>
            <a:r>
              <a:rPr lang="pl-PL" sz="3200" dirty="0">
                <a:latin typeface="Arial Black" panose="020B0A04020102020204" pitchFamily="34" charset="0"/>
              </a:rPr>
              <a:t> – </a:t>
            </a:r>
            <a:r>
              <a:rPr lang="pl-PL" sz="3200" dirty="0" err="1">
                <a:latin typeface="Arial Black" panose="020B0A04020102020204" pitchFamily="34" charset="0"/>
              </a:rPr>
              <a:t>phase</a:t>
            </a:r>
            <a:r>
              <a:rPr lang="pl-PL" sz="3200" dirty="0">
                <a:latin typeface="Arial Black" panose="020B0A04020102020204" pitchFamily="34" charset="0"/>
              </a:rPr>
              <a:t> 2</a:t>
            </a:r>
            <a:br>
              <a:rPr lang="pl-PL" sz="3200" dirty="0">
                <a:latin typeface="Arial Black" panose="020B0A04020102020204" pitchFamily="34" charset="0"/>
              </a:rPr>
            </a:br>
            <a:r>
              <a:rPr lang="pl-PL" sz="2400" dirty="0">
                <a:solidFill>
                  <a:schemeClr val="bg2"/>
                </a:solidFill>
                <a:latin typeface="Arial Black" panose="020B0A04020102020204" pitchFamily="34" charset="0"/>
              </a:rPr>
              <a:t>start </a:t>
            </a:r>
            <a:r>
              <a:rPr lang="pl-PL" sz="2400" dirty="0" err="1">
                <a:solidFill>
                  <a:schemeClr val="bg2"/>
                </a:solidFill>
                <a:latin typeface="Arial Black" panose="020B0A04020102020204" pitchFamily="34" charset="0"/>
              </a:rPr>
              <a:t>October</a:t>
            </a:r>
            <a:r>
              <a:rPr lang="pl-PL" sz="2400" dirty="0">
                <a:solidFill>
                  <a:schemeClr val="bg2"/>
                </a:solidFill>
                <a:latin typeface="Arial Black" panose="020B0A04020102020204" pitchFamily="34" charset="0"/>
              </a:rPr>
              <a:t> 2025</a:t>
            </a:r>
            <a:br>
              <a:rPr lang="pl-PL" sz="3200" dirty="0">
                <a:latin typeface="Arial Black" panose="020B0A04020102020204" pitchFamily="34" charset="0"/>
              </a:rPr>
            </a:br>
            <a:endParaRPr lang="pl-PL" sz="3200" dirty="0">
              <a:solidFill>
                <a:schemeClr val="bg2"/>
              </a:solidFill>
              <a:latin typeface="Arial Black" panose="020B0A04020102020204" pitchFamily="34" charset="0"/>
            </a:endParaRPr>
          </a:p>
        </p:txBody>
      </p:sp>
      <p:cxnSp>
        <p:nvCxnSpPr>
          <p:cNvPr id="54" name="Łącznik: łamany 53">
            <a:extLst>
              <a:ext uri="{FF2B5EF4-FFF2-40B4-BE49-F238E27FC236}">
                <a16:creationId xmlns:a16="http://schemas.microsoft.com/office/drawing/2014/main" id="{ECC5C621-5B3A-3CA7-C054-1E370B645E90}"/>
              </a:ext>
            </a:extLst>
          </p:cNvPr>
          <p:cNvCxnSpPr>
            <a:cxnSpLocks/>
          </p:cNvCxnSpPr>
          <p:nvPr/>
        </p:nvCxnSpPr>
        <p:spPr>
          <a:xfrm>
            <a:off x="5334000" y="1604682"/>
            <a:ext cx="2710158" cy="51387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9" name="Łącznik: łamany 58">
            <a:extLst>
              <a:ext uri="{FF2B5EF4-FFF2-40B4-BE49-F238E27FC236}">
                <a16:creationId xmlns:a16="http://schemas.microsoft.com/office/drawing/2014/main" id="{123DF0DA-0B91-CC22-136E-BCA2D6844B3F}"/>
              </a:ext>
            </a:extLst>
          </p:cNvPr>
          <p:cNvCxnSpPr>
            <a:cxnSpLocks/>
            <a:endCxn id="14" idx="0"/>
          </p:cNvCxnSpPr>
          <p:nvPr/>
        </p:nvCxnSpPr>
        <p:spPr>
          <a:xfrm rot="10800000" flipV="1">
            <a:off x="3454303" y="1649500"/>
            <a:ext cx="1655585" cy="46905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632051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Prostokąt 54">
            <a:extLst>
              <a:ext uri="{FF2B5EF4-FFF2-40B4-BE49-F238E27FC236}">
                <a16:creationId xmlns:a16="http://schemas.microsoft.com/office/drawing/2014/main" id="{BA7F6862-A530-4F93-9E43-F0D45A9D4CDE}"/>
              </a:ext>
            </a:extLst>
          </p:cNvPr>
          <p:cNvSpPr/>
          <p:nvPr/>
        </p:nvSpPr>
        <p:spPr>
          <a:xfrm>
            <a:off x="6983535" y="2970310"/>
            <a:ext cx="2238269" cy="3006977"/>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67539"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FFFFFF"/>
              </a:solidFill>
              <a:effectLst/>
              <a:uLnTx/>
              <a:uFillTx/>
              <a:latin typeface="Arial"/>
              <a:ea typeface="+mn-ea"/>
              <a:cs typeface="+mn-cs"/>
            </a:endParaRPr>
          </a:p>
        </p:txBody>
      </p:sp>
      <p:sp>
        <p:nvSpPr>
          <p:cNvPr id="10" name="Rectangle 9"/>
          <p:cNvSpPr/>
          <p:nvPr/>
        </p:nvSpPr>
        <p:spPr>
          <a:xfrm>
            <a:off x="4238340" y="901283"/>
            <a:ext cx="2760031" cy="861435"/>
          </a:xfrm>
          <a:prstGeom prst="roundRect">
            <a:avLst/>
          </a:prstGeom>
          <a:solidFill>
            <a:schemeClr val="accent1"/>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algn="ctr" defTabSz="533360">
              <a:lnSpc>
                <a:spcPct val="150000"/>
              </a:lnSpc>
              <a:spcBef>
                <a:spcPct val="0"/>
              </a:spcBef>
              <a:spcAft>
                <a:spcPct val="35000"/>
              </a:spcAft>
              <a:defRPr/>
            </a:pPr>
            <a:r>
              <a:rPr lang="pl-PL" sz="1467" b="1" dirty="0">
                <a:solidFill>
                  <a:srgbClr val="FFFFFF"/>
                </a:solidFill>
                <a:latin typeface="Arial"/>
              </a:rPr>
              <a:t>D</a:t>
            </a:r>
            <a:r>
              <a:rPr lang="en-US" sz="1467" b="1" dirty="0" err="1">
                <a:solidFill>
                  <a:srgbClr val="FFFFFF"/>
                </a:solidFill>
                <a:latin typeface="Arial"/>
              </a:rPr>
              <a:t>epartment</a:t>
            </a:r>
            <a:r>
              <a:rPr lang="en-US" sz="1467" b="1" dirty="0">
                <a:solidFill>
                  <a:srgbClr val="FFFFFF"/>
                </a:solidFill>
                <a:latin typeface="Arial"/>
              </a:rPr>
              <a:t> </a:t>
            </a:r>
            <a:r>
              <a:rPr lang="pl-PL" sz="1467" b="1" dirty="0">
                <a:solidFill>
                  <a:srgbClr val="FFFFFF"/>
                </a:solidFill>
                <a:latin typeface="Arial"/>
              </a:rPr>
              <a:t>of </a:t>
            </a:r>
            <a:r>
              <a:rPr lang="pl-PL" sz="1467" b="1" dirty="0" err="1">
                <a:solidFill>
                  <a:srgbClr val="FFFFFF"/>
                </a:solidFill>
                <a:latin typeface="Arial"/>
              </a:rPr>
              <a:t>Omnichannel</a:t>
            </a:r>
            <a:r>
              <a:rPr lang="pl-PL" sz="1467" b="1" dirty="0">
                <a:solidFill>
                  <a:srgbClr val="FFFFFF"/>
                </a:solidFill>
                <a:latin typeface="Arial"/>
              </a:rPr>
              <a:t> </a:t>
            </a:r>
            <a:r>
              <a:rPr lang="en-US" sz="1467" b="1" dirty="0">
                <a:solidFill>
                  <a:srgbClr val="FFFFFF"/>
                </a:solidFill>
                <a:latin typeface="Arial"/>
              </a:rPr>
              <a:t>Customer </a:t>
            </a:r>
            <a:r>
              <a:rPr lang="pl-PL" sz="1467" b="1" dirty="0">
                <a:solidFill>
                  <a:srgbClr val="FFFFFF"/>
                </a:solidFill>
                <a:latin typeface="Arial"/>
              </a:rPr>
              <a:t>Relations</a:t>
            </a:r>
          </a:p>
        </p:txBody>
      </p:sp>
      <p:sp>
        <p:nvSpPr>
          <p:cNvPr id="14" name="Rectangle 13"/>
          <p:cNvSpPr/>
          <p:nvPr/>
        </p:nvSpPr>
        <p:spPr>
          <a:xfrm>
            <a:off x="2755470" y="2118560"/>
            <a:ext cx="1742719" cy="718557"/>
          </a:xfrm>
          <a:prstGeom prst="roundRect">
            <a:avLst/>
          </a:prstGeom>
          <a:solidFill>
            <a:schemeClr val="accent1"/>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algn="ctr" defTabSz="533360">
              <a:lnSpc>
                <a:spcPct val="90000"/>
              </a:lnSpc>
              <a:spcBef>
                <a:spcPct val="0"/>
              </a:spcBef>
              <a:spcAft>
                <a:spcPct val="35000"/>
              </a:spcAft>
              <a:defRPr/>
            </a:pPr>
            <a:r>
              <a:rPr lang="pl-PL" sz="1333" b="1" dirty="0" err="1">
                <a:solidFill>
                  <a:srgbClr val="FFFFFF"/>
                </a:solidFill>
                <a:latin typeface="Arial"/>
              </a:rPr>
              <a:t>Customer</a:t>
            </a:r>
            <a:r>
              <a:rPr lang="pl-PL" sz="1333" b="1" dirty="0">
                <a:solidFill>
                  <a:srgbClr val="FFFFFF"/>
                </a:solidFill>
                <a:latin typeface="Arial"/>
              </a:rPr>
              <a:t> Service </a:t>
            </a:r>
          </a:p>
          <a:p>
            <a:pPr algn="ctr" defTabSz="533360">
              <a:lnSpc>
                <a:spcPct val="90000"/>
              </a:lnSpc>
              <a:spcBef>
                <a:spcPct val="0"/>
              </a:spcBef>
              <a:spcAft>
                <a:spcPct val="35000"/>
              </a:spcAft>
              <a:defRPr/>
            </a:pPr>
            <a:r>
              <a:rPr lang="pl-PL" sz="1333" b="1" dirty="0">
                <a:solidFill>
                  <a:srgbClr val="FFFFFF"/>
                </a:solidFill>
                <a:latin typeface="Arial"/>
              </a:rPr>
              <a:t>Center</a:t>
            </a:r>
            <a:endParaRPr lang="en-US" sz="1333" b="1" dirty="0">
              <a:solidFill>
                <a:srgbClr val="FFFFFF"/>
              </a:solidFill>
              <a:latin typeface="Arial"/>
            </a:endParaRPr>
          </a:p>
        </p:txBody>
      </p:sp>
      <p:sp>
        <p:nvSpPr>
          <p:cNvPr id="15" name="Rectangle 14"/>
          <p:cNvSpPr/>
          <p:nvPr/>
        </p:nvSpPr>
        <p:spPr>
          <a:xfrm>
            <a:off x="4979159" y="2118560"/>
            <a:ext cx="1742719" cy="718557"/>
          </a:xfrm>
          <a:prstGeom prst="roundRect">
            <a:avLst/>
          </a:prstGeom>
          <a:solidFill>
            <a:schemeClr val="accent1"/>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algn="ctr" defTabSz="533360">
              <a:lnSpc>
                <a:spcPct val="90000"/>
              </a:lnSpc>
              <a:spcBef>
                <a:spcPct val="0"/>
              </a:spcBef>
              <a:spcAft>
                <a:spcPct val="35000"/>
              </a:spcAft>
              <a:defRPr/>
            </a:pPr>
            <a:r>
              <a:rPr lang="pl-PL" sz="1400" b="1" dirty="0" err="1">
                <a:solidFill>
                  <a:srgbClr val="FFFFFF"/>
                </a:solidFill>
                <a:latin typeface="Arial"/>
              </a:rPr>
              <a:t>Customer</a:t>
            </a:r>
            <a:r>
              <a:rPr lang="pl-PL" sz="1400" b="1" dirty="0">
                <a:solidFill>
                  <a:srgbClr val="FFFFFF"/>
                </a:solidFill>
                <a:latin typeface="Arial"/>
              </a:rPr>
              <a:t> Sales &amp; Service </a:t>
            </a:r>
            <a:br>
              <a:rPr lang="pl-PL" sz="1400" b="1" dirty="0">
                <a:solidFill>
                  <a:srgbClr val="FFFFFF"/>
                </a:solidFill>
                <a:latin typeface="Arial"/>
              </a:rPr>
            </a:br>
            <a:r>
              <a:rPr lang="pl-PL" sz="1400" b="1" dirty="0" err="1">
                <a:solidFill>
                  <a:srgbClr val="FFFFFF"/>
                </a:solidFill>
                <a:latin typeface="Arial"/>
              </a:rPr>
              <a:t>Specialised</a:t>
            </a:r>
            <a:r>
              <a:rPr lang="pl-PL" sz="1400" b="1" dirty="0">
                <a:solidFill>
                  <a:srgbClr val="FFFFFF"/>
                </a:solidFill>
                <a:latin typeface="Arial"/>
              </a:rPr>
              <a:t> Center</a:t>
            </a:r>
            <a:endParaRPr lang="en-US" sz="1400" b="1" dirty="0">
              <a:solidFill>
                <a:srgbClr val="FFFFFF"/>
              </a:solidFill>
              <a:latin typeface="Arial"/>
            </a:endParaRPr>
          </a:p>
        </p:txBody>
      </p:sp>
      <p:sp>
        <p:nvSpPr>
          <p:cNvPr id="16" name="Rectangle 15"/>
          <p:cNvSpPr/>
          <p:nvPr/>
        </p:nvSpPr>
        <p:spPr>
          <a:xfrm>
            <a:off x="7172798" y="2118560"/>
            <a:ext cx="1742719" cy="718557"/>
          </a:xfrm>
          <a:prstGeom prst="roundRect">
            <a:avLst/>
          </a:prstGeom>
          <a:solidFill>
            <a:schemeClr val="accent1"/>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algn="ctr" defTabSz="533360">
              <a:lnSpc>
                <a:spcPct val="90000"/>
              </a:lnSpc>
              <a:spcBef>
                <a:spcPct val="0"/>
              </a:spcBef>
              <a:spcAft>
                <a:spcPct val="35000"/>
              </a:spcAft>
              <a:defRPr/>
            </a:pPr>
            <a:r>
              <a:rPr lang="pl-PL" sz="1333" b="1" dirty="0" err="1">
                <a:solidFill>
                  <a:srgbClr val="FFFFFF"/>
                </a:solidFill>
                <a:latin typeface="Arial"/>
              </a:rPr>
              <a:t>Operational</a:t>
            </a:r>
            <a:r>
              <a:rPr lang="pl-PL" sz="1333" b="1" dirty="0">
                <a:solidFill>
                  <a:srgbClr val="FFFFFF"/>
                </a:solidFill>
                <a:latin typeface="Arial"/>
              </a:rPr>
              <a:t> </a:t>
            </a:r>
            <a:r>
              <a:rPr lang="pl-PL" sz="1333" b="1" dirty="0" err="1">
                <a:solidFill>
                  <a:srgbClr val="FFFFFF"/>
                </a:solidFill>
                <a:latin typeface="Arial"/>
              </a:rPr>
              <a:t>Support</a:t>
            </a:r>
            <a:r>
              <a:rPr lang="pl-PL" sz="1333" b="1" dirty="0">
                <a:solidFill>
                  <a:srgbClr val="FFFFFF"/>
                </a:solidFill>
                <a:latin typeface="Arial"/>
              </a:rPr>
              <a:t> Center</a:t>
            </a:r>
            <a:endParaRPr lang="en-US" sz="1333" b="1" dirty="0">
              <a:solidFill>
                <a:srgbClr val="FFFFFF"/>
              </a:solidFill>
              <a:latin typeface="Arial"/>
            </a:endParaRPr>
          </a:p>
        </p:txBody>
      </p:sp>
      <p:sp>
        <p:nvSpPr>
          <p:cNvPr id="3" name="Symbol zastępczy numeru slajdu 2">
            <a:extLst>
              <a:ext uri="{FF2B5EF4-FFF2-40B4-BE49-F238E27FC236}">
                <a16:creationId xmlns:a16="http://schemas.microsoft.com/office/drawing/2014/main" id="{1E147699-A2D5-18EC-410D-09965882AE50}"/>
              </a:ext>
            </a:extLst>
          </p:cNvPr>
          <p:cNvSpPr>
            <a:spLocks noGrp="1"/>
          </p:cNvSpPr>
          <p:nvPr>
            <p:ph type="sldNum" sz="quarter" idx="10"/>
          </p:nvPr>
        </p:nvSpPr>
        <p:spPr/>
        <p:txBody>
          <a:bodyPr/>
          <a:lstStyle/>
          <a:p>
            <a:pPr defTabSz="467527">
              <a:defRPr/>
            </a:pPr>
            <a:fld id="{332DF002-2E43-485C-89F8-8DCEF59D6C4F}" type="slidenum">
              <a:rPr lang="pl-PL">
                <a:latin typeface="Arial"/>
              </a:rPr>
              <a:pPr defTabSz="467527">
                <a:defRPr/>
              </a:pPr>
              <a:t>13</a:t>
            </a:fld>
            <a:endParaRPr lang="pl-PL" dirty="0">
              <a:latin typeface="Arial"/>
            </a:endParaRPr>
          </a:p>
        </p:txBody>
      </p:sp>
      <p:sp>
        <p:nvSpPr>
          <p:cNvPr id="35" name="Rectangle: Rounded Corners 14">
            <a:extLst>
              <a:ext uri="{FF2B5EF4-FFF2-40B4-BE49-F238E27FC236}">
                <a16:creationId xmlns:a16="http://schemas.microsoft.com/office/drawing/2014/main" id="{BF58B9EF-065E-4886-9E56-4C62FA67AB35}"/>
              </a:ext>
            </a:extLst>
          </p:cNvPr>
          <p:cNvSpPr/>
          <p:nvPr/>
        </p:nvSpPr>
        <p:spPr>
          <a:xfrm>
            <a:off x="2755469" y="4773470"/>
            <a:ext cx="1742717" cy="632938"/>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b="1" dirty="0"/>
              <a:t>Multi-</a:t>
            </a:r>
            <a:r>
              <a:rPr lang="pl-PL" sz="1400" b="1" dirty="0" err="1"/>
              <a:t>contact</a:t>
            </a:r>
            <a:r>
              <a:rPr lang="pl-PL" sz="1400" b="1" dirty="0"/>
              <a:t> Team</a:t>
            </a:r>
            <a:endParaRPr lang="en-US" sz="1400" b="1" dirty="0"/>
          </a:p>
        </p:txBody>
      </p:sp>
      <p:sp>
        <p:nvSpPr>
          <p:cNvPr id="36" name="Rectangle: Rounded Corners 14">
            <a:extLst>
              <a:ext uri="{FF2B5EF4-FFF2-40B4-BE49-F238E27FC236}">
                <a16:creationId xmlns:a16="http://schemas.microsoft.com/office/drawing/2014/main" id="{0AD655AE-36D1-40EB-938A-638614BB1997}"/>
              </a:ext>
            </a:extLst>
          </p:cNvPr>
          <p:cNvSpPr/>
          <p:nvPr/>
        </p:nvSpPr>
        <p:spPr>
          <a:xfrm>
            <a:off x="2755469" y="3947128"/>
            <a:ext cx="1742718" cy="632938"/>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200" b="1" dirty="0" err="1"/>
              <a:t>Transformation</a:t>
            </a:r>
            <a:r>
              <a:rPr lang="pl-PL" sz="1200" b="1" dirty="0"/>
              <a:t> Team</a:t>
            </a:r>
            <a:endParaRPr lang="en-US" sz="1200" b="1" dirty="0"/>
          </a:p>
        </p:txBody>
      </p:sp>
      <p:sp>
        <p:nvSpPr>
          <p:cNvPr id="37" name="Rectangle: Rounded Corners 8">
            <a:extLst>
              <a:ext uri="{FF2B5EF4-FFF2-40B4-BE49-F238E27FC236}">
                <a16:creationId xmlns:a16="http://schemas.microsoft.com/office/drawing/2014/main" id="{CEC9E6E0-3584-45A0-8C0D-566D97BCA28B}"/>
              </a:ext>
            </a:extLst>
          </p:cNvPr>
          <p:cNvSpPr/>
          <p:nvPr/>
        </p:nvSpPr>
        <p:spPr>
          <a:xfrm>
            <a:off x="2757313" y="3129545"/>
            <a:ext cx="1742719" cy="632938"/>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200" b="1" dirty="0" err="1"/>
              <a:t>Onboarding</a:t>
            </a:r>
            <a:r>
              <a:rPr lang="pl-PL" sz="1200" b="1" dirty="0"/>
              <a:t> Team</a:t>
            </a:r>
          </a:p>
        </p:txBody>
      </p:sp>
      <p:sp>
        <p:nvSpPr>
          <p:cNvPr id="2" name="pole tekstowe 1">
            <a:extLst>
              <a:ext uri="{FF2B5EF4-FFF2-40B4-BE49-F238E27FC236}">
                <a16:creationId xmlns:a16="http://schemas.microsoft.com/office/drawing/2014/main" id="{0F80BB58-3159-4E91-A17D-F21B930E6C1D}"/>
              </a:ext>
            </a:extLst>
          </p:cNvPr>
          <p:cNvSpPr txBox="1"/>
          <p:nvPr/>
        </p:nvSpPr>
        <p:spPr>
          <a:xfrm>
            <a:off x="1432726" y="3162864"/>
            <a:ext cx="1633203" cy="577081"/>
          </a:xfrm>
          <a:prstGeom prst="rect">
            <a:avLst/>
          </a:prstGeom>
          <a:noFill/>
        </p:spPr>
        <p:txBody>
          <a:bodyPr wrap="square" rtlCol="0">
            <a:spAutoFit/>
          </a:bodyPr>
          <a:lstStyle>
            <a:defPPr>
              <a:defRPr lang="pl-PL"/>
            </a:defPPr>
            <a:lvl1pPr algn="ctr">
              <a:defRPr sz="1600" b="1">
                <a:latin typeface="Bradley Hand ITC" panose="03070402050302030203" pitchFamily="66" charset="0"/>
              </a:defRPr>
            </a:lvl1pPr>
          </a:lstStyle>
          <a:p>
            <a:r>
              <a:rPr lang="pl-PL" sz="1050" dirty="0"/>
              <a:t>New </a:t>
            </a:r>
            <a:r>
              <a:rPr lang="pl-PL" sz="1050" dirty="0" err="1"/>
              <a:t>employees</a:t>
            </a:r>
            <a:r>
              <a:rPr lang="pl-PL" sz="1050" dirty="0"/>
              <a:t> </a:t>
            </a:r>
            <a:br>
              <a:rPr lang="pl-PL" sz="1050" dirty="0"/>
            </a:br>
            <a:r>
              <a:rPr lang="pl-PL" sz="1050" dirty="0"/>
              <a:t>0 &lt; 12 </a:t>
            </a:r>
            <a:r>
              <a:rPr lang="pl-PL" sz="1050" dirty="0" err="1"/>
              <a:t>months</a:t>
            </a:r>
            <a:br>
              <a:rPr lang="pl-PL" sz="1050" dirty="0"/>
            </a:br>
            <a:r>
              <a:rPr lang="pl-PL" sz="1050" dirty="0" err="1"/>
              <a:t>sales</a:t>
            </a:r>
            <a:r>
              <a:rPr lang="pl-PL" sz="1050" dirty="0"/>
              <a:t> &amp; </a:t>
            </a:r>
            <a:r>
              <a:rPr lang="pl-PL" sz="1050" dirty="0" err="1"/>
              <a:t>aftersales</a:t>
            </a:r>
            <a:endParaRPr lang="pl-PL" sz="1050" dirty="0"/>
          </a:p>
        </p:txBody>
      </p:sp>
      <p:sp>
        <p:nvSpPr>
          <p:cNvPr id="40" name="Rectangle: Rounded Corners 14">
            <a:extLst>
              <a:ext uri="{FF2B5EF4-FFF2-40B4-BE49-F238E27FC236}">
                <a16:creationId xmlns:a16="http://schemas.microsoft.com/office/drawing/2014/main" id="{6E349E31-02C1-4A9C-AE9D-A520344CAC90}"/>
              </a:ext>
            </a:extLst>
          </p:cNvPr>
          <p:cNvSpPr/>
          <p:nvPr/>
        </p:nvSpPr>
        <p:spPr>
          <a:xfrm>
            <a:off x="4979159" y="5599812"/>
            <a:ext cx="1742400" cy="633600"/>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050" b="1" dirty="0"/>
              <a:t>SAFETY </a:t>
            </a:r>
          </a:p>
          <a:p>
            <a:pPr algn="ctr"/>
            <a:r>
              <a:rPr lang="pl-PL" sz="1050" b="1" dirty="0"/>
              <a:t>TEAM</a:t>
            </a:r>
            <a:endParaRPr lang="en-US" sz="1050" b="1" dirty="0"/>
          </a:p>
        </p:txBody>
      </p:sp>
      <p:sp>
        <p:nvSpPr>
          <p:cNvPr id="41" name="Rectangle: Rounded Corners 14">
            <a:extLst>
              <a:ext uri="{FF2B5EF4-FFF2-40B4-BE49-F238E27FC236}">
                <a16:creationId xmlns:a16="http://schemas.microsoft.com/office/drawing/2014/main" id="{B7F51C17-CC63-4303-B3CB-61ECC5BE3208}"/>
              </a:ext>
            </a:extLst>
          </p:cNvPr>
          <p:cNvSpPr/>
          <p:nvPr/>
        </p:nvSpPr>
        <p:spPr>
          <a:xfrm>
            <a:off x="4979159" y="3947128"/>
            <a:ext cx="1742400" cy="633600"/>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050" b="1" dirty="0"/>
              <a:t>MORTGAGE </a:t>
            </a:r>
          </a:p>
          <a:p>
            <a:pPr algn="ctr"/>
            <a:r>
              <a:rPr lang="pl-PL" sz="1050" b="1" dirty="0"/>
              <a:t>TEAM</a:t>
            </a:r>
            <a:endParaRPr lang="en-US" sz="1050" b="1" dirty="0"/>
          </a:p>
        </p:txBody>
      </p:sp>
      <p:sp>
        <p:nvSpPr>
          <p:cNvPr id="43" name="Rectangle: Rounded Corners 8">
            <a:extLst>
              <a:ext uri="{FF2B5EF4-FFF2-40B4-BE49-F238E27FC236}">
                <a16:creationId xmlns:a16="http://schemas.microsoft.com/office/drawing/2014/main" id="{FDD963F9-7103-4434-B28D-76CA1C85ED5A}"/>
              </a:ext>
            </a:extLst>
          </p:cNvPr>
          <p:cNvSpPr/>
          <p:nvPr/>
        </p:nvSpPr>
        <p:spPr>
          <a:xfrm>
            <a:off x="4979159" y="3129214"/>
            <a:ext cx="1742400" cy="633600"/>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050" b="1" dirty="0"/>
              <a:t>PRIME </a:t>
            </a:r>
          </a:p>
          <a:p>
            <a:pPr algn="ctr"/>
            <a:r>
              <a:rPr lang="pl-PL" sz="1050" b="1" dirty="0"/>
              <a:t>TEAM</a:t>
            </a:r>
            <a:endParaRPr lang="en-US" sz="1050" b="1" dirty="0"/>
          </a:p>
        </p:txBody>
      </p:sp>
      <p:sp>
        <p:nvSpPr>
          <p:cNvPr id="44" name="Rectangle: Rounded Corners 14">
            <a:extLst>
              <a:ext uri="{FF2B5EF4-FFF2-40B4-BE49-F238E27FC236}">
                <a16:creationId xmlns:a16="http://schemas.microsoft.com/office/drawing/2014/main" id="{0277EE09-78E1-4078-8BAD-1CAA83D86489}"/>
              </a:ext>
            </a:extLst>
          </p:cNvPr>
          <p:cNvSpPr/>
          <p:nvPr/>
        </p:nvSpPr>
        <p:spPr>
          <a:xfrm>
            <a:off x="4979159" y="4773470"/>
            <a:ext cx="1742400" cy="633600"/>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050" b="1" dirty="0"/>
              <a:t>SOHO </a:t>
            </a:r>
          </a:p>
          <a:p>
            <a:pPr algn="ctr"/>
            <a:r>
              <a:rPr lang="pl-PL" sz="1050" b="1" dirty="0"/>
              <a:t>TEAM</a:t>
            </a:r>
            <a:endParaRPr lang="en-US" sz="1050" b="1" dirty="0"/>
          </a:p>
        </p:txBody>
      </p:sp>
      <p:sp>
        <p:nvSpPr>
          <p:cNvPr id="45" name="Rectangle: Rounded Corners 14">
            <a:extLst>
              <a:ext uri="{FF2B5EF4-FFF2-40B4-BE49-F238E27FC236}">
                <a16:creationId xmlns:a16="http://schemas.microsoft.com/office/drawing/2014/main" id="{352BE5C1-6B58-4E74-AD1E-B83302B9AE0D}"/>
              </a:ext>
            </a:extLst>
          </p:cNvPr>
          <p:cNvSpPr/>
          <p:nvPr/>
        </p:nvSpPr>
        <p:spPr>
          <a:xfrm>
            <a:off x="7271410" y="3921633"/>
            <a:ext cx="1742400" cy="633600"/>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050" b="1" dirty="0"/>
              <a:t>RTM</a:t>
            </a:r>
            <a:endParaRPr lang="en-US" sz="1050" b="1" dirty="0"/>
          </a:p>
        </p:txBody>
      </p:sp>
      <p:sp>
        <p:nvSpPr>
          <p:cNvPr id="46" name="Rectangle: Rounded Corners 8">
            <a:extLst>
              <a:ext uri="{FF2B5EF4-FFF2-40B4-BE49-F238E27FC236}">
                <a16:creationId xmlns:a16="http://schemas.microsoft.com/office/drawing/2014/main" id="{8C0C2BBE-6B52-48E8-AAE3-E7124221CE09}"/>
              </a:ext>
            </a:extLst>
          </p:cNvPr>
          <p:cNvSpPr/>
          <p:nvPr/>
        </p:nvSpPr>
        <p:spPr>
          <a:xfrm>
            <a:off x="2672515" y="5576579"/>
            <a:ext cx="1742400" cy="633600"/>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050" b="1" dirty="0"/>
              <a:t>REMOTE CUSTOMERS </a:t>
            </a:r>
          </a:p>
          <a:p>
            <a:pPr algn="ctr"/>
            <a:r>
              <a:rPr lang="pl-PL" sz="1050" b="1" dirty="0"/>
              <a:t>TEAM</a:t>
            </a:r>
            <a:endParaRPr lang="en-US" sz="1050" b="1" dirty="0"/>
          </a:p>
        </p:txBody>
      </p:sp>
      <p:sp>
        <p:nvSpPr>
          <p:cNvPr id="49" name="pole tekstowe 48">
            <a:extLst>
              <a:ext uri="{FF2B5EF4-FFF2-40B4-BE49-F238E27FC236}">
                <a16:creationId xmlns:a16="http://schemas.microsoft.com/office/drawing/2014/main" id="{3DC3F6F1-4DFF-4B17-B307-8DF9B2FEA156}"/>
              </a:ext>
            </a:extLst>
          </p:cNvPr>
          <p:cNvSpPr txBox="1"/>
          <p:nvPr/>
        </p:nvSpPr>
        <p:spPr>
          <a:xfrm>
            <a:off x="1842400" y="5663040"/>
            <a:ext cx="927695" cy="432961"/>
          </a:xfrm>
          <a:prstGeom prst="rect">
            <a:avLst/>
          </a:prstGeom>
          <a:noFill/>
        </p:spPr>
        <p:txBody>
          <a:bodyPr wrap="square" rtlCol="0">
            <a:spAutoFit/>
          </a:bodyPr>
          <a:lstStyle/>
          <a:p>
            <a:pPr algn="ctr"/>
            <a:r>
              <a:rPr lang="pl-PL" sz="1100" b="1" dirty="0">
                <a:latin typeface="Bradley Hand ITC" panose="03070402050302030203" pitchFamily="66" charset="0"/>
              </a:rPr>
              <a:t>Chat/email/</a:t>
            </a:r>
            <a:r>
              <a:rPr lang="pl-PL" sz="1100" b="1" dirty="0" err="1">
                <a:latin typeface="Bradley Hand ITC" panose="03070402050302030203" pitchFamily="66" charset="0"/>
              </a:rPr>
              <a:t>social</a:t>
            </a:r>
            <a:r>
              <a:rPr lang="pl-PL" sz="1100" b="1" dirty="0">
                <a:latin typeface="Bradley Hand ITC" panose="03070402050302030203" pitchFamily="66" charset="0"/>
              </a:rPr>
              <a:t> media</a:t>
            </a:r>
          </a:p>
        </p:txBody>
      </p:sp>
      <p:sp>
        <p:nvSpPr>
          <p:cNvPr id="32" name="Tytuł 1">
            <a:extLst>
              <a:ext uri="{FF2B5EF4-FFF2-40B4-BE49-F238E27FC236}">
                <a16:creationId xmlns:a16="http://schemas.microsoft.com/office/drawing/2014/main" id="{5C0EAF1E-2F1D-45AA-BFEB-42EF20D361A4}"/>
              </a:ext>
            </a:extLst>
          </p:cNvPr>
          <p:cNvSpPr>
            <a:spLocks noGrp="1"/>
          </p:cNvSpPr>
          <p:nvPr>
            <p:ph type="title"/>
          </p:nvPr>
        </p:nvSpPr>
        <p:spPr>
          <a:xfrm>
            <a:off x="219797" y="671355"/>
            <a:ext cx="11720479" cy="753532"/>
          </a:xfrm>
        </p:spPr>
        <p:txBody>
          <a:bodyPr vert="horz" lIns="0" tIns="0" rIns="0" bIns="0" rtlCol="0" anchor="b" anchorCtr="0">
            <a:noAutofit/>
          </a:bodyPr>
          <a:lstStyle/>
          <a:p>
            <a:r>
              <a:rPr lang="pl-PL" sz="3200" dirty="0">
                <a:latin typeface="Arial Black" panose="020B0A04020102020204" pitchFamily="34" charset="0"/>
              </a:rPr>
              <a:t>New </a:t>
            </a:r>
            <a:r>
              <a:rPr lang="pl-PL" sz="3200" dirty="0" err="1">
                <a:latin typeface="Arial Black" panose="020B0A04020102020204" pitchFamily="34" charset="0"/>
              </a:rPr>
              <a:t>structure</a:t>
            </a:r>
            <a:r>
              <a:rPr lang="pl-PL" sz="3200" dirty="0">
                <a:latin typeface="Arial Black" panose="020B0A04020102020204" pitchFamily="34" charset="0"/>
              </a:rPr>
              <a:t> – </a:t>
            </a:r>
            <a:r>
              <a:rPr lang="pl-PL" sz="3200" dirty="0" err="1">
                <a:latin typeface="Arial Black" panose="020B0A04020102020204" pitchFamily="34" charset="0"/>
              </a:rPr>
              <a:t>phase</a:t>
            </a:r>
            <a:r>
              <a:rPr lang="pl-PL" sz="3200" dirty="0">
                <a:latin typeface="Arial Black" panose="020B0A04020102020204" pitchFamily="34" charset="0"/>
              </a:rPr>
              <a:t> 3</a:t>
            </a:r>
            <a:br>
              <a:rPr lang="pl-PL" sz="3200" dirty="0">
                <a:latin typeface="Arial Black" panose="020B0A04020102020204" pitchFamily="34" charset="0"/>
              </a:rPr>
            </a:br>
            <a:r>
              <a:rPr lang="pl-PL" sz="2400" dirty="0">
                <a:solidFill>
                  <a:schemeClr val="bg2"/>
                </a:solidFill>
                <a:latin typeface="Arial Black" panose="020B0A04020102020204" pitchFamily="34" charset="0"/>
              </a:rPr>
              <a:t>start </a:t>
            </a:r>
            <a:r>
              <a:rPr lang="pl-PL" sz="2400" dirty="0" err="1">
                <a:solidFill>
                  <a:schemeClr val="bg2"/>
                </a:solidFill>
                <a:latin typeface="Arial Black" panose="020B0A04020102020204" pitchFamily="34" charset="0"/>
              </a:rPr>
              <a:t>February</a:t>
            </a:r>
            <a:r>
              <a:rPr lang="pl-PL" sz="2400" dirty="0">
                <a:solidFill>
                  <a:schemeClr val="bg2"/>
                </a:solidFill>
                <a:latin typeface="Arial Black" panose="020B0A04020102020204" pitchFamily="34" charset="0"/>
              </a:rPr>
              <a:t> 2026</a:t>
            </a:r>
            <a:br>
              <a:rPr lang="pl-PL" sz="3200" dirty="0">
                <a:latin typeface="Arial Black" panose="020B0A04020102020204" pitchFamily="34" charset="0"/>
              </a:rPr>
            </a:br>
            <a:endParaRPr lang="pl-PL" sz="3200" dirty="0">
              <a:solidFill>
                <a:schemeClr val="bg2"/>
              </a:solidFill>
              <a:latin typeface="Arial Black" panose="020B0A04020102020204" pitchFamily="34" charset="0"/>
            </a:endParaRPr>
          </a:p>
        </p:txBody>
      </p:sp>
      <p:cxnSp>
        <p:nvCxnSpPr>
          <p:cNvPr id="54" name="Łącznik: łamany 53">
            <a:extLst>
              <a:ext uri="{FF2B5EF4-FFF2-40B4-BE49-F238E27FC236}">
                <a16:creationId xmlns:a16="http://schemas.microsoft.com/office/drawing/2014/main" id="{66C75861-5970-F90D-121A-5219A1802B42}"/>
              </a:ext>
            </a:extLst>
          </p:cNvPr>
          <p:cNvCxnSpPr>
            <a:cxnSpLocks/>
            <a:endCxn id="16" idx="0"/>
          </p:cNvCxnSpPr>
          <p:nvPr/>
        </p:nvCxnSpPr>
        <p:spPr>
          <a:xfrm>
            <a:off x="5334000" y="1604682"/>
            <a:ext cx="2710158" cy="51387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9" name="Łącznik: łamany 58">
            <a:extLst>
              <a:ext uri="{FF2B5EF4-FFF2-40B4-BE49-F238E27FC236}">
                <a16:creationId xmlns:a16="http://schemas.microsoft.com/office/drawing/2014/main" id="{157669B8-0DDB-239A-E44D-8E78FB5051F9}"/>
              </a:ext>
            </a:extLst>
          </p:cNvPr>
          <p:cNvCxnSpPr>
            <a:cxnSpLocks/>
          </p:cNvCxnSpPr>
          <p:nvPr/>
        </p:nvCxnSpPr>
        <p:spPr>
          <a:xfrm rot="10800000" flipV="1">
            <a:off x="3388659" y="1649504"/>
            <a:ext cx="1721226" cy="421341"/>
          </a:xfrm>
          <a:prstGeom prst="bentConnector3">
            <a:avLst>
              <a:gd name="adj1" fmla="val 10052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5" name="Łącznik prosty ze strzałką 64">
            <a:extLst>
              <a:ext uri="{FF2B5EF4-FFF2-40B4-BE49-F238E27FC236}">
                <a16:creationId xmlns:a16="http://schemas.microsoft.com/office/drawing/2014/main" id="{48FBD2FE-B1C5-09C7-E593-1FBEA08160CA}"/>
              </a:ext>
            </a:extLst>
          </p:cNvPr>
          <p:cNvCxnSpPr/>
          <p:nvPr/>
        </p:nvCxnSpPr>
        <p:spPr>
          <a:xfrm>
            <a:off x="5737412" y="1748117"/>
            <a:ext cx="0" cy="34065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8" name="Rectangle: Rounded Corners 14">
            <a:extLst>
              <a:ext uri="{FF2B5EF4-FFF2-40B4-BE49-F238E27FC236}">
                <a16:creationId xmlns:a16="http://schemas.microsoft.com/office/drawing/2014/main" id="{E6616C77-8844-52AF-EEE9-109055C2CFE8}"/>
              </a:ext>
            </a:extLst>
          </p:cNvPr>
          <p:cNvSpPr/>
          <p:nvPr/>
        </p:nvSpPr>
        <p:spPr>
          <a:xfrm>
            <a:off x="7253480" y="3168598"/>
            <a:ext cx="1742400" cy="633600"/>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050" b="1" dirty="0"/>
              <a:t>HOT LINE</a:t>
            </a:r>
            <a:endParaRPr lang="en-US" sz="1050" b="1" dirty="0"/>
          </a:p>
        </p:txBody>
      </p:sp>
      <p:sp>
        <p:nvSpPr>
          <p:cNvPr id="69" name="Rectangle: Rounded Corners 14">
            <a:extLst>
              <a:ext uri="{FF2B5EF4-FFF2-40B4-BE49-F238E27FC236}">
                <a16:creationId xmlns:a16="http://schemas.microsoft.com/office/drawing/2014/main" id="{1E7C5B9E-B51C-6DAD-0F90-63A44B67B8A2}"/>
              </a:ext>
            </a:extLst>
          </p:cNvPr>
          <p:cNvSpPr/>
          <p:nvPr/>
        </p:nvSpPr>
        <p:spPr>
          <a:xfrm>
            <a:off x="7253481" y="4710527"/>
            <a:ext cx="1742400" cy="633600"/>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050" b="1" dirty="0"/>
              <a:t>Business </a:t>
            </a:r>
            <a:r>
              <a:rPr lang="pl-PL" sz="1050" b="1" dirty="0" err="1"/>
              <a:t>Process</a:t>
            </a:r>
            <a:r>
              <a:rPr lang="pl-PL" sz="1050" b="1" dirty="0"/>
              <a:t> TEAM</a:t>
            </a:r>
            <a:endParaRPr lang="en-US" sz="1050" b="1" dirty="0"/>
          </a:p>
        </p:txBody>
      </p:sp>
    </p:spTree>
    <p:extLst>
      <p:ext uri="{BB962C8B-B14F-4D97-AF65-F5344CB8AC3E}">
        <p14:creationId xmlns:p14="http://schemas.microsoft.com/office/powerpoint/2010/main" val="23228076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rostokąt: zaokrąglone rogi 2">
            <a:extLst>
              <a:ext uri="{FF2B5EF4-FFF2-40B4-BE49-F238E27FC236}">
                <a16:creationId xmlns:a16="http://schemas.microsoft.com/office/drawing/2014/main" id="{5A562716-70B3-0512-AECC-C5F9159C1936}"/>
              </a:ext>
            </a:extLst>
          </p:cNvPr>
          <p:cNvSpPr/>
          <p:nvPr/>
        </p:nvSpPr>
        <p:spPr>
          <a:xfrm>
            <a:off x="457200" y="3773042"/>
            <a:ext cx="4132053" cy="2838177"/>
          </a:xfrm>
          <a:prstGeom prst="roundRect">
            <a:avLst/>
          </a:prstGeom>
          <a:ln w="28575">
            <a:solidFill>
              <a:srgbClr val="00CC00"/>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200" b="1" i="0" u="none" strike="noStrike" kern="1200" cap="none" spc="0" normalizeH="0" baseline="0" noProof="0" dirty="0">
              <a:ln w="22225">
                <a:solidFill>
                  <a:srgbClr val="308470"/>
                </a:solidFill>
                <a:prstDash val="solid"/>
              </a:ln>
              <a:solidFill>
                <a:srgbClr val="308470">
                  <a:lumMod val="40000"/>
                  <a:lumOff val="60000"/>
                </a:srgbClr>
              </a:solidFill>
              <a:effectLst/>
              <a:uLnTx/>
              <a:uFillTx/>
              <a:latin typeface="Trebuchet MS"/>
              <a:ea typeface="+mn-ea"/>
              <a:cs typeface="+mn-cs"/>
            </a:endParaRPr>
          </a:p>
        </p:txBody>
      </p:sp>
      <p:sp>
        <p:nvSpPr>
          <p:cNvPr id="6" name="Rectangle: Rounded Corners 14">
            <a:extLst>
              <a:ext uri="{FF2B5EF4-FFF2-40B4-BE49-F238E27FC236}">
                <a16:creationId xmlns:a16="http://schemas.microsoft.com/office/drawing/2014/main" id="{F7034583-13FA-9F4F-0D6D-69FED93F6A40}"/>
              </a:ext>
            </a:extLst>
          </p:cNvPr>
          <p:cNvSpPr/>
          <p:nvPr/>
        </p:nvSpPr>
        <p:spPr>
          <a:xfrm>
            <a:off x="187797" y="135517"/>
            <a:ext cx="9031862" cy="686600"/>
          </a:xfrm>
          <a:prstGeom prst="roundRect">
            <a:avLst>
              <a:gd name="adj" fmla="val 2942"/>
            </a:avLst>
          </a:prstGeom>
        </p:spPr>
        <p:txBody>
          <a:bodyPr vert="horz" wrap="square" lIns="0" tIns="0" rIns="0" bIns="0" rtlCol="0" anchor="t">
            <a:spAutoFit/>
          </a:body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AU" sz="3200" b="1" i="0" u="none" strike="noStrike" kern="1200" cap="none" spc="0" normalizeH="0" baseline="0" noProof="0" dirty="0">
              <a:ln>
                <a:noFill/>
              </a:ln>
              <a:solidFill>
                <a:srgbClr val="008C8A"/>
              </a:solidFill>
              <a:effectLst/>
              <a:uLnTx/>
              <a:uFillTx/>
              <a:latin typeface="Calibri" panose="020F0502020204030204" pitchFamily="34" charset="0"/>
              <a:ea typeface="Calibri" panose="020F0502020204030204" pitchFamily="34" charset="0"/>
              <a:cs typeface="Calibri" panose="020F0502020204030204" pitchFamily="34" charset="0"/>
              <a:sym typeface="Trebuchet MS" panose="020B0603020202020204" pitchFamily="34" charset="0"/>
            </a:endParaRPr>
          </a:p>
        </p:txBody>
      </p:sp>
      <p:pic>
        <p:nvPicPr>
          <p:cNvPr id="2" name="Obraz 1">
            <a:extLst>
              <a:ext uri="{FF2B5EF4-FFF2-40B4-BE49-F238E27FC236}">
                <a16:creationId xmlns:a16="http://schemas.microsoft.com/office/drawing/2014/main" id="{C00D1C24-72B3-4382-9E57-6CD7F7207E65}"/>
              </a:ext>
            </a:extLst>
          </p:cNvPr>
          <p:cNvPicPr>
            <a:picLocks noChangeAspect="1"/>
          </p:cNvPicPr>
          <p:nvPr/>
        </p:nvPicPr>
        <p:blipFill>
          <a:blip r:embed="rId2"/>
          <a:stretch>
            <a:fillRect/>
          </a:stretch>
        </p:blipFill>
        <p:spPr>
          <a:xfrm>
            <a:off x="4589253" y="1810753"/>
            <a:ext cx="5943235" cy="1562314"/>
          </a:xfrm>
          <a:prstGeom prst="rect">
            <a:avLst/>
          </a:prstGeom>
          <a:ln w="28575">
            <a:solidFill>
              <a:srgbClr val="00B050"/>
            </a:solidFill>
          </a:ln>
          <a:effectLst>
            <a:outerShdw blurRad="50800" dist="38100" dir="2700000" algn="tl" rotWithShape="0">
              <a:prstClr val="black">
                <a:alpha val="40000"/>
              </a:prstClr>
            </a:outerShdw>
          </a:effectLst>
        </p:spPr>
      </p:pic>
      <p:sp>
        <p:nvSpPr>
          <p:cNvPr id="9" name="Title 1">
            <a:extLst>
              <a:ext uri="{FF2B5EF4-FFF2-40B4-BE49-F238E27FC236}">
                <a16:creationId xmlns:a16="http://schemas.microsoft.com/office/drawing/2014/main" id="{23890BA3-4239-4086-86D3-82E283373428}"/>
              </a:ext>
            </a:extLst>
          </p:cNvPr>
          <p:cNvSpPr txBox="1">
            <a:spLocks/>
          </p:cNvSpPr>
          <p:nvPr/>
        </p:nvSpPr>
        <p:spPr>
          <a:xfrm>
            <a:off x="312926" y="239399"/>
            <a:ext cx="8473017" cy="4431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pl-PL" sz="3200" b="1" i="0" u="none" strike="noStrike" kern="1200" cap="none" spc="0" normalizeH="0" baseline="0" noProof="0" dirty="0" err="1">
                <a:ln>
                  <a:noFill/>
                </a:ln>
                <a:solidFill>
                  <a:srgbClr val="008C8A"/>
                </a:solidFill>
                <a:effectLst/>
                <a:uLnTx/>
                <a:uFillTx/>
                <a:latin typeface="Arial Black" panose="020B0A04020102020204" pitchFamily="34" charset="0"/>
                <a:ea typeface="Calibri" panose="020F0502020204030204" pitchFamily="34" charset="0"/>
                <a:cs typeface="Calibri" panose="020F0502020204030204" pitchFamily="34" charset="0"/>
                <a:sym typeface="Trebuchet MS" panose="020B0603020202020204" pitchFamily="34" charset="0"/>
              </a:rPr>
              <a:t>Efficiency</a:t>
            </a:r>
            <a:r>
              <a:rPr kumimoji="0" lang="pl-PL" sz="3200" b="1" i="0" u="none" strike="noStrike" kern="1200" cap="none" spc="0" normalizeH="0" baseline="0" noProof="0" dirty="0">
                <a:ln>
                  <a:noFill/>
                </a:ln>
                <a:solidFill>
                  <a:srgbClr val="008C8A"/>
                </a:solidFill>
                <a:effectLst/>
                <a:uLnTx/>
                <a:uFillTx/>
                <a:latin typeface="Arial Black" panose="020B0A04020102020204" pitchFamily="34" charset="0"/>
                <a:ea typeface="Calibri" panose="020F0502020204030204" pitchFamily="34" charset="0"/>
                <a:cs typeface="Calibri" panose="020F0502020204030204" pitchFamily="34" charset="0"/>
                <a:sym typeface="Trebuchet MS" panose="020B0603020202020204" pitchFamily="34" charset="0"/>
              </a:rPr>
              <a:t> model</a:t>
            </a:r>
            <a:endParaRPr kumimoji="0" lang="en-AU" sz="3200" b="1" i="0" u="none" strike="noStrike" kern="1200" cap="none" spc="0" normalizeH="0" baseline="0" noProof="0" dirty="0">
              <a:ln>
                <a:noFill/>
              </a:ln>
              <a:solidFill>
                <a:srgbClr val="008C8A"/>
              </a:solidFill>
              <a:effectLst/>
              <a:uLnTx/>
              <a:uFillTx/>
              <a:latin typeface="Arial Black" panose="020B0A04020102020204" pitchFamily="34" charset="0"/>
              <a:ea typeface="Calibri" panose="020F0502020204030204" pitchFamily="34" charset="0"/>
              <a:cs typeface="Calibri" panose="020F0502020204030204" pitchFamily="34" charset="0"/>
              <a:sym typeface="Trebuchet MS" panose="020B0603020202020204" pitchFamily="34" charset="0"/>
            </a:endParaRPr>
          </a:p>
        </p:txBody>
      </p:sp>
      <p:pic>
        <p:nvPicPr>
          <p:cNvPr id="4" name="Obraz 3">
            <a:extLst>
              <a:ext uri="{FF2B5EF4-FFF2-40B4-BE49-F238E27FC236}">
                <a16:creationId xmlns:a16="http://schemas.microsoft.com/office/drawing/2014/main" id="{9C05101B-9B08-46B7-9BE2-E1B2EF049AE0}"/>
              </a:ext>
            </a:extLst>
          </p:cNvPr>
          <p:cNvPicPr>
            <a:picLocks noChangeAspect="1"/>
          </p:cNvPicPr>
          <p:nvPr/>
        </p:nvPicPr>
        <p:blipFill>
          <a:blip r:embed="rId3"/>
          <a:stretch>
            <a:fillRect/>
          </a:stretch>
        </p:blipFill>
        <p:spPr>
          <a:xfrm>
            <a:off x="7104849" y="325280"/>
            <a:ext cx="4663336" cy="1994383"/>
          </a:xfrm>
          <a:prstGeom prst="rect">
            <a:avLst/>
          </a:prstGeom>
          <a:ln w="28575">
            <a:solidFill>
              <a:srgbClr val="00B050"/>
            </a:solidFill>
          </a:ln>
          <a:effectLst>
            <a:outerShdw blurRad="50800" dist="38100" dir="2700000" algn="tl" rotWithShape="0">
              <a:prstClr val="black">
                <a:alpha val="40000"/>
              </a:prstClr>
            </a:outerShdw>
          </a:effectLst>
        </p:spPr>
      </p:pic>
      <p:sp>
        <p:nvSpPr>
          <p:cNvPr id="8" name="pole tekstowe 7">
            <a:extLst>
              <a:ext uri="{FF2B5EF4-FFF2-40B4-BE49-F238E27FC236}">
                <a16:creationId xmlns:a16="http://schemas.microsoft.com/office/drawing/2014/main" id="{9977B37B-52E5-433B-AF34-009C8DFEFFF4}"/>
              </a:ext>
            </a:extLst>
          </p:cNvPr>
          <p:cNvSpPr txBox="1"/>
          <p:nvPr/>
        </p:nvSpPr>
        <p:spPr>
          <a:xfrm>
            <a:off x="312926" y="1621497"/>
            <a:ext cx="3985376" cy="1459070"/>
          </a:xfrm>
          <a:prstGeom prst="rect">
            <a:avLst/>
          </a:prstGeom>
          <a:noFill/>
          <a:ln w="9525" cap="rnd">
            <a:noFill/>
            <a:prstDash val="solid"/>
          </a:ln>
          <a:effectLst/>
          <a:extLst>
            <a:ext uri="{91240B29-F687-4F45-9708-019B960494DF}">
              <a14:hiddenLine xmlns:a14="http://schemas.microsoft.com/office/drawing/2010/main" w="9525" cap="rnd">
                <a:solidFill>
                  <a:srgbClr val="575757"/>
                </a:solidFill>
                <a:prstDash val="solid"/>
              </a14:hiddenLine>
            </a:ext>
          </a:extLst>
        </p:spPr>
        <p:txBody>
          <a:bodyPr vert="horz" wrap="square" lIns="36576" tIns="36576" rIns="36576" bIns="36576" rtlCol="0" anchor="ctr">
            <a:noAutofit/>
          </a:bodyPr>
          <a:lstStyle/>
          <a:p>
            <a:pPr marL="285750" marR="0" lvl="0" indent="-285750" algn="l" defTabSz="914400" rtl="0" eaLnBrk="1" fontAlgn="auto" latinLnBrk="0" hangingPunct="1">
              <a:lnSpc>
                <a:spcPct val="100000"/>
              </a:lnSpc>
              <a:spcBef>
                <a:spcPts val="0"/>
              </a:spcBef>
              <a:spcAft>
                <a:spcPts val="800"/>
              </a:spcAft>
              <a:buClrTx/>
              <a:buSzTx/>
              <a:buFont typeface="Wingdings" panose="05000000000000000000" pitchFamily="2" charset="2"/>
              <a:buChar char="§"/>
              <a:tabLst/>
              <a:defRPr/>
            </a:pPr>
            <a:r>
              <a:rPr kumimoji="0" lang="pl-PL" sz="1600" b="0" i="0" u="none" strike="noStrike" kern="1200" cap="none" spc="0" normalizeH="0" baseline="0" noProof="0" dirty="0">
                <a:ln>
                  <a:noFill/>
                </a:ln>
                <a:solidFill>
                  <a:srgbClr val="575757"/>
                </a:solidFill>
                <a:effectLst/>
                <a:uLnTx/>
                <a:uFillTx/>
                <a:latin typeface="Trebuchet MS"/>
                <a:ea typeface="+mn-ea"/>
                <a:cs typeface="+mn-cs"/>
                <a:sym typeface="Trebuchet MS" panose="020B0603020202020204" pitchFamily="34" charset="0"/>
              </a:rPr>
              <a:t>Base model of </a:t>
            </a:r>
            <a:r>
              <a:rPr kumimoji="0" lang="pl-PL" sz="1600" b="0" i="0" u="none" strike="noStrike" kern="1200" cap="none" spc="0" normalizeH="0" baseline="0" noProof="0" dirty="0" err="1">
                <a:ln>
                  <a:noFill/>
                </a:ln>
                <a:solidFill>
                  <a:srgbClr val="575757"/>
                </a:solidFill>
                <a:effectLst/>
                <a:uLnTx/>
                <a:uFillTx/>
                <a:latin typeface="Trebuchet MS"/>
                <a:ea typeface="+mn-ea"/>
                <a:cs typeface="+mn-cs"/>
                <a:sym typeface="Trebuchet MS" panose="020B0603020202020204" pitchFamily="34" charset="0"/>
              </a:rPr>
              <a:t>inbound</a:t>
            </a:r>
            <a:r>
              <a:rPr kumimoji="0" lang="pl-PL" sz="1600" b="0" i="0" u="none" strike="noStrike" kern="1200" cap="none" spc="0" normalizeH="0" baseline="0" noProof="0" dirty="0">
                <a:ln>
                  <a:noFill/>
                </a:ln>
                <a:solidFill>
                  <a:srgbClr val="575757"/>
                </a:solidFill>
                <a:effectLst/>
                <a:uLnTx/>
                <a:uFillTx/>
                <a:latin typeface="Trebuchet MS"/>
                <a:ea typeface="+mn-ea"/>
                <a:cs typeface="+mn-cs"/>
                <a:sym typeface="Trebuchet MS" panose="020B0603020202020204" pitchFamily="34" charset="0"/>
              </a:rPr>
              <a:t> &amp; </a:t>
            </a:r>
            <a:r>
              <a:rPr kumimoji="0" lang="pl-PL" sz="1600" b="0" i="0" u="none" strike="noStrike" kern="1200" cap="none" spc="0" normalizeH="0" baseline="0" noProof="0" dirty="0" err="1">
                <a:ln>
                  <a:noFill/>
                </a:ln>
                <a:solidFill>
                  <a:srgbClr val="575757"/>
                </a:solidFill>
                <a:effectLst/>
                <a:uLnTx/>
                <a:uFillTx/>
                <a:latin typeface="Trebuchet MS"/>
                <a:ea typeface="+mn-ea"/>
                <a:cs typeface="+mn-cs"/>
                <a:sym typeface="Trebuchet MS" panose="020B0603020202020204" pitchFamily="34" charset="0"/>
              </a:rPr>
              <a:t>outbound</a:t>
            </a:r>
            <a:r>
              <a:rPr kumimoji="0" lang="pl-PL" sz="1600" b="0" i="0" u="none" strike="noStrike" kern="1200" cap="none" spc="0" normalizeH="0" baseline="0" noProof="0" dirty="0">
                <a:ln>
                  <a:noFill/>
                </a:ln>
                <a:solidFill>
                  <a:srgbClr val="575757"/>
                </a:solidFill>
                <a:effectLst/>
                <a:uLnTx/>
                <a:uFillTx/>
                <a:latin typeface="Trebuchet MS"/>
                <a:ea typeface="+mn-ea"/>
                <a:cs typeface="+mn-cs"/>
                <a:sym typeface="Trebuchet MS" panose="020B0603020202020204" pitchFamily="34" charset="0"/>
              </a:rPr>
              <a:t> </a:t>
            </a:r>
            <a:r>
              <a:rPr kumimoji="0" lang="pl-PL" sz="1600" b="0" i="0" u="none" strike="noStrike" kern="1200" cap="none" spc="0" normalizeH="0" baseline="0" noProof="0" dirty="0" err="1">
                <a:ln>
                  <a:noFill/>
                </a:ln>
                <a:solidFill>
                  <a:srgbClr val="575757"/>
                </a:solidFill>
                <a:effectLst/>
                <a:uLnTx/>
                <a:uFillTx/>
                <a:latin typeface="Trebuchet MS"/>
                <a:ea typeface="+mn-ea"/>
                <a:cs typeface="+mn-cs"/>
                <a:sym typeface="Trebuchet MS" panose="020B0603020202020204" pitchFamily="34" charset="0"/>
              </a:rPr>
              <a:t>advisors</a:t>
            </a:r>
            <a:r>
              <a:rPr kumimoji="0" lang="pl-PL" sz="1600" b="0" i="0" u="none" strike="noStrike" kern="1200" cap="none" spc="0" normalizeH="0" baseline="0" noProof="0" dirty="0">
                <a:ln>
                  <a:noFill/>
                </a:ln>
                <a:solidFill>
                  <a:srgbClr val="575757"/>
                </a:solidFill>
                <a:effectLst/>
                <a:uLnTx/>
                <a:uFillTx/>
                <a:latin typeface="Trebuchet MS"/>
                <a:ea typeface="+mn-ea"/>
                <a:cs typeface="+mn-cs"/>
                <a:sym typeface="Trebuchet MS" panose="020B0603020202020204" pitchFamily="34" charset="0"/>
              </a:rPr>
              <a:t> </a:t>
            </a:r>
            <a:r>
              <a:rPr kumimoji="0" lang="pl-PL" sz="1600" b="0" i="0" u="none" strike="noStrike" kern="1200" cap="none" spc="0" normalizeH="0" baseline="0" noProof="0" dirty="0" err="1">
                <a:ln>
                  <a:noFill/>
                </a:ln>
                <a:solidFill>
                  <a:srgbClr val="575757"/>
                </a:solidFill>
                <a:effectLst/>
                <a:uLnTx/>
                <a:uFillTx/>
                <a:latin typeface="Trebuchet MS"/>
                <a:ea typeface="+mn-ea"/>
                <a:cs typeface="+mn-cs"/>
                <a:sym typeface="Trebuchet MS" panose="020B0603020202020204" pitchFamily="34" charset="0"/>
              </a:rPr>
              <a:t>implementation</a:t>
            </a:r>
            <a:endParaRPr kumimoji="0" lang="pl-PL" sz="1600" b="0" i="0" u="none" strike="noStrike" kern="1200" cap="none" spc="0" normalizeH="0" baseline="0" noProof="0" dirty="0">
              <a:ln>
                <a:noFill/>
              </a:ln>
              <a:solidFill>
                <a:srgbClr val="575757"/>
              </a:solidFill>
              <a:effectLst/>
              <a:uLnTx/>
              <a:uFillTx/>
              <a:latin typeface="Trebuchet MS"/>
              <a:ea typeface="+mn-ea"/>
              <a:cs typeface="+mn-cs"/>
              <a:sym typeface="Trebuchet MS" panose="020B0603020202020204" pitchFamily="34" charset="0"/>
            </a:endParaRPr>
          </a:p>
          <a:p>
            <a:pPr marL="742950" marR="0" lvl="1" indent="-285750" algn="l" defTabSz="914400" rtl="0" eaLnBrk="1" fontAlgn="auto" latinLnBrk="0" hangingPunct="1">
              <a:lnSpc>
                <a:spcPct val="100000"/>
              </a:lnSpc>
              <a:spcBef>
                <a:spcPts val="0"/>
              </a:spcBef>
              <a:spcAft>
                <a:spcPts val="800"/>
              </a:spcAft>
              <a:buClrTx/>
              <a:buSzTx/>
              <a:buFont typeface="Wingdings" panose="05000000000000000000" pitchFamily="2" charset="2"/>
              <a:buChar char="§"/>
              <a:tabLst/>
              <a:defRPr/>
            </a:pPr>
            <a:r>
              <a:rPr kumimoji="0" lang="pl-PL" sz="1600" b="0" i="0" u="none" strike="noStrike" kern="1200" cap="none" spc="0" normalizeH="0" baseline="0" noProof="0" dirty="0">
                <a:ln>
                  <a:noFill/>
                </a:ln>
                <a:solidFill>
                  <a:srgbClr val="575757"/>
                </a:solidFill>
                <a:effectLst/>
                <a:uLnTx/>
                <a:uFillTx/>
                <a:latin typeface="Trebuchet MS"/>
                <a:ea typeface="+mn-ea"/>
                <a:cs typeface="+mn-cs"/>
                <a:sym typeface="Trebuchet MS" panose="020B0603020202020204" pitchFamily="34" charset="0"/>
              </a:rPr>
              <a:t>Breaks management</a:t>
            </a:r>
          </a:p>
          <a:p>
            <a:pPr marL="742950" marR="0" lvl="1" indent="-285750" algn="l" defTabSz="914400" rtl="0" eaLnBrk="1" fontAlgn="auto" latinLnBrk="0" hangingPunct="1">
              <a:lnSpc>
                <a:spcPct val="100000"/>
              </a:lnSpc>
              <a:spcBef>
                <a:spcPts val="0"/>
              </a:spcBef>
              <a:spcAft>
                <a:spcPts val="800"/>
              </a:spcAft>
              <a:buClrTx/>
              <a:buSzTx/>
              <a:buFont typeface="Wingdings" panose="05000000000000000000" pitchFamily="2" charset="2"/>
              <a:buChar char="§"/>
              <a:tabLst/>
              <a:defRPr/>
            </a:pPr>
            <a:r>
              <a:rPr kumimoji="0" lang="pl-PL" sz="1600" b="0" i="0" u="none" strike="noStrike" kern="1200" cap="none" spc="0" normalizeH="0" baseline="0" noProof="0" dirty="0">
                <a:ln>
                  <a:noFill/>
                </a:ln>
                <a:solidFill>
                  <a:srgbClr val="575757"/>
                </a:solidFill>
                <a:effectLst/>
                <a:uLnTx/>
                <a:uFillTx/>
                <a:latin typeface="Trebuchet MS"/>
                <a:ea typeface="+mn-ea"/>
                <a:cs typeface="+mn-cs"/>
                <a:sym typeface="Trebuchet MS" panose="020B0603020202020204" pitchFamily="34" charset="0"/>
              </a:rPr>
              <a:t>Training &amp; </a:t>
            </a:r>
            <a:r>
              <a:rPr kumimoji="0" lang="pl-PL" sz="1600" b="0" i="0" u="none" strike="noStrike" kern="1200" cap="none" spc="0" normalizeH="0" baseline="0" noProof="0" dirty="0" err="1">
                <a:ln>
                  <a:noFill/>
                </a:ln>
                <a:solidFill>
                  <a:srgbClr val="575757"/>
                </a:solidFill>
                <a:effectLst/>
                <a:uLnTx/>
                <a:uFillTx/>
                <a:latin typeface="Trebuchet MS"/>
                <a:ea typeface="+mn-ea"/>
                <a:cs typeface="+mn-cs"/>
                <a:sym typeface="Trebuchet MS" panose="020B0603020202020204" pitchFamily="34" charset="0"/>
              </a:rPr>
              <a:t>meeting</a:t>
            </a:r>
            <a:r>
              <a:rPr kumimoji="0" lang="pl-PL" sz="1600" b="0" i="0" u="none" strike="noStrike" kern="1200" cap="none" spc="0" normalizeH="0" baseline="0" noProof="0" dirty="0">
                <a:ln>
                  <a:noFill/>
                </a:ln>
                <a:solidFill>
                  <a:srgbClr val="575757"/>
                </a:solidFill>
                <a:effectLst/>
                <a:uLnTx/>
                <a:uFillTx/>
                <a:latin typeface="Trebuchet MS"/>
                <a:ea typeface="+mn-ea"/>
                <a:cs typeface="+mn-cs"/>
                <a:sym typeface="Trebuchet MS" panose="020B0603020202020204" pitchFamily="34" charset="0"/>
              </a:rPr>
              <a:t> </a:t>
            </a:r>
            <a:r>
              <a:rPr kumimoji="0" lang="pl-PL" sz="1600" b="0" i="0" u="none" strike="noStrike" kern="1200" cap="none" spc="0" normalizeH="0" baseline="0" noProof="0" dirty="0" err="1">
                <a:ln>
                  <a:noFill/>
                </a:ln>
                <a:solidFill>
                  <a:srgbClr val="575757"/>
                </a:solidFill>
                <a:effectLst/>
                <a:uLnTx/>
                <a:uFillTx/>
                <a:latin typeface="Trebuchet MS"/>
                <a:ea typeface="+mn-ea"/>
                <a:cs typeface="+mn-cs"/>
                <a:sym typeface="Trebuchet MS" panose="020B0603020202020204" pitchFamily="34" charset="0"/>
              </a:rPr>
              <a:t>time</a:t>
            </a:r>
            <a:r>
              <a:rPr kumimoji="0" lang="pl-PL" sz="1600" b="0" i="0" u="none" strike="noStrike" kern="1200" cap="none" spc="0" normalizeH="0" baseline="0" noProof="0" dirty="0">
                <a:ln>
                  <a:noFill/>
                </a:ln>
                <a:solidFill>
                  <a:srgbClr val="575757"/>
                </a:solidFill>
                <a:effectLst/>
                <a:uLnTx/>
                <a:uFillTx/>
                <a:latin typeface="Trebuchet MS"/>
                <a:ea typeface="+mn-ea"/>
                <a:cs typeface="+mn-cs"/>
                <a:sym typeface="Trebuchet MS" panose="020B0603020202020204" pitchFamily="34" charset="0"/>
              </a:rPr>
              <a:t> management</a:t>
            </a:r>
          </a:p>
          <a:p>
            <a:pPr marL="285750" marR="0" lvl="0" indent="-285750" algn="l" defTabSz="914400" rtl="0" eaLnBrk="1" fontAlgn="auto" latinLnBrk="0" hangingPunct="1">
              <a:lnSpc>
                <a:spcPct val="100000"/>
              </a:lnSpc>
              <a:spcBef>
                <a:spcPts val="0"/>
              </a:spcBef>
              <a:spcAft>
                <a:spcPts val="800"/>
              </a:spcAft>
              <a:buClrTx/>
              <a:buSzTx/>
              <a:buFont typeface="Wingdings" panose="05000000000000000000" pitchFamily="2" charset="2"/>
              <a:buChar char="§"/>
              <a:tabLst/>
              <a:defRPr/>
            </a:pPr>
            <a:r>
              <a:rPr kumimoji="0" lang="pl-PL" sz="1600" b="0" i="0" u="none" strike="noStrike" kern="1200" cap="none" spc="0" normalizeH="0" baseline="0" noProof="0" dirty="0" err="1">
                <a:ln>
                  <a:noFill/>
                </a:ln>
                <a:solidFill>
                  <a:srgbClr val="575757"/>
                </a:solidFill>
                <a:effectLst/>
                <a:uLnTx/>
                <a:uFillTx/>
                <a:latin typeface="Trebuchet MS"/>
                <a:ea typeface="+mn-ea"/>
                <a:cs typeface="+mn-cs"/>
                <a:sym typeface="Trebuchet MS" panose="020B0603020202020204" pitchFamily="34" charset="0"/>
              </a:rPr>
              <a:t>Employee</a:t>
            </a:r>
            <a:r>
              <a:rPr kumimoji="0" lang="pl-PL" sz="1600" b="0" i="0" u="none" strike="noStrike" kern="1200" cap="none" spc="0" normalizeH="0" baseline="0" noProof="0" dirty="0">
                <a:ln>
                  <a:noFill/>
                </a:ln>
                <a:solidFill>
                  <a:srgbClr val="575757"/>
                </a:solidFill>
                <a:effectLst/>
                <a:uLnTx/>
                <a:uFillTx/>
                <a:latin typeface="Trebuchet MS"/>
                <a:ea typeface="+mn-ea"/>
                <a:cs typeface="+mn-cs"/>
                <a:sym typeface="Trebuchet MS" panose="020B0603020202020204" pitchFamily="34" charset="0"/>
              </a:rPr>
              <a:t> </a:t>
            </a:r>
            <a:r>
              <a:rPr kumimoji="0" lang="pl-PL" sz="1600" b="0" i="0" u="none" strike="noStrike" kern="1200" cap="none" spc="0" normalizeH="0" baseline="0" noProof="0" dirty="0" err="1">
                <a:ln>
                  <a:noFill/>
                </a:ln>
                <a:solidFill>
                  <a:srgbClr val="575757"/>
                </a:solidFill>
                <a:effectLst/>
                <a:uLnTx/>
                <a:uFillTx/>
                <a:latin typeface="Trebuchet MS"/>
                <a:ea typeface="+mn-ea"/>
                <a:cs typeface="+mn-cs"/>
                <a:sym typeface="Trebuchet MS" panose="020B0603020202020204" pitchFamily="34" charset="0"/>
              </a:rPr>
              <a:t>rotation</a:t>
            </a:r>
            <a:r>
              <a:rPr kumimoji="0" lang="pl-PL" sz="1600" b="0" i="0" u="none" strike="noStrike" kern="1200" cap="none" spc="0" normalizeH="0" baseline="0" noProof="0" dirty="0">
                <a:ln>
                  <a:noFill/>
                </a:ln>
                <a:solidFill>
                  <a:srgbClr val="575757"/>
                </a:solidFill>
                <a:effectLst/>
                <a:uLnTx/>
                <a:uFillTx/>
                <a:latin typeface="Trebuchet MS"/>
                <a:ea typeface="+mn-ea"/>
                <a:cs typeface="+mn-cs"/>
                <a:sym typeface="Trebuchet MS" panose="020B0603020202020204" pitchFamily="34" charset="0"/>
              </a:rPr>
              <a:t> </a:t>
            </a:r>
            <a:r>
              <a:rPr kumimoji="0" lang="pl-PL" sz="1600" b="0" i="0" u="none" strike="noStrike" kern="1200" cap="none" spc="0" normalizeH="0" baseline="0" noProof="0" dirty="0" err="1">
                <a:ln>
                  <a:noFill/>
                </a:ln>
                <a:solidFill>
                  <a:srgbClr val="575757"/>
                </a:solidFill>
                <a:effectLst/>
                <a:uLnTx/>
                <a:uFillTx/>
                <a:latin typeface="Trebuchet MS"/>
                <a:ea typeface="+mn-ea"/>
                <a:cs typeface="+mn-cs"/>
                <a:sym typeface="Trebuchet MS" panose="020B0603020202020204" pitchFamily="34" charset="0"/>
              </a:rPr>
              <a:t>reduction</a:t>
            </a:r>
            <a:endParaRPr kumimoji="0" lang="pl-PL" sz="1600" b="0" i="0" u="none" strike="noStrike" kern="1200" cap="none" spc="0" normalizeH="0" baseline="0" noProof="0" dirty="0">
              <a:ln>
                <a:noFill/>
              </a:ln>
              <a:solidFill>
                <a:srgbClr val="575757"/>
              </a:solidFill>
              <a:effectLst/>
              <a:uLnTx/>
              <a:uFillTx/>
              <a:latin typeface="Trebuchet MS"/>
              <a:ea typeface="+mn-ea"/>
              <a:cs typeface="+mn-cs"/>
              <a:sym typeface="Trebuchet MS" panose="020B0603020202020204" pitchFamily="34" charset="0"/>
            </a:endParaRPr>
          </a:p>
          <a:p>
            <a:pPr marL="285750" marR="0" lvl="0" indent="-285750" algn="l" defTabSz="914400" rtl="0" eaLnBrk="1" fontAlgn="auto" latinLnBrk="0" hangingPunct="1">
              <a:lnSpc>
                <a:spcPct val="100000"/>
              </a:lnSpc>
              <a:spcBef>
                <a:spcPts val="0"/>
              </a:spcBef>
              <a:spcAft>
                <a:spcPts val="800"/>
              </a:spcAft>
              <a:buClrTx/>
              <a:buSzTx/>
              <a:buFont typeface="Wingdings" panose="05000000000000000000" pitchFamily="2" charset="2"/>
              <a:buChar char="§"/>
              <a:tabLst/>
              <a:defRPr/>
            </a:pPr>
            <a:r>
              <a:rPr kumimoji="0" lang="pl-PL" sz="1600" b="0" i="0" u="none" strike="noStrike" kern="1200" cap="none" spc="0" normalizeH="0" baseline="0" noProof="0" dirty="0">
                <a:ln>
                  <a:noFill/>
                </a:ln>
                <a:solidFill>
                  <a:srgbClr val="575757"/>
                </a:solidFill>
                <a:effectLst/>
                <a:uLnTx/>
                <a:uFillTx/>
                <a:latin typeface="Trebuchet MS"/>
                <a:ea typeface="+mn-ea"/>
                <a:cs typeface="+mn-cs"/>
                <a:sym typeface="Trebuchet MS" panose="020B0603020202020204" pitchFamily="34" charset="0"/>
              </a:rPr>
              <a:t>New </a:t>
            </a:r>
            <a:r>
              <a:rPr kumimoji="0" lang="pl-PL" sz="1600" b="0" i="0" u="none" strike="noStrike" kern="1200" cap="none" spc="0" normalizeH="0" baseline="0" noProof="0" dirty="0" err="1">
                <a:ln>
                  <a:noFill/>
                </a:ln>
                <a:solidFill>
                  <a:srgbClr val="575757"/>
                </a:solidFill>
                <a:effectLst/>
                <a:uLnTx/>
                <a:uFillTx/>
                <a:latin typeface="Trebuchet MS"/>
                <a:ea typeface="+mn-ea"/>
                <a:cs typeface="+mn-cs"/>
                <a:sym typeface="Trebuchet MS" panose="020B0603020202020204" pitchFamily="34" charset="0"/>
              </a:rPr>
              <a:t>advisors</a:t>
            </a:r>
            <a:r>
              <a:rPr kumimoji="0" lang="pl-PL" sz="1600" b="0" i="0" u="none" strike="noStrike" kern="1200" cap="none" spc="0" normalizeH="0" baseline="0" noProof="0" dirty="0">
                <a:ln>
                  <a:noFill/>
                </a:ln>
                <a:solidFill>
                  <a:srgbClr val="575757"/>
                </a:solidFill>
                <a:effectLst/>
                <a:uLnTx/>
                <a:uFillTx/>
                <a:latin typeface="Trebuchet MS"/>
                <a:ea typeface="+mn-ea"/>
                <a:cs typeface="+mn-cs"/>
                <a:sym typeface="Trebuchet MS" panose="020B0603020202020204" pitchFamily="34" charset="0"/>
              </a:rPr>
              <a:t>’ </a:t>
            </a:r>
            <a:r>
              <a:rPr kumimoji="0" lang="pl-PL" sz="1600" b="0" i="0" u="none" strike="noStrike" kern="1200" cap="none" spc="0" normalizeH="0" baseline="0" noProof="0" dirty="0" err="1">
                <a:ln>
                  <a:noFill/>
                </a:ln>
                <a:solidFill>
                  <a:srgbClr val="575757"/>
                </a:solidFill>
                <a:effectLst/>
                <a:uLnTx/>
                <a:uFillTx/>
                <a:latin typeface="Trebuchet MS"/>
                <a:ea typeface="+mn-ea"/>
                <a:cs typeface="+mn-cs"/>
                <a:sym typeface="Trebuchet MS" panose="020B0603020202020204" pitchFamily="34" charset="0"/>
              </a:rPr>
              <a:t>schedule</a:t>
            </a:r>
            <a:r>
              <a:rPr kumimoji="0" lang="pl-PL" sz="1600" b="0" i="0" u="none" strike="noStrike" kern="1200" cap="none" spc="0" normalizeH="0" baseline="0" noProof="0" dirty="0">
                <a:ln>
                  <a:noFill/>
                </a:ln>
                <a:solidFill>
                  <a:srgbClr val="575757"/>
                </a:solidFill>
                <a:effectLst/>
                <a:uLnTx/>
                <a:uFillTx/>
                <a:latin typeface="Trebuchet MS"/>
                <a:ea typeface="+mn-ea"/>
                <a:cs typeface="+mn-cs"/>
                <a:sym typeface="Trebuchet MS" panose="020B0603020202020204" pitchFamily="34" charset="0"/>
              </a:rPr>
              <a:t> management</a:t>
            </a:r>
          </a:p>
          <a:p>
            <a:pPr marL="285750" marR="0" lvl="0" indent="-285750" algn="l" defTabSz="914400" rtl="0" eaLnBrk="1" fontAlgn="auto" latinLnBrk="0" hangingPunct="1">
              <a:lnSpc>
                <a:spcPct val="100000"/>
              </a:lnSpc>
              <a:spcBef>
                <a:spcPts val="0"/>
              </a:spcBef>
              <a:spcAft>
                <a:spcPts val="800"/>
              </a:spcAft>
              <a:buClrTx/>
              <a:buSzTx/>
              <a:buFont typeface="Wingdings" panose="05000000000000000000" pitchFamily="2" charset="2"/>
              <a:buChar char="§"/>
              <a:tabLst/>
              <a:defRPr/>
            </a:pPr>
            <a:r>
              <a:rPr kumimoji="0" lang="pl-PL" sz="1600" b="0" i="0" u="none" strike="noStrike" kern="1200" cap="none" spc="0" normalizeH="0" baseline="0" noProof="0" dirty="0" err="1">
                <a:ln>
                  <a:noFill/>
                </a:ln>
                <a:solidFill>
                  <a:srgbClr val="575757"/>
                </a:solidFill>
                <a:effectLst/>
                <a:uLnTx/>
                <a:uFillTx/>
                <a:latin typeface="Trebuchet MS"/>
                <a:ea typeface="+mn-ea"/>
                <a:cs typeface="+mn-cs"/>
                <a:sym typeface="Trebuchet MS" panose="020B0603020202020204" pitchFamily="34" charset="0"/>
              </a:rPr>
              <a:t>Absence</a:t>
            </a:r>
            <a:r>
              <a:rPr kumimoji="0" lang="pl-PL" sz="1600" b="0" i="0" u="none" strike="noStrike" kern="1200" cap="none" spc="0" normalizeH="0" baseline="0" noProof="0" dirty="0">
                <a:ln>
                  <a:noFill/>
                </a:ln>
                <a:solidFill>
                  <a:srgbClr val="575757"/>
                </a:solidFill>
                <a:effectLst/>
                <a:uLnTx/>
                <a:uFillTx/>
                <a:latin typeface="Trebuchet MS"/>
                <a:ea typeface="+mn-ea"/>
                <a:cs typeface="+mn-cs"/>
                <a:sym typeface="Trebuchet MS" panose="020B0603020202020204" pitchFamily="34" charset="0"/>
              </a:rPr>
              <a:t> management</a:t>
            </a:r>
          </a:p>
          <a:p>
            <a:pPr marL="285750" marR="0" lvl="0" indent="-285750" algn="l" defTabSz="914400" rtl="0" eaLnBrk="1" fontAlgn="auto" latinLnBrk="0" hangingPunct="1">
              <a:lnSpc>
                <a:spcPct val="100000"/>
              </a:lnSpc>
              <a:spcBef>
                <a:spcPts val="0"/>
              </a:spcBef>
              <a:spcAft>
                <a:spcPts val="800"/>
              </a:spcAft>
              <a:buClrTx/>
              <a:buSzTx/>
              <a:buFont typeface="Wingdings" panose="05000000000000000000" pitchFamily="2" charset="2"/>
              <a:buChar char="§"/>
              <a:tabLst/>
              <a:defRPr/>
            </a:pPr>
            <a:endParaRPr kumimoji="0" lang="pl-PL" sz="1600" b="0" i="0" u="none" strike="noStrike" kern="1200" cap="none" spc="0" normalizeH="0" baseline="0" noProof="0" dirty="0">
              <a:ln>
                <a:noFill/>
              </a:ln>
              <a:solidFill>
                <a:srgbClr val="575757"/>
              </a:solidFill>
              <a:effectLst/>
              <a:uLnTx/>
              <a:uFillTx/>
              <a:latin typeface="Trebuchet MS"/>
              <a:ea typeface="+mn-ea"/>
              <a:cs typeface="+mn-cs"/>
              <a:sym typeface="Trebuchet MS" panose="020B0603020202020204" pitchFamily="34" charset="0"/>
            </a:endParaRPr>
          </a:p>
        </p:txBody>
      </p:sp>
      <p:sp>
        <p:nvSpPr>
          <p:cNvPr id="40" name="Prostokąt 39">
            <a:extLst>
              <a:ext uri="{FF2B5EF4-FFF2-40B4-BE49-F238E27FC236}">
                <a16:creationId xmlns:a16="http://schemas.microsoft.com/office/drawing/2014/main" id="{E4DE8752-2318-493C-A3D0-075391488140}"/>
              </a:ext>
            </a:extLst>
          </p:cNvPr>
          <p:cNvSpPr/>
          <p:nvPr/>
        </p:nvSpPr>
        <p:spPr>
          <a:xfrm>
            <a:off x="868394" y="4784390"/>
            <a:ext cx="539015" cy="761921"/>
          </a:xfrm>
          <a:prstGeom prst="rect">
            <a:avLst/>
          </a:prstGeom>
          <a:solidFill>
            <a:schemeClr val="tx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200" b="1" i="0" u="none" strike="noStrike" kern="1200" cap="none" spc="0" normalizeH="0" baseline="0" noProof="0" dirty="0">
                <a:ln>
                  <a:noFill/>
                </a:ln>
                <a:solidFill>
                  <a:srgbClr val="FFFFFF"/>
                </a:solidFill>
                <a:effectLst/>
                <a:uLnTx/>
                <a:uFillTx/>
                <a:latin typeface="Trebuchet MS"/>
                <a:ea typeface="+mn-ea"/>
                <a:cs typeface="+mn-cs"/>
              </a:rPr>
              <a:t>55%</a:t>
            </a:r>
          </a:p>
        </p:txBody>
      </p:sp>
      <p:sp>
        <p:nvSpPr>
          <p:cNvPr id="41" name="Prostokąt 40">
            <a:extLst>
              <a:ext uri="{FF2B5EF4-FFF2-40B4-BE49-F238E27FC236}">
                <a16:creationId xmlns:a16="http://schemas.microsoft.com/office/drawing/2014/main" id="{EA722052-5D1E-4146-90C1-A4A466E5B7A0}"/>
              </a:ext>
            </a:extLst>
          </p:cNvPr>
          <p:cNvSpPr/>
          <p:nvPr/>
        </p:nvSpPr>
        <p:spPr>
          <a:xfrm>
            <a:off x="3108963" y="4261449"/>
            <a:ext cx="539015" cy="1284863"/>
          </a:xfrm>
          <a:prstGeom prst="rect">
            <a:avLst/>
          </a:prstGeom>
          <a:solidFill>
            <a:srgbClr val="5FE31D"/>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200" b="1" i="0" u="none" strike="noStrike" kern="1200" cap="none" spc="0" normalizeH="0" baseline="0" noProof="0" dirty="0">
                <a:ln>
                  <a:noFill/>
                </a:ln>
                <a:solidFill>
                  <a:srgbClr val="FFFFFF"/>
                </a:solidFill>
                <a:effectLst/>
                <a:uLnTx/>
                <a:uFillTx/>
                <a:latin typeface="Trebuchet MS"/>
                <a:ea typeface="+mn-ea"/>
                <a:cs typeface="+mn-cs"/>
              </a:rPr>
              <a:t>72%</a:t>
            </a:r>
          </a:p>
        </p:txBody>
      </p:sp>
      <p:sp>
        <p:nvSpPr>
          <p:cNvPr id="42" name="pole tekstowe 41">
            <a:extLst>
              <a:ext uri="{FF2B5EF4-FFF2-40B4-BE49-F238E27FC236}">
                <a16:creationId xmlns:a16="http://schemas.microsoft.com/office/drawing/2014/main" id="{D2D8A59B-56C2-4DDF-9088-816B4196CEB7}"/>
              </a:ext>
            </a:extLst>
          </p:cNvPr>
          <p:cNvSpPr txBox="1"/>
          <p:nvPr/>
        </p:nvSpPr>
        <p:spPr>
          <a:xfrm>
            <a:off x="762513" y="5631247"/>
            <a:ext cx="750776" cy="114821"/>
          </a:xfrm>
          <a:prstGeom prst="rect">
            <a:avLst/>
          </a:prstGeom>
          <a:noFill/>
          <a:ln w="9525" cap="rnd">
            <a:noFill/>
            <a:prstDash val="solid"/>
          </a:ln>
          <a:effectLst/>
          <a:extLst>
            <a:ext uri="{91240B29-F687-4F45-9708-019B960494DF}">
              <a14:hiddenLine xmlns:a14="http://schemas.microsoft.com/office/drawing/2010/main" w="9525" cap="rnd">
                <a:solidFill>
                  <a:srgbClr val="575757"/>
                </a:solidFill>
                <a:prstDash val="solid"/>
              </a14:hiddenLine>
            </a:ext>
          </a:extLst>
        </p:spPr>
        <p:txBody>
          <a:bodyPr vert="horz" wrap="square" lIns="36576" tIns="36576" rIns="36576" bIns="36576"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pl-PL" sz="1050" b="0" i="0" u="none" strike="noStrike" kern="1200" cap="none" spc="0" normalizeH="0" baseline="0" noProof="0" dirty="0">
                <a:ln>
                  <a:noFill/>
                </a:ln>
                <a:solidFill>
                  <a:srgbClr val="575757"/>
                </a:solidFill>
                <a:effectLst/>
                <a:uLnTx/>
                <a:uFillTx/>
                <a:latin typeface="Trebuchet MS"/>
                <a:ea typeface="+mn-ea"/>
                <a:cs typeface="+mn-cs"/>
                <a:sym typeface="Trebuchet MS" panose="020B0603020202020204" pitchFamily="34" charset="0"/>
              </a:rPr>
              <a:t>Y 2024</a:t>
            </a:r>
          </a:p>
        </p:txBody>
      </p:sp>
      <p:sp>
        <p:nvSpPr>
          <p:cNvPr id="43" name="pole tekstowe 42">
            <a:extLst>
              <a:ext uri="{FF2B5EF4-FFF2-40B4-BE49-F238E27FC236}">
                <a16:creationId xmlns:a16="http://schemas.microsoft.com/office/drawing/2014/main" id="{AF73473B-3ACF-49EE-8825-E9DFAD673052}"/>
              </a:ext>
            </a:extLst>
          </p:cNvPr>
          <p:cNvSpPr txBox="1"/>
          <p:nvPr/>
        </p:nvSpPr>
        <p:spPr>
          <a:xfrm>
            <a:off x="1822968" y="5636344"/>
            <a:ext cx="750776" cy="114821"/>
          </a:xfrm>
          <a:prstGeom prst="rect">
            <a:avLst/>
          </a:prstGeom>
          <a:noFill/>
          <a:ln w="9525" cap="rnd">
            <a:noFill/>
            <a:prstDash val="solid"/>
          </a:ln>
          <a:effectLst/>
          <a:extLst>
            <a:ext uri="{91240B29-F687-4F45-9708-019B960494DF}">
              <a14:hiddenLine xmlns:a14="http://schemas.microsoft.com/office/drawing/2010/main" w="9525" cap="rnd">
                <a:solidFill>
                  <a:srgbClr val="575757"/>
                </a:solidFill>
                <a:prstDash val="solid"/>
              </a14:hiddenLine>
            </a:ext>
          </a:extLst>
        </p:spPr>
        <p:txBody>
          <a:bodyPr vert="horz" wrap="square" lIns="36576" tIns="36576" rIns="36576" bIns="36576"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pl-PL" sz="1050" b="0" i="0" u="none" strike="noStrike" kern="1200" cap="none" spc="0" normalizeH="0" baseline="0" noProof="0" dirty="0">
                <a:ln>
                  <a:noFill/>
                </a:ln>
                <a:solidFill>
                  <a:srgbClr val="575757"/>
                </a:solidFill>
                <a:effectLst/>
                <a:uLnTx/>
                <a:uFillTx/>
                <a:latin typeface="Trebuchet MS"/>
                <a:ea typeface="+mn-ea"/>
                <a:cs typeface="+mn-cs"/>
                <a:sym typeface="Trebuchet MS" panose="020B0603020202020204" pitchFamily="34" charset="0"/>
              </a:rPr>
              <a:t>1Q 2025</a:t>
            </a:r>
          </a:p>
        </p:txBody>
      </p:sp>
      <p:sp>
        <p:nvSpPr>
          <p:cNvPr id="46" name="pole tekstowe 45">
            <a:extLst>
              <a:ext uri="{FF2B5EF4-FFF2-40B4-BE49-F238E27FC236}">
                <a16:creationId xmlns:a16="http://schemas.microsoft.com/office/drawing/2014/main" id="{64EFBB35-32DC-4BBF-86EF-71B514126573}"/>
              </a:ext>
            </a:extLst>
          </p:cNvPr>
          <p:cNvSpPr txBox="1"/>
          <p:nvPr/>
        </p:nvSpPr>
        <p:spPr>
          <a:xfrm>
            <a:off x="1407409" y="5864669"/>
            <a:ext cx="2134400" cy="562747"/>
          </a:xfrm>
          <a:prstGeom prst="rect">
            <a:avLst/>
          </a:prstGeom>
          <a:noFill/>
          <a:ln w="9525" cap="rnd">
            <a:noFill/>
            <a:prstDash val="solid"/>
          </a:ln>
          <a:effectLst/>
          <a:extLst>
            <a:ext uri="{91240B29-F687-4F45-9708-019B960494DF}">
              <a14:hiddenLine xmlns:a14="http://schemas.microsoft.com/office/drawing/2010/main" w="9525" cap="rnd">
                <a:solidFill>
                  <a:srgbClr val="575757"/>
                </a:solidFill>
                <a:prstDash val="solid"/>
              </a14:hiddenLine>
            </a:ext>
          </a:extLst>
        </p:spPr>
        <p:txBody>
          <a:bodyPr vert="horz" wrap="square" lIns="36576" tIns="36576" rIns="36576" bIns="36576" rtlCol="0" anchor="ctr">
            <a:no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pl-PL" sz="1400" b="1" i="0" u="none" strike="noStrike" kern="1200" cap="none" spc="0" normalizeH="0" baseline="0" noProof="0" dirty="0">
                <a:ln>
                  <a:noFill/>
                </a:ln>
                <a:solidFill>
                  <a:srgbClr val="F2F2F2">
                    <a:lumMod val="50000"/>
                  </a:srgbClr>
                </a:solidFill>
                <a:effectLst/>
                <a:uLnTx/>
                <a:uFillTx/>
                <a:latin typeface="Calibri" panose="020F0502020204030204" pitchFamily="34" charset="0"/>
                <a:ea typeface="Calibri" panose="020F0502020204030204" pitchFamily="34" charset="0"/>
                <a:cs typeface="Calibri" panose="020F0502020204030204" pitchFamily="34" charset="0"/>
                <a:sym typeface="Trebuchet MS" panose="020B0603020202020204" pitchFamily="34" charset="0"/>
              </a:rPr>
              <a:t>Service Level SOHO</a:t>
            </a:r>
          </a:p>
        </p:txBody>
      </p:sp>
      <p:sp>
        <p:nvSpPr>
          <p:cNvPr id="7" name="Prostokąt 6">
            <a:extLst>
              <a:ext uri="{FF2B5EF4-FFF2-40B4-BE49-F238E27FC236}">
                <a16:creationId xmlns:a16="http://schemas.microsoft.com/office/drawing/2014/main" id="{1329CB1B-A678-EE5E-776E-7A8B7AC23375}"/>
              </a:ext>
            </a:extLst>
          </p:cNvPr>
          <p:cNvSpPr/>
          <p:nvPr/>
        </p:nvSpPr>
        <p:spPr>
          <a:xfrm>
            <a:off x="2501892" y="4339088"/>
            <a:ext cx="539015" cy="1207226"/>
          </a:xfrm>
          <a:prstGeom prst="rect">
            <a:avLst/>
          </a:prstGeom>
          <a:solidFill>
            <a:srgbClr val="5FE31D"/>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200" b="1" i="0" u="none" strike="noStrike" kern="1200" cap="none" spc="0" normalizeH="0" baseline="0" noProof="0" dirty="0">
                <a:ln>
                  <a:noFill/>
                </a:ln>
                <a:solidFill>
                  <a:srgbClr val="FFFFFF"/>
                </a:solidFill>
                <a:effectLst/>
                <a:uLnTx/>
                <a:uFillTx/>
                <a:latin typeface="Trebuchet MS"/>
                <a:ea typeface="+mn-ea"/>
                <a:cs typeface="+mn-cs"/>
              </a:rPr>
              <a:t>71%</a:t>
            </a:r>
          </a:p>
        </p:txBody>
      </p:sp>
      <p:sp>
        <p:nvSpPr>
          <p:cNvPr id="11" name="Prostokąt 10">
            <a:extLst>
              <a:ext uri="{FF2B5EF4-FFF2-40B4-BE49-F238E27FC236}">
                <a16:creationId xmlns:a16="http://schemas.microsoft.com/office/drawing/2014/main" id="{32975FB1-5B7E-85FC-A42C-647173583CE3}"/>
              </a:ext>
            </a:extLst>
          </p:cNvPr>
          <p:cNvSpPr/>
          <p:nvPr/>
        </p:nvSpPr>
        <p:spPr>
          <a:xfrm>
            <a:off x="1894821" y="4059162"/>
            <a:ext cx="539015" cy="1487149"/>
          </a:xfrm>
          <a:prstGeom prst="rect">
            <a:avLst/>
          </a:prstGeom>
          <a:solidFill>
            <a:srgbClr val="5FE31D"/>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200" b="1" i="0" u="none" strike="noStrike" kern="1200" cap="none" spc="0" normalizeH="0" baseline="0" noProof="0" dirty="0">
                <a:ln>
                  <a:noFill/>
                </a:ln>
                <a:solidFill>
                  <a:srgbClr val="FFFFFF"/>
                </a:solidFill>
                <a:effectLst/>
                <a:uLnTx/>
                <a:uFillTx/>
                <a:latin typeface="Trebuchet MS"/>
                <a:ea typeface="+mn-ea"/>
                <a:cs typeface="+mn-cs"/>
              </a:rPr>
              <a:t>77%</a:t>
            </a:r>
          </a:p>
        </p:txBody>
      </p:sp>
      <p:sp>
        <p:nvSpPr>
          <p:cNvPr id="12" name="pole tekstowe 11">
            <a:extLst>
              <a:ext uri="{FF2B5EF4-FFF2-40B4-BE49-F238E27FC236}">
                <a16:creationId xmlns:a16="http://schemas.microsoft.com/office/drawing/2014/main" id="{7091A2A5-0F35-045C-F281-0FE1C6761F76}"/>
              </a:ext>
            </a:extLst>
          </p:cNvPr>
          <p:cNvSpPr txBox="1"/>
          <p:nvPr/>
        </p:nvSpPr>
        <p:spPr>
          <a:xfrm>
            <a:off x="2386391" y="5636344"/>
            <a:ext cx="750776" cy="114821"/>
          </a:xfrm>
          <a:prstGeom prst="rect">
            <a:avLst/>
          </a:prstGeom>
          <a:noFill/>
          <a:ln w="9525" cap="rnd">
            <a:noFill/>
            <a:prstDash val="solid"/>
          </a:ln>
          <a:effectLst/>
          <a:extLst>
            <a:ext uri="{91240B29-F687-4F45-9708-019B960494DF}">
              <a14:hiddenLine xmlns:a14="http://schemas.microsoft.com/office/drawing/2010/main" w="9525" cap="rnd">
                <a:solidFill>
                  <a:srgbClr val="575757"/>
                </a:solidFill>
                <a:prstDash val="solid"/>
              </a14:hiddenLine>
            </a:ext>
          </a:extLst>
        </p:spPr>
        <p:txBody>
          <a:bodyPr vert="horz" wrap="square" lIns="36576" tIns="36576" rIns="36576" bIns="36576"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pl-PL" sz="1050" b="0" i="0" u="none" strike="noStrike" kern="1200" cap="none" spc="0" normalizeH="0" baseline="0" noProof="0" dirty="0">
                <a:ln>
                  <a:noFill/>
                </a:ln>
                <a:solidFill>
                  <a:srgbClr val="575757"/>
                </a:solidFill>
                <a:effectLst/>
                <a:uLnTx/>
                <a:uFillTx/>
                <a:latin typeface="Trebuchet MS"/>
                <a:ea typeface="+mn-ea"/>
                <a:cs typeface="+mn-cs"/>
                <a:sym typeface="Trebuchet MS" panose="020B0603020202020204" pitchFamily="34" charset="0"/>
              </a:rPr>
              <a:t>2Q 2025</a:t>
            </a:r>
          </a:p>
        </p:txBody>
      </p:sp>
      <p:sp>
        <p:nvSpPr>
          <p:cNvPr id="13" name="pole tekstowe 12">
            <a:extLst>
              <a:ext uri="{FF2B5EF4-FFF2-40B4-BE49-F238E27FC236}">
                <a16:creationId xmlns:a16="http://schemas.microsoft.com/office/drawing/2014/main" id="{BAC635A0-F54C-BB24-86FC-1DAF45938E78}"/>
              </a:ext>
            </a:extLst>
          </p:cNvPr>
          <p:cNvSpPr txBox="1"/>
          <p:nvPr/>
        </p:nvSpPr>
        <p:spPr>
          <a:xfrm>
            <a:off x="2956940" y="5636344"/>
            <a:ext cx="750776" cy="114821"/>
          </a:xfrm>
          <a:prstGeom prst="rect">
            <a:avLst/>
          </a:prstGeom>
          <a:noFill/>
          <a:ln w="9525" cap="rnd">
            <a:noFill/>
            <a:prstDash val="solid"/>
          </a:ln>
          <a:effectLst/>
          <a:extLst>
            <a:ext uri="{91240B29-F687-4F45-9708-019B960494DF}">
              <a14:hiddenLine xmlns:a14="http://schemas.microsoft.com/office/drawing/2010/main" w="9525" cap="rnd">
                <a:solidFill>
                  <a:srgbClr val="575757"/>
                </a:solidFill>
                <a:prstDash val="solid"/>
              </a14:hiddenLine>
            </a:ext>
          </a:extLst>
        </p:spPr>
        <p:txBody>
          <a:bodyPr vert="horz" wrap="square" lIns="36576" tIns="36576" rIns="36576" bIns="36576"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pl-PL" sz="1050" b="0" i="0" u="none" strike="noStrike" kern="1200" cap="none" spc="0" normalizeH="0" baseline="0" noProof="0" dirty="0">
                <a:ln>
                  <a:noFill/>
                </a:ln>
                <a:solidFill>
                  <a:srgbClr val="575757"/>
                </a:solidFill>
                <a:effectLst/>
                <a:uLnTx/>
                <a:uFillTx/>
                <a:latin typeface="Trebuchet MS"/>
                <a:ea typeface="+mn-ea"/>
                <a:cs typeface="+mn-cs"/>
                <a:sym typeface="Trebuchet MS" panose="020B0603020202020204" pitchFamily="34" charset="0"/>
              </a:rPr>
              <a:t>3Q 2025</a:t>
            </a:r>
          </a:p>
        </p:txBody>
      </p:sp>
      <p:sp>
        <p:nvSpPr>
          <p:cNvPr id="15" name="Prostokąt zaokrąglony 9">
            <a:extLst>
              <a:ext uri="{FF2B5EF4-FFF2-40B4-BE49-F238E27FC236}">
                <a16:creationId xmlns:a16="http://schemas.microsoft.com/office/drawing/2014/main" id="{143E9F34-9FDD-0F7E-E2E9-30C1BEE168E4}"/>
              </a:ext>
            </a:extLst>
          </p:cNvPr>
          <p:cNvSpPr/>
          <p:nvPr/>
        </p:nvSpPr>
        <p:spPr>
          <a:xfrm>
            <a:off x="5268387" y="4857682"/>
            <a:ext cx="2906265" cy="720008"/>
          </a:xfrm>
          <a:prstGeom prst="roundRect">
            <a:avLst/>
          </a:prstGeom>
          <a:solidFill>
            <a:srgbClr val="008080"/>
          </a:solidFill>
          <a:ln>
            <a:solidFill>
              <a:srgbClr val="0095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400" b="0" i="0" u="none" strike="noStrike" kern="1200" cap="none" spc="0" normalizeH="0" baseline="0" noProof="0" dirty="0">
                <a:ln>
                  <a:noFill/>
                </a:ln>
                <a:solidFill>
                  <a:prstClr val="white"/>
                </a:solidFill>
                <a:effectLst/>
                <a:uLnTx/>
                <a:uFillTx/>
                <a:latin typeface="Trebuchet MS"/>
                <a:ea typeface="+mn-ea"/>
                <a:cs typeface="+mn-cs"/>
              </a:rPr>
              <a:t>high </a:t>
            </a:r>
            <a:r>
              <a:rPr kumimoji="0" lang="pl-PL" sz="1400" b="0" i="0" u="none" strike="noStrike" kern="1200" cap="none" spc="0" normalizeH="0" baseline="0" noProof="0" dirty="0" err="1">
                <a:ln>
                  <a:noFill/>
                </a:ln>
                <a:solidFill>
                  <a:prstClr val="white"/>
                </a:solidFill>
                <a:effectLst/>
                <a:uLnTx/>
                <a:uFillTx/>
                <a:latin typeface="Trebuchet MS"/>
                <a:ea typeface="+mn-ea"/>
                <a:cs typeface="+mn-cs"/>
              </a:rPr>
              <a:t>increase</a:t>
            </a:r>
            <a:r>
              <a:rPr kumimoji="0" lang="pl-PL" sz="1400" b="0" i="0" u="none" strike="noStrike" kern="1200" cap="none" spc="0" normalizeH="0" baseline="0" noProof="0" dirty="0">
                <a:ln>
                  <a:noFill/>
                </a:ln>
                <a:solidFill>
                  <a:prstClr val="white"/>
                </a:solidFill>
                <a:effectLst/>
                <a:uLnTx/>
                <a:uFillTx/>
                <a:latin typeface="Trebuchet MS"/>
                <a:ea typeface="+mn-ea"/>
                <a:cs typeface="+mn-cs"/>
              </a:rPr>
              <a:t> in the Service Level </a:t>
            </a:r>
            <a:r>
              <a:rPr kumimoji="0" lang="pl-PL" sz="1400" b="0" i="0" u="none" strike="noStrike" kern="1200" cap="none" spc="0" normalizeH="0" baseline="0" noProof="0" dirty="0" err="1">
                <a:ln>
                  <a:noFill/>
                </a:ln>
                <a:solidFill>
                  <a:prstClr val="white"/>
                </a:solidFill>
                <a:effectLst/>
                <a:uLnTx/>
                <a:uFillTx/>
                <a:latin typeface="Trebuchet MS"/>
                <a:ea typeface="+mn-ea"/>
                <a:cs typeface="+mn-cs"/>
              </a:rPr>
              <a:t>throughout</a:t>
            </a:r>
            <a:r>
              <a:rPr kumimoji="0" lang="pl-PL" sz="1400" b="0" i="0" u="none" strike="noStrike" kern="1200" cap="none" spc="0" normalizeH="0" baseline="0" noProof="0" dirty="0">
                <a:ln>
                  <a:noFill/>
                </a:ln>
                <a:solidFill>
                  <a:prstClr val="white"/>
                </a:solidFill>
                <a:effectLst/>
                <a:uLnTx/>
                <a:uFillTx/>
                <a:latin typeface="Trebuchet MS"/>
                <a:ea typeface="+mn-ea"/>
                <a:cs typeface="+mn-cs"/>
              </a:rPr>
              <a:t> 2025</a:t>
            </a:r>
          </a:p>
        </p:txBody>
      </p:sp>
      <p:sp>
        <p:nvSpPr>
          <p:cNvPr id="18" name="Strzałka: w górę 17">
            <a:extLst>
              <a:ext uri="{FF2B5EF4-FFF2-40B4-BE49-F238E27FC236}">
                <a16:creationId xmlns:a16="http://schemas.microsoft.com/office/drawing/2014/main" id="{A119D189-A9DA-5BA2-1CED-C101EBDDE5B5}"/>
              </a:ext>
            </a:extLst>
          </p:cNvPr>
          <p:cNvSpPr/>
          <p:nvPr/>
        </p:nvSpPr>
        <p:spPr>
          <a:xfrm>
            <a:off x="4853769" y="4832959"/>
            <a:ext cx="252927" cy="745564"/>
          </a:xfrm>
          <a:prstGeom prst="upArrow">
            <a:avLst/>
          </a:prstGeom>
          <a:solidFill>
            <a:srgbClr val="92D050"/>
          </a:solidFill>
          <a:ln>
            <a:solidFill>
              <a:srgbClr val="92D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2400" b="0" i="0" u="none" strike="noStrike" kern="1200" cap="none" spc="0" normalizeH="0" baseline="0" noProof="0">
              <a:ln>
                <a:noFill/>
              </a:ln>
              <a:solidFill>
                <a:prstClr val="white"/>
              </a:solidFill>
              <a:effectLst/>
              <a:uLnTx/>
              <a:uFillTx/>
              <a:latin typeface="Trebuchet MS"/>
              <a:ea typeface="+mn-ea"/>
              <a:cs typeface="+mn-cs"/>
            </a:endParaRPr>
          </a:p>
        </p:txBody>
      </p:sp>
      <p:sp>
        <p:nvSpPr>
          <p:cNvPr id="20" name="Prostokąt: zaokrąglone rogi 19">
            <a:extLst>
              <a:ext uri="{FF2B5EF4-FFF2-40B4-BE49-F238E27FC236}">
                <a16:creationId xmlns:a16="http://schemas.microsoft.com/office/drawing/2014/main" id="{C08982A3-5131-9B17-A183-200CC7D30426}"/>
              </a:ext>
            </a:extLst>
          </p:cNvPr>
          <p:cNvSpPr/>
          <p:nvPr/>
        </p:nvSpPr>
        <p:spPr>
          <a:xfrm>
            <a:off x="6254044" y="5692979"/>
            <a:ext cx="3279314" cy="745564"/>
          </a:xfrm>
          <a:prstGeom prst="roundRect">
            <a:avLst/>
          </a:prstGeom>
          <a:noFill/>
          <a:ln>
            <a:solidFill>
              <a:srgbClr val="92D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800" b="0" i="0" u="none" strike="noStrike" kern="1200" cap="none" spc="0" normalizeH="0" baseline="0" noProof="0" dirty="0">
                <a:ln>
                  <a:noFill/>
                </a:ln>
                <a:solidFill>
                  <a:prstClr val="white"/>
                </a:solidFill>
                <a:effectLst/>
                <a:uLnTx/>
                <a:uFillTx/>
                <a:latin typeface="Trebuchet MS"/>
                <a:ea typeface="+mn-ea"/>
                <a:cs typeface="+mn-cs"/>
              </a:rPr>
              <a:t>c</a:t>
            </a:r>
          </a:p>
        </p:txBody>
      </p:sp>
      <p:sp>
        <p:nvSpPr>
          <p:cNvPr id="21" name="pole tekstowe 20">
            <a:extLst>
              <a:ext uri="{FF2B5EF4-FFF2-40B4-BE49-F238E27FC236}">
                <a16:creationId xmlns:a16="http://schemas.microsoft.com/office/drawing/2014/main" id="{C60A1901-7E24-DD35-D346-9D9A9F2DA75B}"/>
              </a:ext>
            </a:extLst>
          </p:cNvPr>
          <p:cNvSpPr txBox="1"/>
          <p:nvPr/>
        </p:nvSpPr>
        <p:spPr>
          <a:xfrm>
            <a:off x="6522597" y="5752665"/>
            <a:ext cx="3013967"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400" b="0" i="0" u="none" strike="noStrike" kern="1200" cap="none" spc="0" normalizeH="0" baseline="0" noProof="0" dirty="0" err="1">
                <a:ln>
                  <a:noFill/>
                </a:ln>
                <a:solidFill>
                  <a:srgbClr val="575757"/>
                </a:solidFill>
                <a:effectLst/>
                <a:uLnTx/>
                <a:uFillTx/>
                <a:latin typeface="Trebuchet MS"/>
                <a:ea typeface="+mn-ea"/>
                <a:cs typeface="+mn-cs"/>
              </a:rPr>
              <a:t>average</a:t>
            </a:r>
            <a:r>
              <a:rPr kumimoji="0" lang="pl-PL" sz="1400" b="0" i="0" u="none" strike="noStrike" kern="1200" cap="none" spc="0" normalizeH="0" baseline="0" noProof="0" dirty="0">
                <a:ln>
                  <a:noFill/>
                </a:ln>
                <a:solidFill>
                  <a:srgbClr val="575757"/>
                </a:solidFill>
                <a:effectLst/>
                <a:uLnTx/>
                <a:uFillTx/>
                <a:latin typeface="Trebuchet MS"/>
                <a:ea typeface="+mn-ea"/>
                <a:cs typeface="+mn-cs"/>
              </a:rPr>
              <a:t> </a:t>
            </a:r>
            <a:r>
              <a:rPr kumimoji="0" lang="pl-PL" sz="1400" b="0" i="0" u="none" strike="noStrike" kern="1200" cap="none" spc="0" normalizeH="0" baseline="0" noProof="0" dirty="0" err="1">
                <a:ln>
                  <a:noFill/>
                </a:ln>
                <a:solidFill>
                  <a:srgbClr val="575757"/>
                </a:solidFill>
                <a:effectLst/>
                <a:uLnTx/>
                <a:uFillTx/>
                <a:latin typeface="Trebuchet MS"/>
                <a:ea typeface="+mn-ea"/>
                <a:cs typeface="+mn-cs"/>
              </a:rPr>
              <a:t>waiting</a:t>
            </a:r>
            <a:r>
              <a:rPr kumimoji="0" lang="pl-PL" sz="1400" b="0" i="0" u="none" strike="noStrike" kern="1200" cap="none" spc="0" normalizeH="0" baseline="0" noProof="0" dirty="0">
                <a:ln>
                  <a:noFill/>
                </a:ln>
                <a:solidFill>
                  <a:srgbClr val="575757"/>
                </a:solidFill>
                <a:effectLst/>
                <a:uLnTx/>
                <a:uFillTx/>
                <a:latin typeface="Trebuchet MS"/>
                <a:ea typeface="+mn-ea"/>
                <a:cs typeface="+mn-cs"/>
              </a:rPr>
              <a:t> </a:t>
            </a:r>
            <a:r>
              <a:rPr kumimoji="0" lang="pl-PL" sz="1400" b="0" i="0" u="none" strike="noStrike" kern="1200" cap="none" spc="0" normalizeH="0" baseline="0" noProof="0" dirty="0" err="1">
                <a:ln>
                  <a:noFill/>
                </a:ln>
                <a:solidFill>
                  <a:srgbClr val="575757"/>
                </a:solidFill>
                <a:effectLst/>
                <a:uLnTx/>
                <a:uFillTx/>
                <a:latin typeface="Trebuchet MS"/>
                <a:ea typeface="+mn-ea"/>
                <a:cs typeface="+mn-cs"/>
              </a:rPr>
              <a:t>time</a:t>
            </a:r>
            <a:r>
              <a:rPr kumimoji="0" lang="pl-PL" sz="1400" b="0" i="0" u="none" strike="noStrike" kern="1200" cap="none" spc="0" normalizeH="0" baseline="0" noProof="0" dirty="0">
                <a:ln>
                  <a:noFill/>
                </a:ln>
                <a:solidFill>
                  <a:srgbClr val="575757"/>
                </a:solidFill>
                <a:effectLst/>
                <a:uLnTx/>
                <a:uFillTx/>
                <a:latin typeface="Trebuchet MS"/>
                <a:ea typeface="+mn-ea"/>
                <a:cs typeface="+mn-cs"/>
              </a:rPr>
              <a:t> in 2025: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800" b="1" i="0" u="none" strike="noStrike" kern="1200" cap="none" spc="0" normalizeH="0" baseline="0" noProof="0" dirty="0">
                <a:ln>
                  <a:noFill/>
                </a:ln>
                <a:solidFill>
                  <a:srgbClr val="92D050"/>
                </a:solidFill>
                <a:effectLst/>
                <a:uLnTx/>
                <a:uFillTx/>
                <a:latin typeface="Trebuchet MS"/>
                <a:ea typeface="+mn-ea"/>
                <a:cs typeface="+mn-cs"/>
              </a:rPr>
              <a:t>00:01:08</a:t>
            </a:r>
            <a:r>
              <a:rPr kumimoji="0" lang="pl-PL" sz="1400" b="0" i="0" u="none" strike="noStrike" kern="1200" cap="none" spc="0" normalizeH="0" baseline="0" noProof="0" dirty="0">
                <a:ln>
                  <a:noFill/>
                </a:ln>
                <a:solidFill>
                  <a:srgbClr val="575757"/>
                </a:solidFill>
                <a:effectLst/>
                <a:uLnTx/>
                <a:uFillTx/>
                <a:latin typeface="Trebuchet MS"/>
                <a:ea typeface="+mn-ea"/>
                <a:cs typeface="+mn-cs"/>
              </a:rPr>
              <a:t> vs. </a:t>
            </a:r>
            <a:r>
              <a:rPr kumimoji="0" lang="pl-PL" sz="1600" b="1" i="0" u="none" strike="noStrike" kern="1200" cap="none" spc="0" normalizeH="0" baseline="0" noProof="0" dirty="0">
                <a:ln>
                  <a:noFill/>
                </a:ln>
                <a:solidFill>
                  <a:srgbClr val="FF0000"/>
                </a:solidFill>
                <a:effectLst/>
                <a:uLnTx/>
                <a:uFillTx/>
                <a:latin typeface="Trebuchet MS"/>
                <a:ea typeface="+mn-ea"/>
                <a:cs typeface="+mn-cs"/>
              </a:rPr>
              <a:t>00:02:06</a:t>
            </a:r>
            <a:r>
              <a:rPr kumimoji="0" lang="pl-PL" sz="1600" b="1" i="0" u="none" strike="noStrike" kern="1200" cap="none" spc="0" normalizeH="0" baseline="0" noProof="0" dirty="0">
                <a:ln>
                  <a:noFill/>
                </a:ln>
                <a:solidFill>
                  <a:srgbClr val="575757"/>
                </a:solidFill>
                <a:effectLst/>
                <a:uLnTx/>
                <a:uFillTx/>
                <a:latin typeface="Trebuchet MS"/>
                <a:ea typeface="+mn-ea"/>
                <a:cs typeface="+mn-cs"/>
              </a:rPr>
              <a:t> </a:t>
            </a:r>
            <a:r>
              <a:rPr kumimoji="0" lang="pl-PL" sz="1400" b="0" i="0" u="none" strike="noStrike" kern="1200" cap="none" spc="0" normalizeH="0" baseline="0" noProof="0" dirty="0">
                <a:ln>
                  <a:noFill/>
                </a:ln>
                <a:solidFill>
                  <a:srgbClr val="575757"/>
                </a:solidFill>
                <a:effectLst/>
                <a:uLnTx/>
                <a:uFillTx/>
                <a:latin typeface="Trebuchet MS"/>
                <a:ea typeface="+mn-ea"/>
                <a:cs typeface="+mn-cs"/>
              </a:rPr>
              <a:t>in 2024</a:t>
            </a:r>
          </a:p>
        </p:txBody>
      </p:sp>
      <p:sp>
        <p:nvSpPr>
          <p:cNvPr id="22" name="Dowolny kształt: kształt 21">
            <a:extLst>
              <a:ext uri="{FF2B5EF4-FFF2-40B4-BE49-F238E27FC236}">
                <a16:creationId xmlns:a16="http://schemas.microsoft.com/office/drawing/2014/main" id="{6712A179-93E5-4532-0304-1BA5A91E5523}"/>
              </a:ext>
            </a:extLst>
          </p:cNvPr>
          <p:cNvSpPr/>
          <p:nvPr/>
        </p:nvSpPr>
        <p:spPr>
          <a:xfrm>
            <a:off x="8743665" y="4059162"/>
            <a:ext cx="3285810" cy="1121339"/>
          </a:xfrm>
          <a:custGeom>
            <a:avLst/>
            <a:gdLst>
              <a:gd name="connsiteX0" fmla="*/ 0 w 1809057"/>
              <a:gd name="connsiteY0" fmla="*/ 80642 h 483840"/>
              <a:gd name="connsiteX1" fmla="*/ 80642 w 1809057"/>
              <a:gd name="connsiteY1" fmla="*/ 0 h 483840"/>
              <a:gd name="connsiteX2" fmla="*/ 1728415 w 1809057"/>
              <a:gd name="connsiteY2" fmla="*/ 0 h 483840"/>
              <a:gd name="connsiteX3" fmla="*/ 1809057 w 1809057"/>
              <a:gd name="connsiteY3" fmla="*/ 80642 h 483840"/>
              <a:gd name="connsiteX4" fmla="*/ 1809057 w 1809057"/>
              <a:gd name="connsiteY4" fmla="*/ 403198 h 483840"/>
              <a:gd name="connsiteX5" fmla="*/ 1728415 w 1809057"/>
              <a:gd name="connsiteY5" fmla="*/ 483840 h 483840"/>
              <a:gd name="connsiteX6" fmla="*/ 80642 w 1809057"/>
              <a:gd name="connsiteY6" fmla="*/ 483840 h 483840"/>
              <a:gd name="connsiteX7" fmla="*/ 0 w 1809057"/>
              <a:gd name="connsiteY7" fmla="*/ 403198 h 483840"/>
              <a:gd name="connsiteX8" fmla="*/ 0 w 1809057"/>
              <a:gd name="connsiteY8" fmla="*/ 80642 h 48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09057" h="483840">
                <a:moveTo>
                  <a:pt x="0" y="80642"/>
                </a:moveTo>
                <a:cubicBezTo>
                  <a:pt x="0" y="36105"/>
                  <a:pt x="36105" y="0"/>
                  <a:pt x="80642" y="0"/>
                </a:cubicBezTo>
                <a:lnTo>
                  <a:pt x="1728415" y="0"/>
                </a:lnTo>
                <a:cubicBezTo>
                  <a:pt x="1772952" y="0"/>
                  <a:pt x="1809057" y="36105"/>
                  <a:pt x="1809057" y="80642"/>
                </a:cubicBezTo>
                <a:lnTo>
                  <a:pt x="1809057" y="403198"/>
                </a:lnTo>
                <a:cubicBezTo>
                  <a:pt x="1809057" y="447735"/>
                  <a:pt x="1772952" y="483840"/>
                  <a:pt x="1728415" y="483840"/>
                </a:cubicBezTo>
                <a:lnTo>
                  <a:pt x="80642" y="483840"/>
                </a:lnTo>
                <a:cubicBezTo>
                  <a:pt x="36105" y="483840"/>
                  <a:pt x="0" y="447735"/>
                  <a:pt x="0" y="403198"/>
                </a:cubicBezTo>
                <a:lnTo>
                  <a:pt x="0" y="80642"/>
                </a:lnTo>
                <a:close/>
              </a:path>
            </a:pathLst>
          </a:custGeom>
          <a:solidFill>
            <a:srgbClr val="81BC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42048" tIns="92452" rIns="92452" bIns="92452" numCol="1" spcCol="1270" anchor="ctr" anchorCtr="0">
            <a:noAutofit/>
          </a:bodyPr>
          <a:lstStyle/>
          <a:p>
            <a:pPr marL="0" marR="0" lvl="0" indent="0" algn="l" defTabSz="711182"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Trebuchet MS"/>
                <a:ea typeface="+mn-ea"/>
                <a:cs typeface="+mn-cs"/>
              </a:rPr>
              <a:t>71%</a:t>
            </a:r>
            <a:r>
              <a:rPr kumimoji="0" lang="en-US" sz="1400" b="0" i="0" u="none" strike="noStrike" kern="1200" cap="none" spc="0" normalizeH="0" baseline="0" noProof="0" dirty="0">
                <a:ln>
                  <a:noFill/>
                </a:ln>
                <a:solidFill>
                  <a:prstClr val="white"/>
                </a:solidFill>
                <a:effectLst/>
                <a:uLnTx/>
                <a:uFillTx/>
                <a:latin typeface="Trebuchet MS"/>
                <a:ea typeface="+mn-ea"/>
                <a:cs typeface="+mn-cs"/>
              </a:rPr>
              <a:t> of customers believe that a quick resolution of the case can radically change their opinion about the company</a:t>
            </a:r>
            <a:endParaRPr kumimoji="0" lang="pl-PL" sz="1400" b="0" i="0" u="none" strike="noStrike" kern="1200" cap="none" spc="0" normalizeH="0" baseline="0" noProof="0" dirty="0">
              <a:ln>
                <a:noFill/>
              </a:ln>
              <a:solidFill>
                <a:prstClr val="white"/>
              </a:solidFill>
              <a:effectLst/>
              <a:uLnTx/>
              <a:uFillTx/>
              <a:latin typeface="Trebuchet MS"/>
              <a:ea typeface="+mn-ea"/>
              <a:cs typeface="+mn-cs"/>
            </a:endParaRPr>
          </a:p>
        </p:txBody>
      </p:sp>
      <p:pic>
        <p:nvPicPr>
          <p:cNvPr id="23" name="Obraz 22">
            <a:extLst>
              <a:ext uri="{FF2B5EF4-FFF2-40B4-BE49-F238E27FC236}">
                <a16:creationId xmlns:a16="http://schemas.microsoft.com/office/drawing/2014/main" id="{93712597-7AF5-D943-F885-4433FE32B25B}"/>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8045895" y="3689963"/>
            <a:ext cx="1121339" cy="1121339"/>
          </a:xfrm>
          <a:prstGeom prst="ellipse">
            <a:avLst/>
          </a:prstGeom>
          <a:ln w="19050">
            <a:solidFill>
              <a:schemeClr val="bg1"/>
            </a:solidFill>
          </a:ln>
        </p:spPr>
      </p:pic>
      <p:sp>
        <p:nvSpPr>
          <p:cNvPr id="5" name="Prostokąt 4">
            <a:extLst>
              <a:ext uri="{FF2B5EF4-FFF2-40B4-BE49-F238E27FC236}">
                <a16:creationId xmlns:a16="http://schemas.microsoft.com/office/drawing/2014/main" id="{7B9A728C-C711-5E33-61F0-47B7467E21B3}"/>
              </a:ext>
            </a:extLst>
          </p:cNvPr>
          <p:cNvSpPr/>
          <p:nvPr/>
        </p:nvSpPr>
        <p:spPr>
          <a:xfrm>
            <a:off x="3704148" y="4339086"/>
            <a:ext cx="539015" cy="1207225"/>
          </a:xfrm>
          <a:prstGeom prst="rect">
            <a:avLst/>
          </a:prstGeom>
          <a:solidFill>
            <a:srgbClr val="5FE31D"/>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200" b="1" i="0" u="none" strike="noStrike" kern="1200" cap="none" spc="0" normalizeH="0" baseline="0" noProof="0" dirty="0">
                <a:ln>
                  <a:noFill/>
                </a:ln>
                <a:solidFill>
                  <a:srgbClr val="FFFFFF"/>
                </a:solidFill>
                <a:effectLst/>
                <a:uLnTx/>
                <a:uFillTx/>
                <a:latin typeface="Trebuchet MS"/>
                <a:ea typeface="+mn-ea"/>
                <a:cs typeface="+mn-cs"/>
              </a:rPr>
              <a:t>71%</a:t>
            </a:r>
          </a:p>
        </p:txBody>
      </p:sp>
      <p:sp>
        <p:nvSpPr>
          <p:cNvPr id="10" name="pole tekstowe 9">
            <a:extLst>
              <a:ext uri="{FF2B5EF4-FFF2-40B4-BE49-F238E27FC236}">
                <a16:creationId xmlns:a16="http://schemas.microsoft.com/office/drawing/2014/main" id="{75F3F134-8433-70DF-FDFB-CBF5921D90D2}"/>
              </a:ext>
            </a:extLst>
          </p:cNvPr>
          <p:cNvSpPr txBox="1"/>
          <p:nvPr/>
        </p:nvSpPr>
        <p:spPr>
          <a:xfrm>
            <a:off x="3545831" y="5637844"/>
            <a:ext cx="750776" cy="114821"/>
          </a:xfrm>
          <a:prstGeom prst="rect">
            <a:avLst/>
          </a:prstGeom>
          <a:noFill/>
          <a:ln w="9525" cap="rnd">
            <a:noFill/>
            <a:prstDash val="solid"/>
          </a:ln>
          <a:effectLst/>
          <a:extLst>
            <a:ext uri="{91240B29-F687-4F45-9708-019B960494DF}">
              <a14:hiddenLine xmlns:a14="http://schemas.microsoft.com/office/drawing/2010/main" w="9525" cap="rnd">
                <a:solidFill>
                  <a:srgbClr val="575757"/>
                </a:solidFill>
                <a:prstDash val="solid"/>
              </a14:hiddenLine>
            </a:ext>
          </a:extLst>
        </p:spPr>
        <p:txBody>
          <a:bodyPr vert="horz" wrap="square" lIns="36576" tIns="36576" rIns="36576" bIns="36576"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pl-PL" sz="1050" b="0" i="0" u="none" strike="noStrike" kern="1200" cap="none" spc="0" normalizeH="0" baseline="0" noProof="0" dirty="0">
                <a:ln>
                  <a:noFill/>
                </a:ln>
                <a:solidFill>
                  <a:srgbClr val="575757"/>
                </a:solidFill>
                <a:effectLst/>
                <a:uLnTx/>
                <a:uFillTx/>
                <a:latin typeface="Trebuchet MS"/>
                <a:ea typeface="+mn-ea"/>
                <a:cs typeface="+mn-cs"/>
                <a:sym typeface="Trebuchet MS" panose="020B0603020202020204" pitchFamily="34" charset="0"/>
              </a:rPr>
              <a:t>4Q 2025</a:t>
            </a:r>
          </a:p>
        </p:txBody>
      </p:sp>
    </p:spTree>
    <p:extLst>
      <p:ext uri="{BB962C8B-B14F-4D97-AF65-F5344CB8AC3E}">
        <p14:creationId xmlns:p14="http://schemas.microsoft.com/office/powerpoint/2010/main" val="282933951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ymbol zastępczy zawartości 4">
            <a:extLst>
              <a:ext uri="{FF2B5EF4-FFF2-40B4-BE49-F238E27FC236}">
                <a16:creationId xmlns:a16="http://schemas.microsoft.com/office/drawing/2014/main" id="{7272A67D-B00D-2802-E7DA-32FD94F27D81}"/>
              </a:ext>
            </a:extLst>
          </p:cNvPr>
          <p:cNvSpPr>
            <a:spLocks noGrp="1"/>
          </p:cNvSpPr>
          <p:nvPr>
            <p:ph sz="quarter" idx="14"/>
          </p:nvPr>
        </p:nvSpPr>
        <p:spPr>
          <a:xfrm>
            <a:off x="706965" y="860897"/>
            <a:ext cx="10801351" cy="298449"/>
          </a:xfrm>
        </p:spPr>
        <p:txBody>
          <a:bodyPr/>
          <a:lstStyle/>
          <a:p>
            <a:r>
              <a:rPr lang="en-US" sz="2400" dirty="0"/>
              <a:t>confirmation that we are going in the right direction</a:t>
            </a:r>
            <a:endParaRPr lang="pl-PL" sz="2400" dirty="0"/>
          </a:p>
        </p:txBody>
      </p:sp>
      <p:sp>
        <p:nvSpPr>
          <p:cNvPr id="2" name="Tytuł 1">
            <a:extLst>
              <a:ext uri="{FF2B5EF4-FFF2-40B4-BE49-F238E27FC236}">
                <a16:creationId xmlns:a16="http://schemas.microsoft.com/office/drawing/2014/main" id="{BE3E659C-9418-4A54-B892-48652EB0ADF7}"/>
              </a:ext>
            </a:extLst>
          </p:cNvPr>
          <p:cNvSpPr>
            <a:spLocks noGrp="1"/>
          </p:cNvSpPr>
          <p:nvPr>
            <p:ph type="title"/>
          </p:nvPr>
        </p:nvSpPr>
        <p:spPr>
          <a:xfrm>
            <a:off x="683683" y="62356"/>
            <a:ext cx="10824633" cy="753532"/>
          </a:xfrm>
        </p:spPr>
        <p:txBody>
          <a:bodyPr/>
          <a:lstStyle/>
          <a:p>
            <a:r>
              <a:rPr lang="pl-PL" sz="3200" dirty="0">
                <a:latin typeface="Arial Black" panose="020B0A04020102020204" pitchFamily="34" charset="0"/>
                <a:ea typeface="Calibri" panose="020F0502020204030204" pitchFamily="34" charset="0"/>
                <a:cs typeface="Calibri" panose="020F0502020204030204" pitchFamily="34" charset="0"/>
              </a:rPr>
              <a:t>CRI </a:t>
            </a:r>
            <a:r>
              <a:rPr lang="pl-PL" sz="3200" dirty="0" err="1">
                <a:latin typeface="Arial Black" panose="020B0A04020102020204" pitchFamily="34" charset="0"/>
                <a:ea typeface="Calibri" panose="020F0502020204030204" pitchFamily="34" charset="0"/>
                <a:cs typeface="Calibri" panose="020F0502020204030204" pitchFamily="34" charset="0"/>
              </a:rPr>
              <a:t>result</a:t>
            </a:r>
            <a:endParaRPr lang="pl-PL" sz="3200" dirty="0">
              <a:latin typeface="Arial Black" panose="020B0A04020102020204" pitchFamily="34" charset="0"/>
              <a:ea typeface="Calibri" panose="020F0502020204030204" pitchFamily="34" charset="0"/>
              <a:cs typeface="Calibri" panose="020F0502020204030204" pitchFamily="34" charset="0"/>
            </a:endParaRPr>
          </a:p>
        </p:txBody>
      </p:sp>
      <p:sp>
        <p:nvSpPr>
          <p:cNvPr id="3" name="Symbol zastępczy numeru slajdu 2">
            <a:extLst>
              <a:ext uri="{FF2B5EF4-FFF2-40B4-BE49-F238E27FC236}">
                <a16:creationId xmlns:a16="http://schemas.microsoft.com/office/drawing/2014/main" id="{BE79F1AB-F142-4E75-A9BC-2FD4CD3DA590}"/>
              </a:ext>
            </a:extLst>
          </p:cNvPr>
          <p:cNvSpPr>
            <a:spLocks noGrp="1"/>
          </p:cNvSpPr>
          <p:nvPr>
            <p:ph type="sldNum" sz="quarter" idx="15"/>
          </p:nvPr>
        </p:nvSpPr>
        <p:spPr/>
        <p:txBody>
          <a:bodyPr/>
          <a:lstStyle/>
          <a:p>
            <a:pPr marL="0" marR="0" lvl="0" indent="0" algn="l" defTabSz="467539" rtl="0" eaLnBrk="1" fontAlgn="auto" latinLnBrk="0" hangingPunct="1">
              <a:lnSpc>
                <a:spcPct val="100000"/>
              </a:lnSpc>
              <a:spcBef>
                <a:spcPts val="0"/>
              </a:spcBef>
              <a:spcAft>
                <a:spcPts val="0"/>
              </a:spcAft>
              <a:buClrTx/>
              <a:buSzTx/>
              <a:buFontTx/>
              <a:buNone/>
              <a:tabLst/>
              <a:defRPr/>
            </a:pPr>
            <a:fld id="{332DF002-2E43-485C-89F8-8DCEF59D6C4F}" type="slidenum">
              <a:rPr kumimoji="0" lang="pl-PL" sz="1067" b="0" i="0" u="none" strike="noStrike" kern="1200" cap="none" spc="0" normalizeH="0" baseline="0" noProof="0">
                <a:ln>
                  <a:noFill/>
                </a:ln>
                <a:solidFill>
                  <a:srgbClr val="7E93A5"/>
                </a:solidFill>
                <a:effectLst/>
                <a:uLnTx/>
                <a:uFillTx/>
                <a:latin typeface="Arial"/>
                <a:ea typeface="+mn-ea"/>
                <a:cs typeface="+mn-cs"/>
              </a:rPr>
              <a:pPr marL="0" marR="0" lvl="0" indent="0" algn="l" defTabSz="467539" rtl="0" eaLnBrk="1" fontAlgn="auto" latinLnBrk="0" hangingPunct="1">
                <a:lnSpc>
                  <a:spcPct val="100000"/>
                </a:lnSpc>
                <a:spcBef>
                  <a:spcPts val="0"/>
                </a:spcBef>
                <a:spcAft>
                  <a:spcPts val="0"/>
                </a:spcAft>
                <a:buClrTx/>
                <a:buSzTx/>
                <a:buFontTx/>
                <a:buNone/>
                <a:tabLst/>
                <a:defRPr/>
              </a:pPr>
              <a:t>15</a:t>
            </a:fld>
            <a:endParaRPr kumimoji="0" lang="pl-PL" sz="1067" b="0" i="0" u="none" strike="noStrike" kern="1200" cap="none" spc="0" normalizeH="0" baseline="0" noProof="0" dirty="0">
              <a:ln>
                <a:noFill/>
              </a:ln>
              <a:solidFill>
                <a:srgbClr val="7E93A5"/>
              </a:solidFill>
              <a:effectLst/>
              <a:uLnTx/>
              <a:uFillTx/>
              <a:latin typeface="Arial"/>
              <a:ea typeface="+mn-ea"/>
              <a:cs typeface="+mn-cs"/>
            </a:endParaRPr>
          </a:p>
        </p:txBody>
      </p:sp>
      <p:pic>
        <p:nvPicPr>
          <p:cNvPr id="46" name="Grafika 45">
            <a:extLst>
              <a:ext uri="{FF2B5EF4-FFF2-40B4-BE49-F238E27FC236}">
                <a16:creationId xmlns:a16="http://schemas.microsoft.com/office/drawing/2014/main" id="{27CBA97A-895F-4A89-A333-1E3ED9F211C6}"/>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4434015" y="1153713"/>
            <a:ext cx="1440000" cy="1440000"/>
          </a:xfrm>
          <a:prstGeom prst="rect">
            <a:avLst/>
          </a:prstGeom>
        </p:spPr>
      </p:pic>
      <p:graphicFrame>
        <p:nvGraphicFramePr>
          <p:cNvPr id="7" name="Symbol zastępczy zawartości 6">
            <a:extLst>
              <a:ext uri="{FF2B5EF4-FFF2-40B4-BE49-F238E27FC236}">
                <a16:creationId xmlns:a16="http://schemas.microsoft.com/office/drawing/2014/main" id="{DD9286D1-EE63-77DC-93DA-F568E99BBC7D}"/>
              </a:ext>
            </a:extLst>
          </p:cNvPr>
          <p:cNvGraphicFramePr>
            <a:graphicFrameLocks noGrp="1"/>
          </p:cNvGraphicFramePr>
          <p:nvPr>
            <p:ph sz="quarter" idx="13"/>
          </p:nvPr>
        </p:nvGraphicFramePr>
        <p:xfrm>
          <a:off x="1394366" y="1714599"/>
          <a:ext cx="5566727" cy="4282504"/>
        </p:xfrm>
        <a:graphic>
          <a:graphicData uri="http://schemas.openxmlformats.org/drawingml/2006/chart">
            <c:chart xmlns:c="http://schemas.openxmlformats.org/drawingml/2006/chart" xmlns:r="http://schemas.openxmlformats.org/officeDocument/2006/relationships" r:id="rId4"/>
          </a:graphicData>
        </a:graphic>
      </p:graphicFrame>
      <p:pic>
        <p:nvPicPr>
          <p:cNvPr id="15" name="Obraz 14">
            <a:extLst>
              <a:ext uri="{FF2B5EF4-FFF2-40B4-BE49-F238E27FC236}">
                <a16:creationId xmlns:a16="http://schemas.microsoft.com/office/drawing/2014/main" id="{19ED8223-B589-D982-DC2F-A62E2CBFCAFE}"/>
              </a:ext>
            </a:extLst>
          </p:cNvPr>
          <p:cNvPicPr>
            <a:picLocks noChangeAspect="1"/>
          </p:cNvPicPr>
          <p:nvPr/>
        </p:nvPicPr>
        <p:blipFill>
          <a:blip r:embed="rId5"/>
          <a:stretch>
            <a:fillRect/>
          </a:stretch>
        </p:blipFill>
        <p:spPr>
          <a:xfrm>
            <a:off x="7327197" y="3717032"/>
            <a:ext cx="3773557" cy="2085795"/>
          </a:xfrm>
          <a:prstGeom prst="rect">
            <a:avLst/>
          </a:prstGeom>
        </p:spPr>
      </p:pic>
      <p:sp>
        <p:nvSpPr>
          <p:cNvPr id="4" name="Strzałka: w górę 3">
            <a:extLst>
              <a:ext uri="{FF2B5EF4-FFF2-40B4-BE49-F238E27FC236}">
                <a16:creationId xmlns:a16="http://schemas.microsoft.com/office/drawing/2014/main" id="{03584213-91E2-BEDF-92ED-1782A9E98E1C}"/>
              </a:ext>
            </a:extLst>
          </p:cNvPr>
          <p:cNvSpPr/>
          <p:nvPr/>
        </p:nvSpPr>
        <p:spPr>
          <a:xfrm>
            <a:off x="7197929" y="2492896"/>
            <a:ext cx="258536" cy="1362955"/>
          </a:xfrm>
          <a:prstGeom prst="upArrow">
            <a:avLst/>
          </a:prstGeom>
          <a:solidFill>
            <a:srgbClr val="92D050"/>
          </a:solidFill>
          <a:ln>
            <a:solidFill>
              <a:srgbClr val="92D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2400" b="0" i="0" u="none" strike="noStrike" kern="1200" cap="none" spc="0" normalizeH="0" baseline="0" noProof="0">
              <a:ln>
                <a:noFill/>
              </a:ln>
              <a:solidFill>
                <a:srgbClr val="FFFFFF"/>
              </a:solidFill>
              <a:effectLst/>
              <a:uLnTx/>
              <a:uFillTx/>
              <a:latin typeface="Arial"/>
              <a:ea typeface="+mn-ea"/>
              <a:cs typeface="+mn-cs"/>
            </a:endParaRPr>
          </a:p>
        </p:txBody>
      </p:sp>
      <p:sp>
        <p:nvSpPr>
          <p:cNvPr id="6" name="Prostokąt zaokrąglony 9">
            <a:extLst>
              <a:ext uri="{FF2B5EF4-FFF2-40B4-BE49-F238E27FC236}">
                <a16:creationId xmlns:a16="http://schemas.microsoft.com/office/drawing/2014/main" id="{BBB7C751-B0D8-E328-2CAA-22A883535D8F}"/>
              </a:ext>
            </a:extLst>
          </p:cNvPr>
          <p:cNvSpPr/>
          <p:nvPr/>
        </p:nvSpPr>
        <p:spPr>
          <a:xfrm>
            <a:off x="7824192" y="2708992"/>
            <a:ext cx="2906265" cy="720008"/>
          </a:xfrm>
          <a:prstGeom prst="roundRect">
            <a:avLst/>
          </a:prstGeom>
          <a:solidFill>
            <a:srgbClr val="008080"/>
          </a:solidFill>
          <a:ln>
            <a:solidFill>
              <a:srgbClr val="0095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400" b="0" i="0" u="none" strike="noStrike" kern="1200" cap="none" spc="0" normalizeH="0" baseline="0" noProof="0" dirty="0">
                <a:ln>
                  <a:noFill/>
                </a:ln>
                <a:solidFill>
                  <a:srgbClr val="FFFFFF"/>
                </a:solidFill>
                <a:effectLst/>
                <a:uLnTx/>
                <a:uFillTx/>
                <a:latin typeface="Arial"/>
                <a:ea typeface="+mn-ea"/>
                <a:cs typeface="+mn-cs"/>
              </a:rPr>
              <a:t>high </a:t>
            </a:r>
            <a:r>
              <a:rPr kumimoji="0" lang="pl-PL" sz="1400" b="0" i="0" u="none" strike="noStrike" kern="1200" cap="none" spc="0" normalizeH="0" baseline="0" noProof="0" dirty="0" err="1">
                <a:ln>
                  <a:noFill/>
                </a:ln>
                <a:solidFill>
                  <a:srgbClr val="FFFFFF"/>
                </a:solidFill>
                <a:effectLst/>
                <a:uLnTx/>
                <a:uFillTx/>
                <a:latin typeface="Arial"/>
                <a:ea typeface="+mn-ea"/>
                <a:cs typeface="+mn-cs"/>
              </a:rPr>
              <a:t>increase</a:t>
            </a:r>
            <a:r>
              <a:rPr kumimoji="0" lang="pl-PL" sz="1400" b="0" i="0" u="none" strike="noStrike" kern="1200" cap="none" spc="0" normalizeH="0" baseline="0" noProof="0" dirty="0">
                <a:ln>
                  <a:noFill/>
                </a:ln>
                <a:solidFill>
                  <a:srgbClr val="FFFFFF"/>
                </a:solidFill>
                <a:effectLst/>
                <a:uLnTx/>
                <a:uFillTx/>
                <a:latin typeface="Arial"/>
                <a:ea typeface="+mn-ea"/>
                <a:cs typeface="+mn-cs"/>
              </a:rPr>
              <a:t> in the CRI </a:t>
            </a:r>
            <a:r>
              <a:rPr kumimoji="0" lang="pl-PL" sz="1400" b="0" i="0" u="none" strike="noStrike" kern="1200" cap="none" spc="0" normalizeH="0" baseline="0" noProof="0" dirty="0" err="1">
                <a:ln>
                  <a:noFill/>
                </a:ln>
                <a:solidFill>
                  <a:srgbClr val="FFFFFF"/>
                </a:solidFill>
                <a:effectLst/>
                <a:uLnTx/>
                <a:uFillTx/>
                <a:latin typeface="Arial"/>
                <a:ea typeface="+mn-ea"/>
                <a:cs typeface="+mn-cs"/>
              </a:rPr>
              <a:t>result</a:t>
            </a:r>
            <a:r>
              <a:rPr kumimoji="0" lang="pl-PL" sz="1400" b="0" i="0" u="none" strike="noStrike" kern="1200" cap="none" spc="0" normalizeH="0" baseline="0" noProof="0" dirty="0">
                <a:ln>
                  <a:noFill/>
                </a:ln>
                <a:solidFill>
                  <a:srgbClr val="FFFFFF"/>
                </a:solidFill>
                <a:effectLst/>
                <a:uLnTx/>
                <a:uFillTx/>
                <a:latin typeface="Arial"/>
                <a:ea typeface="+mn-ea"/>
                <a:cs typeface="+mn-cs"/>
              </a:rPr>
              <a:t> (2025 vs. 202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2000" b="1" i="0" u="none" strike="noStrike" kern="1200" cap="none" spc="0" normalizeH="0" baseline="0" noProof="0" dirty="0">
                <a:ln>
                  <a:noFill/>
                </a:ln>
                <a:solidFill>
                  <a:srgbClr val="92D050"/>
                </a:solidFill>
                <a:effectLst/>
                <a:uLnTx/>
                <a:uFillTx/>
                <a:latin typeface="Arial"/>
                <a:ea typeface="+mn-ea"/>
                <a:cs typeface="+mn-cs"/>
              </a:rPr>
              <a:t>+11 </a:t>
            </a:r>
            <a:r>
              <a:rPr kumimoji="0" lang="pl-PL" sz="2000" b="1" i="0" u="none" strike="noStrike" kern="1200" cap="none" spc="0" normalizeH="0" baseline="0" noProof="0" dirty="0" err="1">
                <a:ln>
                  <a:noFill/>
                </a:ln>
                <a:solidFill>
                  <a:srgbClr val="92D050"/>
                </a:solidFill>
                <a:effectLst/>
                <a:uLnTx/>
                <a:uFillTx/>
                <a:latin typeface="Arial"/>
                <a:ea typeface="+mn-ea"/>
                <a:cs typeface="+mn-cs"/>
              </a:rPr>
              <a:t>pp</a:t>
            </a:r>
            <a:endParaRPr kumimoji="0" lang="pl-PL" sz="2000" b="1" i="0" u="none" strike="noStrike" kern="1200" cap="none" spc="0" normalizeH="0" baseline="0" noProof="0" dirty="0">
              <a:ln>
                <a:noFill/>
              </a:ln>
              <a:solidFill>
                <a:srgbClr val="92D050"/>
              </a:solidFill>
              <a:effectLst/>
              <a:uLnTx/>
              <a:uFillTx/>
              <a:latin typeface="Arial"/>
              <a:ea typeface="+mn-ea"/>
              <a:cs typeface="+mn-cs"/>
            </a:endParaRPr>
          </a:p>
        </p:txBody>
      </p:sp>
    </p:spTree>
    <p:extLst>
      <p:ext uri="{BB962C8B-B14F-4D97-AF65-F5344CB8AC3E}">
        <p14:creationId xmlns:p14="http://schemas.microsoft.com/office/powerpoint/2010/main" val="282750900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BE3E659C-9418-4A54-B892-48652EB0ADF7}"/>
              </a:ext>
            </a:extLst>
          </p:cNvPr>
          <p:cNvSpPr>
            <a:spLocks noGrp="1"/>
          </p:cNvSpPr>
          <p:nvPr>
            <p:ph type="title"/>
          </p:nvPr>
        </p:nvSpPr>
        <p:spPr>
          <a:xfrm>
            <a:off x="444067" y="-108730"/>
            <a:ext cx="11514253" cy="753532"/>
          </a:xfrm>
        </p:spPr>
        <p:txBody>
          <a:bodyPr/>
          <a:lstStyle/>
          <a:p>
            <a:r>
              <a:rPr lang="pl-PL" sz="3200" dirty="0" err="1">
                <a:latin typeface="Arial Black" panose="020B0A04020102020204" pitchFamily="34" charset="0"/>
                <a:ea typeface="Calibri" panose="020F0502020204030204" pitchFamily="34" charset="0"/>
                <a:cs typeface="Calibri" panose="020F0502020204030204" pitchFamily="34" charset="0"/>
              </a:rPr>
              <a:t>Incoming</a:t>
            </a:r>
            <a:r>
              <a:rPr lang="pl-PL" sz="3200" dirty="0">
                <a:latin typeface="Arial Black" panose="020B0A04020102020204" pitchFamily="34" charset="0"/>
                <a:ea typeface="Calibri" panose="020F0502020204030204" pitchFamily="34" charset="0"/>
                <a:cs typeface="Calibri" panose="020F0502020204030204" pitchFamily="34" charset="0"/>
              </a:rPr>
              <a:t> </a:t>
            </a:r>
            <a:r>
              <a:rPr lang="pl-PL" sz="3200" dirty="0" err="1">
                <a:latin typeface="Arial Black" panose="020B0A04020102020204" pitchFamily="34" charset="0"/>
                <a:ea typeface="Calibri" panose="020F0502020204030204" pitchFamily="34" charset="0"/>
                <a:cs typeface="Calibri" panose="020F0502020204030204" pitchFamily="34" charset="0"/>
              </a:rPr>
              <a:t>calls</a:t>
            </a:r>
            <a:r>
              <a:rPr lang="pl-PL" sz="3200" dirty="0">
                <a:latin typeface="Arial Black" panose="020B0A04020102020204" pitchFamily="34" charset="0"/>
                <a:ea typeface="Calibri" panose="020F0502020204030204" pitchFamily="34" charset="0"/>
                <a:cs typeface="Calibri" panose="020F0502020204030204" pitchFamily="34" charset="0"/>
              </a:rPr>
              <a:t> (2025)</a:t>
            </a:r>
          </a:p>
        </p:txBody>
      </p:sp>
      <p:sp>
        <p:nvSpPr>
          <p:cNvPr id="3" name="Symbol zastępczy numeru slajdu 2">
            <a:extLst>
              <a:ext uri="{FF2B5EF4-FFF2-40B4-BE49-F238E27FC236}">
                <a16:creationId xmlns:a16="http://schemas.microsoft.com/office/drawing/2014/main" id="{BE79F1AB-F142-4E75-A9BC-2FD4CD3DA590}"/>
              </a:ext>
            </a:extLst>
          </p:cNvPr>
          <p:cNvSpPr>
            <a:spLocks noGrp="1"/>
          </p:cNvSpPr>
          <p:nvPr>
            <p:ph type="sldNum" sz="quarter" idx="10"/>
          </p:nvPr>
        </p:nvSpPr>
        <p:spPr/>
        <p:txBody>
          <a:bodyPr/>
          <a:lstStyle/>
          <a:p>
            <a:pPr marL="0" marR="0" lvl="0" indent="0" algn="l" defTabSz="467539" rtl="0" eaLnBrk="1" fontAlgn="auto" latinLnBrk="0" hangingPunct="1">
              <a:lnSpc>
                <a:spcPct val="100000"/>
              </a:lnSpc>
              <a:spcBef>
                <a:spcPts val="0"/>
              </a:spcBef>
              <a:spcAft>
                <a:spcPts val="0"/>
              </a:spcAft>
              <a:buClrTx/>
              <a:buSzTx/>
              <a:buFontTx/>
              <a:buNone/>
              <a:tabLst/>
              <a:defRPr/>
            </a:pPr>
            <a:fld id="{332DF002-2E43-485C-89F8-8DCEF59D6C4F}" type="slidenum">
              <a:rPr kumimoji="0" lang="pl-PL" sz="1067" b="0" i="0" u="none" strike="noStrike" kern="1200" cap="none" spc="0" normalizeH="0" baseline="0" noProof="0">
                <a:ln>
                  <a:noFill/>
                </a:ln>
                <a:solidFill>
                  <a:srgbClr val="7E93A5"/>
                </a:solidFill>
                <a:effectLst/>
                <a:uLnTx/>
                <a:uFillTx/>
                <a:latin typeface="Arial"/>
                <a:ea typeface="+mn-ea"/>
                <a:cs typeface="+mn-cs"/>
              </a:rPr>
              <a:pPr marL="0" marR="0" lvl="0" indent="0" algn="l" defTabSz="467539" rtl="0" eaLnBrk="1" fontAlgn="auto" latinLnBrk="0" hangingPunct="1">
                <a:lnSpc>
                  <a:spcPct val="100000"/>
                </a:lnSpc>
                <a:spcBef>
                  <a:spcPts val="0"/>
                </a:spcBef>
                <a:spcAft>
                  <a:spcPts val="0"/>
                </a:spcAft>
                <a:buClrTx/>
                <a:buSzTx/>
                <a:buFontTx/>
                <a:buNone/>
                <a:tabLst/>
                <a:defRPr/>
              </a:pPr>
              <a:t>16</a:t>
            </a:fld>
            <a:endParaRPr kumimoji="0" lang="pl-PL" sz="1067" b="0" i="0" u="none" strike="noStrike" kern="1200" cap="none" spc="0" normalizeH="0" baseline="0" noProof="0" dirty="0">
              <a:ln>
                <a:noFill/>
              </a:ln>
              <a:solidFill>
                <a:srgbClr val="7E93A5"/>
              </a:solidFill>
              <a:effectLst/>
              <a:uLnTx/>
              <a:uFillTx/>
              <a:latin typeface="Arial"/>
              <a:ea typeface="+mn-ea"/>
              <a:cs typeface="+mn-cs"/>
            </a:endParaRPr>
          </a:p>
        </p:txBody>
      </p:sp>
      <p:graphicFrame>
        <p:nvGraphicFramePr>
          <p:cNvPr id="7" name="Wykres 6">
            <a:extLst>
              <a:ext uri="{FF2B5EF4-FFF2-40B4-BE49-F238E27FC236}">
                <a16:creationId xmlns:a16="http://schemas.microsoft.com/office/drawing/2014/main" id="{5FBD91EC-1C26-12E5-B0DB-2D44C6CACD3A}"/>
              </a:ext>
            </a:extLst>
          </p:cNvPr>
          <p:cNvGraphicFramePr/>
          <p:nvPr/>
        </p:nvGraphicFramePr>
        <p:xfrm>
          <a:off x="2271727" y="1266057"/>
          <a:ext cx="8128000" cy="5418667"/>
        </p:xfrm>
        <a:graphic>
          <a:graphicData uri="http://schemas.openxmlformats.org/drawingml/2006/chart">
            <c:chart xmlns:c="http://schemas.openxmlformats.org/drawingml/2006/chart" xmlns:r="http://schemas.openxmlformats.org/officeDocument/2006/relationships" r:id="rId2"/>
          </a:graphicData>
        </a:graphic>
      </p:graphicFrame>
      <p:sp>
        <p:nvSpPr>
          <p:cNvPr id="10" name="AutoShape 8">
            <a:extLst>
              <a:ext uri="{FF2B5EF4-FFF2-40B4-BE49-F238E27FC236}">
                <a16:creationId xmlns:a16="http://schemas.microsoft.com/office/drawing/2014/main" id="{A726398D-DE60-B1BC-57D0-45D47D95D298}"/>
              </a:ext>
            </a:extLst>
          </p:cNvPr>
          <p:cNvSpPr/>
          <p:nvPr/>
        </p:nvSpPr>
        <p:spPr>
          <a:xfrm>
            <a:off x="428841" y="2876309"/>
            <a:ext cx="3833917" cy="12004"/>
          </a:xfrm>
          <a:prstGeom prst="line">
            <a:avLst/>
          </a:prstGeom>
          <a:ln>
            <a:solidFill>
              <a:schemeClr val="tx1">
                <a:lumMod val="65000"/>
                <a:lumOff val="35000"/>
              </a:schemeClr>
            </a:solidFill>
            <a:headEnd type="diamond" w="lg" len="lg"/>
            <a:tailEnd type="arrow" w="med" len="sm"/>
          </a:ln>
        </p:spPr>
        <p:style>
          <a:lnRef idx="2">
            <a:schemeClr val="dk1"/>
          </a:lnRef>
          <a:fillRef idx="0">
            <a:schemeClr val="dk1"/>
          </a:fillRef>
          <a:effectRef idx="1">
            <a:schemeClr val="dk1"/>
          </a:effectRef>
          <a:fontRef idx="minor">
            <a:schemeClr val="tx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000000"/>
              </a:solidFill>
              <a:effectLst/>
              <a:uLnTx/>
              <a:uFillTx/>
              <a:latin typeface="Arial"/>
              <a:ea typeface="+mn-ea"/>
              <a:cs typeface="+mn-cs"/>
            </a:endParaRPr>
          </a:p>
        </p:txBody>
      </p:sp>
      <p:sp>
        <p:nvSpPr>
          <p:cNvPr id="13" name="AutoShape 8">
            <a:extLst>
              <a:ext uri="{FF2B5EF4-FFF2-40B4-BE49-F238E27FC236}">
                <a16:creationId xmlns:a16="http://schemas.microsoft.com/office/drawing/2014/main" id="{244F888D-F539-5117-9E07-834DA46F5B6E}"/>
              </a:ext>
            </a:extLst>
          </p:cNvPr>
          <p:cNvSpPr/>
          <p:nvPr/>
        </p:nvSpPr>
        <p:spPr>
          <a:xfrm flipH="1">
            <a:off x="8422639" y="3149599"/>
            <a:ext cx="3119109" cy="7359"/>
          </a:xfrm>
          <a:prstGeom prst="line">
            <a:avLst/>
          </a:prstGeom>
          <a:ln>
            <a:solidFill>
              <a:schemeClr val="tx1">
                <a:lumMod val="65000"/>
                <a:lumOff val="35000"/>
              </a:schemeClr>
            </a:solidFill>
            <a:headEnd type="diamond" w="lg" len="lg"/>
            <a:tailEnd type="arrow" w="med" len="sm"/>
          </a:ln>
        </p:spPr>
        <p:style>
          <a:lnRef idx="2">
            <a:schemeClr val="dk1"/>
          </a:lnRef>
          <a:fillRef idx="0">
            <a:schemeClr val="dk1"/>
          </a:fillRef>
          <a:effectRef idx="1">
            <a:schemeClr val="dk1"/>
          </a:effectRef>
          <a:fontRef idx="minor">
            <a:schemeClr val="tx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000000"/>
              </a:solidFill>
              <a:effectLst/>
              <a:uLnTx/>
              <a:uFillTx/>
              <a:latin typeface="Arial"/>
              <a:ea typeface="+mn-ea"/>
              <a:cs typeface="+mn-cs"/>
            </a:endParaRPr>
          </a:p>
        </p:txBody>
      </p:sp>
      <p:sp>
        <p:nvSpPr>
          <p:cNvPr id="14" name="AutoShape 23">
            <a:extLst>
              <a:ext uri="{FF2B5EF4-FFF2-40B4-BE49-F238E27FC236}">
                <a16:creationId xmlns:a16="http://schemas.microsoft.com/office/drawing/2014/main" id="{BF0873C3-D6F2-B449-CE8F-FE425EE07E93}"/>
              </a:ext>
            </a:extLst>
          </p:cNvPr>
          <p:cNvSpPr/>
          <p:nvPr/>
        </p:nvSpPr>
        <p:spPr>
          <a:xfrm>
            <a:off x="923532" y="1266057"/>
            <a:ext cx="5460500" cy="0"/>
          </a:xfrm>
          <a:prstGeom prst="line">
            <a:avLst/>
          </a:prstGeom>
          <a:ln>
            <a:solidFill>
              <a:schemeClr val="tx1">
                <a:lumMod val="65000"/>
                <a:lumOff val="35000"/>
              </a:schemeClr>
            </a:solidFill>
            <a:headEnd type="diamond" w="lg" len="lg"/>
            <a:tailEnd type="none" w="sm" len="sm"/>
          </a:ln>
        </p:spPr>
        <p:style>
          <a:lnRef idx="2">
            <a:schemeClr val="dk1"/>
          </a:lnRef>
          <a:fillRef idx="0">
            <a:schemeClr val="dk1"/>
          </a:fillRef>
          <a:effectRef idx="1">
            <a:schemeClr val="dk1"/>
          </a:effectRef>
          <a:fontRef idx="minor">
            <a:schemeClr val="tx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000000"/>
              </a:solidFill>
              <a:effectLst/>
              <a:uLnTx/>
              <a:uFillTx/>
              <a:latin typeface="Arial"/>
              <a:ea typeface="+mn-ea"/>
              <a:cs typeface="+mn-cs"/>
            </a:endParaRPr>
          </a:p>
        </p:txBody>
      </p:sp>
      <p:sp>
        <p:nvSpPr>
          <p:cNvPr id="15" name="AutoShape 22">
            <a:extLst>
              <a:ext uri="{FF2B5EF4-FFF2-40B4-BE49-F238E27FC236}">
                <a16:creationId xmlns:a16="http://schemas.microsoft.com/office/drawing/2014/main" id="{D46412E2-C9C6-01BB-DF30-BDB35840C8CA}"/>
              </a:ext>
            </a:extLst>
          </p:cNvPr>
          <p:cNvSpPr/>
          <p:nvPr/>
        </p:nvSpPr>
        <p:spPr>
          <a:xfrm flipH="1">
            <a:off x="6384032" y="1266057"/>
            <a:ext cx="0" cy="368895"/>
          </a:xfrm>
          <a:prstGeom prst="line">
            <a:avLst/>
          </a:prstGeom>
          <a:ln>
            <a:solidFill>
              <a:schemeClr val="tx1">
                <a:lumMod val="65000"/>
                <a:lumOff val="35000"/>
              </a:schemeClr>
            </a:solidFill>
            <a:headEnd type="none" w="sm" len="sm"/>
            <a:tailEnd type="arrow" w="med" len="sm"/>
          </a:ln>
        </p:spPr>
        <p:style>
          <a:lnRef idx="2">
            <a:schemeClr val="dk1"/>
          </a:lnRef>
          <a:fillRef idx="0">
            <a:schemeClr val="dk1"/>
          </a:fillRef>
          <a:effectRef idx="1">
            <a:schemeClr val="dk1"/>
          </a:effectRef>
          <a:fontRef idx="minor">
            <a:schemeClr val="tx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000000"/>
              </a:solidFill>
              <a:effectLst/>
              <a:uLnTx/>
              <a:uFillTx/>
              <a:latin typeface="Arial"/>
              <a:ea typeface="+mn-ea"/>
              <a:cs typeface="+mn-cs"/>
            </a:endParaRPr>
          </a:p>
        </p:txBody>
      </p:sp>
      <p:sp>
        <p:nvSpPr>
          <p:cNvPr id="22" name="pole tekstowe 21">
            <a:extLst>
              <a:ext uri="{FF2B5EF4-FFF2-40B4-BE49-F238E27FC236}">
                <a16:creationId xmlns:a16="http://schemas.microsoft.com/office/drawing/2014/main" id="{F64921A5-ED53-2EC7-4D21-34BD6344A332}"/>
              </a:ext>
            </a:extLst>
          </p:cNvPr>
          <p:cNvSpPr txBox="1"/>
          <p:nvPr/>
        </p:nvSpPr>
        <p:spPr>
          <a:xfrm>
            <a:off x="991853" y="730660"/>
            <a:ext cx="6096000"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400" b="1" i="0" u="none" strike="noStrike" kern="1200" cap="none" spc="0" normalizeH="0" baseline="0" noProof="0" dirty="0">
                <a:ln>
                  <a:noFill/>
                </a:ln>
                <a:solidFill>
                  <a:srgbClr val="000000"/>
                </a:solidFill>
                <a:effectLst/>
                <a:uLnTx/>
                <a:uFillTx/>
                <a:latin typeface="Arial"/>
                <a:ea typeface="+mn-ea"/>
                <a:cs typeface="+mn-cs"/>
              </a:rPr>
              <a:t>Business Zone </a:t>
            </a:r>
            <a:r>
              <a:rPr kumimoji="0" lang="pl-PL" sz="1400" b="0" i="0" u="none" strike="noStrike" kern="1200" cap="none" spc="0" normalizeH="0" baseline="0" noProof="0" dirty="0">
                <a:ln>
                  <a:noFill/>
                </a:ln>
                <a:solidFill>
                  <a:srgbClr val="000000"/>
                </a:solidFill>
                <a:effectLst/>
                <a:uLnTx/>
                <a:uFillTx/>
                <a:latin typeface="Arial"/>
                <a:ea typeface="+mn-ea"/>
                <a:cs typeface="+mn-cs"/>
              </a:rPr>
              <a:t>- c</a:t>
            </a:r>
            <a:r>
              <a:rPr kumimoji="0" lang="en-US" sz="1400" b="0" i="0" u="none" strike="noStrike" kern="1200" cap="none" spc="0" normalizeH="0" baseline="0" noProof="0" dirty="0" err="1">
                <a:ln>
                  <a:noFill/>
                </a:ln>
                <a:solidFill>
                  <a:srgbClr val="000000"/>
                </a:solidFill>
                <a:effectLst/>
                <a:uLnTx/>
                <a:uFillTx/>
                <a:latin typeface="Arial"/>
                <a:ea typeface="+mn-ea"/>
                <a:cs typeface="+mn-cs"/>
              </a:rPr>
              <a:t>onnections</a:t>
            </a:r>
            <a:r>
              <a:rPr kumimoji="0" lang="en-US" sz="1400" b="0" i="0" u="none" strike="noStrike" kern="1200" cap="none" spc="0" normalizeH="0" baseline="0" noProof="0" dirty="0">
                <a:ln>
                  <a:noFill/>
                </a:ln>
                <a:solidFill>
                  <a:srgbClr val="000000"/>
                </a:solidFill>
                <a:effectLst/>
                <a:uLnTx/>
                <a:uFillTx/>
                <a:latin typeface="Arial"/>
                <a:ea typeface="+mn-ea"/>
                <a:cs typeface="+mn-cs"/>
              </a:rPr>
              <a:t> related to platform operation and offered products </a:t>
            </a:r>
            <a:r>
              <a:rPr kumimoji="0" lang="pl-PL" sz="1400" b="0" i="0" u="none" strike="noStrike" kern="1200" cap="none" spc="0" normalizeH="0" baseline="0" noProof="0" dirty="0">
                <a:ln>
                  <a:noFill/>
                </a:ln>
                <a:solidFill>
                  <a:srgbClr val="000000"/>
                </a:solidFill>
                <a:effectLst/>
                <a:uLnTx/>
                <a:uFillTx/>
                <a:latin typeface="Arial"/>
                <a:ea typeface="+mn-ea"/>
                <a:cs typeface="+mn-cs"/>
              </a:rPr>
              <a:t>(</a:t>
            </a:r>
            <a:r>
              <a:rPr kumimoji="0" lang="en-US" sz="1400" b="0" i="0" u="none" strike="noStrike" kern="1200" cap="none" spc="0" normalizeH="0" baseline="0" noProof="0" dirty="0">
                <a:ln>
                  <a:noFill/>
                </a:ln>
                <a:solidFill>
                  <a:srgbClr val="000000"/>
                </a:solidFill>
                <a:effectLst/>
                <a:uLnTx/>
                <a:uFillTx/>
                <a:latin typeface="Arial"/>
                <a:ea typeface="+mn-ea"/>
                <a:cs typeface="+mn-cs"/>
              </a:rPr>
              <a:t>VAS</a:t>
            </a:r>
            <a:r>
              <a:rPr kumimoji="0" lang="pl-PL" sz="1400" b="0" i="0" u="none" strike="noStrike" kern="1200" cap="none" spc="0" normalizeH="0" baseline="0" noProof="0" dirty="0">
                <a:ln>
                  <a:noFill/>
                </a:ln>
                <a:solidFill>
                  <a:srgbClr val="000000"/>
                </a:solidFill>
                <a:effectLst/>
                <a:uLnTx/>
                <a:uFillTx/>
                <a:latin typeface="Arial"/>
                <a:ea typeface="+mn-ea"/>
                <a:cs typeface="+mn-cs"/>
              </a:rPr>
              <a:t>)</a:t>
            </a:r>
          </a:p>
        </p:txBody>
      </p:sp>
      <p:sp>
        <p:nvSpPr>
          <p:cNvPr id="23" name="Prostokąt 22">
            <a:extLst>
              <a:ext uri="{FF2B5EF4-FFF2-40B4-BE49-F238E27FC236}">
                <a16:creationId xmlns:a16="http://schemas.microsoft.com/office/drawing/2014/main" id="{FDBF07F4-702D-CD0E-5585-9686E63570DC}"/>
              </a:ext>
            </a:extLst>
          </p:cNvPr>
          <p:cNvSpPr/>
          <p:nvPr/>
        </p:nvSpPr>
        <p:spPr>
          <a:xfrm>
            <a:off x="8258830" y="2741819"/>
            <a:ext cx="3983783"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C</a:t>
            </a:r>
            <a:r>
              <a:rPr kumimoji="0" lang="pl-PL" sz="1400" b="1" i="0" u="none" strike="noStrike" kern="1200" cap="none" spc="0" normalizeH="0" baseline="0" noProof="0" dirty="0" err="1">
                <a:ln>
                  <a:noFill/>
                </a:ln>
                <a:solidFill>
                  <a:srgbClr val="000000"/>
                </a:solidFill>
                <a:effectLst/>
                <a:uLnTx/>
                <a:uFillTx/>
                <a:latin typeface="Arial"/>
                <a:ea typeface="+mn-ea"/>
                <a:cs typeface="+mn-cs"/>
              </a:rPr>
              <a:t>lick</a:t>
            </a:r>
            <a:r>
              <a:rPr kumimoji="0" lang="pl-PL" sz="1400" b="1" i="0" u="none" strike="noStrike" kern="1200" cap="none" spc="0" normalizeH="0" baseline="0" noProof="0" dirty="0">
                <a:ln>
                  <a:noFill/>
                </a:ln>
                <a:solidFill>
                  <a:srgbClr val="000000"/>
                </a:solidFill>
                <a:effectLst/>
                <a:uLnTx/>
                <a:uFillTx/>
                <a:latin typeface="Arial"/>
                <a:ea typeface="+mn-ea"/>
                <a:cs typeface="+mn-cs"/>
              </a:rPr>
              <a:t> to </a:t>
            </a:r>
            <a:r>
              <a:rPr kumimoji="0" lang="pl-PL" sz="1400" b="1" i="0" u="none" strike="noStrike" kern="1200" cap="none" spc="0" normalizeH="0" baseline="0" noProof="0" dirty="0" err="1">
                <a:ln>
                  <a:noFill/>
                </a:ln>
                <a:solidFill>
                  <a:srgbClr val="000000"/>
                </a:solidFill>
                <a:effectLst/>
                <a:uLnTx/>
                <a:uFillTx/>
                <a:latin typeface="Arial"/>
                <a:ea typeface="+mn-ea"/>
                <a:cs typeface="+mn-cs"/>
              </a:rPr>
              <a:t>call</a:t>
            </a:r>
            <a:r>
              <a:rPr kumimoji="0" lang="pl-PL" sz="1400" b="1" i="0" u="none" strike="noStrike" kern="1200" cap="none" spc="0" normalizeH="0" baseline="0" noProof="0" dirty="0">
                <a:ln>
                  <a:noFill/>
                </a:ln>
                <a:solidFill>
                  <a:srgbClr val="000000"/>
                </a:solidFill>
                <a:effectLst/>
                <a:uLnTx/>
                <a:uFillTx/>
                <a:latin typeface="Arial"/>
                <a:ea typeface="+mn-ea"/>
                <a:cs typeface="+mn-cs"/>
              </a:rPr>
              <a:t> </a:t>
            </a:r>
            <a:r>
              <a:rPr kumimoji="0" lang="pl-PL" sz="1400" b="0" i="0" u="none" strike="noStrike" kern="1200" cap="none" spc="0" normalizeH="0" baseline="0" noProof="0" dirty="0">
                <a:ln>
                  <a:noFill/>
                </a:ln>
                <a:solidFill>
                  <a:srgbClr val="000000"/>
                </a:solidFill>
                <a:effectLst/>
                <a:uLnTx/>
                <a:uFillTx/>
                <a:latin typeface="Arial"/>
                <a:ea typeface="+mn-ea"/>
                <a:cs typeface="+mn-cs"/>
              </a:rPr>
              <a:t>– service c</a:t>
            </a:r>
            <a:r>
              <a:rPr kumimoji="0" lang="en-US" sz="1400" b="0" i="0" u="none" strike="noStrike" kern="1200" cap="none" spc="0" normalizeH="0" baseline="0" noProof="0" dirty="0" err="1">
                <a:ln>
                  <a:noFill/>
                </a:ln>
                <a:solidFill>
                  <a:srgbClr val="000000"/>
                </a:solidFill>
                <a:effectLst/>
                <a:uLnTx/>
                <a:uFillTx/>
                <a:latin typeface="Arial"/>
                <a:ea typeface="+mn-ea"/>
                <a:cs typeface="+mn-cs"/>
              </a:rPr>
              <a:t>alls</a:t>
            </a:r>
            <a:r>
              <a:rPr kumimoji="0" lang="en-US" sz="1400" b="0" i="0" u="none" strike="noStrike" kern="1200" cap="none" spc="0" normalizeH="0" baseline="0" noProof="0" dirty="0">
                <a:ln>
                  <a:noFill/>
                </a:ln>
                <a:solidFill>
                  <a:srgbClr val="000000"/>
                </a:solidFill>
                <a:effectLst/>
                <a:uLnTx/>
                <a:uFillTx/>
                <a:latin typeface="Arial"/>
                <a:ea typeface="+mn-ea"/>
                <a:cs typeface="+mn-cs"/>
              </a:rPr>
              <a:t> from the mobile app</a:t>
            </a:r>
            <a:endParaRPr kumimoji="0" lang="pl-PL"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4" name="AutoShape 8">
            <a:extLst>
              <a:ext uri="{FF2B5EF4-FFF2-40B4-BE49-F238E27FC236}">
                <a16:creationId xmlns:a16="http://schemas.microsoft.com/office/drawing/2014/main" id="{4ED7A6BD-4DB5-3465-1B70-8EA4EF5FD09E}"/>
              </a:ext>
            </a:extLst>
          </p:cNvPr>
          <p:cNvSpPr/>
          <p:nvPr/>
        </p:nvSpPr>
        <p:spPr>
          <a:xfrm flipH="1">
            <a:off x="7176120" y="1844824"/>
            <a:ext cx="4216388" cy="0"/>
          </a:xfrm>
          <a:prstGeom prst="line">
            <a:avLst/>
          </a:prstGeom>
          <a:ln>
            <a:solidFill>
              <a:schemeClr val="tx1">
                <a:lumMod val="65000"/>
                <a:lumOff val="35000"/>
              </a:schemeClr>
            </a:solidFill>
            <a:headEnd type="diamond" w="lg" len="lg"/>
            <a:tailEnd type="arrow" w="med" len="sm"/>
          </a:ln>
        </p:spPr>
        <p:style>
          <a:lnRef idx="2">
            <a:schemeClr val="dk1"/>
          </a:lnRef>
          <a:fillRef idx="0">
            <a:schemeClr val="dk1"/>
          </a:fillRef>
          <a:effectRef idx="1">
            <a:schemeClr val="dk1"/>
          </a:effectRef>
          <a:fontRef idx="minor">
            <a:schemeClr val="tx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000000"/>
              </a:solidFill>
              <a:effectLst/>
              <a:uLnTx/>
              <a:uFillTx/>
              <a:latin typeface="Arial"/>
              <a:ea typeface="+mn-ea"/>
              <a:cs typeface="+mn-cs"/>
            </a:endParaRPr>
          </a:p>
        </p:txBody>
      </p:sp>
      <p:sp>
        <p:nvSpPr>
          <p:cNvPr id="26" name="pole tekstowe 25">
            <a:extLst>
              <a:ext uri="{FF2B5EF4-FFF2-40B4-BE49-F238E27FC236}">
                <a16:creationId xmlns:a16="http://schemas.microsoft.com/office/drawing/2014/main" id="{DCE46496-1AA5-6126-B892-76149D436815}"/>
              </a:ext>
            </a:extLst>
          </p:cNvPr>
          <p:cNvSpPr txBox="1"/>
          <p:nvPr/>
        </p:nvSpPr>
        <p:spPr>
          <a:xfrm>
            <a:off x="7334663" y="1011608"/>
            <a:ext cx="4795517"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400" b="1" i="0" u="none" strike="noStrike" kern="1200" cap="none" spc="0" normalizeH="0" baseline="0" noProof="0" dirty="0">
                <a:ln>
                  <a:noFill/>
                </a:ln>
                <a:solidFill>
                  <a:srgbClr val="000000"/>
                </a:solidFill>
                <a:effectLst/>
                <a:uLnTx/>
                <a:uFillTx/>
                <a:latin typeface="Arial"/>
                <a:ea typeface="+mn-ea"/>
                <a:cs typeface="+mn-cs"/>
              </a:rPr>
              <a:t>Sales of Business </a:t>
            </a:r>
            <a:r>
              <a:rPr kumimoji="0" lang="pl-PL" sz="1400" b="1" i="0" u="none" strike="noStrike" kern="1200" cap="none" spc="0" normalizeH="0" baseline="0" noProof="0" dirty="0" err="1">
                <a:ln>
                  <a:noFill/>
                </a:ln>
                <a:solidFill>
                  <a:srgbClr val="000000"/>
                </a:solidFill>
                <a:effectLst/>
                <a:uLnTx/>
                <a:uFillTx/>
                <a:latin typeface="Arial"/>
                <a:ea typeface="+mn-ea"/>
                <a:cs typeface="+mn-cs"/>
              </a:rPr>
              <a:t>Accounts</a:t>
            </a:r>
            <a:r>
              <a:rPr kumimoji="0" lang="pl-PL" sz="1400" b="1" i="0" u="none" strike="noStrike" kern="1200" cap="none" spc="0" normalizeH="0" baseline="0" noProof="0" dirty="0">
                <a:ln>
                  <a:noFill/>
                </a:ln>
                <a:solidFill>
                  <a:srgbClr val="000000"/>
                </a:solidFill>
                <a:effectLst/>
                <a:uLnTx/>
                <a:uFillTx/>
                <a:latin typeface="Arial"/>
                <a:ea typeface="+mn-ea"/>
                <a:cs typeface="+mn-cs"/>
              </a:rPr>
              <a:t> in </a:t>
            </a:r>
            <a:r>
              <a:rPr kumimoji="0" lang="pl-PL" sz="1400" b="1" i="0" u="none" strike="noStrike" kern="1200" cap="none" spc="0" normalizeH="0" baseline="0" noProof="0" dirty="0" err="1">
                <a:ln>
                  <a:noFill/>
                </a:ln>
                <a:solidFill>
                  <a:srgbClr val="000000"/>
                </a:solidFill>
                <a:effectLst/>
                <a:uLnTx/>
                <a:uFillTx/>
                <a:latin typeface="Arial"/>
                <a:ea typeface="+mn-ea"/>
                <a:cs typeface="+mn-cs"/>
              </a:rPr>
              <a:t>Branches</a:t>
            </a:r>
            <a:r>
              <a:rPr kumimoji="0" lang="pl-PL" sz="1400" b="1" i="0" u="none" strike="noStrike" kern="1200" cap="none" spc="0" normalizeH="0" baseline="0" noProof="0" dirty="0">
                <a:ln>
                  <a:noFill/>
                </a:ln>
                <a:solidFill>
                  <a:srgbClr val="000000"/>
                </a:solidFill>
                <a:effectLst/>
                <a:uLnTx/>
                <a:uFillTx/>
                <a:latin typeface="Arial"/>
                <a:ea typeface="+mn-ea"/>
                <a:cs typeface="+mn-cs"/>
              </a:rPr>
              <a:t> </a:t>
            </a:r>
            <a:r>
              <a:rPr kumimoji="0" lang="pl-PL" sz="1400" b="0" i="0" u="none" strike="noStrike" kern="1200" cap="none" spc="0" normalizeH="0" baseline="0" noProof="0" dirty="0">
                <a:ln>
                  <a:noFill/>
                </a:ln>
                <a:solidFill>
                  <a:srgbClr val="000000"/>
                </a:solidFill>
                <a:effectLst/>
                <a:uLnTx/>
                <a:uFillTx/>
                <a:latin typeface="Arial"/>
                <a:ea typeface="+mn-ea"/>
                <a:cs typeface="+mn-cs"/>
              </a:rPr>
              <a:t>- p</a:t>
            </a:r>
            <a:r>
              <a:rPr kumimoji="0" lang="en-US" sz="1400" b="0" i="0" u="none" strike="noStrike" kern="1200" cap="none" spc="0" normalizeH="0" baseline="0" noProof="0" dirty="0" err="1">
                <a:ln>
                  <a:noFill/>
                </a:ln>
                <a:solidFill>
                  <a:srgbClr val="000000"/>
                </a:solidFill>
                <a:effectLst/>
                <a:uLnTx/>
                <a:uFillTx/>
                <a:latin typeface="Arial"/>
                <a:ea typeface="+mn-ea"/>
                <a:cs typeface="+mn-cs"/>
              </a:rPr>
              <a:t>resentation</a:t>
            </a:r>
            <a:r>
              <a:rPr kumimoji="0" lang="en-US" sz="1400" b="0" i="0" u="none" strike="noStrike" kern="1200" cap="none" spc="0" normalizeH="0" baseline="0" noProof="0" dirty="0">
                <a:ln>
                  <a:noFill/>
                </a:ln>
                <a:solidFill>
                  <a:srgbClr val="000000"/>
                </a:solidFill>
                <a:effectLst/>
                <a:uLnTx/>
                <a:uFillTx/>
                <a:latin typeface="Arial"/>
                <a:ea typeface="+mn-ea"/>
                <a:cs typeface="+mn-cs"/>
              </a:rPr>
              <a:t> of the offer, preparation of the account agreement and transfer to </a:t>
            </a:r>
            <a:r>
              <a:rPr kumimoji="0" lang="pl-PL" sz="1400" b="0" i="0" u="none" strike="noStrike" kern="1200" cap="none" spc="0" normalizeH="0" baseline="0" noProof="0" dirty="0" err="1">
                <a:ln>
                  <a:noFill/>
                </a:ln>
                <a:solidFill>
                  <a:srgbClr val="000000"/>
                </a:solidFill>
                <a:effectLst/>
                <a:uLnTx/>
                <a:uFillTx/>
                <a:latin typeface="Arial"/>
                <a:ea typeface="+mn-ea"/>
                <a:cs typeface="+mn-cs"/>
              </a:rPr>
              <a:t>branches</a:t>
            </a:r>
            <a:r>
              <a:rPr kumimoji="0" lang="en-US" sz="1400" b="0" i="0" u="none" strike="noStrike" kern="1200" cap="none" spc="0" normalizeH="0" baseline="0" noProof="0" dirty="0">
                <a:ln>
                  <a:noFill/>
                </a:ln>
                <a:solidFill>
                  <a:srgbClr val="000000"/>
                </a:solidFill>
                <a:effectLst/>
                <a:uLnTx/>
                <a:uFillTx/>
                <a:latin typeface="Arial"/>
                <a:ea typeface="+mn-ea"/>
                <a:cs typeface="+mn-cs"/>
              </a:rPr>
              <a:t> for signatures by the client</a:t>
            </a:r>
            <a:endParaRPr kumimoji="0" lang="pl-PL"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7" name="Prostokąt 26">
            <a:extLst>
              <a:ext uri="{FF2B5EF4-FFF2-40B4-BE49-F238E27FC236}">
                <a16:creationId xmlns:a16="http://schemas.microsoft.com/office/drawing/2014/main" id="{303C85A6-8F64-76A0-9A4E-F43FBAC3A49C}"/>
              </a:ext>
            </a:extLst>
          </p:cNvPr>
          <p:cNvSpPr/>
          <p:nvPr/>
        </p:nvSpPr>
        <p:spPr>
          <a:xfrm>
            <a:off x="1428387" y="2441307"/>
            <a:ext cx="1686680"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400" b="1" i="0" u="none" strike="noStrike" kern="1200" cap="none" spc="0" normalizeH="0" baseline="0" noProof="0" dirty="0">
                <a:ln>
                  <a:noFill/>
                </a:ln>
                <a:solidFill>
                  <a:srgbClr val="000000"/>
                </a:solidFill>
                <a:effectLst/>
                <a:uLnTx/>
                <a:uFillTx/>
                <a:latin typeface="Arial"/>
                <a:ea typeface="+mn-ea"/>
                <a:cs typeface="+mn-cs"/>
              </a:rPr>
              <a:t>Service and </a:t>
            </a:r>
            <a:r>
              <a:rPr kumimoji="0" lang="pl-PL" sz="1400" b="1" i="0" u="none" strike="noStrike" kern="1200" cap="none" spc="0" normalizeH="0" baseline="0" noProof="0" dirty="0" err="1">
                <a:ln>
                  <a:noFill/>
                </a:ln>
                <a:solidFill>
                  <a:srgbClr val="000000"/>
                </a:solidFill>
                <a:effectLst/>
                <a:uLnTx/>
                <a:uFillTx/>
                <a:latin typeface="Arial"/>
                <a:ea typeface="+mn-ea"/>
                <a:cs typeface="+mn-cs"/>
              </a:rPr>
              <a:t>offer</a:t>
            </a:r>
            <a:endParaRPr kumimoji="0" lang="pl-PL"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8" name="Prostokąt 27">
            <a:extLst>
              <a:ext uri="{FF2B5EF4-FFF2-40B4-BE49-F238E27FC236}">
                <a16:creationId xmlns:a16="http://schemas.microsoft.com/office/drawing/2014/main" id="{C8563B75-2940-EA54-B558-9C16481B83B2}"/>
              </a:ext>
            </a:extLst>
          </p:cNvPr>
          <p:cNvSpPr/>
          <p:nvPr/>
        </p:nvSpPr>
        <p:spPr>
          <a:xfrm>
            <a:off x="650252" y="3105801"/>
            <a:ext cx="3710093" cy="310854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400" b="1" i="0" u="none" strike="noStrike" kern="1200" cap="none" spc="0" normalizeH="0" baseline="0" noProof="0" dirty="0">
                <a:ln>
                  <a:noFill/>
                </a:ln>
                <a:solidFill>
                  <a:srgbClr val="000000"/>
                </a:solidFill>
                <a:effectLst/>
                <a:uLnTx/>
                <a:uFillTx/>
                <a:latin typeface="Arial"/>
                <a:ea typeface="+mn-ea"/>
                <a:cs typeface="+mn-cs"/>
              </a:rPr>
              <a:t>	</a:t>
            </a:r>
            <a:r>
              <a:rPr kumimoji="0" lang="pl-PL" sz="1400" b="1" i="0" u="none" strike="noStrike" kern="1200" cap="none" spc="0" normalizeH="0" baseline="0" noProof="0" dirty="0" err="1">
                <a:ln>
                  <a:noFill/>
                </a:ln>
                <a:solidFill>
                  <a:srgbClr val="000000"/>
                </a:solidFill>
                <a:effectLst/>
                <a:uLnTx/>
                <a:uFillTx/>
                <a:latin typeface="Arial"/>
                <a:ea typeface="+mn-ea"/>
                <a:cs typeface="+mn-cs"/>
              </a:rPr>
              <a:t>Main</a:t>
            </a:r>
            <a:r>
              <a:rPr kumimoji="0" lang="pl-PL" sz="1400" b="1" i="0" u="none" strike="noStrike" kern="1200" cap="none" spc="0" normalizeH="0" baseline="0" noProof="0" dirty="0">
                <a:ln>
                  <a:noFill/>
                </a:ln>
                <a:solidFill>
                  <a:srgbClr val="000000"/>
                </a:solidFill>
                <a:effectLst/>
                <a:uLnTx/>
                <a:uFillTx/>
                <a:latin typeface="Arial"/>
                <a:ea typeface="+mn-ea"/>
                <a:cs typeface="+mn-cs"/>
              </a:rPr>
              <a:t> </a:t>
            </a:r>
            <a:r>
              <a:rPr kumimoji="0" lang="pl-PL" sz="1400" b="1" i="0" u="none" strike="noStrike" kern="1200" cap="none" spc="0" normalizeH="0" baseline="0" noProof="0" dirty="0" err="1">
                <a:ln>
                  <a:noFill/>
                </a:ln>
                <a:solidFill>
                  <a:srgbClr val="000000"/>
                </a:solidFill>
                <a:effectLst/>
                <a:uLnTx/>
                <a:uFillTx/>
                <a:latin typeface="Arial"/>
                <a:ea typeface="+mn-ea"/>
                <a:cs typeface="+mn-cs"/>
              </a:rPr>
              <a:t>call</a:t>
            </a:r>
            <a:r>
              <a:rPr kumimoji="0" lang="pl-PL" sz="1400" b="1" i="0" u="none" strike="noStrike" kern="1200" cap="none" spc="0" normalizeH="0" baseline="0" noProof="0" dirty="0">
                <a:ln>
                  <a:noFill/>
                </a:ln>
                <a:solidFill>
                  <a:srgbClr val="000000"/>
                </a:solidFill>
                <a:effectLst/>
                <a:uLnTx/>
                <a:uFillTx/>
                <a:latin typeface="Arial"/>
                <a:ea typeface="+mn-ea"/>
                <a:cs typeface="+mn-cs"/>
              </a:rPr>
              <a:t> </a:t>
            </a:r>
            <a:r>
              <a:rPr kumimoji="0" lang="pl-PL" sz="1400" b="1" i="0" u="none" strike="noStrike" kern="1200" cap="none" spc="0" normalizeH="0" baseline="0" noProof="0" dirty="0" err="1">
                <a:ln>
                  <a:noFill/>
                </a:ln>
                <a:solidFill>
                  <a:srgbClr val="000000"/>
                </a:solidFill>
                <a:effectLst/>
                <a:uLnTx/>
                <a:uFillTx/>
                <a:latin typeface="Arial"/>
                <a:ea typeface="+mn-ea"/>
                <a:cs typeface="+mn-cs"/>
              </a:rPr>
              <a:t>topics</a:t>
            </a:r>
            <a:r>
              <a:rPr kumimoji="0" lang="pl-PL" sz="1400" b="1" i="0" u="none" strike="noStrike" kern="1200" cap="none" spc="0" normalizeH="0" baseline="0" noProof="0" dirty="0">
                <a:ln>
                  <a:noFill/>
                </a:ln>
                <a:solidFill>
                  <a:srgbClr val="000000"/>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400" b="1" i="0" u="none" strike="noStrike" kern="1200" cap="none" spc="0" normalizeH="0" baseline="0" noProof="0" dirty="0">
              <a:ln>
                <a:noFill/>
              </a:ln>
              <a:solidFill>
                <a:srgbClr val="000000"/>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pl-PL" sz="1400" b="1" i="0" u="none" strike="noStrike" kern="1200" cap="none" spc="0" normalizeH="0" baseline="0" noProof="0" dirty="0">
                <a:ln>
                  <a:noFill/>
                </a:ln>
                <a:solidFill>
                  <a:srgbClr val="000000"/>
                </a:solidFill>
                <a:effectLst/>
                <a:uLnTx/>
                <a:uFillTx/>
                <a:latin typeface="Arial"/>
                <a:ea typeface="+mn-ea"/>
                <a:cs typeface="+mn-cs"/>
              </a:rPr>
              <a:t>26% - </a:t>
            </a:r>
            <a:r>
              <a:rPr kumimoji="0" lang="pl-PL" sz="1400" b="1" i="0" u="none" strike="noStrike" kern="1200" cap="none" spc="0" normalizeH="0" baseline="0" noProof="0" dirty="0" err="1">
                <a:ln>
                  <a:noFill/>
                </a:ln>
                <a:solidFill>
                  <a:srgbClr val="000000"/>
                </a:solidFill>
                <a:effectLst/>
                <a:uLnTx/>
                <a:uFillTx/>
                <a:latin typeface="Arial"/>
                <a:ea typeface="+mn-ea"/>
                <a:cs typeface="+mn-cs"/>
              </a:rPr>
              <a:t>general</a:t>
            </a:r>
            <a:r>
              <a:rPr kumimoji="0" lang="pl-PL" sz="1400" b="1" i="0" u="none" strike="noStrike" kern="1200" cap="none" spc="0" normalizeH="0" baseline="0" noProof="0" dirty="0">
                <a:ln>
                  <a:noFill/>
                </a:ln>
                <a:solidFill>
                  <a:srgbClr val="000000"/>
                </a:solidFill>
                <a:effectLst/>
                <a:uLnTx/>
                <a:uFillTx/>
                <a:latin typeface="Arial"/>
                <a:ea typeface="+mn-ea"/>
                <a:cs typeface="+mn-cs"/>
              </a:rPr>
              <a:t> </a:t>
            </a:r>
            <a:r>
              <a:rPr kumimoji="0" lang="pl-PL" sz="1400" b="1" i="0" u="none" strike="noStrike" kern="1200" cap="none" spc="0" normalizeH="0" baseline="0" noProof="0" dirty="0" err="1">
                <a:ln>
                  <a:noFill/>
                </a:ln>
                <a:solidFill>
                  <a:srgbClr val="000000"/>
                </a:solidFill>
                <a:effectLst/>
                <a:uLnTx/>
                <a:uFillTx/>
                <a:latin typeface="Arial"/>
                <a:ea typeface="+mn-ea"/>
                <a:cs typeface="+mn-cs"/>
              </a:rPr>
              <a:t>information</a:t>
            </a:r>
            <a:r>
              <a:rPr kumimoji="0" lang="pl-PL" sz="1400" b="1" i="0" u="none" strike="noStrike" kern="1200" cap="none" spc="0" normalizeH="0" baseline="0" noProof="0" dirty="0">
                <a:ln>
                  <a:noFill/>
                </a:ln>
                <a:solidFill>
                  <a:srgbClr val="000000"/>
                </a:solidFill>
                <a:effectLst/>
                <a:uLnTx/>
                <a:uFillTx/>
                <a:latin typeface="Arial"/>
                <a:ea typeface="+mn-ea"/>
                <a:cs typeface="+mn-cs"/>
              </a:rPr>
              <a:t> </a:t>
            </a:r>
            <a:r>
              <a:rPr kumimoji="0" lang="pl-PL" sz="1400" b="0" i="0" u="none" strike="noStrike" kern="1200" cap="none" spc="0" normalizeH="0" baseline="0" noProof="0" dirty="0">
                <a:ln>
                  <a:noFill/>
                </a:ln>
                <a:solidFill>
                  <a:srgbClr val="000000"/>
                </a:solidFill>
                <a:effectLst/>
                <a:uLnTx/>
                <a:uFillTx/>
                <a:latin typeface="Arial"/>
                <a:ea typeface="+mn-ea"/>
                <a:cs typeface="+mn-cs"/>
              </a:rPr>
              <a:t>(</a:t>
            </a:r>
            <a:r>
              <a:rPr kumimoji="0" lang="pl-PL" sz="1400" b="0" i="0" u="none" strike="noStrike" kern="1200" cap="none" spc="0" normalizeH="0" baseline="0" noProof="0" dirty="0" err="1">
                <a:ln>
                  <a:noFill/>
                </a:ln>
                <a:solidFill>
                  <a:srgbClr val="000000"/>
                </a:solidFill>
                <a:effectLst/>
                <a:uLnTx/>
                <a:uFillTx/>
                <a:latin typeface="Arial"/>
                <a:ea typeface="+mn-ea"/>
                <a:cs typeface="+mn-cs"/>
              </a:rPr>
              <a:t>balance</a:t>
            </a:r>
            <a:r>
              <a:rPr kumimoji="0" lang="pl-PL" sz="1400" b="0" i="0" u="none" strike="noStrike" kern="1200" cap="none" spc="0" normalizeH="0" baseline="0" noProof="0" dirty="0">
                <a:ln>
                  <a:noFill/>
                </a:ln>
                <a:solidFill>
                  <a:srgbClr val="000000"/>
                </a:solidFill>
                <a:effectLst/>
                <a:uLnTx/>
                <a:uFillTx/>
                <a:latin typeface="Arial"/>
                <a:ea typeface="+mn-ea"/>
                <a:cs typeface="+mn-cs"/>
              </a:rPr>
              <a:t>, </a:t>
            </a:r>
            <a:r>
              <a:rPr kumimoji="0" lang="pl-PL" sz="1400" b="0" i="0" u="none" strike="noStrike" kern="1200" cap="none" spc="0" normalizeH="0" baseline="0" noProof="0" dirty="0" err="1">
                <a:ln>
                  <a:noFill/>
                </a:ln>
                <a:solidFill>
                  <a:srgbClr val="000000"/>
                </a:solidFill>
                <a:effectLst/>
                <a:uLnTx/>
                <a:uFillTx/>
                <a:latin typeface="Arial"/>
                <a:ea typeface="+mn-ea"/>
                <a:cs typeface="+mn-cs"/>
              </a:rPr>
              <a:t>payments</a:t>
            </a:r>
            <a:r>
              <a:rPr kumimoji="0" lang="pl-PL" sz="1400" b="0" i="0" u="none" strike="noStrike" kern="1200" cap="none" spc="0" normalizeH="0" baseline="0" noProof="0" dirty="0">
                <a:ln>
                  <a:noFill/>
                </a:ln>
                <a:solidFill>
                  <a:srgbClr val="000000"/>
                </a:solidFill>
                <a:effectLst/>
                <a:uLnTx/>
                <a:uFillTx/>
                <a:latin typeface="Arial"/>
                <a:ea typeface="+mn-ea"/>
                <a:cs typeface="+mn-cs"/>
              </a:rPr>
              <a:t>, </a:t>
            </a:r>
            <a:r>
              <a:rPr kumimoji="0" lang="pl-PL" sz="1400" b="0" i="0" u="none" strike="noStrike" kern="1200" cap="none" spc="0" normalizeH="0" baseline="0" noProof="0" dirty="0" err="1">
                <a:ln>
                  <a:noFill/>
                </a:ln>
                <a:solidFill>
                  <a:srgbClr val="000000"/>
                </a:solidFill>
                <a:effectLst/>
                <a:uLnTx/>
                <a:uFillTx/>
                <a:latin typeface="Arial"/>
                <a:ea typeface="+mn-ea"/>
                <a:cs typeface="+mn-cs"/>
              </a:rPr>
              <a:t>account’s</a:t>
            </a:r>
            <a:r>
              <a:rPr kumimoji="0" lang="pl-PL" sz="1400" b="0" i="0" u="none" strike="noStrike" kern="1200" cap="none" spc="0" normalizeH="0" baseline="0" noProof="0" dirty="0">
                <a:ln>
                  <a:noFill/>
                </a:ln>
                <a:solidFill>
                  <a:srgbClr val="000000"/>
                </a:solidFill>
                <a:effectLst/>
                <a:uLnTx/>
                <a:uFillTx/>
                <a:latin typeface="Arial"/>
                <a:ea typeface="+mn-ea"/>
                <a:cs typeface="+mn-cs"/>
              </a:rPr>
              <a:t> </a:t>
            </a:r>
            <a:r>
              <a:rPr kumimoji="0" lang="pl-PL" sz="1400" b="0" i="0" u="none" strike="noStrike" kern="1200" cap="none" spc="0" normalizeH="0" baseline="0" noProof="0" dirty="0" err="1">
                <a:ln>
                  <a:noFill/>
                </a:ln>
                <a:solidFill>
                  <a:srgbClr val="000000"/>
                </a:solidFill>
                <a:effectLst/>
                <a:uLnTx/>
                <a:uFillTx/>
                <a:latin typeface="Arial"/>
                <a:ea typeface="+mn-ea"/>
                <a:cs typeface="+mn-cs"/>
              </a:rPr>
              <a:t>history</a:t>
            </a:r>
            <a:r>
              <a:rPr kumimoji="0" lang="pl-PL" sz="1400" b="0" i="0" u="none" strike="noStrike" kern="1200" cap="none" spc="0" normalizeH="0" baseline="0" noProof="0" dirty="0">
                <a:ln>
                  <a:noFill/>
                </a:ln>
                <a:solidFill>
                  <a:srgbClr val="000000"/>
                </a:solidFill>
                <a:effectLst/>
                <a:uLnTx/>
                <a:uFillTx/>
                <a:latin typeface="Arial"/>
                <a:ea typeface="+mn-ea"/>
                <a:cs typeface="+mn-cs"/>
              </a:rPr>
              <a:t>, </a:t>
            </a:r>
            <a:r>
              <a:rPr kumimoji="0" lang="pl-PL" sz="1400" b="0" i="0" u="none" strike="noStrike" kern="1200" cap="none" spc="0" normalizeH="0" baseline="0" noProof="0" dirty="0" err="1">
                <a:ln>
                  <a:noFill/>
                </a:ln>
                <a:solidFill>
                  <a:srgbClr val="000000"/>
                </a:solidFill>
                <a:effectLst/>
                <a:uLnTx/>
                <a:uFillTx/>
                <a:latin typeface="Arial"/>
                <a:ea typeface="+mn-ea"/>
                <a:cs typeface="+mn-cs"/>
              </a:rPr>
              <a:t>card</a:t>
            </a:r>
            <a:r>
              <a:rPr kumimoji="0" lang="pl-PL" sz="1400" b="0" i="0" u="none" strike="noStrike" kern="1200" cap="none" spc="0" normalizeH="0" baseline="0" noProof="0" dirty="0">
                <a:ln>
                  <a:noFill/>
                </a:ln>
                <a:solidFill>
                  <a:srgbClr val="000000"/>
                </a:solidFill>
                <a:effectLst/>
                <a:uLnTx/>
                <a:uFillTx/>
                <a:latin typeface="Arial"/>
                <a:ea typeface="+mn-ea"/>
                <a:cs typeface="+mn-cs"/>
              </a:rPr>
              <a:t> debit)</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pl-PL" sz="1400" b="1" i="0" u="none" strike="noStrike" kern="1200" cap="none" spc="0" normalizeH="0" baseline="0" noProof="0" dirty="0">
                <a:ln>
                  <a:noFill/>
                </a:ln>
                <a:solidFill>
                  <a:srgbClr val="000000"/>
                </a:solidFill>
                <a:effectLst/>
                <a:uLnTx/>
                <a:uFillTx/>
                <a:latin typeface="Arial"/>
                <a:ea typeface="+mn-ea"/>
                <a:cs typeface="+mn-cs"/>
              </a:rPr>
              <a:t>18% - </a:t>
            </a:r>
            <a:r>
              <a:rPr kumimoji="0" lang="pl-PL" sz="1400" b="1" i="0" u="none" strike="noStrike" kern="1200" cap="none" spc="0" normalizeH="0" baseline="0" noProof="0" dirty="0" err="1">
                <a:ln>
                  <a:noFill/>
                </a:ln>
                <a:solidFill>
                  <a:srgbClr val="000000"/>
                </a:solidFill>
                <a:effectLst/>
                <a:uLnTx/>
                <a:uFillTx/>
                <a:latin typeface="Arial"/>
                <a:ea typeface="+mn-ea"/>
                <a:cs typeface="+mn-cs"/>
              </a:rPr>
              <a:t>remote</a:t>
            </a:r>
            <a:r>
              <a:rPr kumimoji="0" lang="pl-PL" sz="1400" b="1" i="0" u="none" strike="noStrike" kern="1200" cap="none" spc="0" normalizeH="0" baseline="0" noProof="0" dirty="0">
                <a:ln>
                  <a:noFill/>
                </a:ln>
                <a:solidFill>
                  <a:srgbClr val="000000"/>
                </a:solidFill>
                <a:effectLst/>
                <a:uLnTx/>
                <a:uFillTx/>
                <a:latin typeface="Arial"/>
                <a:ea typeface="+mn-ea"/>
                <a:cs typeface="+mn-cs"/>
              </a:rPr>
              <a:t> </a:t>
            </a:r>
            <a:r>
              <a:rPr kumimoji="0" lang="pl-PL" sz="1400" b="1" i="0" u="none" strike="noStrike" kern="1200" cap="none" spc="0" normalizeH="0" baseline="0" noProof="0" dirty="0" err="1">
                <a:ln>
                  <a:noFill/>
                </a:ln>
                <a:solidFill>
                  <a:srgbClr val="000000"/>
                </a:solidFill>
                <a:effectLst/>
                <a:uLnTx/>
                <a:uFillTx/>
                <a:latin typeface="Arial"/>
                <a:ea typeface="+mn-ea"/>
                <a:cs typeface="+mn-cs"/>
              </a:rPr>
              <a:t>access</a:t>
            </a:r>
            <a:r>
              <a:rPr kumimoji="0" lang="pl-PL" sz="1400" b="1" i="0" u="none" strike="noStrike" kern="1200" cap="none" spc="0" normalizeH="0" baseline="0" noProof="0" dirty="0">
                <a:ln>
                  <a:noFill/>
                </a:ln>
                <a:solidFill>
                  <a:srgbClr val="000000"/>
                </a:solidFill>
                <a:effectLst/>
                <a:uLnTx/>
                <a:uFillTx/>
                <a:latin typeface="Arial"/>
                <a:ea typeface="+mn-ea"/>
                <a:cs typeface="+mn-cs"/>
              </a:rPr>
              <a:t> </a:t>
            </a:r>
            <a:r>
              <a:rPr kumimoji="0" lang="pl-PL" sz="1400" b="0" i="0" u="none" strike="noStrike" kern="1200" cap="none" spc="0" normalizeH="0" baseline="0" noProof="0" dirty="0">
                <a:ln>
                  <a:noFill/>
                </a:ln>
                <a:solidFill>
                  <a:srgbClr val="000000"/>
                </a:solidFill>
                <a:effectLst/>
                <a:uLnTx/>
                <a:uFillTx/>
                <a:latin typeface="Arial"/>
                <a:ea typeface="+mn-ea"/>
                <a:cs typeface="+mn-cs"/>
              </a:rPr>
              <a:t>(</a:t>
            </a:r>
            <a:r>
              <a:rPr kumimoji="0" lang="pl-PL" sz="1400" b="0" i="0" u="none" strike="noStrike" kern="1200" cap="none" spc="0" normalizeH="0" baseline="0" noProof="0" dirty="0" err="1">
                <a:ln>
                  <a:noFill/>
                </a:ln>
                <a:solidFill>
                  <a:srgbClr val="000000"/>
                </a:solidFill>
                <a:effectLst/>
                <a:uLnTx/>
                <a:uFillTx/>
                <a:latin typeface="Arial"/>
                <a:ea typeface="+mn-ea"/>
                <a:cs typeface="+mn-cs"/>
              </a:rPr>
              <a:t>changing</a:t>
            </a:r>
            <a:r>
              <a:rPr kumimoji="0" lang="pl-PL" sz="1400" b="0" i="0" u="none" strike="noStrike" kern="1200" cap="none" spc="0" normalizeH="0" baseline="0" noProof="0" dirty="0">
                <a:ln>
                  <a:noFill/>
                </a:ln>
                <a:solidFill>
                  <a:srgbClr val="000000"/>
                </a:solidFill>
                <a:effectLst/>
                <a:uLnTx/>
                <a:uFillTx/>
                <a:latin typeface="Arial"/>
                <a:ea typeface="+mn-ea"/>
                <a:cs typeface="+mn-cs"/>
              </a:rPr>
              <a:t> the </a:t>
            </a:r>
            <a:r>
              <a:rPr kumimoji="0" lang="pl-PL" sz="1400" b="0" i="0" u="none" strike="noStrike" kern="1200" cap="none" spc="0" normalizeH="0" baseline="0" noProof="0" dirty="0" err="1">
                <a:ln>
                  <a:noFill/>
                </a:ln>
                <a:solidFill>
                  <a:srgbClr val="000000"/>
                </a:solidFill>
                <a:effectLst/>
                <a:uLnTx/>
                <a:uFillTx/>
                <a:latin typeface="Arial"/>
                <a:ea typeface="+mn-ea"/>
                <a:cs typeface="+mn-cs"/>
              </a:rPr>
              <a:t>limits</a:t>
            </a:r>
            <a:r>
              <a:rPr kumimoji="0" lang="pl-PL" sz="1400" b="0" i="0" u="none" strike="noStrike" kern="1200" cap="none" spc="0" normalizeH="0" baseline="0" noProof="0" dirty="0">
                <a:ln>
                  <a:noFill/>
                </a:ln>
                <a:solidFill>
                  <a:srgbClr val="000000"/>
                </a:solidFill>
                <a:effectLst/>
                <a:uLnTx/>
                <a:uFillTx/>
                <a:latin typeface="Arial"/>
                <a:ea typeface="+mn-ea"/>
                <a:cs typeface="+mn-cs"/>
              </a:rPr>
              <a:t>, </a:t>
            </a:r>
            <a:r>
              <a:rPr kumimoji="0" lang="pl-PL" sz="1400" b="0" i="0" u="none" strike="noStrike" kern="1200" cap="none" spc="0" normalizeH="0" baseline="0" noProof="0" dirty="0" err="1">
                <a:ln>
                  <a:noFill/>
                </a:ln>
                <a:solidFill>
                  <a:srgbClr val="000000"/>
                </a:solidFill>
                <a:effectLst/>
                <a:uLnTx/>
                <a:uFillTx/>
                <a:latin typeface="Arial"/>
                <a:ea typeface="+mn-ea"/>
                <a:cs typeface="+mn-cs"/>
              </a:rPr>
              <a:t>unlockking</a:t>
            </a:r>
            <a:r>
              <a:rPr kumimoji="0" lang="pl-PL" sz="1400" b="0" i="0" u="none" strike="noStrike" kern="1200" cap="none" spc="0" normalizeH="0" baseline="0" noProof="0" dirty="0">
                <a:ln>
                  <a:noFill/>
                </a:ln>
                <a:solidFill>
                  <a:srgbClr val="000000"/>
                </a:solidFill>
                <a:effectLst/>
                <a:uLnTx/>
                <a:uFillTx/>
                <a:latin typeface="Arial"/>
                <a:ea typeface="+mn-ea"/>
                <a:cs typeface="+mn-cs"/>
              </a:rPr>
              <a:t> </a:t>
            </a:r>
            <a:r>
              <a:rPr kumimoji="0" lang="pl-PL" sz="1400" b="0" i="0" u="none" strike="noStrike" kern="1200" cap="none" spc="0" normalizeH="0" baseline="0" noProof="0" dirty="0" err="1">
                <a:ln>
                  <a:noFill/>
                </a:ln>
                <a:solidFill>
                  <a:srgbClr val="000000"/>
                </a:solidFill>
                <a:effectLst/>
                <a:uLnTx/>
                <a:uFillTx/>
                <a:latin typeface="Arial"/>
                <a:ea typeface="+mn-ea"/>
                <a:cs typeface="+mn-cs"/>
              </a:rPr>
              <a:t>eBank</a:t>
            </a:r>
            <a:r>
              <a:rPr kumimoji="0" lang="pl-PL" sz="1400" b="0" i="0" u="none" strike="noStrike" kern="1200" cap="none" spc="0" normalizeH="0" baseline="0" noProof="0" dirty="0">
                <a:ln>
                  <a:noFill/>
                </a:ln>
                <a:solidFill>
                  <a:srgbClr val="000000"/>
                </a:solidFill>
                <a:effectLst/>
                <a:uLnTx/>
                <a:uFillTx/>
                <a:latin typeface="Arial"/>
                <a:ea typeface="+mn-ea"/>
                <a:cs typeface="+mn-cs"/>
              </a:rPr>
              <a:t> </a:t>
            </a:r>
            <a:r>
              <a:rPr kumimoji="0" lang="pl-PL" sz="1400" b="0" i="0" u="none" strike="noStrike" kern="1200" cap="none" spc="0" normalizeH="0" baseline="0" noProof="0" dirty="0" err="1">
                <a:ln>
                  <a:noFill/>
                </a:ln>
                <a:solidFill>
                  <a:srgbClr val="000000"/>
                </a:solidFill>
                <a:effectLst/>
                <a:uLnTx/>
                <a:uFillTx/>
                <a:latin typeface="Arial"/>
                <a:ea typeface="+mn-ea"/>
                <a:cs typeface="+mn-cs"/>
              </a:rPr>
              <a:t>or</a:t>
            </a:r>
            <a:r>
              <a:rPr kumimoji="0" lang="pl-PL" sz="1400" b="0" i="0" u="none" strike="noStrike" kern="1200" cap="none" spc="0" normalizeH="0" baseline="0" noProof="0" dirty="0">
                <a:ln>
                  <a:noFill/>
                </a:ln>
                <a:solidFill>
                  <a:srgbClr val="000000"/>
                </a:solidFill>
                <a:effectLst/>
                <a:uLnTx/>
                <a:uFillTx/>
                <a:latin typeface="Arial"/>
                <a:ea typeface="+mn-ea"/>
                <a:cs typeface="+mn-cs"/>
              </a:rPr>
              <a:t> mobile </a:t>
            </a:r>
            <a:r>
              <a:rPr kumimoji="0" lang="pl-PL" sz="1400" b="0" i="0" u="none" strike="noStrike" kern="1200" cap="none" spc="0" normalizeH="0" baseline="0" noProof="0" dirty="0" err="1">
                <a:ln>
                  <a:noFill/>
                </a:ln>
                <a:solidFill>
                  <a:srgbClr val="000000"/>
                </a:solidFill>
                <a:effectLst/>
                <a:uLnTx/>
                <a:uFillTx/>
                <a:latin typeface="Arial"/>
                <a:ea typeface="+mn-ea"/>
                <a:cs typeface="+mn-cs"/>
              </a:rPr>
              <a:t>access</a:t>
            </a:r>
            <a:r>
              <a:rPr kumimoji="0" lang="pl-PL" sz="1400" b="0" i="0" u="none" strike="noStrike" kern="1200" cap="none" spc="0" normalizeH="0" baseline="0" noProof="0" dirty="0">
                <a:ln>
                  <a:noFill/>
                </a:ln>
                <a:solidFill>
                  <a:srgbClr val="000000"/>
                </a:solidFill>
                <a:effectLst/>
                <a:uLnTx/>
                <a:uFillTx/>
                <a:latin typeface="Arial"/>
                <a:ea typeface="+mn-ea"/>
                <a:cs typeface="+mn-cs"/>
              </a:rPr>
              <a:t>, </a:t>
            </a:r>
            <a:r>
              <a:rPr kumimoji="0" lang="pl-PL" sz="1400" b="0" i="0" u="none" strike="noStrike" kern="1200" cap="none" spc="0" normalizeH="0" baseline="0" noProof="0" dirty="0" err="1">
                <a:ln>
                  <a:noFill/>
                </a:ln>
                <a:solidFill>
                  <a:srgbClr val="000000"/>
                </a:solidFill>
                <a:effectLst/>
                <a:uLnTx/>
                <a:uFillTx/>
                <a:latin typeface="Arial"/>
                <a:ea typeface="+mn-ea"/>
                <a:cs typeface="+mn-cs"/>
              </a:rPr>
              <a:t>providing</a:t>
            </a:r>
            <a:r>
              <a:rPr kumimoji="0" lang="pl-PL" sz="1400" b="0" i="0" u="none" strike="noStrike" kern="1200" cap="none" spc="0" normalizeH="0" baseline="0" noProof="0" dirty="0">
                <a:ln>
                  <a:noFill/>
                </a:ln>
                <a:solidFill>
                  <a:srgbClr val="000000"/>
                </a:solidFill>
                <a:effectLst/>
                <a:uLnTx/>
                <a:uFillTx/>
                <a:latin typeface="Arial"/>
                <a:ea typeface="+mn-ea"/>
                <a:cs typeface="+mn-cs"/>
              </a:rPr>
              <a:t> a one-</a:t>
            </a:r>
            <a:r>
              <a:rPr kumimoji="0" lang="pl-PL" sz="1400" b="0" i="0" u="none" strike="noStrike" kern="1200" cap="none" spc="0" normalizeH="0" baseline="0" noProof="0" dirty="0" err="1">
                <a:ln>
                  <a:noFill/>
                </a:ln>
                <a:solidFill>
                  <a:srgbClr val="000000"/>
                </a:solidFill>
                <a:effectLst/>
                <a:uLnTx/>
                <a:uFillTx/>
                <a:latin typeface="Arial"/>
                <a:ea typeface="+mn-ea"/>
                <a:cs typeface="+mn-cs"/>
              </a:rPr>
              <a:t>time</a:t>
            </a:r>
            <a:r>
              <a:rPr kumimoji="0" lang="pl-PL" sz="1400" b="0" i="0" u="none" strike="noStrike" kern="1200" cap="none" spc="0" normalizeH="0" baseline="0" noProof="0" dirty="0">
                <a:ln>
                  <a:noFill/>
                </a:ln>
                <a:solidFill>
                  <a:srgbClr val="000000"/>
                </a:solidFill>
                <a:effectLst/>
                <a:uLnTx/>
                <a:uFillTx/>
                <a:latin typeface="Arial"/>
                <a:ea typeface="+mn-ea"/>
                <a:cs typeface="+mn-cs"/>
              </a:rPr>
              <a:t> </a:t>
            </a:r>
            <a:r>
              <a:rPr kumimoji="0" lang="pl-PL" sz="1400" b="0" i="0" u="none" strike="noStrike" kern="1200" cap="none" spc="0" normalizeH="0" baseline="0" noProof="0" dirty="0" err="1">
                <a:ln>
                  <a:noFill/>
                </a:ln>
                <a:solidFill>
                  <a:srgbClr val="000000"/>
                </a:solidFill>
                <a:effectLst/>
                <a:uLnTx/>
                <a:uFillTx/>
                <a:latin typeface="Arial"/>
                <a:ea typeface="+mn-ea"/>
                <a:cs typeface="+mn-cs"/>
              </a:rPr>
              <a:t>telecode</a:t>
            </a:r>
            <a:r>
              <a:rPr kumimoji="0" lang="pl-PL" sz="1400" b="0" i="0" u="none" strike="noStrike" kern="1200" cap="none" spc="0" normalizeH="0" baseline="0" noProof="0" dirty="0">
                <a:ln>
                  <a:noFill/>
                </a:ln>
                <a:solidFill>
                  <a:srgbClr val="000000"/>
                </a:solidFill>
                <a:effectLst/>
                <a:uLnTx/>
                <a:uFillTx/>
                <a:latin typeface="Arial"/>
                <a:ea typeface="+mn-ea"/>
                <a:cs typeface="+mn-cs"/>
              </a:rPr>
              <a:t>)</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pl-PL" sz="1400" b="1" i="0" u="none" strike="noStrike" kern="1200" cap="none" spc="0" normalizeH="0" baseline="0" noProof="0" dirty="0">
                <a:ln>
                  <a:noFill/>
                </a:ln>
                <a:solidFill>
                  <a:srgbClr val="000000"/>
                </a:solidFill>
                <a:effectLst/>
                <a:uLnTx/>
                <a:uFillTx/>
                <a:latin typeface="Arial"/>
                <a:ea typeface="+mn-ea"/>
                <a:cs typeface="+mn-cs"/>
              </a:rPr>
              <a:t>13% </a:t>
            </a:r>
            <a:r>
              <a:rPr kumimoji="0" lang="pl-PL" sz="1400" b="1" i="0" u="none" strike="noStrike" kern="1200" cap="none" spc="0" normalizeH="0" baseline="0" noProof="0" dirty="0" err="1">
                <a:ln>
                  <a:noFill/>
                </a:ln>
                <a:solidFill>
                  <a:srgbClr val="000000"/>
                </a:solidFill>
                <a:effectLst/>
                <a:uLnTx/>
                <a:uFillTx/>
                <a:latin typeface="Arial"/>
                <a:ea typeface="+mn-ea"/>
                <a:cs typeface="+mn-cs"/>
              </a:rPr>
              <a:t>bailiffs</a:t>
            </a:r>
            <a:r>
              <a:rPr kumimoji="0" lang="pl-PL" sz="1400" b="1" i="0" u="none" strike="noStrike" kern="1200" cap="none" spc="0" normalizeH="0" baseline="0" noProof="0" dirty="0">
                <a:ln>
                  <a:noFill/>
                </a:ln>
                <a:solidFill>
                  <a:srgbClr val="000000"/>
                </a:solidFill>
                <a:effectLst/>
                <a:uLnTx/>
                <a:uFillTx/>
                <a:latin typeface="Arial"/>
                <a:ea typeface="+mn-ea"/>
                <a:cs typeface="+mn-cs"/>
              </a:rPr>
              <a:t>’ </a:t>
            </a:r>
            <a:r>
              <a:rPr kumimoji="0" lang="pl-PL" sz="1400" b="1" i="0" u="none" strike="noStrike" kern="1200" cap="none" spc="0" normalizeH="0" baseline="0" noProof="0" dirty="0" err="1">
                <a:ln>
                  <a:noFill/>
                </a:ln>
                <a:solidFill>
                  <a:srgbClr val="000000"/>
                </a:solidFill>
                <a:effectLst/>
                <a:uLnTx/>
                <a:uFillTx/>
                <a:latin typeface="Arial"/>
                <a:ea typeface="+mn-ea"/>
                <a:cs typeface="+mn-cs"/>
              </a:rPr>
              <a:t>seizures</a:t>
            </a:r>
            <a:endParaRPr kumimoji="0" lang="pl-PL" sz="1400" b="1" i="0" u="none" strike="noStrike" kern="1200" cap="none" spc="0" normalizeH="0" baseline="0" noProof="0" dirty="0">
              <a:ln>
                <a:noFill/>
              </a:ln>
              <a:solidFill>
                <a:srgbClr val="000000"/>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pl-PL" sz="1400" b="1" i="0" u="none" strike="noStrike" kern="1200" cap="none" spc="0" normalizeH="0" baseline="0" noProof="0" dirty="0">
                <a:ln>
                  <a:noFill/>
                </a:ln>
                <a:solidFill>
                  <a:srgbClr val="000000"/>
                </a:solidFill>
                <a:effectLst/>
                <a:uLnTx/>
                <a:uFillTx/>
                <a:latin typeface="Arial"/>
                <a:ea typeface="+mn-ea"/>
                <a:cs typeface="+mn-cs"/>
              </a:rPr>
              <a:t>5% </a:t>
            </a:r>
            <a:r>
              <a:rPr kumimoji="0" lang="pl-PL" sz="1400" b="1" i="0" u="none" strike="noStrike" kern="1200" cap="none" spc="0" normalizeH="0" baseline="0" noProof="0" dirty="0" err="1">
                <a:ln>
                  <a:noFill/>
                </a:ln>
                <a:solidFill>
                  <a:srgbClr val="000000"/>
                </a:solidFill>
                <a:effectLst/>
                <a:uLnTx/>
                <a:uFillTx/>
                <a:latin typeface="Arial"/>
                <a:ea typeface="+mn-ea"/>
                <a:cs typeface="+mn-cs"/>
              </a:rPr>
              <a:t>transfers</a:t>
            </a:r>
            <a:endParaRPr kumimoji="0" lang="pl-PL" sz="1400" b="1" i="0" u="none" strike="noStrike" kern="1200" cap="none" spc="0" normalizeH="0" baseline="0" noProof="0" dirty="0">
              <a:ln>
                <a:noFill/>
              </a:ln>
              <a:solidFill>
                <a:srgbClr val="000000"/>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pl-PL" sz="1400" b="1" i="0" u="none" strike="noStrike" kern="1200" cap="none" spc="0" normalizeH="0" baseline="0" noProof="0" dirty="0">
                <a:ln>
                  <a:noFill/>
                </a:ln>
                <a:solidFill>
                  <a:srgbClr val="000000"/>
                </a:solidFill>
                <a:effectLst/>
                <a:uLnTx/>
                <a:uFillTx/>
                <a:latin typeface="Arial"/>
                <a:ea typeface="+mn-ea"/>
                <a:cs typeface="+mn-cs"/>
              </a:rPr>
              <a:t>5% </a:t>
            </a:r>
            <a:r>
              <a:rPr kumimoji="0" lang="pl-PL" sz="1400" b="1" i="0" u="none" strike="noStrike" kern="1200" cap="none" spc="0" normalizeH="0" baseline="0" noProof="0" dirty="0" err="1">
                <a:ln>
                  <a:noFill/>
                </a:ln>
                <a:solidFill>
                  <a:srgbClr val="000000"/>
                </a:solidFill>
                <a:effectLst/>
                <a:uLnTx/>
                <a:uFillTx/>
                <a:latin typeface="Arial"/>
                <a:ea typeface="+mn-ea"/>
                <a:cs typeface="+mn-cs"/>
              </a:rPr>
              <a:t>offer</a:t>
            </a:r>
            <a:endParaRPr kumimoji="0" lang="pl-PL" sz="1400" b="1" i="0" u="none" strike="noStrike" kern="1200" cap="none" spc="0" normalizeH="0" baseline="0" noProof="0" dirty="0">
              <a:ln>
                <a:noFill/>
              </a:ln>
              <a:solidFill>
                <a:srgbClr val="000000"/>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pl-PL" sz="1400" b="1" i="0" u="none" strike="noStrike" kern="1200" cap="none" spc="0" normalizeH="0" baseline="0" noProof="0" dirty="0">
                <a:ln>
                  <a:noFill/>
                </a:ln>
                <a:solidFill>
                  <a:srgbClr val="000000"/>
                </a:solidFill>
                <a:effectLst/>
                <a:uLnTx/>
                <a:uFillTx/>
                <a:latin typeface="Arial"/>
                <a:ea typeface="+mn-ea"/>
                <a:cs typeface="+mn-cs"/>
              </a:rPr>
              <a:t>4% </a:t>
            </a:r>
            <a:r>
              <a:rPr kumimoji="0" lang="en-US" sz="1400" b="1" i="0" u="none" strike="noStrike" kern="1200" cap="none" spc="0" normalizeH="0" baseline="0" noProof="0" dirty="0">
                <a:ln>
                  <a:noFill/>
                </a:ln>
                <a:solidFill>
                  <a:srgbClr val="000000"/>
                </a:solidFill>
                <a:effectLst/>
                <a:uLnTx/>
                <a:uFillTx/>
                <a:latin typeface="Arial"/>
                <a:ea typeface="+mn-ea"/>
                <a:cs typeface="+mn-cs"/>
              </a:rPr>
              <a:t>help in opening an account through the </a:t>
            </a:r>
            <a:r>
              <a:rPr kumimoji="0" lang="pl-PL" sz="1400" b="1" i="0" u="none" strike="noStrike" kern="1200" cap="none" spc="0" normalizeH="0" baseline="0" noProof="0" dirty="0">
                <a:ln>
                  <a:noFill/>
                </a:ln>
                <a:solidFill>
                  <a:srgbClr val="000000"/>
                </a:solidFill>
                <a:effectLst/>
                <a:uLnTx/>
                <a:uFillTx/>
                <a:latin typeface="Arial"/>
                <a:ea typeface="+mn-ea"/>
                <a:cs typeface="+mn-cs"/>
              </a:rPr>
              <a:t>mobile </a:t>
            </a:r>
            <a:r>
              <a:rPr kumimoji="0" lang="en-US" sz="1400" b="1" i="0" u="none" strike="noStrike" kern="1200" cap="none" spc="0" normalizeH="0" baseline="0" noProof="0" dirty="0">
                <a:ln>
                  <a:noFill/>
                </a:ln>
                <a:solidFill>
                  <a:srgbClr val="000000"/>
                </a:solidFill>
                <a:effectLst/>
                <a:uLnTx/>
                <a:uFillTx/>
                <a:latin typeface="Arial"/>
                <a:ea typeface="+mn-ea"/>
                <a:cs typeface="+mn-cs"/>
              </a:rPr>
              <a:t>app</a:t>
            </a:r>
            <a:endParaRPr kumimoji="0" lang="pl-PL" sz="14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4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4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21804550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BE3E659C-9418-4A54-B892-48652EB0ADF7}"/>
              </a:ext>
            </a:extLst>
          </p:cNvPr>
          <p:cNvSpPr>
            <a:spLocks noGrp="1"/>
          </p:cNvSpPr>
          <p:nvPr>
            <p:ph type="title"/>
          </p:nvPr>
        </p:nvSpPr>
        <p:spPr>
          <a:xfrm>
            <a:off x="418234" y="-98608"/>
            <a:ext cx="11514253" cy="753532"/>
          </a:xfrm>
        </p:spPr>
        <p:txBody>
          <a:bodyPr/>
          <a:lstStyle/>
          <a:p>
            <a:r>
              <a:rPr lang="pl-PL" sz="3200" dirty="0" err="1">
                <a:latin typeface="Arial Black" panose="020B0A04020102020204" pitchFamily="34" charset="0"/>
                <a:ea typeface="Calibri" panose="020F0502020204030204" pitchFamily="34" charset="0"/>
                <a:cs typeface="Calibri" panose="020F0502020204030204" pitchFamily="34" charset="0"/>
              </a:rPr>
              <a:t>Incoming</a:t>
            </a:r>
            <a:r>
              <a:rPr lang="pl-PL" sz="3200" dirty="0">
                <a:latin typeface="Arial Black" panose="020B0A04020102020204" pitchFamily="34" charset="0"/>
                <a:ea typeface="Calibri" panose="020F0502020204030204" pitchFamily="34" charset="0"/>
                <a:cs typeface="Calibri" panose="020F0502020204030204" pitchFamily="34" charset="0"/>
              </a:rPr>
              <a:t> non voice (2025)</a:t>
            </a:r>
          </a:p>
        </p:txBody>
      </p:sp>
      <p:sp>
        <p:nvSpPr>
          <p:cNvPr id="3" name="Symbol zastępczy numeru slajdu 2">
            <a:extLst>
              <a:ext uri="{FF2B5EF4-FFF2-40B4-BE49-F238E27FC236}">
                <a16:creationId xmlns:a16="http://schemas.microsoft.com/office/drawing/2014/main" id="{BE79F1AB-F142-4E75-A9BC-2FD4CD3DA590}"/>
              </a:ext>
            </a:extLst>
          </p:cNvPr>
          <p:cNvSpPr>
            <a:spLocks noGrp="1"/>
          </p:cNvSpPr>
          <p:nvPr>
            <p:ph type="sldNum" sz="quarter" idx="10"/>
          </p:nvPr>
        </p:nvSpPr>
        <p:spPr/>
        <p:txBody>
          <a:bodyPr/>
          <a:lstStyle/>
          <a:p>
            <a:pPr marL="0" marR="0" lvl="0" indent="0" algn="l" defTabSz="467539" rtl="0" eaLnBrk="1" fontAlgn="auto" latinLnBrk="0" hangingPunct="1">
              <a:lnSpc>
                <a:spcPct val="100000"/>
              </a:lnSpc>
              <a:spcBef>
                <a:spcPts val="0"/>
              </a:spcBef>
              <a:spcAft>
                <a:spcPts val="0"/>
              </a:spcAft>
              <a:buClrTx/>
              <a:buSzTx/>
              <a:buFontTx/>
              <a:buNone/>
              <a:tabLst/>
              <a:defRPr/>
            </a:pPr>
            <a:fld id="{332DF002-2E43-485C-89F8-8DCEF59D6C4F}" type="slidenum">
              <a:rPr kumimoji="0" lang="pl-PL" sz="1067" b="0" i="0" u="none" strike="noStrike" kern="1200" cap="none" spc="0" normalizeH="0" baseline="0" noProof="0">
                <a:ln>
                  <a:noFill/>
                </a:ln>
                <a:solidFill>
                  <a:srgbClr val="7E93A5"/>
                </a:solidFill>
                <a:effectLst/>
                <a:uLnTx/>
                <a:uFillTx/>
                <a:latin typeface="Arial"/>
                <a:ea typeface="+mn-ea"/>
                <a:cs typeface="+mn-cs"/>
              </a:rPr>
              <a:pPr marL="0" marR="0" lvl="0" indent="0" algn="l" defTabSz="467539" rtl="0" eaLnBrk="1" fontAlgn="auto" latinLnBrk="0" hangingPunct="1">
                <a:lnSpc>
                  <a:spcPct val="100000"/>
                </a:lnSpc>
                <a:spcBef>
                  <a:spcPts val="0"/>
                </a:spcBef>
                <a:spcAft>
                  <a:spcPts val="0"/>
                </a:spcAft>
                <a:buClrTx/>
                <a:buSzTx/>
                <a:buFontTx/>
                <a:buNone/>
                <a:tabLst/>
                <a:defRPr/>
              </a:pPr>
              <a:t>17</a:t>
            </a:fld>
            <a:endParaRPr kumimoji="0" lang="pl-PL" sz="1067" b="0" i="0" u="none" strike="noStrike" kern="1200" cap="none" spc="0" normalizeH="0" baseline="0" noProof="0" dirty="0">
              <a:ln>
                <a:noFill/>
              </a:ln>
              <a:solidFill>
                <a:srgbClr val="7E93A5"/>
              </a:solidFill>
              <a:effectLst/>
              <a:uLnTx/>
              <a:uFillTx/>
              <a:latin typeface="Arial"/>
              <a:ea typeface="+mn-ea"/>
              <a:cs typeface="+mn-cs"/>
            </a:endParaRPr>
          </a:p>
        </p:txBody>
      </p:sp>
      <p:graphicFrame>
        <p:nvGraphicFramePr>
          <p:cNvPr id="20" name="Wykres 19"/>
          <p:cNvGraphicFramePr>
            <a:graphicFrameLocks/>
          </p:cNvGraphicFramePr>
          <p:nvPr/>
        </p:nvGraphicFramePr>
        <p:xfrm>
          <a:off x="2665268" y="1016327"/>
          <a:ext cx="6413061" cy="5506487"/>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0">
            <a:extLst>
              <a:ext uri="{FF2B5EF4-FFF2-40B4-BE49-F238E27FC236}">
                <a16:creationId xmlns:a16="http://schemas.microsoft.com/office/drawing/2014/main" id="{EEB807D4-8A82-431D-BD66-033B4E4602AC}"/>
              </a:ext>
            </a:extLst>
          </p:cNvPr>
          <p:cNvSpPr txBox="1"/>
          <p:nvPr/>
        </p:nvSpPr>
        <p:spPr>
          <a:xfrm>
            <a:off x="1152506" y="2702878"/>
            <a:ext cx="2397069" cy="166712"/>
          </a:xfrm>
          <a:prstGeom prst="rect">
            <a:avLst/>
          </a:prstGeom>
        </p:spPr>
        <p:txBody>
          <a:bodyPr wrap="square" lIns="0" tIns="0" rIns="0" bIns="0" rtlCol="0" anchor="t">
            <a:spAutoFit/>
          </a:bodyPr>
          <a:lstStyle/>
          <a:p>
            <a:pPr marL="0" marR="0" lvl="0" indent="0" algn="ctr" defTabSz="914377" rtl="0" eaLnBrk="1" fontAlgn="auto" latinLnBrk="0" hangingPunct="1">
              <a:lnSpc>
                <a:spcPts val="1267"/>
              </a:lnSpc>
              <a:spcBef>
                <a:spcPts val="0"/>
              </a:spcBef>
              <a:spcAft>
                <a:spcPts val="0"/>
              </a:spcAft>
              <a:buClrTx/>
              <a:buSzTx/>
              <a:buFontTx/>
              <a:buNone/>
              <a:tabLst/>
              <a:defRPr/>
            </a:pPr>
            <a:r>
              <a:rPr kumimoji="0" lang="pl-PL" sz="1400" b="1" i="0" u="none" strike="noStrike" kern="1200" cap="none" spc="0" normalizeH="0" baseline="0" noProof="0" dirty="0">
                <a:ln>
                  <a:noFill/>
                </a:ln>
                <a:solidFill>
                  <a:srgbClr val="000000"/>
                </a:solidFill>
                <a:effectLst/>
                <a:uLnTx/>
                <a:uFillTx/>
                <a:latin typeface="Arial"/>
                <a:ea typeface="Canva Sans"/>
                <a:cs typeface="Canva Sans"/>
                <a:sym typeface="Canva Sans"/>
              </a:rPr>
              <a:t>chat www - 190 chats </a:t>
            </a:r>
            <a:endParaRPr kumimoji="0" lang="en-US" sz="1400" b="1" i="0" u="none" strike="noStrike" kern="1200" cap="none" spc="0" normalizeH="0" baseline="0" noProof="0" dirty="0">
              <a:ln>
                <a:noFill/>
              </a:ln>
              <a:solidFill>
                <a:srgbClr val="000000"/>
              </a:solidFill>
              <a:effectLst/>
              <a:uLnTx/>
              <a:uFillTx/>
              <a:latin typeface="Arial"/>
              <a:ea typeface="Canva Sans"/>
              <a:cs typeface="Canva Sans"/>
              <a:sym typeface="Canva Sans"/>
            </a:endParaRPr>
          </a:p>
        </p:txBody>
      </p:sp>
      <p:sp>
        <p:nvSpPr>
          <p:cNvPr id="5" name="Prostokąt 4"/>
          <p:cNvSpPr/>
          <p:nvPr/>
        </p:nvSpPr>
        <p:spPr>
          <a:xfrm>
            <a:off x="861477" y="2843011"/>
            <a:ext cx="3074283"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1" i="0" u="none" strike="noStrike" kern="1200" cap="none" spc="0" normalizeH="0" baseline="0" noProof="0" dirty="0">
                <a:ln>
                  <a:noFill/>
                </a:ln>
                <a:solidFill>
                  <a:srgbClr val="000000"/>
                </a:solidFill>
                <a:effectLst/>
                <a:uLnTx/>
                <a:uFillTx/>
                <a:latin typeface="Canva Sans"/>
                <a:ea typeface="+mn-ea"/>
                <a:cs typeface="+mn-cs"/>
              </a:rPr>
              <a:t>	</a:t>
            </a:r>
            <a:r>
              <a:rPr kumimoji="0" lang="pl-PL" sz="1200" b="1" i="0" u="none" strike="noStrike" kern="1200" cap="none" spc="0" normalizeH="0" baseline="0" noProof="0" dirty="0" err="1">
                <a:ln>
                  <a:noFill/>
                </a:ln>
                <a:solidFill>
                  <a:srgbClr val="000000"/>
                </a:solidFill>
                <a:effectLst/>
                <a:uLnTx/>
                <a:uFillTx/>
                <a:latin typeface="Canva Sans"/>
                <a:ea typeface="+mn-ea"/>
                <a:cs typeface="+mn-cs"/>
              </a:rPr>
              <a:t>Main</a:t>
            </a:r>
            <a:r>
              <a:rPr kumimoji="0" lang="pl-PL" sz="1200" b="1" i="0" u="none" strike="noStrike" kern="1200" cap="none" spc="0" normalizeH="0" baseline="0" noProof="0" dirty="0">
                <a:ln>
                  <a:noFill/>
                </a:ln>
                <a:solidFill>
                  <a:srgbClr val="000000"/>
                </a:solidFill>
                <a:effectLst/>
                <a:uLnTx/>
                <a:uFillTx/>
                <a:latin typeface="Canva Sans"/>
                <a:ea typeface="+mn-ea"/>
                <a:cs typeface="+mn-cs"/>
              </a:rPr>
              <a:t> </a:t>
            </a:r>
            <a:r>
              <a:rPr kumimoji="0" lang="pl-PL" sz="1200" b="1" i="0" u="none" strike="noStrike" kern="1200" cap="none" spc="0" normalizeH="0" baseline="0" noProof="0" dirty="0" err="1">
                <a:ln>
                  <a:noFill/>
                </a:ln>
                <a:solidFill>
                  <a:srgbClr val="000000"/>
                </a:solidFill>
                <a:effectLst/>
                <a:uLnTx/>
                <a:uFillTx/>
                <a:latin typeface="Canva Sans"/>
                <a:ea typeface="+mn-ea"/>
                <a:cs typeface="+mn-cs"/>
              </a:rPr>
              <a:t>topics</a:t>
            </a:r>
            <a:r>
              <a:rPr kumimoji="0" lang="pl-PL" sz="1200" b="1" i="0" u="none" strike="noStrike" kern="1200" cap="none" spc="0" normalizeH="0" baseline="0" noProof="0" dirty="0">
                <a:ln>
                  <a:noFill/>
                </a:ln>
                <a:solidFill>
                  <a:srgbClr val="000000"/>
                </a:solidFill>
                <a:effectLst/>
                <a:uLnTx/>
                <a:uFillTx/>
                <a:latin typeface="Canva Sans"/>
                <a:ea typeface="+mn-ea"/>
                <a:cs typeface="+mn-cs"/>
              </a:rPr>
              <a:t>:</a:t>
            </a:r>
          </a:p>
          <a:p>
            <a:pPr marL="228594" marR="0" lvl="0" indent="-228594"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pl-PL" sz="1200" b="0" i="0" u="none" strike="noStrike" kern="1200" cap="none" spc="0" normalizeH="0" baseline="0" noProof="0" dirty="0">
                <a:ln>
                  <a:noFill/>
                </a:ln>
                <a:solidFill>
                  <a:srgbClr val="000000"/>
                </a:solidFill>
                <a:effectLst/>
                <a:uLnTx/>
                <a:uFillTx/>
                <a:latin typeface="Canva Sans"/>
                <a:ea typeface="+mn-ea"/>
                <a:cs typeface="+mn-cs"/>
              </a:rPr>
              <a:t>50% </a:t>
            </a:r>
            <a:r>
              <a:rPr kumimoji="0" lang="pl-PL" sz="1200" b="0" i="0" u="none" strike="noStrike" kern="1200" cap="none" spc="0" normalizeH="0" baseline="0" noProof="0" dirty="0" err="1">
                <a:ln>
                  <a:noFill/>
                </a:ln>
                <a:solidFill>
                  <a:srgbClr val="000000"/>
                </a:solidFill>
                <a:effectLst/>
                <a:uLnTx/>
                <a:uFillTx/>
                <a:latin typeface="Canva Sans"/>
                <a:ea typeface="+mn-ea"/>
                <a:cs typeface="+mn-cs"/>
              </a:rPr>
              <a:t>Account</a:t>
            </a:r>
            <a:r>
              <a:rPr kumimoji="0" lang="pl-PL" sz="1200" b="0" i="0" u="none" strike="noStrike" kern="1200" cap="none" spc="0" normalizeH="0" baseline="0" noProof="0" dirty="0">
                <a:ln>
                  <a:noFill/>
                </a:ln>
                <a:solidFill>
                  <a:srgbClr val="000000"/>
                </a:solidFill>
                <a:effectLst/>
                <a:uLnTx/>
                <a:uFillTx/>
                <a:latin typeface="Canva Sans"/>
                <a:ea typeface="+mn-ea"/>
                <a:cs typeface="+mn-cs"/>
              </a:rPr>
              <a:t> </a:t>
            </a:r>
            <a:r>
              <a:rPr kumimoji="0" lang="pl-PL" sz="1200" b="0" i="0" u="none" strike="noStrike" kern="1200" cap="none" spc="0" normalizeH="0" baseline="0" noProof="0" dirty="0" err="1">
                <a:ln>
                  <a:noFill/>
                </a:ln>
                <a:solidFill>
                  <a:srgbClr val="000000"/>
                </a:solidFill>
                <a:effectLst/>
                <a:uLnTx/>
                <a:uFillTx/>
                <a:latin typeface="Canva Sans"/>
                <a:ea typeface="+mn-ea"/>
                <a:cs typeface="+mn-cs"/>
              </a:rPr>
              <a:t>information</a:t>
            </a:r>
            <a:endParaRPr kumimoji="0" lang="pl-PL" sz="1200" b="0" i="0" u="none" strike="noStrike" kern="1200" cap="none" spc="0" normalizeH="0" baseline="0" noProof="0" dirty="0">
              <a:ln>
                <a:noFill/>
              </a:ln>
              <a:solidFill>
                <a:srgbClr val="000000"/>
              </a:solidFill>
              <a:effectLst/>
              <a:uLnTx/>
              <a:uFillTx/>
              <a:latin typeface="Canva Sans"/>
              <a:ea typeface="+mn-ea"/>
              <a:cs typeface="+mn-cs"/>
            </a:endParaRPr>
          </a:p>
          <a:p>
            <a:pPr marL="228594" marR="0" lvl="0" indent="-228594"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pl-PL" sz="1200" b="0" i="0" u="none" strike="noStrike" kern="1200" cap="none" spc="0" normalizeH="0" baseline="0" noProof="0" dirty="0">
                <a:ln>
                  <a:noFill/>
                </a:ln>
                <a:solidFill>
                  <a:srgbClr val="000000"/>
                </a:solidFill>
                <a:effectLst/>
                <a:uLnTx/>
                <a:uFillTx/>
                <a:latin typeface="Canva Sans"/>
                <a:ea typeface="+mn-ea"/>
                <a:cs typeface="+mn-cs"/>
              </a:rPr>
              <a:t>19% </a:t>
            </a:r>
            <a:r>
              <a:rPr kumimoji="0" lang="pl-PL" sz="1200" b="0" i="0" u="none" strike="noStrike" kern="1200" cap="none" spc="0" normalizeH="0" baseline="0" noProof="0" dirty="0" err="1">
                <a:ln>
                  <a:noFill/>
                </a:ln>
                <a:solidFill>
                  <a:srgbClr val="000000"/>
                </a:solidFill>
                <a:effectLst/>
                <a:uLnTx/>
                <a:uFillTx/>
                <a:latin typeface="Canva Sans"/>
                <a:ea typeface="+mn-ea"/>
                <a:cs typeface="+mn-cs"/>
              </a:rPr>
              <a:t>Credit</a:t>
            </a:r>
            <a:r>
              <a:rPr kumimoji="0" lang="pl-PL" sz="1200" b="0" i="0" u="none" strike="noStrike" kern="1200" cap="none" spc="0" normalizeH="0" baseline="0" noProof="0" dirty="0">
                <a:ln>
                  <a:noFill/>
                </a:ln>
                <a:solidFill>
                  <a:srgbClr val="000000"/>
                </a:solidFill>
                <a:effectLst/>
                <a:uLnTx/>
                <a:uFillTx/>
                <a:latin typeface="Canva Sans"/>
                <a:ea typeface="+mn-ea"/>
                <a:cs typeface="+mn-cs"/>
              </a:rPr>
              <a:t> products</a:t>
            </a:r>
          </a:p>
        </p:txBody>
      </p:sp>
      <p:sp>
        <p:nvSpPr>
          <p:cNvPr id="7" name="TextBox 30">
            <a:extLst>
              <a:ext uri="{FF2B5EF4-FFF2-40B4-BE49-F238E27FC236}">
                <a16:creationId xmlns:a16="http://schemas.microsoft.com/office/drawing/2014/main" id="{EEB807D4-8A82-431D-BD66-033B4E4602AC}"/>
              </a:ext>
            </a:extLst>
          </p:cNvPr>
          <p:cNvSpPr txBox="1"/>
          <p:nvPr/>
        </p:nvSpPr>
        <p:spPr>
          <a:xfrm>
            <a:off x="1253437" y="1016327"/>
            <a:ext cx="2924345" cy="170175"/>
          </a:xfrm>
          <a:prstGeom prst="rect">
            <a:avLst/>
          </a:prstGeom>
        </p:spPr>
        <p:txBody>
          <a:bodyPr wrap="square" lIns="0" tIns="0" rIns="0" bIns="0" rtlCol="0" anchor="t">
            <a:spAutoFit/>
          </a:bodyPr>
          <a:lstStyle/>
          <a:p>
            <a:pPr marL="0" marR="0" lvl="0" indent="0" algn="ctr" defTabSz="914377" rtl="0" eaLnBrk="1" fontAlgn="auto" latinLnBrk="0" hangingPunct="1">
              <a:lnSpc>
                <a:spcPts val="1267"/>
              </a:lnSpc>
              <a:spcBef>
                <a:spcPts val="0"/>
              </a:spcBef>
              <a:spcAft>
                <a:spcPts val="0"/>
              </a:spcAft>
              <a:buClrTx/>
              <a:buSzTx/>
              <a:buFontTx/>
              <a:buNone/>
              <a:tabLst/>
              <a:defRPr/>
            </a:pPr>
            <a:r>
              <a:rPr kumimoji="0" lang="pl-PL" sz="1400" b="1" i="0" u="none" strike="noStrike" kern="1200" cap="none" spc="0" normalizeH="0" baseline="0" noProof="0" dirty="0">
                <a:ln>
                  <a:noFill/>
                </a:ln>
                <a:solidFill>
                  <a:srgbClr val="000000"/>
                </a:solidFill>
                <a:effectLst/>
                <a:uLnTx/>
                <a:uFillTx/>
                <a:latin typeface="Arial"/>
                <a:ea typeface="Canva Sans"/>
                <a:cs typeface="Canva Sans"/>
                <a:sym typeface="Canva Sans"/>
              </a:rPr>
              <a:t>chat eBank - 3362 chats</a:t>
            </a:r>
            <a:endParaRPr kumimoji="0" lang="en-US" sz="1400" b="1" i="0" u="none" strike="noStrike" kern="1200" cap="none" spc="0" normalizeH="0" baseline="0" noProof="0" dirty="0">
              <a:ln>
                <a:noFill/>
              </a:ln>
              <a:solidFill>
                <a:srgbClr val="000000"/>
              </a:solidFill>
              <a:effectLst/>
              <a:uLnTx/>
              <a:uFillTx/>
              <a:latin typeface="Arial"/>
              <a:ea typeface="Canva Sans"/>
              <a:cs typeface="Canva Sans"/>
              <a:sym typeface="Canva Sans"/>
            </a:endParaRPr>
          </a:p>
        </p:txBody>
      </p:sp>
      <p:sp>
        <p:nvSpPr>
          <p:cNvPr id="10" name="AutoShape 23">
            <a:extLst>
              <a:ext uri="{FF2B5EF4-FFF2-40B4-BE49-F238E27FC236}">
                <a16:creationId xmlns:a16="http://schemas.microsoft.com/office/drawing/2014/main" id="{7EE36898-74AD-46C3-9A5C-0120032792F7}"/>
              </a:ext>
            </a:extLst>
          </p:cNvPr>
          <p:cNvSpPr/>
          <p:nvPr/>
        </p:nvSpPr>
        <p:spPr>
          <a:xfrm>
            <a:off x="935943" y="1219900"/>
            <a:ext cx="4237140" cy="0"/>
          </a:xfrm>
          <a:prstGeom prst="line">
            <a:avLst/>
          </a:prstGeom>
          <a:ln>
            <a:solidFill>
              <a:schemeClr val="tx1">
                <a:lumMod val="65000"/>
                <a:lumOff val="35000"/>
              </a:schemeClr>
            </a:solidFill>
            <a:headEnd type="diamond" w="lg" len="lg"/>
            <a:tailEnd type="none" w="sm" len="sm"/>
          </a:ln>
        </p:spPr>
        <p:style>
          <a:lnRef idx="2">
            <a:schemeClr val="dk1"/>
          </a:lnRef>
          <a:fillRef idx="0">
            <a:schemeClr val="dk1"/>
          </a:fillRef>
          <a:effectRef idx="1">
            <a:schemeClr val="dk1"/>
          </a:effectRef>
          <a:fontRef idx="minor">
            <a:schemeClr val="tx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000000"/>
              </a:solidFill>
              <a:effectLst/>
              <a:uLnTx/>
              <a:uFillTx/>
              <a:latin typeface="Arial"/>
              <a:ea typeface="+mn-ea"/>
              <a:cs typeface="+mn-cs"/>
            </a:endParaRPr>
          </a:p>
        </p:txBody>
      </p:sp>
      <p:sp>
        <p:nvSpPr>
          <p:cNvPr id="14" name="TextBox 30">
            <a:extLst>
              <a:ext uri="{FF2B5EF4-FFF2-40B4-BE49-F238E27FC236}">
                <a16:creationId xmlns:a16="http://schemas.microsoft.com/office/drawing/2014/main" id="{EEB807D4-8A82-431D-BD66-033B4E4602AC}"/>
              </a:ext>
            </a:extLst>
          </p:cNvPr>
          <p:cNvSpPr txBox="1"/>
          <p:nvPr/>
        </p:nvSpPr>
        <p:spPr>
          <a:xfrm>
            <a:off x="8764658" y="3676349"/>
            <a:ext cx="2963577" cy="172420"/>
          </a:xfrm>
          <a:prstGeom prst="rect">
            <a:avLst/>
          </a:prstGeom>
        </p:spPr>
        <p:txBody>
          <a:bodyPr wrap="square" lIns="0" tIns="0" rIns="0" bIns="0" rtlCol="0" anchor="t">
            <a:spAutoFit/>
          </a:bodyPr>
          <a:lstStyle/>
          <a:p>
            <a:pPr marL="0" marR="0" lvl="0" indent="0" algn="ctr" defTabSz="914377" rtl="0" eaLnBrk="1" fontAlgn="auto" latinLnBrk="0" hangingPunct="1">
              <a:lnSpc>
                <a:spcPts val="1267"/>
              </a:lnSpc>
              <a:spcBef>
                <a:spcPts val="0"/>
              </a:spcBef>
              <a:spcAft>
                <a:spcPts val="0"/>
              </a:spcAft>
              <a:buClrTx/>
              <a:buSzTx/>
              <a:buFontTx/>
              <a:buNone/>
              <a:tabLst/>
              <a:defRPr/>
            </a:pPr>
            <a:r>
              <a:rPr kumimoji="0" lang="pl-PL" sz="1400" b="1" i="0" u="none" strike="noStrike" kern="1200" cap="none" spc="0" normalizeH="0" baseline="0" noProof="0" dirty="0">
                <a:ln>
                  <a:noFill/>
                </a:ln>
                <a:solidFill>
                  <a:srgbClr val="000000"/>
                </a:solidFill>
                <a:effectLst/>
                <a:uLnTx/>
                <a:uFillTx/>
                <a:latin typeface="Arial"/>
                <a:ea typeface="Canva Sans"/>
                <a:cs typeface="Canva Sans"/>
                <a:sym typeface="Canva Sans"/>
              </a:rPr>
              <a:t>chat Mobile – 16 773 chats</a:t>
            </a:r>
            <a:endParaRPr kumimoji="0" lang="en-US" sz="1400" b="1" i="0" u="none" strike="noStrike" kern="1200" cap="none" spc="0" normalizeH="0" baseline="0" noProof="0" dirty="0">
              <a:ln>
                <a:noFill/>
              </a:ln>
              <a:solidFill>
                <a:srgbClr val="000000"/>
              </a:solidFill>
              <a:effectLst/>
              <a:uLnTx/>
              <a:uFillTx/>
              <a:latin typeface="Arial"/>
              <a:ea typeface="Canva Sans"/>
              <a:cs typeface="Canva Sans"/>
              <a:sym typeface="Canva Sans"/>
            </a:endParaRPr>
          </a:p>
        </p:txBody>
      </p:sp>
      <p:sp>
        <p:nvSpPr>
          <p:cNvPr id="15" name="AutoShape 8">
            <a:extLst>
              <a:ext uri="{FF2B5EF4-FFF2-40B4-BE49-F238E27FC236}">
                <a16:creationId xmlns:a16="http://schemas.microsoft.com/office/drawing/2014/main" id="{9BEA921B-567C-4A46-A96E-16194F645000}"/>
              </a:ext>
            </a:extLst>
          </p:cNvPr>
          <p:cNvSpPr/>
          <p:nvPr/>
        </p:nvSpPr>
        <p:spPr>
          <a:xfrm flipH="1">
            <a:off x="9040510" y="3905680"/>
            <a:ext cx="2450911" cy="0"/>
          </a:xfrm>
          <a:prstGeom prst="line">
            <a:avLst/>
          </a:prstGeom>
          <a:ln>
            <a:solidFill>
              <a:schemeClr val="tx1">
                <a:lumMod val="65000"/>
                <a:lumOff val="35000"/>
              </a:schemeClr>
            </a:solidFill>
            <a:headEnd type="diamond" w="lg" len="lg"/>
            <a:tailEnd type="arrow" w="med" len="sm"/>
          </a:ln>
        </p:spPr>
        <p:style>
          <a:lnRef idx="2">
            <a:schemeClr val="dk1"/>
          </a:lnRef>
          <a:fillRef idx="0">
            <a:schemeClr val="dk1"/>
          </a:fillRef>
          <a:effectRef idx="1">
            <a:schemeClr val="dk1"/>
          </a:effectRef>
          <a:fontRef idx="minor">
            <a:schemeClr val="tx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000000"/>
              </a:solidFill>
              <a:effectLst/>
              <a:uLnTx/>
              <a:uFillTx/>
              <a:latin typeface="Arial"/>
              <a:ea typeface="+mn-ea"/>
              <a:cs typeface="+mn-cs"/>
            </a:endParaRPr>
          </a:p>
        </p:txBody>
      </p:sp>
      <p:sp>
        <p:nvSpPr>
          <p:cNvPr id="13" name="Prostokąt 12"/>
          <p:cNvSpPr/>
          <p:nvPr/>
        </p:nvSpPr>
        <p:spPr>
          <a:xfrm>
            <a:off x="874178" y="4156852"/>
            <a:ext cx="3482175"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1" i="0" u="none" strike="noStrike" kern="1200" cap="none" spc="0" normalizeH="0" baseline="0" noProof="0" dirty="0">
                <a:ln>
                  <a:noFill/>
                </a:ln>
                <a:solidFill>
                  <a:srgbClr val="000000"/>
                </a:solidFill>
                <a:effectLst/>
                <a:uLnTx/>
                <a:uFillTx/>
                <a:latin typeface="Canva Sans"/>
                <a:ea typeface="+mn-ea"/>
                <a:cs typeface="+mn-cs"/>
              </a:rPr>
              <a:t>	</a:t>
            </a:r>
            <a:r>
              <a:rPr kumimoji="0" lang="pl-PL" sz="1200" b="1" i="0" u="none" strike="noStrike" kern="1200" cap="none" spc="0" normalizeH="0" baseline="0" noProof="0" dirty="0" err="1">
                <a:ln>
                  <a:noFill/>
                </a:ln>
                <a:solidFill>
                  <a:srgbClr val="000000"/>
                </a:solidFill>
                <a:effectLst/>
                <a:uLnTx/>
                <a:uFillTx/>
                <a:latin typeface="Canva Sans"/>
                <a:ea typeface="+mn-ea"/>
                <a:cs typeface="+mn-cs"/>
              </a:rPr>
              <a:t>Main</a:t>
            </a:r>
            <a:r>
              <a:rPr kumimoji="0" lang="pl-PL" sz="1200" b="1" i="0" u="none" strike="noStrike" kern="1200" cap="none" spc="0" normalizeH="0" baseline="0" noProof="0" dirty="0">
                <a:ln>
                  <a:noFill/>
                </a:ln>
                <a:solidFill>
                  <a:srgbClr val="000000"/>
                </a:solidFill>
                <a:effectLst/>
                <a:uLnTx/>
                <a:uFillTx/>
                <a:latin typeface="Canva Sans"/>
                <a:ea typeface="+mn-ea"/>
                <a:cs typeface="+mn-cs"/>
              </a:rPr>
              <a:t> </a:t>
            </a:r>
            <a:r>
              <a:rPr kumimoji="0" lang="pl-PL" sz="1200" b="1" i="0" u="none" strike="noStrike" kern="1200" cap="none" spc="0" normalizeH="0" baseline="0" noProof="0" dirty="0" err="1">
                <a:ln>
                  <a:noFill/>
                </a:ln>
                <a:solidFill>
                  <a:srgbClr val="000000"/>
                </a:solidFill>
                <a:effectLst/>
                <a:uLnTx/>
                <a:uFillTx/>
                <a:latin typeface="Canva Sans"/>
                <a:ea typeface="+mn-ea"/>
                <a:cs typeface="+mn-cs"/>
              </a:rPr>
              <a:t>topics</a:t>
            </a:r>
            <a:r>
              <a:rPr kumimoji="0" lang="pl-PL" sz="1200" b="1" i="0" u="none" strike="noStrike" kern="1200" cap="none" spc="0" normalizeH="0" baseline="0" noProof="0" dirty="0">
                <a:ln>
                  <a:noFill/>
                </a:ln>
                <a:solidFill>
                  <a:srgbClr val="000000"/>
                </a:solidFill>
                <a:effectLst/>
                <a:uLnTx/>
                <a:uFillTx/>
                <a:latin typeface="Canva Sans"/>
                <a:ea typeface="+mn-ea"/>
                <a:cs typeface="+mn-cs"/>
              </a:rPr>
              <a:t> :</a:t>
            </a:r>
          </a:p>
          <a:p>
            <a:pPr marL="228594" marR="0" lvl="0" indent="-228594"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pl-PL" sz="1200" b="0" i="0" u="none" strike="noStrike" kern="1200" cap="none" spc="0" normalizeH="0" baseline="0" noProof="0" dirty="0">
                <a:ln>
                  <a:noFill/>
                </a:ln>
                <a:solidFill>
                  <a:srgbClr val="000000"/>
                </a:solidFill>
                <a:effectLst/>
                <a:uLnTx/>
                <a:uFillTx/>
                <a:latin typeface="Canva Sans"/>
                <a:ea typeface="+mn-ea"/>
                <a:cs typeface="+mn-cs"/>
              </a:rPr>
              <a:t>47% Business account/service</a:t>
            </a:r>
          </a:p>
          <a:p>
            <a:pPr marL="228594" marR="0" lvl="0" indent="-228594"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pl-PL" sz="1200" b="0" i="0" u="none" strike="noStrike" kern="1200" cap="none" spc="0" normalizeH="0" baseline="0" noProof="0" dirty="0">
                <a:ln>
                  <a:noFill/>
                </a:ln>
                <a:solidFill>
                  <a:srgbClr val="000000"/>
                </a:solidFill>
                <a:effectLst/>
                <a:uLnTx/>
                <a:uFillTx/>
                <a:latin typeface="Canva Sans"/>
                <a:ea typeface="+mn-ea"/>
                <a:cs typeface="+mn-cs"/>
              </a:rPr>
              <a:t>16% </a:t>
            </a:r>
            <a:r>
              <a:rPr kumimoji="0" lang="pl-PL" sz="1200" b="0" i="0" u="none" strike="noStrike" kern="1200" cap="none" spc="0" normalizeH="0" baseline="0" noProof="0" dirty="0" err="1">
                <a:ln>
                  <a:noFill/>
                </a:ln>
                <a:solidFill>
                  <a:srgbClr val="000000"/>
                </a:solidFill>
                <a:effectLst/>
                <a:uLnTx/>
                <a:uFillTx/>
                <a:latin typeface="Canva Sans"/>
                <a:ea typeface="+mn-ea"/>
                <a:cs typeface="+mn-cs"/>
              </a:rPr>
              <a:t>Bailiffs</a:t>
            </a:r>
            <a:r>
              <a:rPr kumimoji="0" lang="pl-PL" sz="1200" b="0" i="0" u="none" strike="noStrike" kern="1200" cap="none" spc="0" normalizeH="0" baseline="0" noProof="0" dirty="0">
                <a:ln>
                  <a:noFill/>
                </a:ln>
                <a:solidFill>
                  <a:srgbClr val="000000"/>
                </a:solidFill>
                <a:effectLst/>
                <a:uLnTx/>
                <a:uFillTx/>
                <a:latin typeface="Canva Sans"/>
                <a:ea typeface="+mn-ea"/>
                <a:cs typeface="+mn-cs"/>
              </a:rPr>
              <a:t>' </a:t>
            </a:r>
            <a:r>
              <a:rPr kumimoji="0" lang="pl-PL" sz="1200" b="0" i="0" u="none" strike="noStrike" kern="1200" cap="none" spc="0" normalizeH="0" baseline="0" noProof="0" dirty="0" err="1">
                <a:ln>
                  <a:noFill/>
                </a:ln>
                <a:solidFill>
                  <a:srgbClr val="000000"/>
                </a:solidFill>
                <a:effectLst/>
                <a:uLnTx/>
                <a:uFillTx/>
                <a:latin typeface="Canva Sans"/>
                <a:ea typeface="+mn-ea"/>
                <a:cs typeface="+mn-cs"/>
              </a:rPr>
              <a:t>seizures</a:t>
            </a:r>
            <a:endParaRPr kumimoji="0" lang="pl-PL" sz="1200" b="0" i="0" u="none" strike="noStrike" kern="1200" cap="none" spc="0" normalizeH="0" baseline="0" noProof="0" dirty="0">
              <a:ln>
                <a:noFill/>
              </a:ln>
              <a:solidFill>
                <a:srgbClr val="000000"/>
              </a:solidFill>
              <a:effectLst/>
              <a:uLnTx/>
              <a:uFillTx/>
              <a:latin typeface="Canva Sans"/>
              <a:ea typeface="+mn-ea"/>
              <a:cs typeface="+mn-cs"/>
            </a:endParaRPr>
          </a:p>
          <a:p>
            <a:pPr marL="228594" marR="0" lvl="0" indent="-228594"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pl-PL" sz="1200" b="0" i="0" u="none" strike="noStrike" kern="1200" cap="none" spc="0" normalizeH="0" baseline="0" noProof="0" dirty="0">
                <a:ln>
                  <a:noFill/>
                </a:ln>
                <a:solidFill>
                  <a:srgbClr val="000000"/>
                </a:solidFill>
                <a:effectLst/>
                <a:uLnTx/>
                <a:uFillTx/>
                <a:latin typeface="Canva Sans"/>
                <a:ea typeface="+mn-ea"/>
                <a:cs typeface="+mn-cs"/>
              </a:rPr>
              <a:t>15% </a:t>
            </a:r>
            <a:r>
              <a:rPr kumimoji="0" lang="pl-PL" sz="1200" b="0" i="0" u="none" strike="noStrike" kern="1200" cap="none" spc="0" normalizeH="0" baseline="0" noProof="0" dirty="0" err="1">
                <a:ln>
                  <a:noFill/>
                </a:ln>
                <a:solidFill>
                  <a:srgbClr val="000000"/>
                </a:solidFill>
                <a:effectLst/>
                <a:uLnTx/>
                <a:uFillTx/>
                <a:latin typeface="Canva Sans"/>
                <a:ea typeface="+mn-ea"/>
                <a:cs typeface="+mn-cs"/>
              </a:rPr>
              <a:t>eBank</a:t>
            </a:r>
            <a:r>
              <a:rPr kumimoji="0" lang="pl-PL" sz="1200" b="0" i="0" u="none" strike="noStrike" kern="1200" cap="none" spc="0" normalizeH="0" baseline="0" noProof="0" dirty="0">
                <a:ln>
                  <a:noFill/>
                </a:ln>
                <a:solidFill>
                  <a:srgbClr val="000000"/>
                </a:solidFill>
                <a:effectLst/>
                <a:uLnTx/>
                <a:uFillTx/>
                <a:latin typeface="Canva Sans"/>
                <a:ea typeface="+mn-ea"/>
                <a:cs typeface="+mn-cs"/>
              </a:rPr>
              <a:t> service</a:t>
            </a:r>
          </a:p>
        </p:txBody>
      </p:sp>
      <p:sp>
        <p:nvSpPr>
          <p:cNvPr id="18" name="AutoShape 22">
            <a:extLst>
              <a:ext uri="{FF2B5EF4-FFF2-40B4-BE49-F238E27FC236}">
                <a16:creationId xmlns:a16="http://schemas.microsoft.com/office/drawing/2014/main" id="{9A651334-C9B0-44AD-990F-1D909E16E59C}"/>
              </a:ext>
            </a:extLst>
          </p:cNvPr>
          <p:cNvSpPr/>
          <p:nvPr/>
        </p:nvSpPr>
        <p:spPr>
          <a:xfrm flipH="1">
            <a:off x="5135989" y="1205278"/>
            <a:ext cx="0" cy="423703"/>
          </a:xfrm>
          <a:prstGeom prst="line">
            <a:avLst/>
          </a:prstGeom>
          <a:ln>
            <a:solidFill>
              <a:schemeClr val="tx1">
                <a:lumMod val="65000"/>
                <a:lumOff val="35000"/>
              </a:schemeClr>
            </a:solidFill>
            <a:headEnd type="none" w="sm" len="sm"/>
            <a:tailEnd type="arrow" w="med" len="sm"/>
          </a:ln>
        </p:spPr>
        <p:style>
          <a:lnRef idx="2">
            <a:schemeClr val="dk1"/>
          </a:lnRef>
          <a:fillRef idx="0">
            <a:schemeClr val="dk1"/>
          </a:fillRef>
          <a:effectRef idx="1">
            <a:schemeClr val="dk1"/>
          </a:effectRef>
          <a:fontRef idx="minor">
            <a:schemeClr val="tx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000000"/>
              </a:solidFill>
              <a:effectLst/>
              <a:uLnTx/>
              <a:uFillTx/>
              <a:latin typeface="Arial"/>
              <a:ea typeface="+mn-ea"/>
              <a:cs typeface="+mn-cs"/>
            </a:endParaRPr>
          </a:p>
        </p:txBody>
      </p:sp>
      <p:sp>
        <p:nvSpPr>
          <p:cNvPr id="16" name="AutoShape 8">
            <a:extLst>
              <a:ext uri="{FF2B5EF4-FFF2-40B4-BE49-F238E27FC236}">
                <a16:creationId xmlns:a16="http://schemas.microsoft.com/office/drawing/2014/main" id="{9BEA921B-567C-4A46-A96E-16194F645000}"/>
              </a:ext>
            </a:extLst>
          </p:cNvPr>
          <p:cNvSpPr/>
          <p:nvPr/>
        </p:nvSpPr>
        <p:spPr>
          <a:xfrm>
            <a:off x="861477" y="3429000"/>
            <a:ext cx="3276649" cy="0"/>
          </a:xfrm>
          <a:prstGeom prst="line">
            <a:avLst/>
          </a:prstGeom>
          <a:ln>
            <a:solidFill>
              <a:schemeClr val="tx1">
                <a:lumMod val="65000"/>
                <a:lumOff val="35000"/>
              </a:schemeClr>
            </a:solidFill>
            <a:headEnd type="diamond" w="lg" len="lg"/>
            <a:tailEnd type="arrow" w="med" len="sm"/>
          </a:ln>
        </p:spPr>
        <p:style>
          <a:lnRef idx="2">
            <a:schemeClr val="dk1"/>
          </a:lnRef>
          <a:fillRef idx="0">
            <a:schemeClr val="dk1"/>
          </a:fillRef>
          <a:effectRef idx="1">
            <a:schemeClr val="dk1"/>
          </a:effectRef>
          <a:fontRef idx="minor">
            <a:schemeClr val="tx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000000"/>
              </a:solidFill>
              <a:effectLst/>
              <a:uLnTx/>
              <a:uFillTx/>
              <a:latin typeface="Arial"/>
              <a:ea typeface="+mn-ea"/>
              <a:cs typeface="+mn-cs"/>
            </a:endParaRPr>
          </a:p>
        </p:txBody>
      </p:sp>
      <p:sp>
        <p:nvSpPr>
          <p:cNvPr id="17" name="Prostokąt 16"/>
          <p:cNvSpPr/>
          <p:nvPr/>
        </p:nvSpPr>
        <p:spPr>
          <a:xfrm>
            <a:off x="867845" y="1452604"/>
            <a:ext cx="3270281"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1" i="0" u="none" strike="noStrike" kern="1200" cap="none" spc="0" normalizeH="0" baseline="0" noProof="0" dirty="0">
                <a:ln>
                  <a:noFill/>
                </a:ln>
                <a:solidFill>
                  <a:srgbClr val="000000"/>
                </a:solidFill>
                <a:effectLst/>
                <a:uLnTx/>
                <a:uFillTx/>
                <a:latin typeface="Canva Sans"/>
                <a:ea typeface="+mn-ea"/>
                <a:cs typeface="+mn-cs"/>
              </a:rPr>
              <a:t>	</a:t>
            </a:r>
            <a:r>
              <a:rPr kumimoji="0" lang="pl-PL" sz="1200" b="1" i="0" u="none" strike="noStrike" kern="1200" cap="none" spc="0" normalizeH="0" baseline="0" noProof="0" dirty="0" err="1">
                <a:ln>
                  <a:noFill/>
                </a:ln>
                <a:solidFill>
                  <a:srgbClr val="000000"/>
                </a:solidFill>
                <a:effectLst/>
                <a:uLnTx/>
                <a:uFillTx/>
                <a:latin typeface="Canva Sans"/>
                <a:ea typeface="+mn-ea"/>
                <a:cs typeface="+mn-cs"/>
              </a:rPr>
              <a:t>Main</a:t>
            </a:r>
            <a:r>
              <a:rPr kumimoji="0" lang="pl-PL" sz="1200" b="1" i="0" u="none" strike="noStrike" kern="1200" cap="none" spc="0" normalizeH="0" baseline="0" noProof="0" dirty="0">
                <a:ln>
                  <a:noFill/>
                </a:ln>
                <a:solidFill>
                  <a:srgbClr val="000000"/>
                </a:solidFill>
                <a:effectLst/>
                <a:uLnTx/>
                <a:uFillTx/>
                <a:latin typeface="Canva Sans"/>
                <a:ea typeface="+mn-ea"/>
                <a:cs typeface="+mn-cs"/>
              </a:rPr>
              <a:t> </a:t>
            </a:r>
            <a:r>
              <a:rPr kumimoji="0" lang="pl-PL" sz="1200" b="1" i="0" u="none" strike="noStrike" kern="1200" cap="none" spc="0" normalizeH="0" baseline="0" noProof="0" dirty="0" err="1">
                <a:ln>
                  <a:noFill/>
                </a:ln>
                <a:solidFill>
                  <a:srgbClr val="000000"/>
                </a:solidFill>
                <a:effectLst/>
                <a:uLnTx/>
                <a:uFillTx/>
                <a:latin typeface="Canva Sans"/>
                <a:ea typeface="+mn-ea"/>
                <a:cs typeface="+mn-cs"/>
              </a:rPr>
              <a:t>topics</a:t>
            </a:r>
            <a:r>
              <a:rPr kumimoji="0" lang="pl-PL" sz="1200" b="1" i="0" u="none" strike="noStrike" kern="1200" cap="none" spc="0" normalizeH="0" baseline="0" noProof="0" dirty="0">
                <a:ln>
                  <a:noFill/>
                </a:ln>
                <a:solidFill>
                  <a:srgbClr val="000000"/>
                </a:solidFill>
                <a:effectLst/>
                <a:uLnTx/>
                <a:uFillTx/>
                <a:latin typeface="Canva Sans"/>
                <a:ea typeface="+mn-ea"/>
                <a:cs typeface="+mn-cs"/>
              </a:rPr>
              <a:t>:</a:t>
            </a:r>
          </a:p>
          <a:p>
            <a:pPr marL="228594" marR="0" lvl="0" indent="-228594"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pl-PL" sz="1200" b="0" i="0" u="none" strike="noStrike" kern="1200" cap="none" spc="0" normalizeH="0" baseline="0" noProof="0" dirty="0">
                <a:ln>
                  <a:noFill/>
                </a:ln>
                <a:solidFill>
                  <a:srgbClr val="000000"/>
                </a:solidFill>
                <a:effectLst/>
                <a:uLnTx/>
                <a:uFillTx/>
                <a:latin typeface="Canva Sans"/>
                <a:ea typeface="+mn-ea"/>
                <a:cs typeface="+mn-cs"/>
              </a:rPr>
              <a:t>35% Bailiffs' seizures</a:t>
            </a:r>
          </a:p>
          <a:p>
            <a:pPr marL="228594" marR="0" lvl="0" indent="-228594"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pl-PL" sz="1200" b="0" i="0" u="none" strike="noStrike" kern="1200" cap="none" spc="0" normalizeH="0" baseline="0" noProof="0" dirty="0">
                <a:ln>
                  <a:noFill/>
                </a:ln>
                <a:solidFill>
                  <a:srgbClr val="000000"/>
                </a:solidFill>
                <a:effectLst/>
                <a:uLnTx/>
                <a:uFillTx/>
                <a:latin typeface="Canva Sans"/>
                <a:ea typeface="+mn-ea"/>
                <a:cs typeface="+mn-cs"/>
              </a:rPr>
              <a:t>36% Account information</a:t>
            </a:r>
          </a:p>
          <a:p>
            <a:pPr marL="228594" marR="0" lvl="0" indent="-228594"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pl-PL" sz="1200" b="0" i="0" u="none" strike="noStrike" kern="1200" cap="none" spc="0" normalizeH="0" baseline="0" noProof="0" dirty="0">
                <a:ln>
                  <a:noFill/>
                </a:ln>
                <a:solidFill>
                  <a:srgbClr val="000000"/>
                </a:solidFill>
                <a:effectLst/>
                <a:uLnTx/>
                <a:uFillTx/>
                <a:latin typeface="Canva Sans"/>
                <a:ea typeface="+mn-ea"/>
                <a:cs typeface="+mn-cs"/>
              </a:rPr>
              <a:t>4%  </a:t>
            </a:r>
            <a:r>
              <a:rPr kumimoji="0" lang="pl-PL" sz="1200" b="0" i="0" u="none" strike="noStrike" kern="1200" cap="none" spc="0" normalizeH="0" baseline="0" noProof="0" dirty="0" err="1">
                <a:ln>
                  <a:noFill/>
                </a:ln>
                <a:solidFill>
                  <a:srgbClr val="000000"/>
                </a:solidFill>
                <a:effectLst/>
                <a:uLnTx/>
                <a:uFillTx/>
                <a:latin typeface="Canva Sans"/>
                <a:ea typeface="+mn-ea"/>
                <a:cs typeface="+mn-cs"/>
              </a:rPr>
              <a:t>Account</a:t>
            </a:r>
            <a:r>
              <a:rPr kumimoji="0" lang="pl-PL" sz="1200" b="0" i="0" u="none" strike="noStrike" kern="1200" cap="none" spc="0" normalizeH="0" baseline="0" noProof="0" dirty="0">
                <a:ln>
                  <a:noFill/>
                </a:ln>
                <a:solidFill>
                  <a:srgbClr val="000000"/>
                </a:solidFill>
                <a:effectLst/>
                <a:uLnTx/>
                <a:uFillTx/>
                <a:latin typeface="Canva Sans"/>
                <a:ea typeface="+mn-ea"/>
                <a:cs typeface="+mn-cs"/>
              </a:rPr>
              <a:t> </a:t>
            </a:r>
            <a:r>
              <a:rPr kumimoji="0" lang="pl-PL" sz="1200" b="0" i="0" u="none" strike="noStrike" kern="1200" cap="none" spc="0" normalizeH="0" baseline="0" noProof="0" dirty="0" err="1">
                <a:ln>
                  <a:noFill/>
                </a:ln>
                <a:solidFill>
                  <a:srgbClr val="000000"/>
                </a:solidFill>
                <a:effectLst/>
                <a:uLnTx/>
                <a:uFillTx/>
                <a:latin typeface="Canva Sans"/>
                <a:ea typeface="+mn-ea"/>
                <a:cs typeface="+mn-cs"/>
              </a:rPr>
              <a:t>statement</a:t>
            </a:r>
            <a:endParaRPr kumimoji="0" lang="pl-PL" sz="1200" b="0" i="0" u="none" strike="noStrike" kern="1200" cap="none" spc="0" normalizeH="0" baseline="0" noProof="0" dirty="0">
              <a:ln>
                <a:noFill/>
              </a:ln>
              <a:solidFill>
                <a:srgbClr val="000000"/>
              </a:solidFill>
              <a:effectLst/>
              <a:uLnTx/>
              <a:uFillTx/>
              <a:latin typeface="Canva Sans"/>
              <a:ea typeface="+mn-ea"/>
              <a:cs typeface="+mn-cs"/>
            </a:endParaRPr>
          </a:p>
        </p:txBody>
      </p:sp>
      <p:sp>
        <p:nvSpPr>
          <p:cNvPr id="19" name="AutoShape 8">
            <a:extLst>
              <a:ext uri="{FF2B5EF4-FFF2-40B4-BE49-F238E27FC236}">
                <a16:creationId xmlns:a16="http://schemas.microsoft.com/office/drawing/2014/main" id="{9BEA921B-567C-4A46-A96E-16194F645000}"/>
              </a:ext>
            </a:extLst>
          </p:cNvPr>
          <p:cNvSpPr/>
          <p:nvPr/>
        </p:nvSpPr>
        <p:spPr>
          <a:xfrm flipV="1">
            <a:off x="867845" y="4045509"/>
            <a:ext cx="3174353" cy="12624"/>
          </a:xfrm>
          <a:prstGeom prst="line">
            <a:avLst/>
          </a:prstGeom>
          <a:ln>
            <a:solidFill>
              <a:schemeClr val="tx1">
                <a:lumMod val="65000"/>
                <a:lumOff val="35000"/>
              </a:schemeClr>
            </a:solidFill>
            <a:headEnd type="diamond" w="lg" len="lg"/>
            <a:tailEnd type="arrow" w="med" len="sm"/>
          </a:ln>
        </p:spPr>
        <p:style>
          <a:lnRef idx="2">
            <a:schemeClr val="dk1"/>
          </a:lnRef>
          <a:fillRef idx="0">
            <a:schemeClr val="dk1"/>
          </a:fillRef>
          <a:effectRef idx="1">
            <a:schemeClr val="dk1"/>
          </a:effectRef>
          <a:fontRef idx="minor">
            <a:schemeClr val="tx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2400" b="0" i="0" u="none" strike="noStrike" kern="1200" cap="none" spc="0" normalizeH="0" baseline="0" noProof="0" dirty="0">
              <a:ln>
                <a:noFill/>
              </a:ln>
              <a:solidFill>
                <a:srgbClr val="000000"/>
              </a:solidFill>
              <a:effectLst/>
              <a:uLnTx/>
              <a:uFillTx/>
              <a:latin typeface="Arial"/>
              <a:ea typeface="+mn-ea"/>
              <a:cs typeface="+mn-cs"/>
            </a:endParaRPr>
          </a:p>
        </p:txBody>
      </p:sp>
      <p:sp>
        <p:nvSpPr>
          <p:cNvPr id="21" name="AutoShape 8">
            <a:extLst>
              <a:ext uri="{FF2B5EF4-FFF2-40B4-BE49-F238E27FC236}">
                <a16:creationId xmlns:a16="http://schemas.microsoft.com/office/drawing/2014/main" id="{9BEA921B-567C-4A46-A96E-16194F645000}"/>
              </a:ext>
            </a:extLst>
          </p:cNvPr>
          <p:cNvSpPr/>
          <p:nvPr/>
        </p:nvSpPr>
        <p:spPr>
          <a:xfrm>
            <a:off x="867845" y="5398463"/>
            <a:ext cx="3932011" cy="3707"/>
          </a:xfrm>
          <a:prstGeom prst="line">
            <a:avLst/>
          </a:prstGeom>
          <a:ln>
            <a:solidFill>
              <a:schemeClr val="tx1">
                <a:lumMod val="65000"/>
                <a:lumOff val="35000"/>
              </a:schemeClr>
            </a:solidFill>
            <a:headEnd type="diamond" w="lg" len="lg"/>
            <a:tailEnd type="arrow" w="med" len="sm"/>
          </a:ln>
        </p:spPr>
        <p:style>
          <a:lnRef idx="2">
            <a:schemeClr val="dk1"/>
          </a:lnRef>
          <a:fillRef idx="0">
            <a:schemeClr val="dk1"/>
          </a:fillRef>
          <a:effectRef idx="1">
            <a:schemeClr val="dk1"/>
          </a:effectRef>
          <a:fontRef idx="minor">
            <a:schemeClr val="tx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000000"/>
              </a:solidFill>
              <a:effectLst/>
              <a:uLnTx/>
              <a:uFillTx/>
              <a:latin typeface="Arial"/>
              <a:ea typeface="+mn-ea"/>
              <a:cs typeface="+mn-cs"/>
            </a:endParaRPr>
          </a:p>
        </p:txBody>
      </p:sp>
      <p:sp>
        <p:nvSpPr>
          <p:cNvPr id="22" name="TextBox 30">
            <a:extLst>
              <a:ext uri="{FF2B5EF4-FFF2-40B4-BE49-F238E27FC236}">
                <a16:creationId xmlns:a16="http://schemas.microsoft.com/office/drawing/2014/main" id="{EEB807D4-8A82-431D-BD66-033B4E4602AC}"/>
              </a:ext>
            </a:extLst>
          </p:cNvPr>
          <p:cNvSpPr txBox="1"/>
          <p:nvPr/>
        </p:nvSpPr>
        <p:spPr>
          <a:xfrm>
            <a:off x="1175946" y="5234141"/>
            <a:ext cx="3160599" cy="170175"/>
          </a:xfrm>
          <a:prstGeom prst="rect">
            <a:avLst/>
          </a:prstGeom>
        </p:spPr>
        <p:txBody>
          <a:bodyPr wrap="square" lIns="0" tIns="0" rIns="0" bIns="0" rtlCol="0" anchor="t">
            <a:spAutoFit/>
          </a:bodyPr>
          <a:lstStyle/>
          <a:p>
            <a:pPr marL="0" marR="0" lvl="0" indent="0" algn="ctr" defTabSz="914377" rtl="0" eaLnBrk="1" fontAlgn="auto" latinLnBrk="0" hangingPunct="1">
              <a:lnSpc>
                <a:spcPts val="1267"/>
              </a:lnSpc>
              <a:spcBef>
                <a:spcPts val="0"/>
              </a:spcBef>
              <a:spcAft>
                <a:spcPts val="0"/>
              </a:spcAft>
              <a:buClrTx/>
              <a:buSzTx/>
              <a:buFontTx/>
              <a:buNone/>
              <a:tabLst/>
              <a:defRPr/>
            </a:pPr>
            <a:r>
              <a:rPr kumimoji="0" lang="pl-PL" sz="1400" b="1" i="0" u="none" strike="noStrike" kern="1200" cap="none" spc="0" normalizeH="0" baseline="0" noProof="0" dirty="0">
                <a:ln>
                  <a:noFill/>
                </a:ln>
                <a:solidFill>
                  <a:srgbClr val="000000"/>
                </a:solidFill>
                <a:effectLst/>
                <a:uLnTx/>
                <a:uFillTx/>
                <a:latin typeface="Arial"/>
                <a:ea typeface="Canva Sans"/>
                <a:cs typeface="Canva Sans"/>
                <a:sym typeface="Canva Sans"/>
              </a:rPr>
              <a:t>chat Business Zone - 1305 chats </a:t>
            </a:r>
            <a:endParaRPr kumimoji="0" lang="en-US" sz="1400" b="1" i="0" u="none" strike="noStrike" kern="1200" cap="none" spc="0" normalizeH="0" baseline="0" noProof="0" dirty="0">
              <a:ln>
                <a:noFill/>
              </a:ln>
              <a:solidFill>
                <a:srgbClr val="000000"/>
              </a:solidFill>
              <a:effectLst/>
              <a:uLnTx/>
              <a:uFillTx/>
              <a:latin typeface="Arial"/>
              <a:ea typeface="Canva Sans"/>
              <a:cs typeface="Canva Sans"/>
              <a:sym typeface="Canva Sans"/>
            </a:endParaRPr>
          </a:p>
        </p:txBody>
      </p:sp>
      <p:sp>
        <p:nvSpPr>
          <p:cNvPr id="23" name="Prostokąt 22"/>
          <p:cNvSpPr/>
          <p:nvPr/>
        </p:nvSpPr>
        <p:spPr>
          <a:xfrm>
            <a:off x="869755" y="5565691"/>
            <a:ext cx="3340185"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1" i="0" u="none" strike="noStrike" kern="1200" cap="none" spc="0" normalizeH="0" baseline="0" noProof="0" dirty="0">
                <a:ln>
                  <a:noFill/>
                </a:ln>
                <a:solidFill>
                  <a:srgbClr val="000000"/>
                </a:solidFill>
                <a:effectLst/>
                <a:uLnTx/>
                <a:uFillTx/>
                <a:latin typeface="Canva Sans"/>
                <a:ea typeface="+mn-ea"/>
                <a:cs typeface="+mn-cs"/>
              </a:rPr>
              <a:t>	</a:t>
            </a:r>
            <a:r>
              <a:rPr kumimoji="0" lang="pl-PL" sz="1200" b="1" i="0" u="none" strike="noStrike" kern="1200" cap="none" spc="0" normalizeH="0" baseline="0" noProof="0" dirty="0" err="1">
                <a:ln>
                  <a:noFill/>
                </a:ln>
                <a:solidFill>
                  <a:srgbClr val="000000"/>
                </a:solidFill>
                <a:effectLst/>
                <a:uLnTx/>
                <a:uFillTx/>
                <a:latin typeface="Canva Sans"/>
                <a:ea typeface="+mn-ea"/>
                <a:cs typeface="+mn-cs"/>
              </a:rPr>
              <a:t>Main</a:t>
            </a:r>
            <a:r>
              <a:rPr kumimoji="0" lang="pl-PL" sz="1200" b="1" i="0" u="none" strike="noStrike" kern="1200" cap="none" spc="0" normalizeH="0" baseline="0" noProof="0" dirty="0">
                <a:ln>
                  <a:noFill/>
                </a:ln>
                <a:solidFill>
                  <a:srgbClr val="000000"/>
                </a:solidFill>
                <a:effectLst/>
                <a:uLnTx/>
                <a:uFillTx/>
                <a:latin typeface="Canva Sans"/>
                <a:ea typeface="+mn-ea"/>
                <a:cs typeface="+mn-cs"/>
              </a:rPr>
              <a:t> </a:t>
            </a:r>
            <a:r>
              <a:rPr kumimoji="0" lang="pl-PL" sz="1200" b="1" i="0" u="none" strike="noStrike" kern="1200" cap="none" spc="0" normalizeH="0" baseline="0" noProof="0" dirty="0" err="1">
                <a:ln>
                  <a:noFill/>
                </a:ln>
                <a:solidFill>
                  <a:srgbClr val="000000"/>
                </a:solidFill>
                <a:effectLst/>
                <a:uLnTx/>
                <a:uFillTx/>
                <a:latin typeface="Canva Sans"/>
                <a:ea typeface="+mn-ea"/>
                <a:cs typeface="+mn-cs"/>
              </a:rPr>
              <a:t>topics</a:t>
            </a:r>
            <a:r>
              <a:rPr kumimoji="0" lang="pl-PL" sz="1200" b="1" i="0" u="none" strike="noStrike" kern="1200" cap="none" spc="0" normalizeH="0" baseline="0" noProof="0" dirty="0">
                <a:ln>
                  <a:noFill/>
                </a:ln>
                <a:solidFill>
                  <a:srgbClr val="000000"/>
                </a:solidFill>
                <a:effectLst/>
                <a:uLnTx/>
                <a:uFillTx/>
                <a:latin typeface="Canva Sans"/>
                <a:ea typeface="+mn-ea"/>
                <a:cs typeface="+mn-cs"/>
              </a:rPr>
              <a:t> :</a:t>
            </a:r>
          </a:p>
          <a:p>
            <a:pPr marL="228594" marR="0" lvl="0" indent="-228594"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pl-PL" sz="1200" b="0" i="0" u="none" strike="noStrike" kern="1200" cap="none" spc="0" normalizeH="0" baseline="0" noProof="0" dirty="0">
                <a:ln>
                  <a:noFill/>
                </a:ln>
                <a:solidFill>
                  <a:srgbClr val="000000"/>
                </a:solidFill>
                <a:effectLst/>
                <a:uLnTx/>
                <a:uFillTx/>
                <a:latin typeface="Canva Sans"/>
                <a:ea typeface="+mn-ea"/>
                <a:cs typeface="+mn-cs"/>
              </a:rPr>
              <a:t>35% Account information, service</a:t>
            </a:r>
          </a:p>
          <a:p>
            <a:pPr marL="228594" marR="0" lvl="0" indent="-228594"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pl-PL" sz="1200" b="0" i="0" u="none" strike="noStrike" kern="1200" cap="none" spc="0" normalizeH="0" baseline="0" noProof="0" dirty="0">
                <a:ln>
                  <a:noFill/>
                </a:ln>
                <a:solidFill>
                  <a:srgbClr val="000000"/>
                </a:solidFill>
                <a:effectLst/>
                <a:uLnTx/>
                <a:uFillTx/>
                <a:latin typeface="Canva Sans"/>
                <a:ea typeface="+mn-ea"/>
                <a:cs typeface="+mn-cs"/>
              </a:rPr>
              <a:t>32% Bailiffs' </a:t>
            </a:r>
            <a:r>
              <a:rPr kumimoji="0" lang="pl-PL" sz="1200" b="0" i="0" u="none" strike="noStrike" kern="1200" cap="none" spc="0" normalizeH="0" baseline="0" noProof="0" dirty="0" err="1">
                <a:ln>
                  <a:noFill/>
                </a:ln>
                <a:solidFill>
                  <a:srgbClr val="000000"/>
                </a:solidFill>
                <a:effectLst/>
                <a:uLnTx/>
                <a:uFillTx/>
                <a:latin typeface="Canva Sans"/>
                <a:ea typeface="+mn-ea"/>
                <a:cs typeface="+mn-cs"/>
              </a:rPr>
              <a:t>seizures</a:t>
            </a:r>
            <a:endParaRPr kumimoji="0" lang="pl-PL" sz="1200" b="0" i="0" u="none" strike="noStrike" kern="1200" cap="none" spc="0" normalizeH="0" baseline="0" noProof="0" dirty="0">
              <a:ln>
                <a:noFill/>
              </a:ln>
              <a:solidFill>
                <a:srgbClr val="000000"/>
              </a:solidFill>
              <a:effectLst/>
              <a:uLnTx/>
              <a:uFillTx/>
              <a:latin typeface="Canva Sans"/>
              <a:ea typeface="+mn-ea"/>
              <a:cs typeface="+mn-cs"/>
            </a:endParaRPr>
          </a:p>
        </p:txBody>
      </p:sp>
      <p:sp>
        <p:nvSpPr>
          <p:cNvPr id="24" name="TextBox 30">
            <a:extLst>
              <a:ext uri="{FF2B5EF4-FFF2-40B4-BE49-F238E27FC236}">
                <a16:creationId xmlns:a16="http://schemas.microsoft.com/office/drawing/2014/main" id="{EEB807D4-8A82-431D-BD66-033B4E4602AC}"/>
              </a:ext>
            </a:extLst>
          </p:cNvPr>
          <p:cNvSpPr txBox="1"/>
          <p:nvPr/>
        </p:nvSpPr>
        <p:spPr>
          <a:xfrm>
            <a:off x="-160744" y="3885313"/>
            <a:ext cx="5333827" cy="166712"/>
          </a:xfrm>
          <a:prstGeom prst="rect">
            <a:avLst/>
          </a:prstGeom>
        </p:spPr>
        <p:txBody>
          <a:bodyPr wrap="square" lIns="0" tIns="0" rIns="0" bIns="0" rtlCol="0" anchor="t">
            <a:spAutoFit/>
          </a:bodyPr>
          <a:lstStyle/>
          <a:p>
            <a:pPr marL="0" marR="0" lvl="0" indent="0" algn="ctr" defTabSz="914377" rtl="0" eaLnBrk="1" fontAlgn="auto" latinLnBrk="0" hangingPunct="1">
              <a:lnSpc>
                <a:spcPts val="1267"/>
              </a:lnSpc>
              <a:spcBef>
                <a:spcPts val="0"/>
              </a:spcBef>
              <a:spcAft>
                <a:spcPts val="0"/>
              </a:spcAft>
              <a:buClrTx/>
              <a:buSzTx/>
              <a:buFontTx/>
              <a:buNone/>
              <a:tabLst/>
              <a:defRPr/>
            </a:pPr>
            <a:r>
              <a:rPr kumimoji="0" lang="pl-PL" sz="1400" b="1" i="0" u="none" strike="noStrike" kern="1200" cap="none" spc="0" normalizeH="0" baseline="0" noProof="0" dirty="0">
                <a:ln>
                  <a:noFill/>
                </a:ln>
                <a:solidFill>
                  <a:srgbClr val="000000"/>
                </a:solidFill>
                <a:effectLst/>
                <a:uLnTx/>
                <a:uFillTx/>
                <a:latin typeface="Arial"/>
                <a:ea typeface="Canva Sans"/>
                <a:cs typeface="Canva Sans"/>
                <a:sym typeface="Canva Sans"/>
              </a:rPr>
              <a:t>e-mail - 2788 e-</a:t>
            </a:r>
            <a:r>
              <a:rPr kumimoji="0" lang="pl-PL" sz="1400" b="1" i="0" u="none" strike="noStrike" kern="1200" cap="none" spc="0" normalizeH="0" baseline="0" noProof="0" dirty="0" err="1">
                <a:ln>
                  <a:noFill/>
                </a:ln>
                <a:solidFill>
                  <a:srgbClr val="000000"/>
                </a:solidFill>
                <a:effectLst/>
                <a:uLnTx/>
                <a:uFillTx/>
                <a:latin typeface="Arial"/>
                <a:ea typeface="Canva Sans"/>
                <a:cs typeface="Canva Sans"/>
                <a:sym typeface="Canva Sans"/>
              </a:rPr>
              <a:t>mails</a:t>
            </a:r>
            <a:r>
              <a:rPr kumimoji="0" lang="pl-PL" sz="1400" b="1" i="0" u="none" strike="noStrike" kern="1200" cap="none" spc="0" normalizeH="0" baseline="0" noProof="0" dirty="0">
                <a:ln>
                  <a:noFill/>
                </a:ln>
                <a:solidFill>
                  <a:srgbClr val="000000"/>
                </a:solidFill>
                <a:effectLst/>
                <a:uLnTx/>
                <a:uFillTx/>
                <a:latin typeface="Arial"/>
                <a:ea typeface="Canva Sans"/>
                <a:cs typeface="Canva Sans"/>
                <a:sym typeface="Canva Sans"/>
              </a:rPr>
              <a:t> </a:t>
            </a:r>
            <a:endParaRPr kumimoji="0" lang="en-US" sz="1400" b="1" i="0" u="none" strike="noStrike" kern="1200" cap="none" spc="0" normalizeH="0" baseline="0" noProof="0" dirty="0">
              <a:ln>
                <a:noFill/>
              </a:ln>
              <a:solidFill>
                <a:srgbClr val="000000"/>
              </a:solidFill>
              <a:effectLst/>
              <a:uLnTx/>
              <a:uFillTx/>
              <a:latin typeface="Arial"/>
              <a:ea typeface="Canva Sans"/>
              <a:cs typeface="Canva Sans"/>
              <a:sym typeface="Canva Sans"/>
            </a:endParaRPr>
          </a:p>
        </p:txBody>
      </p:sp>
      <p:sp>
        <p:nvSpPr>
          <p:cNvPr id="25" name="Prostokąt 24"/>
          <p:cNvSpPr/>
          <p:nvPr/>
        </p:nvSpPr>
        <p:spPr>
          <a:xfrm>
            <a:off x="8999452" y="4052375"/>
            <a:ext cx="3270801"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1" i="0" u="none" strike="noStrike" kern="1200" cap="none" spc="0" normalizeH="0" baseline="0" noProof="0" dirty="0">
                <a:ln>
                  <a:noFill/>
                </a:ln>
                <a:solidFill>
                  <a:srgbClr val="000000"/>
                </a:solidFill>
                <a:effectLst/>
                <a:uLnTx/>
                <a:uFillTx/>
                <a:latin typeface="Canva Sans"/>
                <a:ea typeface="+mn-ea"/>
                <a:cs typeface="+mn-cs"/>
              </a:rPr>
              <a:t>	</a:t>
            </a:r>
            <a:r>
              <a:rPr kumimoji="0" lang="pl-PL" sz="1200" b="1" i="0" u="none" strike="noStrike" kern="1200" cap="none" spc="0" normalizeH="0" baseline="0" noProof="0" dirty="0" err="1">
                <a:ln>
                  <a:noFill/>
                </a:ln>
                <a:solidFill>
                  <a:srgbClr val="000000"/>
                </a:solidFill>
                <a:effectLst/>
                <a:uLnTx/>
                <a:uFillTx/>
                <a:latin typeface="Canva Sans"/>
                <a:ea typeface="+mn-ea"/>
                <a:cs typeface="+mn-cs"/>
              </a:rPr>
              <a:t>Main</a:t>
            </a:r>
            <a:r>
              <a:rPr kumimoji="0" lang="pl-PL" sz="1200" b="1" i="0" u="none" strike="noStrike" kern="1200" cap="none" spc="0" normalizeH="0" baseline="0" noProof="0" dirty="0">
                <a:ln>
                  <a:noFill/>
                </a:ln>
                <a:solidFill>
                  <a:srgbClr val="000000"/>
                </a:solidFill>
                <a:effectLst/>
                <a:uLnTx/>
                <a:uFillTx/>
                <a:latin typeface="Canva Sans"/>
                <a:ea typeface="+mn-ea"/>
                <a:cs typeface="+mn-cs"/>
              </a:rPr>
              <a:t> </a:t>
            </a:r>
            <a:r>
              <a:rPr kumimoji="0" lang="pl-PL" sz="1200" b="1" i="0" u="none" strike="noStrike" kern="1200" cap="none" spc="0" normalizeH="0" baseline="0" noProof="0" dirty="0" err="1">
                <a:ln>
                  <a:noFill/>
                </a:ln>
                <a:solidFill>
                  <a:srgbClr val="000000"/>
                </a:solidFill>
                <a:effectLst/>
                <a:uLnTx/>
                <a:uFillTx/>
                <a:latin typeface="Canva Sans"/>
                <a:ea typeface="+mn-ea"/>
                <a:cs typeface="+mn-cs"/>
              </a:rPr>
              <a:t>topics</a:t>
            </a:r>
            <a:r>
              <a:rPr kumimoji="0" lang="pl-PL" sz="1200" b="1" i="0" u="none" strike="noStrike" kern="1200" cap="none" spc="0" normalizeH="0" baseline="0" noProof="0" dirty="0">
                <a:ln>
                  <a:noFill/>
                </a:ln>
                <a:solidFill>
                  <a:srgbClr val="000000"/>
                </a:solidFill>
                <a:effectLst/>
                <a:uLnTx/>
                <a:uFillTx/>
                <a:latin typeface="Canva Sans"/>
                <a:ea typeface="+mn-ea"/>
                <a:cs typeface="+mn-cs"/>
              </a:rPr>
              <a:t> :</a:t>
            </a:r>
          </a:p>
          <a:p>
            <a:pPr marL="228594" marR="0" lvl="0" indent="-228594"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pl-PL" sz="1200" b="0" i="0" u="none" strike="noStrike" kern="1200" cap="none" spc="0" normalizeH="0" baseline="0" noProof="0" dirty="0">
                <a:ln>
                  <a:noFill/>
                </a:ln>
                <a:solidFill>
                  <a:srgbClr val="000000"/>
                </a:solidFill>
                <a:effectLst/>
                <a:uLnTx/>
                <a:uFillTx/>
                <a:latin typeface="Canva Sans"/>
                <a:ea typeface="+mn-ea"/>
                <a:cs typeface="+mn-cs"/>
              </a:rPr>
              <a:t>50% Bailiffs' seizures</a:t>
            </a:r>
          </a:p>
          <a:p>
            <a:pPr marL="228594" marR="0" lvl="0" indent="-228594"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pl-PL" sz="1200" b="0" i="0" u="none" strike="noStrike" kern="1200" cap="none" spc="0" normalizeH="0" baseline="0" noProof="0" dirty="0">
                <a:ln>
                  <a:noFill/>
                </a:ln>
                <a:solidFill>
                  <a:srgbClr val="000000"/>
                </a:solidFill>
                <a:effectLst/>
                <a:uLnTx/>
                <a:uFillTx/>
                <a:latin typeface="Canva Sans"/>
                <a:ea typeface="+mn-ea"/>
                <a:cs typeface="+mn-cs"/>
              </a:rPr>
              <a:t>24% </a:t>
            </a:r>
            <a:r>
              <a:rPr kumimoji="0" lang="pl-PL" sz="1200" b="0" i="0" u="none" strike="noStrike" kern="1200" cap="none" spc="0" normalizeH="0" baseline="0" noProof="0" dirty="0" err="1">
                <a:ln>
                  <a:noFill/>
                </a:ln>
                <a:solidFill>
                  <a:srgbClr val="000000"/>
                </a:solidFill>
                <a:effectLst/>
                <a:uLnTx/>
                <a:uFillTx/>
                <a:latin typeface="Canva Sans"/>
                <a:ea typeface="+mn-ea"/>
                <a:cs typeface="+mn-cs"/>
              </a:rPr>
              <a:t>Account</a:t>
            </a:r>
            <a:r>
              <a:rPr kumimoji="0" lang="pl-PL" sz="1200" b="0" i="0" u="none" strike="noStrike" kern="1200" cap="none" spc="0" normalizeH="0" baseline="0" noProof="0" dirty="0">
                <a:ln>
                  <a:noFill/>
                </a:ln>
                <a:solidFill>
                  <a:srgbClr val="000000"/>
                </a:solidFill>
                <a:effectLst/>
                <a:uLnTx/>
                <a:uFillTx/>
                <a:latin typeface="Canva Sans"/>
                <a:ea typeface="+mn-ea"/>
                <a:cs typeface="+mn-cs"/>
              </a:rPr>
              <a:t> </a:t>
            </a:r>
            <a:r>
              <a:rPr kumimoji="0" lang="pl-PL" sz="1200" b="0" i="0" u="none" strike="noStrike" kern="1200" cap="none" spc="0" normalizeH="0" baseline="0" noProof="0" dirty="0" err="1">
                <a:ln>
                  <a:noFill/>
                </a:ln>
                <a:solidFill>
                  <a:srgbClr val="000000"/>
                </a:solidFill>
                <a:effectLst/>
                <a:uLnTx/>
                <a:uFillTx/>
                <a:latin typeface="Canva Sans"/>
                <a:ea typeface="+mn-ea"/>
                <a:cs typeface="+mn-cs"/>
              </a:rPr>
              <a:t>information</a:t>
            </a:r>
            <a:endParaRPr kumimoji="0" lang="pl-PL" sz="1200" b="0" i="0" u="none" strike="noStrike" kern="1200" cap="none" spc="0" normalizeH="0" baseline="0" noProof="0" dirty="0">
              <a:ln>
                <a:noFill/>
              </a:ln>
              <a:solidFill>
                <a:srgbClr val="000000"/>
              </a:solidFill>
              <a:effectLst/>
              <a:uLnTx/>
              <a:uFillTx/>
              <a:latin typeface="Canva Sans"/>
              <a:ea typeface="+mn-ea"/>
              <a:cs typeface="+mn-cs"/>
            </a:endParaRPr>
          </a:p>
        </p:txBody>
      </p:sp>
    </p:spTree>
    <p:extLst>
      <p:ext uri="{BB962C8B-B14F-4D97-AF65-F5344CB8AC3E}">
        <p14:creationId xmlns:p14="http://schemas.microsoft.com/office/powerpoint/2010/main" val="276041595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BE3E659C-9418-4A54-B892-48652EB0ADF7}"/>
              </a:ext>
            </a:extLst>
          </p:cNvPr>
          <p:cNvSpPr>
            <a:spLocks noGrp="1"/>
          </p:cNvSpPr>
          <p:nvPr>
            <p:ph type="title"/>
          </p:nvPr>
        </p:nvSpPr>
        <p:spPr>
          <a:xfrm>
            <a:off x="449143" y="0"/>
            <a:ext cx="11514253" cy="753532"/>
          </a:xfrm>
        </p:spPr>
        <p:txBody>
          <a:bodyPr/>
          <a:lstStyle/>
          <a:p>
            <a:r>
              <a:rPr lang="pl-PL" sz="3200" dirty="0" err="1">
                <a:latin typeface="Arial Black" panose="020B0A04020102020204" pitchFamily="34" charset="0"/>
                <a:ea typeface="Calibri" panose="020F0502020204030204" pitchFamily="34" charset="0"/>
                <a:cs typeface="Calibri" panose="020F0502020204030204" pitchFamily="34" charset="0"/>
              </a:rPr>
              <a:t>Outbound</a:t>
            </a:r>
            <a:r>
              <a:rPr lang="pl-PL" sz="3200" dirty="0">
                <a:latin typeface="Arial Black" panose="020B0A04020102020204" pitchFamily="34" charset="0"/>
                <a:ea typeface="Calibri" panose="020F0502020204030204" pitchFamily="34" charset="0"/>
                <a:cs typeface="Calibri" panose="020F0502020204030204" pitchFamily="34" charset="0"/>
              </a:rPr>
              <a:t> </a:t>
            </a:r>
            <a:r>
              <a:rPr lang="pl-PL" sz="3200" dirty="0" err="1">
                <a:latin typeface="Arial Black" panose="020B0A04020102020204" pitchFamily="34" charset="0"/>
                <a:ea typeface="Calibri" panose="020F0502020204030204" pitchFamily="34" charset="0"/>
                <a:cs typeface="Calibri" panose="020F0502020204030204" pitchFamily="34" charset="0"/>
              </a:rPr>
              <a:t>calls</a:t>
            </a:r>
            <a:r>
              <a:rPr lang="pl-PL" sz="3200" dirty="0">
                <a:latin typeface="Arial Black" panose="020B0A04020102020204" pitchFamily="34" charset="0"/>
                <a:ea typeface="Calibri" panose="020F0502020204030204" pitchFamily="34" charset="0"/>
                <a:cs typeface="Calibri" panose="020F0502020204030204" pitchFamily="34" charset="0"/>
              </a:rPr>
              <a:t> (2025)</a:t>
            </a:r>
          </a:p>
        </p:txBody>
      </p:sp>
      <p:sp>
        <p:nvSpPr>
          <p:cNvPr id="3" name="Symbol zastępczy numeru slajdu 2">
            <a:extLst>
              <a:ext uri="{FF2B5EF4-FFF2-40B4-BE49-F238E27FC236}">
                <a16:creationId xmlns:a16="http://schemas.microsoft.com/office/drawing/2014/main" id="{BE79F1AB-F142-4E75-A9BC-2FD4CD3DA590}"/>
              </a:ext>
            </a:extLst>
          </p:cNvPr>
          <p:cNvSpPr>
            <a:spLocks noGrp="1"/>
          </p:cNvSpPr>
          <p:nvPr>
            <p:ph type="sldNum" sz="quarter" idx="10"/>
          </p:nvPr>
        </p:nvSpPr>
        <p:spPr/>
        <p:txBody>
          <a:bodyPr/>
          <a:lstStyle/>
          <a:p>
            <a:pPr marL="0" marR="0" lvl="0" indent="0" algn="l" defTabSz="467539" rtl="0" eaLnBrk="1" fontAlgn="auto" latinLnBrk="0" hangingPunct="1">
              <a:lnSpc>
                <a:spcPct val="100000"/>
              </a:lnSpc>
              <a:spcBef>
                <a:spcPts val="0"/>
              </a:spcBef>
              <a:spcAft>
                <a:spcPts val="0"/>
              </a:spcAft>
              <a:buClrTx/>
              <a:buSzTx/>
              <a:buFontTx/>
              <a:buNone/>
              <a:tabLst/>
              <a:defRPr/>
            </a:pPr>
            <a:fld id="{332DF002-2E43-485C-89F8-8DCEF59D6C4F}" type="slidenum">
              <a:rPr kumimoji="0" lang="pl-PL" sz="1067" b="0" i="0" u="none" strike="noStrike" kern="1200" cap="none" spc="0" normalizeH="0" baseline="0" noProof="0">
                <a:ln>
                  <a:noFill/>
                </a:ln>
                <a:solidFill>
                  <a:srgbClr val="7E93A5"/>
                </a:solidFill>
                <a:effectLst/>
                <a:uLnTx/>
                <a:uFillTx/>
                <a:latin typeface="Arial"/>
                <a:ea typeface="+mn-ea"/>
                <a:cs typeface="+mn-cs"/>
              </a:rPr>
              <a:pPr marL="0" marR="0" lvl="0" indent="0" algn="l" defTabSz="467539" rtl="0" eaLnBrk="1" fontAlgn="auto" latinLnBrk="0" hangingPunct="1">
                <a:lnSpc>
                  <a:spcPct val="100000"/>
                </a:lnSpc>
                <a:spcBef>
                  <a:spcPts val="0"/>
                </a:spcBef>
                <a:spcAft>
                  <a:spcPts val="0"/>
                </a:spcAft>
                <a:buClrTx/>
                <a:buSzTx/>
                <a:buFontTx/>
                <a:buNone/>
                <a:tabLst/>
                <a:defRPr/>
              </a:pPr>
              <a:t>18</a:t>
            </a:fld>
            <a:endParaRPr kumimoji="0" lang="pl-PL" sz="1067" b="0" i="0" u="none" strike="noStrike" kern="1200" cap="none" spc="0" normalizeH="0" baseline="0" noProof="0" dirty="0">
              <a:ln>
                <a:noFill/>
              </a:ln>
              <a:solidFill>
                <a:srgbClr val="7E93A5"/>
              </a:solidFill>
              <a:effectLst/>
              <a:uLnTx/>
              <a:uFillTx/>
              <a:latin typeface="Arial"/>
              <a:ea typeface="+mn-ea"/>
              <a:cs typeface="+mn-cs"/>
            </a:endParaRPr>
          </a:p>
        </p:txBody>
      </p:sp>
      <p:sp>
        <p:nvSpPr>
          <p:cNvPr id="6" name="Prostokąt 5"/>
          <p:cNvSpPr/>
          <p:nvPr/>
        </p:nvSpPr>
        <p:spPr>
          <a:xfrm>
            <a:off x="991853" y="4827283"/>
            <a:ext cx="3119372"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nva Sans"/>
                <a:ea typeface="+mn-ea"/>
                <a:cs typeface="+mn-cs"/>
              </a:rPr>
              <a:t>Retention activities to maintain relations with customers</a:t>
            </a:r>
            <a:endParaRPr kumimoji="0" lang="pl-PL" sz="1200" b="0" i="0" u="none" strike="noStrike" kern="1200" cap="none" spc="0" normalizeH="0" baseline="0" noProof="0" dirty="0">
              <a:ln>
                <a:noFill/>
              </a:ln>
              <a:solidFill>
                <a:srgbClr val="000000"/>
              </a:solidFill>
              <a:effectLst/>
              <a:uLnTx/>
              <a:uFillTx/>
              <a:latin typeface="Canva Sans"/>
              <a:ea typeface="+mn-ea"/>
              <a:cs typeface="+mn-cs"/>
            </a:endParaRPr>
          </a:p>
        </p:txBody>
      </p:sp>
      <p:sp>
        <p:nvSpPr>
          <p:cNvPr id="8" name="AutoShape 8">
            <a:extLst>
              <a:ext uri="{FF2B5EF4-FFF2-40B4-BE49-F238E27FC236}">
                <a16:creationId xmlns:a16="http://schemas.microsoft.com/office/drawing/2014/main" id="{9BEA921B-567C-4A46-A96E-16194F645000}"/>
              </a:ext>
            </a:extLst>
          </p:cNvPr>
          <p:cNvSpPr/>
          <p:nvPr/>
        </p:nvSpPr>
        <p:spPr>
          <a:xfrm flipV="1">
            <a:off x="1290541" y="1897995"/>
            <a:ext cx="4007245" cy="17290"/>
          </a:xfrm>
          <a:prstGeom prst="line">
            <a:avLst/>
          </a:prstGeom>
          <a:ln>
            <a:solidFill>
              <a:schemeClr val="tx1">
                <a:lumMod val="65000"/>
                <a:lumOff val="35000"/>
              </a:schemeClr>
            </a:solidFill>
            <a:headEnd type="diamond" w="lg" len="lg"/>
            <a:tailEnd type="arrow" w="med" len="sm"/>
          </a:ln>
        </p:spPr>
        <p:style>
          <a:lnRef idx="2">
            <a:schemeClr val="dk1"/>
          </a:lnRef>
          <a:fillRef idx="0">
            <a:schemeClr val="dk1"/>
          </a:fillRef>
          <a:effectRef idx="1">
            <a:schemeClr val="dk1"/>
          </a:effectRef>
          <a:fontRef idx="minor">
            <a:schemeClr val="tx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000000"/>
              </a:solidFill>
              <a:effectLst/>
              <a:uLnTx/>
              <a:uFillTx/>
              <a:latin typeface="Arial"/>
              <a:ea typeface="+mn-ea"/>
              <a:cs typeface="+mn-cs"/>
            </a:endParaRPr>
          </a:p>
        </p:txBody>
      </p:sp>
      <p:sp>
        <p:nvSpPr>
          <p:cNvPr id="9" name="Prostokąt 8"/>
          <p:cNvSpPr/>
          <p:nvPr/>
        </p:nvSpPr>
        <p:spPr>
          <a:xfrm>
            <a:off x="2177751" y="1992210"/>
            <a:ext cx="288002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srgbClr val="000000"/>
                </a:solidFill>
                <a:effectLst/>
                <a:uLnTx/>
                <a:uFillTx/>
                <a:latin typeface="Canva Sans"/>
                <a:ea typeface="+mn-ea"/>
                <a:cs typeface="+mn-cs"/>
              </a:rPr>
              <a:t>C</a:t>
            </a:r>
            <a:r>
              <a:rPr kumimoji="0" lang="en-US" sz="1200" b="0" i="0" u="none" strike="noStrike" kern="1200" cap="none" spc="0" normalizeH="0" baseline="0" noProof="0" dirty="0" err="1">
                <a:ln>
                  <a:noFill/>
                </a:ln>
                <a:solidFill>
                  <a:srgbClr val="000000"/>
                </a:solidFill>
                <a:effectLst/>
                <a:uLnTx/>
                <a:uFillTx/>
                <a:latin typeface="Canva Sans"/>
                <a:ea typeface="+mn-ea"/>
                <a:cs typeface="+mn-cs"/>
              </a:rPr>
              <a:t>ustomer</a:t>
            </a:r>
            <a:r>
              <a:rPr kumimoji="0" lang="en-US" sz="1200" b="0" i="0" u="none" strike="noStrike" kern="1200" cap="none" spc="0" normalizeH="0" baseline="0" noProof="0" dirty="0">
                <a:ln>
                  <a:noFill/>
                </a:ln>
                <a:solidFill>
                  <a:srgbClr val="000000"/>
                </a:solidFill>
                <a:effectLst/>
                <a:uLnTx/>
                <a:uFillTx/>
                <a:latin typeface="Canva Sans"/>
                <a:ea typeface="+mn-ea"/>
                <a:cs typeface="+mn-cs"/>
              </a:rPr>
              <a:t> </a:t>
            </a:r>
            <a:r>
              <a:rPr kumimoji="0" lang="en-US" sz="1200" b="0" i="0" u="none" strike="noStrike" kern="1200" cap="none" spc="0" normalizeH="0" baseline="0" noProof="0" dirty="0" err="1">
                <a:ln>
                  <a:noFill/>
                </a:ln>
                <a:solidFill>
                  <a:srgbClr val="000000"/>
                </a:solidFill>
                <a:effectLst/>
                <a:uLnTx/>
                <a:uFillTx/>
                <a:latin typeface="Canva Sans"/>
                <a:ea typeface="+mn-ea"/>
                <a:cs typeface="+mn-cs"/>
              </a:rPr>
              <a:t>recommendationd</a:t>
            </a:r>
            <a:r>
              <a:rPr kumimoji="0" lang="pl-PL" sz="1200" b="0" i="0" u="none" strike="noStrike" kern="1200" cap="none" spc="0" normalizeH="0" baseline="0" noProof="0" dirty="0">
                <a:ln>
                  <a:noFill/>
                </a:ln>
                <a:solidFill>
                  <a:srgbClr val="000000"/>
                </a:solidFill>
                <a:effectLst/>
                <a:uLnTx/>
                <a:uFillTx/>
                <a:latin typeface="Canva Sans"/>
                <a:ea typeface="+mn-ea"/>
                <a:cs typeface="+mn-cs"/>
              </a:rPr>
              <a:t>, </a:t>
            </a:r>
            <a:r>
              <a:rPr kumimoji="0" lang="pl-PL" sz="1200" b="0" i="0" u="none" strike="noStrike" kern="1200" cap="none" spc="0" normalizeH="0" baseline="0" noProof="0" dirty="0" err="1">
                <a:ln>
                  <a:noFill/>
                </a:ln>
                <a:solidFill>
                  <a:srgbClr val="000000"/>
                </a:solidFill>
                <a:effectLst/>
                <a:uLnTx/>
                <a:uFillTx/>
                <a:latin typeface="Canva Sans"/>
                <a:ea typeface="+mn-ea"/>
                <a:cs typeface="+mn-cs"/>
              </a:rPr>
              <a:t>experience</a:t>
            </a:r>
            <a:endParaRPr kumimoji="0" lang="pl-PL" sz="1200" b="0" i="0" u="none" strike="noStrike" kern="1200" cap="none" spc="0" normalizeH="0" baseline="0" noProof="0" dirty="0">
              <a:ln>
                <a:noFill/>
              </a:ln>
              <a:solidFill>
                <a:srgbClr val="000000"/>
              </a:solidFill>
              <a:effectLst/>
              <a:uLnTx/>
              <a:uFillTx/>
              <a:latin typeface="Canva Sans"/>
              <a:ea typeface="+mn-ea"/>
              <a:cs typeface="+mn-cs"/>
            </a:endParaRPr>
          </a:p>
        </p:txBody>
      </p:sp>
      <p:sp>
        <p:nvSpPr>
          <p:cNvPr id="11" name="AutoShape 8">
            <a:extLst>
              <a:ext uri="{FF2B5EF4-FFF2-40B4-BE49-F238E27FC236}">
                <a16:creationId xmlns:a16="http://schemas.microsoft.com/office/drawing/2014/main" id="{9BEA921B-567C-4A46-A96E-16194F645000}"/>
              </a:ext>
            </a:extLst>
          </p:cNvPr>
          <p:cNvSpPr/>
          <p:nvPr/>
        </p:nvSpPr>
        <p:spPr>
          <a:xfrm>
            <a:off x="622145" y="4764804"/>
            <a:ext cx="3982135" cy="0"/>
          </a:xfrm>
          <a:prstGeom prst="line">
            <a:avLst/>
          </a:prstGeom>
          <a:ln>
            <a:solidFill>
              <a:schemeClr val="tx1">
                <a:lumMod val="65000"/>
                <a:lumOff val="35000"/>
              </a:schemeClr>
            </a:solidFill>
            <a:headEnd type="diamond" w="lg" len="lg"/>
            <a:tailEnd type="arrow" w="med" len="sm"/>
          </a:ln>
        </p:spPr>
        <p:style>
          <a:lnRef idx="2">
            <a:schemeClr val="dk1"/>
          </a:lnRef>
          <a:fillRef idx="0">
            <a:schemeClr val="dk1"/>
          </a:fillRef>
          <a:effectRef idx="1">
            <a:schemeClr val="dk1"/>
          </a:effectRef>
          <a:fontRef idx="minor">
            <a:schemeClr val="tx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000000"/>
              </a:solidFill>
              <a:effectLst/>
              <a:uLnTx/>
              <a:uFillTx/>
              <a:latin typeface="Arial"/>
              <a:ea typeface="+mn-ea"/>
              <a:cs typeface="+mn-cs"/>
            </a:endParaRPr>
          </a:p>
        </p:txBody>
      </p:sp>
      <p:graphicFrame>
        <p:nvGraphicFramePr>
          <p:cNvPr id="15" name="Wykres 14"/>
          <p:cNvGraphicFramePr>
            <a:graphicFrameLocks/>
          </p:cNvGraphicFramePr>
          <p:nvPr/>
        </p:nvGraphicFramePr>
        <p:xfrm>
          <a:off x="3977771" y="1342459"/>
          <a:ext cx="5103523" cy="524416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6" name="Wykres 15"/>
          <p:cNvGraphicFramePr>
            <a:graphicFrameLocks/>
          </p:cNvGraphicFramePr>
          <p:nvPr/>
        </p:nvGraphicFramePr>
        <p:xfrm>
          <a:off x="3548260" y="1748303"/>
          <a:ext cx="5829572" cy="4126312"/>
        </p:xfrm>
        <a:graphic>
          <a:graphicData uri="http://schemas.openxmlformats.org/drawingml/2006/chart">
            <c:chart xmlns:c="http://schemas.openxmlformats.org/drawingml/2006/chart" xmlns:r="http://schemas.openxmlformats.org/officeDocument/2006/relationships" r:id="rId3"/>
          </a:graphicData>
        </a:graphic>
      </p:graphicFrame>
      <p:sp>
        <p:nvSpPr>
          <p:cNvPr id="19" name="pole tekstowe 18">
            <a:extLst>
              <a:ext uri="{FF2B5EF4-FFF2-40B4-BE49-F238E27FC236}">
                <a16:creationId xmlns:a16="http://schemas.microsoft.com/office/drawing/2014/main" id="{85278234-76BE-4DCA-9AB3-9F4C0E7EB967}"/>
              </a:ext>
            </a:extLst>
          </p:cNvPr>
          <p:cNvSpPr txBox="1"/>
          <p:nvPr/>
        </p:nvSpPr>
        <p:spPr>
          <a:xfrm>
            <a:off x="8256240" y="2999120"/>
            <a:ext cx="3810972" cy="707694"/>
          </a:xfrm>
          <a:prstGeom prst="rect">
            <a:avLst/>
          </a:prstGeom>
          <a:noFill/>
        </p:spPr>
        <p:txBody>
          <a:bodyPr wrap="square" rtlCol="0">
            <a:spAutoFit/>
          </a:bodyPr>
          <a:lstStyle/>
          <a:p>
            <a:pPr marL="228594" marR="0" lvl="0" indent="-2285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l-PL" sz="1333" b="1" i="0" u="none" strike="noStrike" kern="1200" cap="none" spc="0" normalizeH="0" baseline="0" noProof="0" dirty="0">
                <a:ln>
                  <a:noFill/>
                </a:ln>
                <a:solidFill>
                  <a:srgbClr val="000000"/>
                </a:solidFill>
                <a:effectLst/>
                <a:uLnTx/>
                <a:uFillTx/>
                <a:latin typeface="Canva Sans"/>
                <a:ea typeface="+mn-ea"/>
                <a:cs typeface="+mn-cs"/>
              </a:rPr>
              <a:t>Business </a:t>
            </a:r>
            <a:r>
              <a:rPr kumimoji="0" lang="pl-PL" sz="1333" b="1" i="0" u="none" strike="noStrike" kern="1200" cap="none" spc="0" normalizeH="0" baseline="0" noProof="0" dirty="0" err="1">
                <a:ln>
                  <a:noFill/>
                </a:ln>
                <a:solidFill>
                  <a:srgbClr val="000000"/>
                </a:solidFill>
                <a:effectLst/>
                <a:uLnTx/>
                <a:uFillTx/>
                <a:latin typeface="Canva Sans"/>
                <a:ea typeface="+mn-ea"/>
                <a:cs typeface="+mn-cs"/>
              </a:rPr>
              <a:t>Account</a:t>
            </a:r>
            <a:r>
              <a:rPr kumimoji="0" lang="pl-PL" sz="1333" b="1" i="0" u="none" strike="noStrike" kern="1200" cap="none" spc="0" normalizeH="0" baseline="0" noProof="0" dirty="0">
                <a:ln>
                  <a:noFill/>
                </a:ln>
                <a:solidFill>
                  <a:srgbClr val="000000"/>
                </a:solidFill>
                <a:effectLst/>
                <a:uLnTx/>
                <a:uFillTx/>
                <a:latin typeface="Canva Sans"/>
                <a:ea typeface="+mn-ea"/>
                <a:cs typeface="+mn-cs"/>
              </a:rPr>
              <a:t>  73%  </a:t>
            </a:r>
            <a:r>
              <a:rPr kumimoji="0" lang="pl-PL" sz="1333" b="0" i="0" u="none" strike="noStrike" kern="1200" cap="none" spc="0" normalizeH="0" baseline="0" noProof="0" dirty="0">
                <a:ln>
                  <a:noFill/>
                </a:ln>
                <a:solidFill>
                  <a:srgbClr val="000000"/>
                </a:solidFill>
                <a:effectLst/>
                <a:uLnTx/>
                <a:uFillTx/>
                <a:latin typeface="Canva Sans"/>
                <a:ea typeface="+mn-ea"/>
                <a:cs typeface="+mn-cs"/>
              </a:rPr>
              <a:t>- </a:t>
            </a:r>
            <a:r>
              <a:rPr kumimoji="0" lang="pl-PL" sz="1200" b="0" i="0" u="none" strike="noStrike" kern="1200" cap="none" spc="0" normalizeH="0" baseline="0" noProof="0" dirty="0">
                <a:ln>
                  <a:noFill/>
                </a:ln>
                <a:solidFill>
                  <a:srgbClr val="000000"/>
                </a:solidFill>
                <a:effectLst/>
                <a:uLnTx/>
                <a:uFillTx/>
                <a:latin typeface="Canva Sans"/>
                <a:ea typeface="+mn-ea"/>
                <a:cs typeface="+mn-cs"/>
              </a:rPr>
              <a:t>2720 </a:t>
            </a:r>
            <a:r>
              <a:rPr kumimoji="0" lang="pl-PL" sz="1200" b="0" i="0" u="none" strike="noStrike" kern="1200" cap="none" spc="0" normalizeH="0" baseline="0" noProof="0" dirty="0" err="1">
                <a:ln>
                  <a:noFill/>
                </a:ln>
                <a:solidFill>
                  <a:srgbClr val="000000"/>
                </a:solidFill>
                <a:effectLst/>
                <a:uLnTx/>
                <a:uFillTx/>
                <a:latin typeface="Canva Sans"/>
                <a:ea typeface="+mn-ea"/>
                <a:cs typeface="+mn-cs"/>
              </a:rPr>
              <a:t>closed</a:t>
            </a:r>
            <a:r>
              <a:rPr kumimoji="0" lang="pl-PL" sz="1200" b="0" i="0" u="none" strike="noStrike" kern="1200" cap="none" spc="0" normalizeH="0" baseline="0" noProof="0" dirty="0">
                <a:ln>
                  <a:noFill/>
                </a:ln>
                <a:solidFill>
                  <a:srgbClr val="000000"/>
                </a:solidFill>
                <a:effectLst/>
                <a:uLnTx/>
                <a:uFillTx/>
                <a:latin typeface="Canva Sans"/>
                <a:ea typeface="+mn-ea"/>
                <a:cs typeface="+mn-cs"/>
              </a:rPr>
              <a:t> </a:t>
            </a:r>
            <a:r>
              <a:rPr kumimoji="0" lang="en-US" sz="1200" b="0" i="0" u="none" strike="noStrike" kern="1200" cap="none" spc="0" normalizeH="0" baseline="0" noProof="0" dirty="0">
                <a:ln>
                  <a:noFill/>
                </a:ln>
                <a:solidFill>
                  <a:srgbClr val="000000"/>
                </a:solidFill>
                <a:effectLst/>
                <a:uLnTx/>
                <a:uFillTx/>
                <a:latin typeface="Canva Sans"/>
                <a:ea typeface="+mn-ea"/>
                <a:cs typeface="+mn-cs"/>
              </a:rPr>
              <a:t>connections</a:t>
            </a:r>
            <a:r>
              <a:rPr kumimoji="0" lang="pl-PL" sz="1200" b="0" i="0" u="none" strike="noStrike" kern="1200" cap="none" spc="0" normalizeH="0" baseline="0" noProof="0" dirty="0">
                <a:ln>
                  <a:noFill/>
                </a:ln>
                <a:solidFill>
                  <a:srgbClr val="000000"/>
                </a:solidFill>
                <a:effectLst/>
                <a:uLnTx/>
                <a:uFillTx/>
                <a:latin typeface="Canva Sans"/>
                <a:ea typeface="+mn-ea"/>
                <a:cs typeface="+mn-cs"/>
              </a:rPr>
              <a:t> </a:t>
            </a:r>
          </a:p>
          <a:p>
            <a:pPr marL="228594" marR="0" lvl="0" indent="-2285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l-PL" sz="1333" b="1" i="0" u="none" strike="noStrike" kern="1200" cap="none" spc="0" normalizeH="0" baseline="0" noProof="0" dirty="0">
                <a:ln>
                  <a:noFill/>
                </a:ln>
                <a:solidFill>
                  <a:srgbClr val="000000"/>
                </a:solidFill>
                <a:effectLst/>
                <a:uLnTx/>
                <a:uFillTx/>
                <a:latin typeface="Canva Sans"/>
                <a:ea typeface="+mn-ea"/>
                <a:cs typeface="+mn-cs"/>
              </a:rPr>
              <a:t>Business Zone 17%</a:t>
            </a:r>
            <a:r>
              <a:rPr kumimoji="0" lang="pl-PL" sz="1333" b="0" i="0" u="none" strike="noStrike" kern="1200" cap="none" spc="0" normalizeH="0" baseline="0" noProof="0" dirty="0">
                <a:ln>
                  <a:noFill/>
                </a:ln>
                <a:solidFill>
                  <a:srgbClr val="000000"/>
                </a:solidFill>
                <a:effectLst/>
                <a:uLnTx/>
                <a:uFillTx/>
                <a:latin typeface="Canva Sans"/>
                <a:ea typeface="+mn-ea"/>
                <a:cs typeface="+mn-cs"/>
              </a:rPr>
              <a:t>  - </a:t>
            </a:r>
            <a:r>
              <a:rPr kumimoji="0" lang="pl-PL" sz="1200" b="0" i="0" u="none" strike="noStrike" kern="1200" cap="none" spc="0" normalizeH="0" baseline="0" noProof="0" dirty="0">
                <a:ln>
                  <a:noFill/>
                </a:ln>
                <a:solidFill>
                  <a:srgbClr val="000000"/>
                </a:solidFill>
                <a:effectLst/>
                <a:uLnTx/>
                <a:uFillTx/>
                <a:latin typeface="Canva Sans"/>
                <a:ea typeface="+mn-ea"/>
                <a:cs typeface="+mn-cs"/>
              </a:rPr>
              <a:t>650 </a:t>
            </a:r>
            <a:r>
              <a:rPr kumimoji="0" lang="pl-PL" sz="1200" b="0" i="0" u="none" strike="noStrike" kern="1200" cap="none" spc="0" normalizeH="0" baseline="0" noProof="0" dirty="0" err="1">
                <a:ln>
                  <a:noFill/>
                </a:ln>
                <a:solidFill>
                  <a:srgbClr val="000000"/>
                </a:solidFill>
                <a:effectLst/>
                <a:uLnTx/>
                <a:uFillTx/>
                <a:latin typeface="Canva Sans"/>
                <a:ea typeface="+mn-ea"/>
                <a:cs typeface="+mn-cs"/>
              </a:rPr>
              <a:t>closed</a:t>
            </a:r>
            <a:r>
              <a:rPr kumimoji="0" lang="pl-PL" sz="1200" b="0" i="0" u="none" strike="noStrike" kern="1200" cap="none" spc="0" normalizeH="0" baseline="0" noProof="0" dirty="0">
                <a:ln>
                  <a:noFill/>
                </a:ln>
                <a:solidFill>
                  <a:srgbClr val="000000"/>
                </a:solidFill>
                <a:effectLst/>
                <a:uLnTx/>
                <a:uFillTx/>
                <a:latin typeface="Canva Sans"/>
                <a:ea typeface="+mn-ea"/>
                <a:cs typeface="+mn-cs"/>
              </a:rPr>
              <a:t> </a:t>
            </a:r>
            <a:r>
              <a:rPr kumimoji="0" lang="en-US" sz="1200" b="0" i="0" u="none" strike="noStrike" kern="1200" cap="none" spc="0" normalizeH="0" baseline="0" noProof="0" dirty="0">
                <a:ln>
                  <a:noFill/>
                </a:ln>
                <a:solidFill>
                  <a:srgbClr val="000000"/>
                </a:solidFill>
                <a:effectLst/>
                <a:uLnTx/>
                <a:uFillTx/>
                <a:latin typeface="Canva Sans"/>
                <a:ea typeface="+mn-ea"/>
                <a:cs typeface="+mn-cs"/>
              </a:rPr>
              <a:t>connections</a:t>
            </a:r>
            <a:endParaRPr kumimoji="0" lang="pl-PL" sz="1200" b="0" i="0" u="none" strike="noStrike" kern="1200" cap="none" spc="0" normalizeH="0" baseline="0" noProof="0" dirty="0">
              <a:ln>
                <a:noFill/>
              </a:ln>
              <a:solidFill>
                <a:srgbClr val="000000"/>
              </a:solidFill>
              <a:effectLst/>
              <a:uLnTx/>
              <a:uFillTx/>
              <a:latin typeface="Canva Sans"/>
              <a:ea typeface="+mn-ea"/>
              <a:cs typeface="+mn-cs"/>
            </a:endParaRPr>
          </a:p>
          <a:p>
            <a:pPr marL="228594" marR="0" lvl="0" indent="-2285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l-PL" sz="1333" b="1" i="0" u="none" strike="noStrike" kern="1200" cap="none" spc="0" normalizeH="0" baseline="0" noProof="0" dirty="0">
                <a:ln>
                  <a:noFill/>
                </a:ln>
                <a:solidFill>
                  <a:srgbClr val="000000"/>
                </a:solidFill>
                <a:effectLst/>
                <a:uLnTx/>
                <a:uFillTx/>
                <a:latin typeface="Canva Sans"/>
                <a:ea typeface="+mn-ea"/>
                <a:cs typeface="+mn-cs"/>
              </a:rPr>
              <a:t>Company Setup 10 %  </a:t>
            </a:r>
            <a:r>
              <a:rPr kumimoji="0" lang="pl-PL" sz="1333" b="0" i="0" u="none" strike="noStrike" kern="1200" cap="none" spc="0" normalizeH="0" baseline="0" noProof="0" dirty="0">
                <a:ln>
                  <a:noFill/>
                </a:ln>
                <a:solidFill>
                  <a:srgbClr val="000000"/>
                </a:solidFill>
                <a:effectLst/>
                <a:uLnTx/>
                <a:uFillTx/>
                <a:latin typeface="Canva Sans"/>
                <a:ea typeface="+mn-ea"/>
                <a:cs typeface="+mn-cs"/>
              </a:rPr>
              <a:t> - </a:t>
            </a:r>
            <a:r>
              <a:rPr kumimoji="0" lang="pl-PL" sz="1200" b="0" i="0" u="none" strike="noStrike" kern="1200" cap="none" spc="0" normalizeH="0" baseline="0" noProof="0" dirty="0">
                <a:ln>
                  <a:noFill/>
                </a:ln>
                <a:solidFill>
                  <a:srgbClr val="000000"/>
                </a:solidFill>
                <a:effectLst/>
                <a:uLnTx/>
                <a:uFillTx/>
                <a:latin typeface="Canva Sans"/>
                <a:ea typeface="+mn-ea"/>
                <a:cs typeface="+mn-cs"/>
              </a:rPr>
              <a:t>358</a:t>
            </a:r>
            <a:r>
              <a:rPr kumimoji="0" lang="en-US" sz="1200" b="0" i="0" u="none" strike="noStrike" kern="1200" cap="none" spc="0" normalizeH="0" baseline="0" noProof="0" dirty="0">
                <a:ln>
                  <a:noFill/>
                </a:ln>
                <a:solidFill>
                  <a:srgbClr val="000000"/>
                </a:solidFill>
                <a:effectLst/>
                <a:uLnTx/>
                <a:uFillTx/>
                <a:latin typeface="Canva Sans"/>
                <a:ea typeface="+mn-ea"/>
                <a:cs typeface="+mn-cs"/>
              </a:rPr>
              <a:t> </a:t>
            </a:r>
            <a:r>
              <a:rPr kumimoji="0" lang="pl-PL" sz="1200" b="0" i="0" u="none" strike="noStrike" kern="1200" cap="none" spc="0" normalizeH="0" baseline="0" noProof="0" dirty="0" err="1">
                <a:ln>
                  <a:noFill/>
                </a:ln>
                <a:solidFill>
                  <a:srgbClr val="000000"/>
                </a:solidFill>
                <a:effectLst/>
                <a:uLnTx/>
                <a:uFillTx/>
                <a:latin typeface="Canva Sans"/>
                <a:ea typeface="+mn-ea"/>
                <a:cs typeface="+mn-cs"/>
              </a:rPr>
              <a:t>closed</a:t>
            </a:r>
            <a:r>
              <a:rPr kumimoji="0" lang="pl-PL" sz="1200" b="0" i="0" u="none" strike="noStrike" kern="1200" cap="none" spc="0" normalizeH="0" baseline="0" noProof="0" dirty="0">
                <a:ln>
                  <a:noFill/>
                </a:ln>
                <a:solidFill>
                  <a:srgbClr val="000000"/>
                </a:solidFill>
                <a:effectLst/>
                <a:uLnTx/>
                <a:uFillTx/>
                <a:latin typeface="Canva Sans"/>
                <a:ea typeface="+mn-ea"/>
                <a:cs typeface="+mn-cs"/>
              </a:rPr>
              <a:t> </a:t>
            </a:r>
            <a:r>
              <a:rPr kumimoji="0" lang="en-US" sz="1200" b="0" i="0" u="none" strike="noStrike" kern="1200" cap="none" spc="0" normalizeH="0" baseline="0" noProof="0" dirty="0">
                <a:ln>
                  <a:noFill/>
                </a:ln>
                <a:solidFill>
                  <a:srgbClr val="000000"/>
                </a:solidFill>
                <a:effectLst/>
                <a:uLnTx/>
                <a:uFillTx/>
                <a:latin typeface="Canva Sans"/>
                <a:ea typeface="+mn-ea"/>
                <a:cs typeface="+mn-cs"/>
              </a:rPr>
              <a:t>connections</a:t>
            </a:r>
            <a:endParaRPr kumimoji="0" lang="pl-PL" sz="1200" b="0" i="0" u="none" strike="noStrike" kern="1200" cap="none" spc="0" normalizeH="0" baseline="0" noProof="0" dirty="0">
              <a:ln>
                <a:noFill/>
              </a:ln>
              <a:solidFill>
                <a:srgbClr val="000000"/>
              </a:solidFill>
              <a:effectLst/>
              <a:uLnTx/>
              <a:uFillTx/>
              <a:latin typeface="Canva Sans"/>
              <a:ea typeface="+mn-ea"/>
              <a:cs typeface="+mn-cs"/>
            </a:endParaRPr>
          </a:p>
        </p:txBody>
      </p:sp>
      <p:sp>
        <p:nvSpPr>
          <p:cNvPr id="12" name="TextBox 30">
            <a:extLst>
              <a:ext uri="{FF2B5EF4-FFF2-40B4-BE49-F238E27FC236}">
                <a16:creationId xmlns:a16="http://schemas.microsoft.com/office/drawing/2014/main" id="{EEB807D4-8A82-431D-BD66-033B4E4602AC}"/>
              </a:ext>
            </a:extLst>
          </p:cNvPr>
          <p:cNvSpPr txBox="1"/>
          <p:nvPr/>
        </p:nvSpPr>
        <p:spPr>
          <a:xfrm>
            <a:off x="113227" y="1566450"/>
            <a:ext cx="6711295" cy="170175"/>
          </a:xfrm>
          <a:prstGeom prst="rect">
            <a:avLst/>
          </a:prstGeom>
        </p:spPr>
        <p:txBody>
          <a:bodyPr wrap="square" lIns="0" tIns="0" rIns="0" bIns="0" rtlCol="0" anchor="t">
            <a:spAutoFit/>
          </a:bodyPr>
          <a:lstStyle/>
          <a:p>
            <a:pPr marL="0" marR="0" lvl="0" indent="0" algn="ctr" defTabSz="914377" rtl="0" eaLnBrk="1" fontAlgn="auto" latinLnBrk="0" hangingPunct="1">
              <a:lnSpc>
                <a:spcPts val="1267"/>
              </a:lnSpc>
              <a:spcBef>
                <a:spcPts val="0"/>
              </a:spcBef>
              <a:spcAft>
                <a:spcPts val="0"/>
              </a:spcAft>
              <a:buClrTx/>
              <a:buSzTx/>
              <a:buFontTx/>
              <a:buNone/>
              <a:tabLst/>
              <a:defRPr/>
            </a:pPr>
            <a:r>
              <a:rPr kumimoji="0" lang="pl-PL" sz="1400" b="1" i="0" u="none" strike="noStrike" kern="1200" cap="none" spc="0" normalizeH="0" baseline="0" noProof="0" dirty="0" err="1">
                <a:ln>
                  <a:noFill/>
                </a:ln>
                <a:solidFill>
                  <a:srgbClr val="000000"/>
                </a:solidFill>
                <a:effectLst/>
                <a:uLnTx/>
                <a:uFillTx/>
                <a:latin typeface="Arial"/>
                <a:ea typeface="Canva Sans"/>
                <a:cs typeface="Canva Sans"/>
                <a:sym typeface="Canva Sans"/>
              </a:rPr>
              <a:t>Customer</a:t>
            </a:r>
            <a:r>
              <a:rPr kumimoji="0" lang="pl-PL" sz="1400" b="1" i="0" u="none" strike="noStrike" kern="1200" cap="none" spc="0" normalizeH="0" baseline="0" noProof="0" dirty="0">
                <a:ln>
                  <a:noFill/>
                </a:ln>
                <a:solidFill>
                  <a:srgbClr val="000000"/>
                </a:solidFill>
                <a:effectLst/>
                <a:uLnTx/>
                <a:uFillTx/>
                <a:latin typeface="Arial"/>
                <a:ea typeface="Canva Sans"/>
                <a:cs typeface="Canva Sans"/>
                <a:sym typeface="Canva Sans"/>
              </a:rPr>
              <a:t> Voice </a:t>
            </a:r>
            <a:r>
              <a:rPr kumimoji="0" lang="pl-PL" sz="1400" b="1" i="0" u="none" strike="noStrike" kern="1200" cap="none" spc="0" normalizeH="0" baseline="0" noProof="0" dirty="0" err="1">
                <a:ln>
                  <a:noFill/>
                </a:ln>
                <a:solidFill>
                  <a:srgbClr val="000000"/>
                </a:solidFill>
                <a:effectLst/>
                <a:uLnTx/>
                <a:uFillTx/>
                <a:latin typeface="Arial"/>
                <a:ea typeface="Canva Sans"/>
                <a:cs typeface="Canva Sans"/>
                <a:sym typeface="Canva Sans"/>
              </a:rPr>
              <a:t>Question</a:t>
            </a:r>
            <a:endParaRPr kumimoji="0" lang="en-US" sz="1400" b="1" i="0" u="none" strike="noStrike" kern="1200" cap="none" spc="0" normalizeH="0" baseline="0" noProof="0" dirty="0">
              <a:ln>
                <a:noFill/>
              </a:ln>
              <a:solidFill>
                <a:srgbClr val="000000"/>
              </a:solidFill>
              <a:effectLst/>
              <a:uLnTx/>
              <a:uFillTx/>
              <a:latin typeface="Arial"/>
              <a:ea typeface="Canva Sans"/>
              <a:cs typeface="Canva Sans"/>
              <a:sym typeface="Canva Sans"/>
            </a:endParaRPr>
          </a:p>
        </p:txBody>
      </p:sp>
      <p:sp>
        <p:nvSpPr>
          <p:cNvPr id="17" name="Prostokąt 16"/>
          <p:cNvSpPr/>
          <p:nvPr/>
        </p:nvSpPr>
        <p:spPr>
          <a:xfrm>
            <a:off x="8106471" y="2226942"/>
            <a:ext cx="3850735"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srgbClr val="000000"/>
                </a:solidFill>
                <a:effectLst/>
                <a:uLnTx/>
                <a:uFillTx/>
                <a:latin typeface="Canva Sans"/>
                <a:ea typeface="+mn-ea"/>
                <a:cs typeface="+mn-cs"/>
              </a:rPr>
              <a:t>O</a:t>
            </a:r>
            <a:r>
              <a:rPr kumimoji="0" lang="en-US" sz="1200" b="0" i="0" u="none" strike="noStrike" kern="1200" cap="none" spc="0" normalizeH="0" baseline="0" noProof="0" dirty="0" err="1">
                <a:ln>
                  <a:noFill/>
                </a:ln>
                <a:solidFill>
                  <a:srgbClr val="000000"/>
                </a:solidFill>
                <a:effectLst/>
                <a:uLnTx/>
                <a:uFillTx/>
                <a:latin typeface="Canva Sans"/>
                <a:ea typeface="+mn-ea"/>
                <a:cs typeface="+mn-cs"/>
              </a:rPr>
              <a:t>utbound</a:t>
            </a:r>
            <a:r>
              <a:rPr kumimoji="0" lang="en-US" sz="1200" b="0" i="0" u="none" strike="noStrike" kern="1200" cap="none" spc="0" normalizeH="0" baseline="0" noProof="0" dirty="0">
                <a:ln>
                  <a:noFill/>
                </a:ln>
                <a:solidFill>
                  <a:srgbClr val="000000"/>
                </a:solidFill>
                <a:effectLst/>
                <a:uLnTx/>
                <a:uFillTx/>
                <a:latin typeface="Canva Sans"/>
                <a:ea typeface="+mn-ea"/>
                <a:cs typeface="+mn-cs"/>
              </a:rPr>
              <a:t> actions that help the customer go through the process of opening a Business Account, Business Zone, Company Setup </a:t>
            </a:r>
            <a:endParaRPr kumimoji="0" lang="pl-PL" sz="1200" b="0" i="0" u="none" strike="noStrike" kern="1200" cap="none" spc="0" normalizeH="0" baseline="0" noProof="0" dirty="0">
              <a:ln>
                <a:noFill/>
              </a:ln>
              <a:solidFill>
                <a:srgbClr val="000000"/>
              </a:solidFill>
              <a:effectLst/>
              <a:uLnTx/>
              <a:uFillTx/>
              <a:latin typeface="Canva Sans"/>
              <a:ea typeface="+mn-ea"/>
              <a:cs typeface="+mn-cs"/>
            </a:endParaRPr>
          </a:p>
        </p:txBody>
      </p:sp>
      <p:sp>
        <p:nvSpPr>
          <p:cNvPr id="18" name="TextBox 30">
            <a:extLst>
              <a:ext uri="{FF2B5EF4-FFF2-40B4-BE49-F238E27FC236}">
                <a16:creationId xmlns:a16="http://schemas.microsoft.com/office/drawing/2014/main" id="{EEB807D4-8A82-431D-BD66-033B4E4602AC}"/>
              </a:ext>
            </a:extLst>
          </p:cNvPr>
          <p:cNvSpPr txBox="1"/>
          <p:nvPr/>
        </p:nvSpPr>
        <p:spPr>
          <a:xfrm>
            <a:off x="7215633" y="1928865"/>
            <a:ext cx="5597232" cy="166712"/>
          </a:xfrm>
          <a:prstGeom prst="rect">
            <a:avLst/>
          </a:prstGeom>
        </p:spPr>
        <p:txBody>
          <a:bodyPr wrap="square" lIns="0" tIns="0" rIns="0" bIns="0" rtlCol="0" anchor="t">
            <a:spAutoFit/>
          </a:bodyPr>
          <a:lstStyle/>
          <a:p>
            <a:pPr marL="0" marR="0" lvl="0" indent="0" algn="ctr" defTabSz="914377" rtl="0" eaLnBrk="1" fontAlgn="auto" latinLnBrk="0" hangingPunct="1">
              <a:lnSpc>
                <a:spcPts val="1267"/>
              </a:lnSpc>
              <a:spcBef>
                <a:spcPts val="0"/>
              </a:spcBef>
              <a:spcAft>
                <a:spcPts val="0"/>
              </a:spcAft>
              <a:buClrTx/>
              <a:buSzTx/>
              <a:buFontTx/>
              <a:buNone/>
              <a:tabLst/>
              <a:defRPr/>
            </a:pPr>
            <a:r>
              <a:rPr kumimoji="0" lang="pl-PL" sz="1400" b="1" i="0" u="none" strike="noStrike" kern="1200" cap="none" spc="0" normalizeH="0" baseline="0" noProof="0" dirty="0">
                <a:ln>
                  <a:noFill/>
                </a:ln>
                <a:solidFill>
                  <a:srgbClr val="000000"/>
                </a:solidFill>
                <a:effectLst/>
                <a:uLnTx/>
                <a:uFillTx/>
                <a:latin typeface="Arial"/>
                <a:ea typeface="Canva Sans"/>
                <a:cs typeface="Canva Sans"/>
                <a:sym typeface="Canva Sans"/>
              </a:rPr>
              <a:t>S</a:t>
            </a:r>
            <a:r>
              <a:rPr kumimoji="0" lang="en-US" sz="1400" b="1" i="0" u="none" strike="noStrike" kern="1200" cap="none" spc="0" normalizeH="0" baseline="0" noProof="0" dirty="0" err="1">
                <a:ln>
                  <a:noFill/>
                </a:ln>
                <a:solidFill>
                  <a:srgbClr val="000000"/>
                </a:solidFill>
                <a:effectLst/>
                <a:uLnTx/>
                <a:uFillTx/>
                <a:latin typeface="Arial"/>
                <a:ea typeface="Canva Sans"/>
                <a:cs typeface="Canva Sans"/>
                <a:sym typeface="Canva Sans"/>
              </a:rPr>
              <a:t>upporting</a:t>
            </a:r>
            <a:r>
              <a:rPr kumimoji="0" lang="en-US" sz="1400" b="1" i="0" u="none" strike="noStrike" kern="1200" cap="none" spc="0" normalizeH="0" baseline="0" noProof="0" dirty="0">
                <a:ln>
                  <a:noFill/>
                </a:ln>
                <a:solidFill>
                  <a:srgbClr val="000000"/>
                </a:solidFill>
                <a:effectLst/>
                <a:uLnTx/>
                <a:uFillTx/>
                <a:latin typeface="Arial"/>
                <a:ea typeface="Canva Sans"/>
                <a:cs typeface="Canva Sans"/>
                <a:sym typeface="Canva Sans"/>
              </a:rPr>
              <a:t> the sale of business offers</a:t>
            </a:r>
            <a:r>
              <a:rPr kumimoji="0" lang="pl-PL" sz="1400" b="1" i="0" u="none" strike="noStrike" kern="1200" cap="none" spc="0" normalizeH="0" baseline="0" noProof="0" dirty="0">
                <a:ln>
                  <a:noFill/>
                </a:ln>
                <a:solidFill>
                  <a:srgbClr val="000000"/>
                </a:solidFill>
                <a:effectLst/>
                <a:uLnTx/>
                <a:uFillTx/>
                <a:latin typeface="Arial"/>
                <a:ea typeface="Canva Sans"/>
                <a:cs typeface="Canva Sans"/>
                <a:sym typeface="Canva Sans"/>
              </a:rPr>
              <a:t> </a:t>
            </a:r>
            <a:endParaRPr kumimoji="0" lang="en-US" sz="1400" b="1" i="0" u="none" strike="noStrike" kern="1200" cap="none" spc="0" normalizeH="0" baseline="0" noProof="0" dirty="0">
              <a:ln>
                <a:noFill/>
              </a:ln>
              <a:solidFill>
                <a:srgbClr val="000000"/>
              </a:solidFill>
              <a:effectLst/>
              <a:uLnTx/>
              <a:uFillTx/>
              <a:latin typeface="Arial"/>
              <a:ea typeface="Canva Sans"/>
              <a:cs typeface="Canva Sans"/>
              <a:sym typeface="Canva Sans"/>
            </a:endParaRPr>
          </a:p>
        </p:txBody>
      </p:sp>
      <p:sp>
        <p:nvSpPr>
          <p:cNvPr id="20" name="AutoShape 8">
            <a:extLst>
              <a:ext uri="{FF2B5EF4-FFF2-40B4-BE49-F238E27FC236}">
                <a16:creationId xmlns:a16="http://schemas.microsoft.com/office/drawing/2014/main" id="{9BEA921B-567C-4A46-A96E-16194F645000}"/>
              </a:ext>
            </a:extLst>
          </p:cNvPr>
          <p:cNvSpPr/>
          <p:nvPr/>
        </p:nvSpPr>
        <p:spPr>
          <a:xfrm flipH="1" flipV="1">
            <a:off x="7614186" y="2107254"/>
            <a:ext cx="4343019" cy="2892"/>
          </a:xfrm>
          <a:prstGeom prst="line">
            <a:avLst/>
          </a:prstGeom>
          <a:ln>
            <a:solidFill>
              <a:schemeClr val="tx1">
                <a:lumMod val="65000"/>
                <a:lumOff val="35000"/>
              </a:schemeClr>
            </a:solidFill>
            <a:headEnd type="diamond" w="lg" len="lg"/>
            <a:tailEnd type="arrow" w="med" len="sm"/>
          </a:ln>
        </p:spPr>
        <p:style>
          <a:lnRef idx="2">
            <a:schemeClr val="dk1"/>
          </a:lnRef>
          <a:fillRef idx="0">
            <a:schemeClr val="dk1"/>
          </a:fillRef>
          <a:effectRef idx="1">
            <a:schemeClr val="dk1"/>
          </a:effectRef>
          <a:fontRef idx="minor">
            <a:schemeClr val="tx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000000"/>
              </a:solidFill>
              <a:effectLst/>
              <a:uLnTx/>
              <a:uFillTx/>
              <a:latin typeface="Arial"/>
              <a:ea typeface="+mn-ea"/>
              <a:cs typeface="+mn-cs"/>
            </a:endParaRPr>
          </a:p>
        </p:txBody>
      </p:sp>
      <p:sp>
        <p:nvSpPr>
          <p:cNvPr id="21" name="TextBox 30">
            <a:extLst>
              <a:ext uri="{FF2B5EF4-FFF2-40B4-BE49-F238E27FC236}">
                <a16:creationId xmlns:a16="http://schemas.microsoft.com/office/drawing/2014/main" id="{EEB807D4-8A82-431D-BD66-033B4E4602AC}"/>
              </a:ext>
            </a:extLst>
          </p:cNvPr>
          <p:cNvSpPr txBox="1"/>
          <p:nvPr/>
        </p:nvSpPr>
        <p:spPr>
          <a:xfrm>
            <a:off x="449143" y="4515459"/>
            <a:ext cx="4007245" cy="172420"/>
          </a:xfrm>
          <a:prstGeom prst="rect">
            <a:avLst/>
          </a:prstGeom>
        </p:spPr>
        <p:txBody>
          <a:bodyPr wrap="square" lIns="0" tIns="0" rIns="0" bIns="0" rtlCol="0" anchor="t">
            <a:spAutoFit/>
          </a:bodyPr>
          <a:lstStyle/>
          <a:p>
            <a:pPr marL="0" marR="0" lvl="0" indent="0" algn="ctr" defTabSz="914377" rtl="0" eaLnBrk="1" fontAlgn="auto" latinLnBrk="0" hangingPunct="1">
              <a:lnSpc>
                <a:spcPts val="1267"/>
              </a:lnSpc>
              <a:spcBef>
                <a:spcPts val="0"/>
              </a:spcBef>
              <a:spcAft>
                <a:spcPts val="0"/>
              </a:spcAft>
              <a:buClrTx/>
              <a:buSzTx/>
              <a:buFontTx/>
              <a:buNone/>
              <a:tabLst/>
              <a:defRPr/>
            </a:pPr>
            <a:r>
              <a:rPr kumimoji="0" lang="pl-PL" sz="1400" b="1" i="0" u="none" strike="noStrike" kern="1200" cap="none" spc="0" normalizeH="0" baseline="0" noProof="0" dirty="0">
                <a:ln>
                  <a:noFill/>
                </a:ln>
                <a:solidFill>
                  <a:srgbClr val="000000"/>
                </a:solidFill>
                <a:effectLst/>
                <a:uLnTx/>
                <a:uFillTx/>
                <a:latin typeface="Arial"/>
                <a:ea typeface="Canva Sans"/>
                <a:cs typeface="Canva Sans"/>
                <a:sym typeface="Canva Sans"/>
              </a:rPr>
              <a:t>Business account retention</a:t>
            </a:r>
            <a:endParaRPr kumimoji="0" lang="en-US" sz="1400" b="1" i="0" u="none" strike="noStrike" kern="1200" cap="none" spc="0" normalizeH="0" baseline="0" noProof="0" dirty="0">
              <a:ln>
                <a:noFill/>
              </a:ln>
              <a:solidFill>
                <a:srgbClr val="000000"/>
              </a:solidFill>
              <a:effectLst/>
              <a:uLnTx/>
              <a:uFillTx/>
              <a:latin typeface="Arial"/>
              <a:ea typeface="Canva Sans"/>
              <a:cs typeface="Canva Sans"/>
              <a:sym typeface="Canva Sans"/>
            </a:endParaRPr>
          </a:p>
        </p:txBody>
      </p:sp>
    </p:spTree>
    <p:extLst>
      <p:ext uri="{BB962C8B-B14F-4D97-AF65-F5344CB8AC3E}">
        <p14:creationId xmlns:p14="http://schemas.microsoft.com/office/powerpoint/2010/main" val="233790074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BE3E659C-9418-4A54-B892-48652EB0ADF7}"/>
              </a:ext>
            </a:extLst>
          </p:cNvPr>
          <p:cNvSpPr>
            <a:spLocks noGrp="1"/>
          </p:cNvSpPr>
          <p:nvPr>
            <p:ph type="title"/>
          </p:nvPr>
        </p:nvSpPr>
        <p:spPr>
          <a:xfrm>
            <a:off x="520263" y="0"/>
            <a:ext cx="11514253" cy="753532"/>
          </a:xfrm>
        </p:spPr>
        <p:txBody>
          <a:bodyPr/>
          <a:lstStyle/>
          <a:p>
            <a:r>
              <a:rPr lang="pl-PL" sz="3200" dirty="0" err="1">
                <a:latin typeface="Arial Black" panose="020B0A04020102020204" pitchFamily="34" charset="0"/>
              </a:rPr>
              <a:t>Pain</a:t>
            </a:r>
            <a:r>
              <a:rPr lang="pl-PL" sz="3200" dirty="0">
                <a:latin typeface="Arial Black" panose="020B0A04020102020204" pitchFamily="34" charset="0"/>
              </a:rPr>
              <a:t> </a:t>
            </a:r>
            <a:r>
              <a:rPr lang="pl-PL" sz="3200" dirty="0" err="1">
                <a:latin typeface="Arial Black" panose="020B0A04020102020204" pitchFamily="34" charset="0"/>
              </a:rPr>
              <a:t>points</a:t>
            </a:r>
            <a:endParaRPr lang="pl-PL" sz="3200" dirty="0">
              <a:latin typeface="Arial Black" panose="020B0A04020102020204" pitchFamily="34" charset="0"/>
              <a:ea typeface="Calibri" panose="020F0502020204030204" pitchFamily="34" charset="0"/>
              <a:cs typeface="Calibri" panose="020F0502020204030204" pitchFamily="34" charset="0"/>
            </a:endParaRPr>
          </a:p>
        </p:txBody>
      </p:sp>
      <p:sp>
        <p:nvSpPr>
          <p:cNvPr id="3" name="Symbol zastępczy numeru slajdu 2">
            <a:extLst>
              <a:ext uri="{FF2B5EF4-FFF2-40B4-BE49-F238E27FC236}">
                <a16:creationId xmlns:a16="http://schemas.microsoft.com/office/drawing/2014/main" id="{BE79F1AB-F142-4E75-A9BC-2FD4CD3DA590}"/>
              </a:ext>
            </a:extLst>
          </p:cNvPr>
          <p:cNvSpPr>
            <a:spLocks noGrp="1"/>
          </p:cNvSpPr>
          <p:nvPr>
            <p:ph type="sldNum" sz="quarter" idx="10"/>
          </p:nvPr>
        </p:nvSpPr>
        <p:spPr/>
        <p:txBody>
          <a:bodyPr/>
          <a:lstStyle/>
          <a:p>
            <a:pPr marL="0" marR="0" lvl="0" indent="0" algn="l" defTabSz="467539" rtl="0" eaLnBrk="1" fontAlgn="auto" latinLnBrk="0" hangingPunct="1">
              <a:lnSpc>
                <a:spcPct val="100000"/>
              </a:lnSpc>
              <a:spcBef>
                <a:spcPts val="0"/>
              </a:spcBef>
              <a:spcAft>
                <a:spcPts val="0"/>
              </a:spcAft>
              <a:buClrTx/>
              <a:buSzTx/>
              <a:buFontTx/>
              <a:buNone/>
              <a:tabLst/>
              <a:defRPr/>
            </a:pPr>
            <a:fld id="{332DF002-2E43-485C-89F8-8DCEF59D6C4F}" type="slidenum">
              <a:rPr kumimoji="0" lang="pl-PL" sz="1067" b="0" i="0" u="none" strike="noStrike" kern="1200" cap="none" spc="0" normalizeH="0" baseline="0" noProof="0">
                <a:ln>
                  <a:noFill/>
                </a:ln>
                <a:solidFill>
                  <a:srgbClr val="7E93A5"/>
                </a:solidFill>
                <a:effectLst/>
                <a:uLnTx/>
                <a:uFillTx/>
                <a:latin typeface="Arial"/>
                <a:ea typeface="+mn-ea"/>
                <a:cs typeface="+mn-cs"/>
              </a:rPr>
              <a:pPr marL="0" marR="0" lvl="0" indent="0" algn="l" defTabSz="467539" rtl="0" eaLnBrk="1" fontAlgn="auto" latinLnBrk="0" hangingPunct="1">
                <a:lnSpc>
                  <a:spcPct val="100000"/>
                </a:lnSpc>
                <a:spcBef>
                  <a:spcPts val="0"/>
                </a:spcBef>
                <a:spcAft>
                  <a:spcPts val="0"/>
                </a:spcAft>
                <a:buClrTx/>
                <a:buSzTx/>
                <a:buFontTx/>
                <a:buNone/>
                <a:tabLst/>
                <a:defRPr/>
              </a:pPr>
              <a:t>19</a:t>
            </a:fld>
            <a:endParaRPr kumimoji="0" lang="pl-PL" sz="1067" b="0" i="0" u="none" strike="noStrike" kern="1200" cap="none" spc="0" normalizeH="0" baseline="0" noProof="0" dirty="0">
              <a:ln>
                <a:noFill/>
              </a:ln>
              <a:solidFill>
                <a:srgbClr val="7E93A5"/>
              </a:solidFill>
              <a:effectLst/>
              <a:uLnTx/>
              <a:uFillTx/>
              <a:latin typeface="Arial"/>
              <a:ea typeface="+mn-ea"/>
              <a:cs typeface="+mn-cs"/>
            </a:endParaRPr>
          </a:p>
        </p:txBody>
      </p:sp>
      <p:sp>
        <p:nvSpPr>
          <p:cNvPr id="5" name="Oval 1">
            <a:extLst>
              <a:ext uri="{FF2B5EF4-FFF2-40B4-BE49-F238E27FC236}">
                <a16:creationId xmlns:a16="http://schemas.microsoft.com/office/drawing/2014/main" id="{66DECD68-2749-5EC9-F287-1909FCD7EFD9}"/>
              </a:ext>
            </a:extLst>
          </p:cNvPr>
          <p:cNvSpPr/>
          <p:nvPr/>
        </p:nvSpPr>
        <p:spPr>
          <a:xfrm>
            <a:off x="9209875" y="2449470"/>
            <a:ext cx="1141813" cy="114181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6" name="Oval 2">
            <a:extLst>
              <a:ext uri="{FF2B5EF4-FFF2-40B4-BE49-F238E27FC236}">
                <a16:creationId xmlns:a16="http://schemas.microsoft.com/office/drawing/2014/main" id="{2A9F73F5-13D3-FA1C-9FC9-47046AB67173}"/>
              </a:ext>
            </a:extLst>
          </p:cNvPr>
          <p:cNvSpPr/>
          <p:nvPr/>
        </p:nvSpPr>
        <p:spPr>
          <a:xfrm>
            <a:off x="6905536" y="2202943"/>
            <a:ext cx="1388340" cy="138834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7" name="Oval 3">
            <a:extLst>
              <a:ext uri="{FF2B5EF4-FFF2-40B4-BE49-F238E27FC236}">
                <a16:creationId xmlns:a16="http://schemas.microsoft.com/office/drawing/2014/main" id="{AC5D79F7-C273-1F13-D964-30E15F3F7E91}"/>
              </a:ext>
            </a:extLst>
          </p:cNvPr>
          <p:cNvSpPr/>
          <p:nvPr/>
        </p:nvSpPr>
        <p:spPr>
          <a:xfrm>
            <a:off x="4130418" y="1779161"/>
            <a:ext cx="1778935" cy="177893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8" name="Oval 4">
            <a:extLst>
              <a:ext uri="{FF2B5EF4-FFF2-40B4-BE49-F238E27FC236}">
                <a16:creationId xmlns:a16="http://schemas.microsoft.com/office/drawing/2014/main" id="{2ECD8939-B395-2443-1421-3C50E469F7F3}"/>
              </a:ext>
            </a:extLst>
          </p:cNvPr>
          <p:cNvSpPr/>
          <p:nvPr/>
        </p:nvSpPr>
        <p:spPr>
          <a:xfrm>
            <a:off x="800894" y="1218575"/>
            <a:ext cx="2339521" cy="2339521"/>
          </a:xfrm>
          <a:prstGeom prst="ellipse">
            <a:avLst/>
          </a:prstGeom>
          <a:solidFill>
            <a:srgbClr val="70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9" name="Group 25">
            <a:extLst>
              <a:ext uri="{FF2B5EF4-FFF2-40B4-BE49-F238E27FC236}">
                <a16:creationId xmlns:a16="http://schemas.microsoft.com/office/drawing/2014/main" id="{60C8B157-9B0C-BA85-89DD-D7983F7CA2D1}"/>
              </a:ext>
            </a:extLst>
          </p:cNvPr>
          <p:cNvGrpSpPr/>
          <p:nvPr/>
        </p:nvGrpSpPr>
        <p:grpSpPr>
          <a:xfrm>
            <a:off x="4291770" y="2453931"/>
            <a:ext cx="1452311" cy="1731557"/>
            <a:chOff x="6778005" y="3354368"/>
            <a:chExt cx="1933025" cy="2304698"/>
          </a:xfrm>
        </p:grpSpPr>
        <p:sp>
          <p:nvSpPr>
            <p:cNvPr id="10" name="TextBox 26">
              <a:extLst>
                <a:ext uri="{FF2B5EF4-FFF2-40B4-BE49-F238E27FC236}">
                  <a16:creationId xmlns:a16="http://schemas.microsoft.com/office/drawing/2014/main" id="{AFBB371D-A34D-900E-2AF4-71F9B1D506FD}"/>
                </a:ext>
              </a:extLst>
            </p:cNvPr>
            <p:cNvSpPr txBox="1"/>
            <p:nvPr/>
          </p:nvSpPr>
          <p:spPr>
            <a:xfrm>
              <a:off x="6778005" y="5051419"/>
              <a:ext cx="1933025" cy="607647"/>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pl-PL" sz="1800" b="1" i="0" u="none" strike="noStrike" kern="1200" cap="none" spc="0" normalizeH="0" baseline="0" noProof="0" dirty="0">
                  <a:ln>
                    <a:noFill/>
                  </a:ln>
                  <a:solidFill>
                    <a:srgbClr val="7E93A5"/>
                  </a:solidFill>
                  <a:effectLst/>
                  <a:uLnTx/>
                  <a:uFillTx/>
                  <a:latin typeface="Arial"/>
                  <a:ea typeface="+mn-ea"/>
                  <a:cs typeface="+mn-cs"/>
                </a:rPr>
                <a:t>AML </a:t>
              </a:r>
              <a:r>
                <a:rPr kumimoji="0" lang="pl-PL" sz="1800" b="1" i="0" u="none" strike="noStrike" kern="1200" cap="none" spc="0" normalizeH="0" baseline="0" noProof="0" dirty="0" err="1">
                  <a:ln>
                    <a:noFill/>
                  </a:ln>
                  <a:solidFill>
                    <a:srgbClr val="7E93A5"/>
                  </a:solidFill>
                  <a:effectLst/>
                  <a:uLnTx/>
                  <a:uFillTx/>
                  <a:latin typeface="Arial"/>
                  <a:ea typeface="+mn-ea"/>
                  <a:cs typeface="+mn-cs"/>
                </a:rPr>
                <a:t>topics</a:t>
              </a:r>
              <a:endParaRPr kumimoji="0" lang="pl-PL" sz="1800" b="1" i="0" u="none" strike="noStrike" kern="1200" cap="none" spc="0" normalizeH="0" baseline="0" noProof="0" dirty="0">
                <a:ln>
                  <a:noFill/>
                </a:ln>
                <a:solidFill>
                  <a:srgbClr val="7E93A5"/>
                </a:solidFill>
                <a:effectLst/>
                <a:uLnTx/>
                <a:uFillTx/>
                <a:latin typeface="Arial"/>
                <a:ea typeface="+mn-ea"/>
                <a:cs typeface="+mn-cs"/>
              </a:endParaRPr>
            </a:p>
          </p:txBody>
        </p:sp>
        <p:sp>
          <p:nvSpPr>
            <p:cNvPr id="11" name="Shape 2460">
              <a:extLst>
                <a:ext uri="{FF2B5EF4-FFF2-40B4-BE49-F238E27FC236}">
                  <a16:creationId xmlns:a16="http://schemas.microsoft.com/office/drawing/2014/main" id="{194D1150-B9D3-B53A-0DD1-80753EFB1853}"/>
                </a:ext>
              </a:extLst>
            </p:cNvPr>
            <p:cNvSpPr/>
            <p:nvPr/>
          </p:nvSpPr>
          <p:spPr>
            <a:xfrm>
              <a:off x="7496677" y="3354368"/>
              <a:ext cx="500896" cy="409838"/>
            </a:xfrm>
            <a:custGeom>
              <a:avLst/>
              <a:gdLst/>
              <a:ahLst/>
              <a:cxnLst>
                <a:cxn ang="0">
                  <a:pos x="wd2" y="hd2"/>
                </a:cxn>
                <a:cxn ang="5400000">
                  <a:pos x="wd2" y="hd2"/>
                </a:cxn>
                <a:cxn ang="10800000">
                  <a:pos x="wd2" y="hd2"/>
                </a:cxn>
                <a:cxn ang="16200000">
                  <a:pos x="wd2" y="hd2"/>
                </a:cxn>
              </a:cxnLst>
              <a:rect l="0" t="0" r="r" b="b"/>
              <a:pathLst>
                <a:path w="21600" h="21600" extrusionOk="0">
                  <a:moveTo>
                    <a:pt x="4457" y="20400"/>
                  </a:moveTo>
                  <a:cubicBezTo>
                    <a:pt x="4686" y="18711"/>
                    <a:pt x="5897" y="18036"/>
                    <a:pt x="7134" y="17493"/>
                  </a:cubicBezTo>
                  <a:lnTo>
                    <a:pt x="7173" y="17477"/>
                  </a:lnTo>
                  <a:cubicBezTo>
                    <a:pt x="8055" y="17190"/>
                    <a:pt x="9626" y="16039"/>
                    <a:pt x="9626" y="13569"/>
                  </a:cubicBezTo>
                  <a:cubicBezTo>
                    <a:pt x="9626" y="11474"/>
                    <a:pt x="8932" y="10452"/>
                    <a:pt x="8558" y="9902"/>
                  </a:cubicBezTo>
                  <a:cubicBezTo>
                    <a:pt x="8484" y="9791"/>
                    <a:pt x="8394" y="9649"/>
                    <a:pt x="8414" y="9680"/>
                  </a:cubicBezTo>
                  <a:cubicBezTo>
                    <a:pt x="8384" y="9599"/>
                    <a:pt x="8237" y="9129"/>
                    <a:pt x="8449" y="8035"/>
                  </a:cubicBezTo>
                  <a:cubicBezTo>
                    <a:pt x="8549" y="7522"/>
                    <a:pt x="8380" y="7241"/>
                    <a:pt x="8380" y="7241"/>
                  </a:cubicBezTo>
                  <a:cubicBezTo>
                    <a:pt x="8112" y="6505"/>
                    <a:pt x="7614" y="5133"/>
                    <a:pt x="7988" y="4025"/>
                  </a:cubicBezTo>
                  <a:cubicBezTo>
                    <a:pt x="8490" y="2492"/>
                    <a:pt x="8935" y="2190"/>
                    <a:pt x="9741" y="1747"/>
                  </a:cubicBezTo>
                  <a:cubicBezTo>
                    <a:pt x="9788" y="1721"/>
                    <a:pt x="9834" y="1691"/>
                    <a:pt x="9877" y="1657"/>
                  </a:cubicBezTo>
                  <a:cubicBezTo>
                    <a:pt x="10029" y="1535"/>
                    <a:pt x="10674" y="1200"/>
                    <a:pt x="11403" y="1200"/>
                  </a:cubicBezTo>
                  <a:cubicBezTo>
                    <a:pt x="11768" y="1200"/>
                    <a:pt x="12075" y="1285"/>
                    <a:pt x="12318" y="1454"/>
                  </a:cubicBezTo>
                  <a:cubicBezTo>
                    <a:pt x="12610" y="1655"/>
                    <a:pt x="12890" y="2039"/>
                    <a:pt x="13313" y="3271"/>
                  </a:cubicBezTo>
                  <a:cubicBezTo>
                    <a:pt x="14101" y="5469"/>
                    <a:pt x="13602" y="6698"/>
                    <a:pt x="13350" y="7124"/>
                  </a:cubicBezTo>
                  <a:cubicBezTo>
                    <a:pt x="13183" y="7407"/>
                    <a:pt x="13126" y="7764"/>
                    <a:pt x="13191" y="8102"/>
                  </a:cubicBezTo>
                  <a:cubicBezTo>
                    <a:pt x="13386" y="9109"/>
                    <a:pt x="13260" y="9534"/>
                    <a:pt x="13227" y="9619"/>
                  </a:cubicBezTo>
                  <a:cubicBezTo>
                    <a:pt x="13219" y="9631"/>
                    <a:pt x="13101" y="9814"/>
                    <a:pt x="13041" y="9902"/>
                  </a:cubicBezTo>
                  <a:cubicBezTo>
                    <a:pt x="12668" y="10452"/>
                    <a:pt x="11973" y="11474"/>
                    <a:pt x="11973" y="13569"/>
                  </a:cubicBezTo>
                  <a:cubicBezTo>
                    <a:pt x="11973" y="16039"/>
                    <a:pt x="13545" y="17190"/>
                    <a:pt x="14427" y="17477"/>
                  </a:cubicBezTo>
                  <a:lnTo>
                    <a:pt x="14466" y="17493"/>
                  </a:lnTo>
                  <a:cubicBezTo>
                    <a:pt x="15703" y="18036"/>
                    <a:pt x="16914" y="18711"/>
                    <a:pt x="17143" y="20400"/>
                  </a:cubicBezTo>
                  <a:cubicBezTo>
                    <a:pt x="17143" y="20400"/>
                    <a:pt x="4457" y="20400"/>
                    <a:pt x="4457" y="20400"/>
                  </a:cubicBezTo>
                  <a:close/>
                  <a:moveTo>
                    <a:pt x="14715" y="16328"/>
                  </a:moveTo>
                  <a:cubicBezTo>
                    <a:pt x="14715" y="16328"/>
                    <a:pt x="12955" y="15815"/>
                    <a:pt x="12955" y="13569"/>
                  </a:cubicBezTo>
                  <a:cubicBezTo>
                    <a:pt x="12955" y="11596"/>
                    <a:pt x="13678" y="10901"/>
                    <a:pt x="13957" y="10421"/>
                  </a:cubicBezTo>
                  <a:cubicBezTo>
                    <a:pt x="13957" y="10421"/>
                    <a:pt x="14531" y="9807"/>
                    <a:pt x="14146" y="7826"/>
                  </a:cubicBezTo>
                  <a:cubicBezTo>
                    <a:pt x="14787" y="6740"/>
                    <a:pt x="14995" y="4972"/>
                    <a:pt x="14211" y="2789"/>
                  </a:cubicBezTo>
                  <a:cubicBezTo>
                    <a:pt x="13774" y="1514"/>
                    <a:pt x="13389" y="815"/>
                    <a:pt x="12801" y="409"/>
                  </a:cubicBezTo>
                  <a:cubicBezTo>
                    <a:pt x="12370" y="110"/>
                    <a:pt x="11880" y="0"/>
                    <a:pt x="11403" y="0"/>
                  </a:cubicBezTo>
                  <a:cubicBezTo>
                    <a:pt x="10516" y="0"/>
                    <a:pt x="9675" y="384"/>
                    <a:pt x="9339" y="653"/>
                  </a:cubicBezTo>
                  <a:cubicBezTo>
                    <a:pt x="8357" y="1192"/>
                    <a:pt x="7697" y="1688"/>
                    <a:pt x="7077" y="3579"/>
                  </a:cubicBezTo>
                  <a:cubicBezTo>
                    <a:pt x="6540" y="5168"/>
                    <a:pt x="7179" y="6892"/>
                    <a:pt x="7494" y="7758"/>
                  </a:cubicBezTo>
                  <a:cubicBezTo>
                    <a:pt x="7110" y="9740"/>
                    <a:pt x="7642" y="10421"/>
                    <a:pt x="7642" y="10421"/>
                  </a:cubicBezTo>
                  <a:cubicBezTo>
                    <a:pt x="7922" y="10901"/>
                    <a:pt x="8644" y="11596"/>
                    <a:pt x="8644" y="13569"/>
                  </a:cubicBezTo>
                  <a:cubicBezTo>
                    <a:pt x="8644" y="15815"/>
                    <a:pt x="6885" y="16328"/>
                    <a:pt x="6885" y="16328"/>
                  </a:cubicBezTo>
                  <a:cubicBezTo>
                    <a:pt x="5768" y="16819"/>
                    <a:pt x="3436" y="17760"/>
                    <a:pt x="3436" y="21000"/>
                  </a:cubicBezTo>
                  <a:cubicBezTo>
                    <a:pt x="3436" y="21000"/>
                    <a:pt x="3436" y="21600"/>
                    <a:pt x="3927" y="21600"/>
                  </a:cubicBezTo>
                  <a:lnTo>
                    <a:pt x="17673" y="21600"/>
                  </a:lnTo>
                  <a:cubicBezTo>
                    <a:pt x="18164" y="21600"/>
                    <a:pt x="18164" y="21000"/>
                    <a:pt x="18164" y="21000"/>
                  </a:cubicBezTo>
                  <a:cubicBezTo>
                    <a:pt x="18164" y="17760"/>
                    <a:pt x="15832" y="16819"/>
                    <a:pt x="14715" y="16328"/>
                  </a:cubicBezTo>
                  <a:moveTo>
                    <a:pt x="19516" y="15006"/>
                  </a:moveTo>
                  <a:cubicBezTo>
                    <a:pt x="19516" y="15006"/>
                    <a:pt x="18416" y="14701"/>
                    <a:pt x="18416" y="12954"/>
                  </a:cubicBezTo>
                  <a:cubicBezTo>
                    <a:pt x="18416" y="11419"/>
                    <a:pt x="18794" y="10879"/>
                    <a:pt x="19017" y="10506"/>
                  </a:cubicBezTo>
                  <a:cubicBezTo>
                    <a:pt x="19017" y="10506"/>
                    <a:pt x="19443" y="9975"/>
                    <a:pt x="19136" y="8435"/>
                  </a:cubicBezTo>
                  <a:cubicBezTo>
                    <a:pt x="19388" y="7760"/>
                    <a:pt x="19900" y="6419"/>
                    <a:pt x="19470" y="5184"/>
                  </a:cubicBezTo>
                  <a:cubicBezTo>
                    <a:pt x="18974" y="3714"/>
                    <a:pt x="18645" y="3327"/>
                    <a:pt x="17860" y="2908"/>
                  </a:cubicBezTo>
                  <a:cubicBezTo>
                    <a:pt x="17591" y="2699"/>
                    <a:pt x="16918" y="2400"/>
                    <a:pt x="16208" y="2400"/>
                  </a:cubicBezTo>
                  <a:cubicBezTo>
                    <a:pt x="15873" y="2400"/>
                    <a:pt x="15531" y="2473"/>
                    <a:pt x="15218" y="2647"/>
                  </a:cubicBezTo>
                  <a:cubicBezTo>
                    <a:pt x="15343" y="3035"/>
                    <a:pt x="15449" y="3420"/>
                    <a:pt x="15525" y="3799"/>
                  </a:cubicBezTo>
                  <a:cubicBezTo>
                    <a:pt x="15537" y="3790"/>
                    <a:pt x="15550" y="3779"/>
                    <a:pt x="15563" y="3770"/>
                  </a:cubicBezTo>
                  <a:cubicBezTo>
                    <a:pt x="15730" y="3657"/>
                    <a:pt x="15948" y="3600"/>
                    <a:pt x="16208" y="3600"/>
                  </a:cubicBezTo>
                  <a:cubicBezTo>
                    <a:pt x="16716" y="3600"/>
                    <a:pt x="17211" y="3825"/>
                    <a:pt x="17332" y="3919"/>
                  </a:cubicBezTo>
                  <a:cubicBezTo>
                    <a:pt x="17375" y="3953"/>
                    <a:pt x="17421" y="3983"/>
                    <a:pt x="17467" y="4008"/>
                  </a:cubicBezTo>
                  <a:cubicBezTo>
                    <a:pt x="17950" y="4265"/>
                    <a:pt x="18131" y="4362"/>
                    <a:pt x="18562" y="5641"/>
                  </a:cubicBezTo>
                  <a:cubicBezTo>
                    <a:pt x="18822" y="6387"/>
                    <a:pt x="18452" y="7378"/>
                    <a:pt x="18253" y="7911"/>
                  </a:cubicBezTo>
                  <a:cubicBezTo>
                    <a:pt x="18161" y="8156"/>
                    <a:pt x="18130" y="8457"/>
                    <a:pt x="18182" y="8718"/>
                  </a:cubicBezTo>
                  <a:cubicBezTo>
                    <a:pt x="18316" y="9392"/>
                    <a:pt x="18254" y="9706"/>
                    <a:pt x="18232" y="9784"/>
                  </a:cubicBezTo>
                  <a:cubicBezTo>
                    <a:pt x="18230" y="9788"/>
                    <a:pt x="18227" y="9793"/>
                    <a:pt x="18224" y="9798"/>
                  </a:cubicBezTo>
                  <a:lnTo>
                    <a:pt x="18191" y="9853"/>
                  </a:lnTo>
                  <a:cubicBezTo>
                    <a:pt x="17926" y="10290"/>
                    <a:pt x="17434" y="11106"/>
                    <a:pt x="17434" y="12954"/>
                  </a:cubicBezTo>
                  <a:cubicBezTo>
                    <a:pt x="17434" y="15019"/>
                    <a:pt x="18570" y="15933"/>
                    <a:pt x="19229" y="16155"/>
                  </a:cubicBezTo>
                  <a:cubicBezTo>
                    <a:pt x="19856" y="16429"/>
                    <a:pt x="20435" y="16859"/>
                    <a:pt x="20582" y="17999"/>
                  </a:cubicBezTo>
                  <a:lnTo>
                    <a:pt x="18459" y="18000"/>
                  </a:lnTo>
                  <a:cubicBezTo>
                    <a:pt x="18647" y="18353"/>
                    <a:pt x="18802" y="18755"/>
                    <a:pt x="18920" y="19200"/>
                  </a:cubicBezTo>
                  <a:lnTo>
                    <a:pt x="21109" y="19199"/>
                  </a:lnTo>
                  <a:cubicBezTo>
                    <a:pt x="21600" y="19199"/>
                    <a:pt x="21600" y="18599"/>
                    <a:pt x="21600" y="18599"/>
                  </a:cubicBezTo>
                  <a:cubicBezTo>
                    <a:pt x="21600" y="16199"/>
                    <a:pt x="20410" y="15388"/>
                    <a:pt x="19516" y="15006"/>
                  </a:cubicBezTo>
                  <a:moveTo>
                    <a:pt x="2371" y="16155"/>
                  </a:moveTo>
                  <a:cubicBezTo>
                    <a:pt x="3030" y="15933"/>
                    <a:pt x="4166" y="15019"/>
                    <a:pt x="4166" y="12954"/>
                  </a:cubicBezTo>
                  <a:cubicBezTo>
                    <a:pt x="4166" y="11106"/>
                    <a:pt x="3673" y="10290"/>
                    <a:pt x="3409" y="9853"/>
                  </a:cubicBezTo>
                  <a:lnTo>
                    <a:pt x="3376" y="9798"/>
                  </a:lnTo>
                  <a:cubicBezTo>
                    <a:pt x="3373" y="9793"/>
                    <a:pt x="3370" y="9788"/>
                    <a:pt x="3367" y="9784"/>
                  </a:cubicBezTo>
                  <a:cubicBezTo>
                    <a:pt x="3346" y="9706"/>
                    <a:pt x="3283" y="9392"/>
                    <a:pt x="3418" y="8718"/>
                  </a:cubicBezTo>
                  <a:cubicBezTo>
                    <a:pt x="3470" y="8457"/>
                    <a:pt x="3439" y="8156"/>
                    <a:pt x="3347" y="7911"/>
                  </a:cubicBezTo>
                  <a:cubicBezTo>
                    <a:pt x="3148" y="7378"/>
                    <a:pt x="2778" y="6387"/>
                    <a:pt x="3038" y="5641"/>
                  </a:cubicBezTo>
                  <a:cubicBezTo>
                    <a:pt x="3469" y="4362"/>
                    <a:pt x="3649" y="4265"/>
                    <a:pt x="4133" y="4008"/>
                  </a:cubicBezTo>
                  <a:cubicBezTo>
                    <a:pt x="4180" y="3983"/>
                    <a:pt x="4225" y="3953"/>
                    <a:pt x="4268" y="3919"/>
                  </a:cubicBezTo>
                  <a:cubicBezTo>
                    <a:pt x="4389" y="3825"/>
                    <a:pt x="4884" y="3600"/>
                    <a:pt x="5392" y="3600"/>
                  </a:cubicBezTo>
                  <a:cubicBezTo>
                    <a:pt x="5636" y="3600"/>
                    <a:pt x="5839" y="3655"/>
                    <a:pt x="6002" y="3755"/>
                  </a:cubicBezTo>
                  <a:cubicBezTo>
                    <a:pt x="6045" y="3548"/>
                    <a:pt x="6096" y="3341"/>
                    <a:pt x="6165" y="3134"/>
                  </a:cubicBezTo>
                  <a:cubicBezTo>
                    <a:pt x="6225" y="2950"/>
                    <a:pt x="6289" y="2793"/>
                    <a:pt x="6351" y="2630"/>
                  </a:cubicBezTo>
                  <a:cubicBezTo>
                    <a:pt x="6046" y="2468"/>
                    <a:pt x="5716" y="2400"/>
                    <a:pt x="5392" y="2400"/>
                  </a:cubicBezTo>
                  <a:cubicBezTo>
                    <a:pt x="4682" y="2400"/>
                    <a:pt x="4009" y="2699"/>
                    <a:pt x="3740" y="2908"/>
                  </a:cubicBezTo>
                  <a:cubicBezTo>
                    <a:pt x="2955" y="3327"/>
                    <a:pt x="2625" y="3714"/>
                    <a:pt x="2130" y="5184"/>
                  </a:cubicBezTo>
                  <a:cubicBezTo>
                    <a:pt x="1700" y="6419"/>
                    <a:pt x="2212" y="7760"/>
                    <a:pt x="2464" y="8435"/>
                  </a:cubicBezTo>
                  <a:cubicBezTo>
                    <a:pt x="2156" y="9975"/>
                    <a:pt x="2583" y="10506"/>
                    <a:pt x="2583" y="10506"/>
                  </a:cubicBezTo>
                  <a:cubicBezTo>
                    <a:pt x="2806" y="10879"/>
                    <a:pt x="3185" y="11419"/>
                    <a:pt x="3185" y="12954"/>
                  </a:cubicBezTo>
                  <a:cubicBezTo>
                    <a:pt x="3185" y="14701"/>
                    <a:pt x="2084" y="15006"/>
                    <a:pt x="2084" y="15006"/>
                  </a:cubicBezTo>
                  <a:cubicBezTo>
                    <a:pt x="1191" y="15388"/>
                    <a:pt x="0" y="16199"/>
                    <a:pt x="0" y="18599"/>
                  </a:cubicBezTo>
                  <a:cubicBezTo>
                    <a:pt x="0" y="18599"/>
                    <a:pt x="0" y="19199"/>
                    <a:pt x="491" y="19199"/>
                  </a:cubicBezTo>
                  <a:lnTo>
                    <a:pt x="2680" y="19200"/>
                  </a:lnTo>
                  <a:cubicBezTo>
                    <a:pt x="2798" y="18755"/>
                    <a:pt x="2952" y="18353"/>
                    <a:pt x="3141" y="18000"/>
                  </a:cubicBezTo>
                  <a:lnTo>
                    <a:pt x="1018" y="17999"/>
                  </a:lnTo>
                  <a:cubicBezTo>
                    <a:pt x="1165" y="16859"/>
                    <a:pt x="1744" y="16429"/>
                    <a:pt x="2371" y="16155"/>
                  </a:cubicBezTo>
                </a:path>
              </a:pathLst>
            </a:custGeom>
            <a:solidFill>
              <a:schemeClr val="bg1"/>
            </a:solidFill>
            <a:ln w="12700">
              <a:miter lim="400000"/>
            </a:ln>
          </p:spPr>
          <p:txBody>
            <a:bodyPr lIns="19049" tIns="19049" rIns="19049" bIns="19049" anchor="ctr"/>
            <a:lstStyle/>
            <a:p>
              <a:pPr marL="0" marR="0" lvl="0" indent="0" algn="ctr" defTabSz="228580" rtl="0" eaLnBrk="1" fontAlgn="auto" latinLnBrk="0" hangingPunct="0">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lang="en-US" sz="1562" b="0" i="0" u="none" strike="noStrike" kern="0" cap="none" spc="0" normalizeH="0" baseline="0" noProof="0" dirty="0">
                <a:ln>
                  <a:noFill/>
                </a:ln>
                <a:solidFill>
                  <a:srgbClr val="FFFFFF"/>
                </a:solidFill>
                <a:effectLst>
                  <a:outerShdw blurRad="38100" dist="12700" dir="5400000" rotWithShape="0">
                    <a:srgbClr val="000000">
                      <a:alpha val="50000"/>
                    </a:srgbClr>
                  </a:outerShdw>
                </a:effectLst>
                <a:uLnTx/>
                <a:uFillTx/>
                <a:latin typeface="Arial"/>
                <a:ea typeface="Arial"/>
                <a:cs typeface="Arial"/>
                <a:sym typeface="Gill Sans"/>
              </a:endParaRPr>
            </a:p>
          </p:txBody>
        </p:sp>
      </p:grpSp>
      <p:grpSp>
        <p:nvGrpSpPr>
          <p:cNvPr id="12" name="Group 28">
            <a:extLst>
              <a:ext uri="{FF2B5EF4-FFF2-40B4-BE49-F238E27FC236}">
                <a16:creationId xmlns:a16="http://schemas.microsoft.com/office/drawing/2014/main" id="{E5EDB327-7E5B-4D52-E87D-018339E2B8EB}"/>
              </a:ext>
            </a:extLst>
          </p:cNvPr>
          <p:cNvGrpSpPr/>
          <p:nvPr/>
        </p:nvGrpSpPr>
        <p:grpSpPr>
          <a:xfrm>
            <a:off x="991853" y="2021105"/>
            <a:ext cx="2006430" cy="2164383"/>
            <a:chOff x="8254046" y="2773662"/>
            <a:chExt cx="2670558" cy="2880789"/>
          </a:xfrm>
        </p:grpSpPr>
        <p:sp>
          <p:nvSpPr>
            <p:cNvPr id="13" name="TextBox 29">
              <a:extLst>
                <a:ext uri="{FF2B5EF4-FFF2-40B4-BE49-F238E27FC236}">
                  <a16:creationId xmlns:a16="http://schemas.microsoft.com/office/drawing/2014/main" id="{0FD55F46-8E68-DE19-95B9-A8CF7D4FAFBB}"/>
                </a:ext>
              </a:extLst>
            </p:cNvPr>
            <p:cNvSpPr txBox="1"/>
            <p:nvPr/>
          </p:nvSpPr>
          <p:spPr>
            <a:xfrm>
              <a:off x="8254046" y="5046804"/>
              <a:ext cx="2670558" cy="607647"/>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pl-PL" sz="1800" b="1" i="0" u="none" strike="noStrike" kern="1200" cap="none" spc="0" normalizeH="0" baseline="0" noProof="0" dirty="0" err="1">
                  <a:ln>
                    <a:noFill/>
                  </a:ln>
                  <a:solidFill>
                    <a:srgbClr val="70A300"/>
                  </a:solidFill>
                  <a:effectLst/>
                  <a:uLnTx/>
                  <a:uFillTx/>
                  <a:latin typeface="Arial"/>
                  <a:ea typeface="+mn-ea"/>
                  <a:cs typeface="+mn-cs"/>
                </a:rPr>
                <a:t>Bailiffs</a:t>
              </a:r>
              <a:r>
                <a:rPr kumimoji="0" lang="pl-PL" sz="1800" b="1" i="0" u="none" strike="noStrike" kern="1200" cap="none" spc="0" normalizeH="0" baseline="0" noProof="0" dirty="0">
                  <a:ln>
                    <a:noFill/>
                  </a:ln>
                  <a:solidFill>
                    <a:srgbClr val="70A300"/>
                  </a:solidFill>
                  <a:effectLst/>
                  <a:uLnTx/>
                  <a:uFillTx/>
                  <a:latin typeface="Arial"/>
                  <a:ea typeface="+mn-ea"/>
                  <a:cs typeface="+mn-cs"/>
                </a:rPr>
                <a:t>’ </a:t>
              </a:r>
              <a:r>
                <a:rPr kumimoji="0" lang="pl-PL" sz="1800" b="1" i="0" u="none" strike="noStrike" kern="1200" cap="none" spc="0" normalizeH="0" baseline="0" noProof="0" dirty="0" err="1">
                  <a:ln>
                    <a:noFill/>
                  </a:ln>
                  <a:solidFill>
                    <a:srgbClr val="70A300"/>
                  </a:solidFill>
                  <a:effectLst/>
                  <a:uLnTx/>
                  <a:uFillTx/>
                  <a:latin typeface="Arial"/>
                  <a:ea typeface="+mn-ea"/>
                  <a:cs typeface="+mn-cs"/>
                </a:rPr>
                <a:t>seizures</a:t>
              </a:r>
              <a:endParaRPr kumimoji="0" lang="pl-PL" sz="1800" b="1" i="0" u="none" strike="noStrike" kern="1200" cap="none" spc="0" normalizeH="0" baseline="0" noProof="0" dirty="0">
                <a:ln>
                  <a:noFill/>
                </a:ln>
                <a:solidFill>
                  <a:srgbClr val="70A300"/>
                </a:solidFill>
                <a:effectLst/>
                <a:uLnTx/>
                <a:uFillTx/>
                <a:latin typeface="Arial"/>
                <a:ea typeface="+mn-ea"/>
                <a:cs typeface="+mn-cs"/>
              </a:endParaRPr>
            </a:p>
          </p:txBody>
        </p:sp>
        <p:sp>
          <p:nvSpPr>
            <p:cNvPr id="14" name="Shape 2460">
              <a:extLst>
                <a:ext uri="{FF2B5EF4-FFF2-40B4-BE49-F238E27FC236}">
                  <a16:creationId xmlns:a16="http://schemas.microsoft.com/office/drawing/2014/main" id="{764BCAD5-CD32-1BA3-50A3-A60EEB0BED88}"/>
                </a:ext>
              </a:extLst>
            </p:cNvPr>
            <p:cNvSpPr/>
            <p:nvPr/>
          </p:nvSpPr>
          <p:spPr>
            <a:xfrm>
              <a:off x="9167230" y="2773662"/>
              <a:ext cx="764328" cy="625381"/>
            </a:xfrm>
            <a:custGeom>
              <a:avLst/>
              <a:gdLst/>
              <a:ahLst/>
              <a:cxnLst>
                <a:cxn ang="0">
                  <a:pos x="wd2" y="hd2"/>
                </a:cxn>
                <a:cxn ang="5400000">
                  <a:pos x="wd2" y="hd2"/>
                </a:cxn>
                <a:cxn ang="10800000">
                  <a:pos x="wd2" y="hd2"/>
                </a:cxn>
                <a:cxn ang="16200000">
                  <a:pos x="wd2" y="hd2"/>
                </a:cxn>
              </a:cxnLst>
              <a:rect l="0" t="0" r="r" b="b"/>
              <a:pathLst>
                <a:path w="21600" h="21600" extrusionOk="0">
                  <a:moveTo>
                    <a:pt x="4457" y="20400"/>
                  </a:moveTo>
                  <a:cubicBezTo>
                    <a:pt x="4686" y="18711"/>
                    <a:pt x="5897" y="18036"/>
                    <a:pt x="7134" y="17493"/>
                  </a:cubicBezTo>
                  <a:lnTo>
                    <a:pt x="7173" y="17477"/>
                  </a:lnTo>
                  <a:cubicBezTo>
                    <a:pt x="8055" y="17190"/>
                    <a:pt x="9626" y="16039"/>
                    <a:pt x="9626" y="13569"/>
                  </a:cubicBezTo>
                  <a:cubicBezTo>
                    <a:pt x="9626" y="11474"/>
                    <a:pt x="8932" y="10452"/>
                    <a:pt x="8558" y="9902"/>
                  </a:cubicBezTo>
                  <a:cubicBezTo>
                    <a:pt x="8484" y="9791"/>
                    <a:pt x="8394" y="9649"/>
                    <a:pt x="8414" y="9680"/>
                  </a:cubicBezTo>
                  <a:cubicBezTo>
                    <a:pt x="8384" y="9599"/>
                    <a:pt x="8237" y="9129"/>
                    <a:pt x="8449" y="8035"/>
                  </a:cubicBezTo>
                  <a:cubicBezTo>
                    <a:pt x="8549" y="7522"/>
                    <a:pt x="8380" y="7241"/>
                    <a:pt x="8380" y="7241"/>
                  </a:cubicBezTo>
                  <a:cubicBezTo>
                    <a:pt x="8112" y="6505"/>
                    <a:pt x="7614" y="5133"/>
                    <a:pt x="7988" y="4025"/>
                  </a:cubicBezTo>
                  <a:cubicBezTo>
                    <a:pt x="8490" y="2492"/>
                    <a:pt x="8935" y="2190"/>
                    <a:pt x="9741" y="1747"/>
                  </a:cubicBezTo>
                  <a:cubicBezTo>
                    <a:pt x="9788" y="1721"/>
                    <a:pt x="9834" y="1691"/>
                    <a:pt x="9877" y="1657"/>
                  </a:cubicBezTo>
                  <a:cubicBezTo>
                    <a:pt x="10029" y="1535"/>
                    <a:pt x="10674" y="1200"/>
                    <a:pt x="11403" y="1200"/>
                  </a:cubicBezTo>
                  <a:cubicBezTo>
                    <a:pt x="11768" y="1200"/>
                    <a:pt x="12075" y="1285"/>
                    <a:pt x="12318" y="1454"/>
                  </a:cubicBezTo>
                  <a:cubicBezTo>
                    <a:pt x="12610" y="1655"/>
                    <a:pt x="12890" y="2039"/>
                    <a:pt x="13313" y="3271"/>
                  </a:cubicBezTo>
                  <a:cubicBezTo>
                    <a:pt x="14101" y="5469"/>
                    <a:pt x="13602" y="6698"/>
                    <a:pt x="13350" y="7124"/>
                  </a:cubicBezTo>
                  <a:cubicBezTo>
                    <a:pt x="13183" y="7407"/>
                    <a:pt x="13126" y="7764"/>
                    <a:pt x="13191" y="8102"/>
                  </a:cubicBezTo>
                  <a:cubicBezTo>
                    <a:pt x="13386" y="9109"/>
                    <a:pt x="13260" y="9534"/>
                    <a:pt x="13227" y="9619"/>
                  </a:cubicBezTo>
                  <a:cubicBezTo>
                    <a:pt x="13219" y="9631"/>
                    <a:pt x="13101" y="9814"/>
                    <a:pt x="13041" y="9902"/>
                  </a:cubicBezTo>
                  <a:cubicBezTo>
                    <a:pt x="12668" y="10452"/>
                    <a:pt x="11973" y="11474"/>
                    <a:pt x="11973" y="13569"/>
                  </a:cubicBezTo>
                  <a:cubicBezTo>
                    <a:pt x="11973" y="16039"/>
                    <a:pt x="13545" y="17190"/>
                    <a:pt x="14427" y="17477"/>
                  </a:cubicBezTo>
                  <a:lnTo>
                    <a:pt x="14466" y="17493"/>
                  </a:lnTo>
                  <a:cubicBezTo>
                    <a:pt x="15703" y="18036"/>
                    <a:pt x="16914" y="18711"/>
                    <a:pt x="17143" y="20400"/>
                  </a:cubicBezTo>
                  <a:cubicBezTo>
                    <a:pt x="17143" y="20400"/>
                    <a:pt x="4457" y="20400"/>
                    <a:pt x="4457" y="20400"/>
                  </a:cubicBezTo>
                  <a:close/>
                  <a:moveTo>
                    <a:pt x="14715" y="16328"/>
                  </a:moveTo>
                  <a:cubicBezTo>
                    <a:pt x="14715" y="16328"/>
                    <a:pt x="12955" y="15815"/>
                    <a:pt x="12955" y="13569"/>
                  </a:cubicBezTo>
                  <a:cubicBezTo>
                    <a:pt x="12955" y="11596"/>
                    <a:pt x="13678" y="10901"/>
                    <a:pt x="13957" y="10421"/>
                  </a:cubicBezTo>
                  <a:cubicBezTo>
                    <a:pt x="13957" y="10421"/>
                    <a:pt x="14531" y="9807"/>
                    <a:pt x="14146" y="7826"/>
                  </a:cubicBezTo>
                  <a:cubicBezTo>
                    <a:pt x="14787" y="6740"/>
                    <a:pt x="14995" y="4972"/>
                    <a:pt x="14211" y="2789"/>
                  </a:cubicBezTo>
                  <a:cubicBezTo>
                    <a:pt x="13774" y="1514"/>
                    <a:pt x="13389" y="815"/>
                    <a:pt x="12801" y="409"/>
                  </a:cubicBezTo>
                  <a:cubicBezTo>
                    <a:pt x="12370" y="110"/>
                    <a:pt x="11880" y="0"/>
                    <a:pt x="11403" y="0"/>
                  </a:cubicBezTo>
                  <a:cubicBezTo>
                    <a:pt x="10516" y="0"/>
                    <a:pt x="9675" y="384"/>
                    <a:pt x="9339" y="653"/>
                  </a:cubicBezTo>
                  <a:cubicBezTo>
                    <a:pt x="8357" y="1192"/>
                    <a:pt x="7697" y="1688"/>
                    <a:pt x="7077" y="3579"/>
                  </a:cubicBezTo>
                  <a:cubicBezTo>
                    <a:pt x="6540" y="5168"/>
                    <a:pt x="7179" y="6892"/>
                    <a:pt x="7494" y="7758"/>
                  </a:cubicBezTo>
                  <a:cubicBezTo>
                    <a:pt x="7110" y="9740"/>
                    <a:pt x="7642" y="10421"/>
                    <a:pt x="7642" y="10421"/>
                  </a:cubicBezTo>
                  <a:cubicBezTo>
                    <a:pt x="7922" y="10901"/>
                    <a:pt x="8644" y="11596"/>
                    <a:pt x="8644" y="13569"/>
                  </a:cubicBezTo>
                  <a:cubicBezTo>
                    <a:pt x="8644" y="15815"/>
                    <a:pt x="6885" y="16328"/>
                    <a:pt x="6885" y="16328"/>
                  </a:cubicBezTo>
                  <a:cubicBezTo>
                    <a:pt x="5768" y="16819"/>
                    <a:pt x="3436" y="17760"/>
                    <a:pt x="3436" y="21000"/>
                  </a:cubicBezTo>
                  <a:cubicBezTo>
                    <a:pt x="3436" y="21000"/>
                    <a:pt x="3436" y="21600"/>
                    <a:pt x="3927" y="21600"/>
                  </a:cubicBezTo>
                  <a:lnTo>
                    <a:pt x="17673" y="21600"/>
                  </a:lnTo>
                  <a:cubicBezTo>
                    <a:pt x="18164" y="21600"/>
                    <a:pt x="18164" y="21000"/>
                    <a:pt x="18164" y="21000"/>
                  </a:cubicBezTo>
                  <a:cubicBezTo>
                    <a:pt x="18164" y="17760"/>
                    <a:pt x="15832" y="16819"/>
                    <a:pt x="14715" y="16328"/>
                  </a:cubicBezTo>
                  <a:moveTo>
                    <a:pt x="19516" y="15006"/>
                  </a:moveTo>
                  <a:cubicBezTo>
                    <a:pt x="19516" y="15006"/>
                    <a:pt x="18416" y="14701"/>
                    <a:pt x="18416" y="12954"/>
                  </a:cubicBezTo>
                  <a:cubicBezTo>
                    <a:pt x="18416" y="11419"/>
                    <a:pt x="18794" y="10879"/>
                    <a:pt x="19017" y="10506"/>
                  </a:cubicBezTo>
                  <a:cubicBezTo>
                    <a:pt x="19017" y="10506"/>
                    <a:pt x="19443" y="9975"/>
                    <a:pt x="19136" y="8435"/>
                  </a:cubicBezTo>
                  <a:cubicBezTo>
                    <a:pt x="19388" y="7760"/>
                    <a:pt x="19900" y="6419"/>
                    <a:pt x="19470" y="5184"/>
                  </a:cubicBezTo>
                  <a:cubicBezTo>
                    <a:pt x="18974" y="3714"/>
                    <a:pt x="18645" y="3327"/>
                    <a:pt x="17860" y="2908"/>
                  </a:cubicBezTo>
                  <a:cubicBezTo>
                    <a:pt x="17591" y="2699"/>
                    <a:pt x="16918" y="2400"/>
                    <a:pt x="16208" y="2400"/>
                  </a:cubicBezTo>
                  <a:cubicBezTo>
                    <a:pt x="15873" y="2400"/>
                    <a:pt x="15531" y="2473"/>
                    <a:pt x="15218" y="2647"/>
                  </a:cubicBezTo>
                  <a:cubicBezTo>
                    <a:pt x="15343" y="3035"/>
                    <a:pt x="15449" y="3420"/>
                    <a:pt x="15525" y="3799"/>
                  </a:cubicBezTo>
                  <a:cubicBezTo>
                    <a:pt x="15537" y="3790"/>
                    <a:pt x="15550" y="3779"/>
                    <a:pt x="15563" y="3770"/>
                  </a:cubicBezTo>
                  <a:cubicBezTo>
                    <a:pt x="15730" y="3657"/>
                    <a:pt x="15948" y="3600"/>
                    <a:pt x="16208" y="3600"/>
                  </a:cubicBezTo>
                  <a:cubicBezTo>
                    <a:pt x="16716" y="3600"/>
                    <a:pt x="17211" y="3825"/>
                    <a:pt x="17332" y="3919"/>
                  </a:cubicBezTo>
                  <a:cubicBezTo>
                    <a:pt x="17375" y="3953"/>
                    <a:pt x="17421" y="3983"/>
                    <a:pt x="17467" y="4008"/>
                  </a:cubicBezTo>
                  <a:cubicBezTo>
                    <a:pt x="17950" y="4265"/>
                    <a:pt x="18131" y="4362"/>
                    <a:pt x="18562" y="5641"/>
                  </a:cubicBezTo>
                  <a:cubicBezTo>
                    <a:pt x="18822" y="6387"/>
                    <a:pt x="18452" y="7378"/>
                    <a:pt x="18253" y="7911"/>
                  </a:cubicBezTo>
                  <a:cubicBezTo>
                    <a:pt x="18161" y="8156"/>
                    <a:pt x="18130" y="8457"/>
                    <a:pt x="18182" y="8718"/>
                  </a:cubicBezTo>
                  <a:cubicBezTo>
                    <a:pt x="18316" y="9392"/>
                    <a:pt x="18254" y="9706"/>
                    <a:pt x="18232" y="9784"/>
                  </a:cubicBezTo>
                  <a:cubicBezTo>
                    <a:pt x="18230" y="9788"/>
                    <a:pt x="18227" y="9793"/>
                    <a:pt x="18224" y="9798"/>
                  </a:cubicBezTo>
                  <a:lnTo>
                    <a:pt x="18191" y="9853"/>
                  </a:lnTo>
                  <a:cubicBezTo>
                    <a:pt x="17926" y="10290"/>
                    <a:pt x="17434" y="11106"/>
                    <a:pt x="17434" y="12954"/>
                  </a:cubicBezTo>
                  <a:cubicBezTo>
                    <a:pt x="17434" y="15019"/>
                    <a:pt x="18570" y="15933"/>
                    <a:pt x="19229" y="16155"/>
                  </a:cubicBezTo>
                  <a:cubicBezTo>
                    <a:pt x="19856" y="16429"/>
                    <a:pt x="20435" y="16859"/>
                    <a:pt x="20582" y="17999"/>
                  </a:cubicBezTo>
                  <a:lnTo>
                    <a:pt x="18459" y="18000"/>
                  </a:lnTo>
                  <a:cubicBezTo>
                    <a:pt x="18647" y="18353"/>
                    <a:pt x="18802" y="18755"/>
                    <a:pt x="18920" y="19200"/>
                  </a:cubicBezTo>
                  <a:lnTo>
                    <a:pt x="21109" y="19199"/>
                  </a:lnTo>
                  <a:cubicBezTo>
                    <a:pt x="21600" y="19199"/>
                    <a:pt x="21600" y="18599"/>
                    <a:pt x="21600" y="18599"/>
                  </a:cubicBezTo>
                  <a:cubicBezTo>
                    <a:pt x="21600" y="16199"/>
                    <a:pt x="20410" y="15388"/>
                    <a:pt x="19516" y="15006"/>
                  </a:cubicBezTo>
                  <a:moveTo>
                    <a:pt x="2371" y="16155"/>
                  </a:moveTo>
                  <a:cubicBezTo>
                    <a:pt x="3030" y="15933"/>
                    <a:pt x="4166" y="15019"/>
                    <a:pt x="4166" y="12954"/>
                  </a:cubicBezTo>
                  <a:cubicBezTo>
                    <a:pt x="4166" y="11106"/>
                    <a:pt x="3673" y="10290"/>
                    <a:pt x="3409" y="9853"/>
                  </a:cubicBezTo>
                  <a:lnTo>
                    <a:pt x="3376" y="9798"/>
                  </a:lnTo>
                  <a:cubicBezTo>
                    <a:pt x="3373" y="9793"/>
                    <a:pt x="3370" y="9788"/>
                    <a:pt x="3367" y="9784"/>
                  </a:cubicBezTo>
                  <a:cubicBezTo>
                    <a:pt x="3346" y="9706"/>
                    <a:pt x="3283" y="9392"/>
                    <a:pt x="3418" y="8718"/>
                  </a:cubicBezTo>
                  <a:cubicBezTo>
                    <a:pt x="3470" y="8457"/>
                    <a:pt x="3439" y="8156"/>
                    <a:pt x="3347" y="7911"/>
                  </a:cubicBezTo>
                  <a:cubicBezTo>
                    <a:pt x="3148" y="7378"/>
                    <a:pt x="2778" y="6387"/>
                    <a:pt x="3038" y="5641"/>
                  </a:cubicBezTo>
                  <a:cubicBezTo>
                    <a:pt x="3469" y="4362"/>
                    <a:pt x="3649" y="4265"/>
                    <a:pt x="4133" y="4008"/>
                  </a:cubicBezTo>
                  <a:cubicBezTo>
                    <a:pt x="4180" y="3983"/>
                    <a:pt x="4225" y="3953"/>
                    <a:pt x="4268" y="3919"/>
                  </a:cubicBezTo>
                  <a:cubicBezTo>
                    <a:pt x="4389" y="3825"/>
                    <a:pt x="4884" y="3600"/>
                    <a:pt x="5392" y="3600"/>
                  </a:cubicBezTo>
                  <a:cubicBezTo>
                    <a:pt x="5636" y="3600"/>
                    <a:pt x="5839" y="3655"/>
                    <a:pt x="6002" y="3755"/>
                  </a:cubicBezTo>
                  <a:cubicBezTo>
                    <a:pt x="6045" y="3548"/>
                    <a:pt x="6096" y="3341"/>
                    <a:pt x="6165" y="3134"/>
                  </a:cubicBezTo>
                  <a:cubicBezTo>
                    <a:pt x="6225" y="2950"/>
                    <a:pt x="6289" y="2793"/>
                    <a:pt x="6351" y="2630"/>
                  </a:cubicBezTo>
                  <a:cubicBezTo>
                    <a:pt x="6046" y="2468"/>
                    <a:pt x="5716" y="2400"/>
                    <a:pt x="5392" y="2400"/>
                  </a:cubicBezTo>
                  <a:cubicBezTo>
                    <a:pt x="4682" y="2400"/>
                    <a:pt x="4009" y="2699"/>
                    <a:pt x="3740" y="2908"/>
                  </a:cubicBezTo>
                  <a:cubicBezTo>
                    <a:pt x="2955" y="3327"/>
                    <a:pt x="2625" y="3714"/>
                    <a:pt x="2130" y="5184"/>
                  </a:cubicBezTo>
                  <a:cubicBezTo>
                    <a:pt x="1700" y="6419"/>
                    <a:pt x="2212" y="7760"/>
                    <a:pt x="2464" y="8435"/>
                  </a:cubicBezTo>
                  <a:cubicBezTo>
                    <a:pt x="2156" y="9975"/>
                    <a:pt x="2583" y="10506"/>
                    <a:pt x="2583" y="10506"/>
                  </a:cubicBezTo>
                  <a:cubicBezTo>
                    <a:pt x="2806" y="10879"/>
                    <a:pt x="3185" y="11419"/>
                    <a:pt x="3185" y="12954"/>
                  </a:cubicBezTo>
                  <a:cubicBezTo>
                    <a:pt x="3185" y="14701"/>
                    <a:pt x="2084" y="15006"/>
                    <a:pt x="2084" y="15006"/>
                  </a:cubicBezTo>
                  <a:cubicBezTo>
                    <a:pt x="1191" y="15388"/>
                    <a:pt x="0" y="16199"/>
                    <a:pt x="0" y="18599"/>
                  </a:cubicBezTo>
                  <a:cubicBezTo>
                    <a:pt x="0" y="18599"/>
                    <a:pt x="0" y="19199"/>
                    <a:pt x="491" y="19199"/>
                  </a:cubicBezTo>
                  <a:lnTo>
                    <a:pt x="2680" y="19200"/>
                  </a:lnTo>
                  <a:cubicBezTo>
                    <a:pt x="2798" y="18755"/>
                    <a:pt x="2952" y="18353"/>
                    <a:pt x="3141" y="18000"/>
                  </a:cubicBezTo>
                  <a:lnTo>
                    <a:pt x="1018" y="17999"/>
                  </a:lnTo>
                  <a:cubicBezTo>
                    <a:pt x="1165" y="16859"/>
                    <a:pt x="1744" y="16429"/>
                    <a:pt x="2371" y="16155"/>
                  </a:cubicBezTo>
                </a:path>
              </a:pathLst>
            </a:custGeom>
            <a:solidFill>
              <a:schemeClr val="bg1"/>
            </a:solidFill>
            <a:ln w="12700">
              <a:miter lim="400000"/>
            </a:ln>
          </p:spPr>
          <p:txBody>
            <a:bodyPr lIns="19049" tIns="19049" rIns="19049" bIns="19049" anchor="ctr"/>
            <a:lstStyle/>
            <a:p>
              <a:pPr marL="0" marR="0" lvl="0" indent="0" algn="ctr" defTabSz="228580" rtl="0" eaLnBrk="1" fontAlgn="auto" latinLnBrk="0" hangingPunct="0">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lang="en-US" sz="1562" b="0" i="0" u="none" strike="noStrike" kern="0" cap="none" spc="0" normalizeH="0" baseline="0" noProof="0" dirty="0">
                <a:ln>
                  <a:noFill/>
                </a:ln>
                <a:solidFill>
                  <a:srgbClr val="FFFFFF"/>
                </a:solidFill>
                <a:effectLst>
                  <a:outerShdw blurRad="38100" dist="12700" dir="5400000" rotWithShape="0">
                    <a:srgbClr val="000000">
                      <a:alpha val="50000"/>
                    </a:srgbClr>
                  </a:outerShdw>
                </a:effectLst>
                <a:uLnTx/>
                <a:uFillTx/>
                <a:latin typeface="Arial"/>
                <a:ea typeface="Arial"/>
                <a:cs typeface="Arial"/>
                <a:sym typeface="Gill Sans"/>
              </a:endParaRPr>
            </a:p>
          </p:txBody>
        </p:sp>
      </p:grpSp>
      <p:grpSp>
        <p:nvGrpSpPr>
          <p:cNvPr id="15" name="Group 31">
            <a:extLst>
              <a:ext uri="{FF2B5EF4-FFF2-40B4-BE49-F238E27FC236}">
                <a16:creationId xmlns:a16="http://schemas.microsoft.com/office/drawing/2014/main" id="{8F4DA327-BB21-711D-92E4-8C76F5EA3FF9}"/>
              </a:ext>
            </a:extLst>
          </p:cNvPr>
          <p:cNvGrpSpPr/>
          <p:nvPr/>
        </p:nvGrpSpPr>
        <p:grpSpPr>
          <a:xfrm>
            <a:off x="6659716" y="2712069"/>
            <a:ext cx="1879977" cy="1646644"/>
            <a:chOff x="2542674" y="3622196"/>
            <a:chExt cx="2502250" cy="2191679"/>
          </a:xfrm>
        </p:grpSpPr>
        <p:sp>
          <p:nvSpPr>
            <p:cNvPr id="16" name="TextBox 32">
              <a:extLst>
                <a:ext uri="{FF2B5EF4-FFF2-40B4-BE49-F238E27FC236}">
                  <a16:creationId xmlns:a16="http://schemas.microsoft.com/office/drawing/2014/main" id="{350098F6-44DE-0224-585C-2DC9106C9297}"/>
                </a:ext>
              </a:extLst>
            </p:cNvPr>
            <p:cNvSpPr txBox="1"/>
            <p:nvPr/>
          </p:nvSpPr>
          <p:spPr>
            <a:xfrm>
              <a:off x="2542674" y="5035541"/>
              <a:ext cx="2502250" cy="77833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BEC9D3"/>
                  </a:solidFill>
                  <a:effectLst/>
                  <a:uLnTx/>
                  <a:uFillTx/>
                  <a:latin typeface="Arial"/>
                  <a:ea typeface="+mn-ea"/>
                  <a:cs typeface="+mn-cs"/>
                </a:rPr>
                <a:t>Change limits on company card </a:t>
              </a:r>
            </a:p>
          </p:txBody>
        </p:sp>
        <p:sp>
          <p:nvSpPr>
            <p:cNvPr id="17" name="Shape 2460">
              <a:extLst>
                <a:ext uri="{FF2B5EF4-FFF2-40B4-BE49-F238E27FC236}">
                  <a16:creationId xmlns:a16="http://schemas.microsoft.com/office/drawing/2014/main" id="{6BD1EF5D-37D2-49D4-597E-65D1AB810392}"/>
                </a:ext>
              </a:extLst>
            </p:cNvPr>
            <p:cNvSpPr/>
            <p:nvPr/>
          </p:nvSpPr>
          <p:spPr>
            <a:xfrm>
              <a:off x="3596057" y="3622196"/>
              <a:ext cx="395487" cy="323591"/>
            </a:xfrm>
            <a:custGeom>
              <a:avLst/>
              <a:gdLst/>
              <a:ahLst/>
              <a:cxnLst>
                <a:cxn ang="0">
                  <a:pos x="wd2" y="hd2"/>
                </a:cxn>
                <a:cxn ang="5400000">
                  <a:pos x="wd2" y="hd2"/>
                </a:cxn>
                <a:cxn ang="10800000">
                  <a:pos x="wd2" y="hd2"/>
                </a:cxn>
                <a:cxn ang="16200000">
                  <a:pos x="wd2" y="hd2"/>
                </a:cxn>
              </a:cxnLst>
              <a:rect l="0" t="0" r="r" b="b"/>
              <a:pathLst>
                <a:path w="21600" h="21600" extrusionOk="0">
                  <a:moveTo>
                    <a:pt x="4457" y="20400"/>
                  </a:moveTo>
                  <a:cubicBezTo>
                    <a:pt x="4686" y="18711"/>
                    <a:pt x="5897" y="18036"/>
                    <a:pt x="7134" y="17493"/>
                  </a:cubicBezTo>
                  <a:lnTo>
                    <a:pt x="7173" y="17477"/>
                  </a:lnTo>
                  <a:cubicBezTo>
                    <a:pt x="8055" y="17190"/>
                    <a:pt x="9626" y="16039"/>
                    <a:pt x="9626" y="13569"/>
                  </a:cubicBezTo>
                  <a:cubicBezTo>
                    <a:pt x="9626" y="11474"/>
                    <a:pt x="8932" y="10452"/>
                    <a:pt x="8558" y="9902"/>
                  </a:cubicBezTo>
                  <a:cubicBezTo>
                    <a:pt x="8484" y="9791"/>
                    <a:pt x="8394" y="9649"/>
                    <a:pt x="8414" y="9680"/>
                  </a:cubicBezTo>
                  <a:cubicBezTo>
                    <a:pt x="8384" y="9599"/>
                    <a:pt x="8237" y="9129"/>
                    <a:pt x="8449" y="8035"/>
                  </a:cubicBezTo>
                  <a:cubicBezTo>
                    <a:pt x="8549" y="7522"/>
                    <a:pt x="8380" y="7241"/>
                    <a:pt x="8380" y="7241"/>
                  </a:cubicBezTo>
                  <a:cubicBezTo>
                    <a:pt x="8112" y="6505"/>
                    <a:pt x="7614" y="5133"/>
                    <a:pt x="7988" y="4025"/>
                  </a:cubicBezTo>
                  <a:cubicBezTo>
                    <a:pt x="8490" y="2492"/>
                    <a:pt x="8935" y="2190"/>
                    <a:pt x="9741" y="1747"/>
                  </a:cubicBezTo>
                  <a:cubicBezTo>
                    <a:pt x="9788" y="1721"/>
                    <a:pt x="9834" y="1691"/>
                    <a:pt x="9877" y="1657"/>
                  </a:cubicBezTo>
                  <a:cubicBezTo>
                    <a:pt x="10029" y="1535"/>
                    <a:pt x="10674" y="1200"/>
                    <a:pt x="11403" y="1200"/>
                  </a:cubicBezTo>
                  <a:cubicBezTo>
                    <a:pt x="11768" y="1200"/>
                    <a:pt x="12075" y="1285"/>
                    <a:pt x="12318" y="1454"/>
                  </a:cubicBezTo>
                  <a:cubicBezTo>
                    <a:pt x="12610" y="1655"/>
                    <a:pt x="12890" y="2039"/>
                    <a:pt x="13313" y="3271"/>
                  </a:cubicBezTo>
                  <a:cubicBezTo>
                    <a:pt x="14101" y="5469"/>
                    <a:pt x="13602" y="6698"/>
                    <a:pt x="13350" y="7124"/>
                  </a:cubicBezTo>
                  <a:cubicBezTo>
                    <a:pt x="13183" y="7407"/>
                    <a:pt x="13126" y="7764"/>
                    <a:pt x="13191" y="8102"/>
                  </a:cubicBezTo>
                  <a:cubicBezTo>
                    <a:pt x="13386" y="9109"/>
                    <a:pt x="13260" y="9534"/>
                    <a:pt x="13227" y="9619"/>
                  </a:cubicBezTo>
                  <a:cubicBezTo>
                    <a:pt x="13219" y="9631"/>
                    <a:pt x="13101" y="9814"/>
                    <a:pt x="13041" y="9902"/>
                  </a:cubicBezTo>
                  <a:cubicBezTo>
                    <a:pt x="12668" y="10452"/>
                    <a:pt x="11973" y="11474"/>
                    <a:pt x="11973" y="13569"/>
                  </a:cubicBezTo>
                  <a:cubicBezTo>
                    <a:pt x="11973" y="16039"/>
                    <a:pt x="13545" y="17190"/>
                    <a:pt x="14427" y="17477"/>
                  </a:cubicBezTo>
                  <a:lnTo>
                    <a:pt x="14466" y="17493"/>
                  </a:lnTo>
                  <a:cubicBezTo>
                    <a:pt x="15703" y="18036"/>
                    <a:pt x="16914" y="18711"/>
                    <a:pt x="17143" y="20400"/>
                  </a:cubicBezTo>
                  <a:cubicBezTo>
                    <a:pt x="17143" y="20400"/>
                    <a:pt x="4457" y="20400"/>
                    <a:pt x="4457" y="20400"/>
                  </a:cubicBezTo>
                  <a:close/>
                  <a:moveTo>
                    <a:pt x="14715" y="16328"/>
                  </a:moveTo>
                  <a:cubicBezTo>
                    <a:pt x="14715" y="16328"/>
                    <a:pt x="12955" y="15815"/>
                    <a:pt x="12955" y="13569"/>
                  </a:cubicBezTo>
                  <a:cubicBezTo>
                    <a:pt x="12955" y="11596"/>
                    <a:pt x="13678" y="10901"/>
                    <a:pt x="13957" y="10421"/>
                  </a:cubicBezTo>
                  <a:cubicBezTo>
                    <a:pt x="13957" y="10421"/>
                    <a:pt x="14531" y="9807"/>
                    <a:pt x="14146" y="7826"/>
                  </a:cubicBezTo>
                  <a:cubicBezTo>
                    <a:pt x="14787" y="6740"/>
                    <a:pt x="14995" y="4972"/>
                    <a:pt x="14211" y="2789"/>
                  </a:cubicBezTo>
                  <a:cubicBezTo>
                    <a:pt x="13774" y="1514"/>
                    <a:pt x="13389" y="815"/>
                    <a:pt x="12801" y="409"/>
                  </a:cubicBezTo>
                  <a:cubicBezTo>
                    <a:pt x="12370" y="110"/>
                    <a:pt x="11880" y="0"/>
                    <a:pt x="11403" y="0"/>
                  </a:cubicBezTo>
                  <a:cubicBezTo>
                    <a:pt x="10516" y="0"/>
                    <a:pt x="9675" y="384"/>
                    <a:pt x="9339" y="653"/>
                  </a:cubicBezTo>
                  <a:cubicBezTo>
                    <a:pt x="8357" y="1192"/>
                    <a:pt x="7697" y="1688"/>
                    <a:pt x="7077" y="3579"/>
                  </a:cubicBezTo>
                  <a:cubicBezTo>
                    <a:pt x="6540" y="5168"/>
                    <a:pt x="7179" y="6892"/>
                    <a:pt x="7494" y="7758"/>
                  </a:cubicBezTo>
                  <a:cubicBezTo>
                    <a:pt x="7110" y="9740"/>
                    <a:pt x="7642" y="10421"/>
                    <a:pt x="7642" y="10421"/>
                  </a:cubicBezTo>
                  <a:cubicBezTo>
                    <a:pt x="7922" y="10901"/>
                    <a:pt x="8644" y="11596"/>
                    <a:pt x="8644" y="13569"/>
                  </a:cubicBezTo>
                  <a:cubicBezTo>
                    <a:pt x="8644" y="15815"/>
                    <a:pt x="6885" y="16328"/>
                    <a:pt x="6885" y="16328"/>
                  </a:cubicBezTo>
                  <a:cubicBezTo>
                    <a:pt x="5768" y="16819"/>
                    <a:pt x="3436" y="17760"/>
                    <a:pt x="3436" y="21000"/>
                  </a:cubicBezTo>
                  <a:cubicBezTo>
                    <a:pt x="3436" y="21000"/>
                    <a:pt x="3436" y="21600"/>
                    <a:pt x="3927" y="21600"/>
                  </a:cubicBezTo>
                  <a:lnTo>
                    <a:pt x="17673" y="21600"/>
                  </a:lnTo>
                  <a:cubicBezTo>
                    <a:pt x="18164" y="21600"/>
                    <a:pt x="18164" y="21000"/>
                    <a:pt x="18164" y="21000"/>
                  </a:cubicBezTo>
                  <a:cubicBezTo>
                    <a:pt x="18164" y="17760"/>
                    <a:pt x="15832" y="16819"/>
                    <a:pt x="14715" y="16328"/>
                  </a:cubicBezTo>
                  <a:moveTo>
                    <a:pt x="19516" y="15006"/>
                  </a:moveTo>
                  <a:cubicBezTo>
                    <a:pt x="19516" y="15006"/>
                    <a:pt x="18416" y="14701"/>
                    <a:pt x="18416" y="12954"/>
                  </a:cubicBezTo>
                  <a:cubicBezTo>
                    <a:pt x="18416" y="11419"/>
                    <a:pt x="18794" y="10879"/>
                    <a:pt x="19017" y="10506"/>
                  </a:cubicBezTo>
                  <a:cubicBezTo>
                    <a:pt x="19017" y="10506"/>
                    <a:pt x="19443" y="9975"/>
                    <a:pt x="19136" y="8435"/>
                  </a:cubicBezTo>
                  <a:cubicBezTo>
                    <a:pt x="19388" y="7760"/>
                    <a:pt x="19900" y="6419"/>
                    <a:pt x="19470" y="5184"/>
                  </a:cubicBezTo>
                  <a:cubicBezTo>
                    <a:pt x="18974" y="3714"/>
                    <a:pt x="18645" y="3327"/>
                    <a:pt x="17860" y="2908"/>
                  </a:cubicBezTo>
                  <a:cubicBezTo>
                    <a:pt x="17591" y="2699"/>
                    <a:pt x="16918" y="2400"/>
                    <a:pt x="16208" y="2400"/>
                  </a:cubicBezTo>
                  <a:cubicBezTo>
                    <a:pt x="15873" y="2400"/>
                    <a:pt x="15531" y="2473"/>
                    <a:pt x="15218" y="2647"/>
                  </a:cubicBezTo>
                  <a:cubicBezTo>
                    <a:pt x="15343" y="3035"/>
                    <a:pt x="15449" y="3420"/>
                    <a:pt x="15525" y="3799"/>
                  </a:cubicBezTo>
                  <a:cubicBezTo>
                    <a:pt x="15537" y="3790"/>
                    <a:pt x="15550" y="3779"/>
                    <a:pt x="15563" y="3770"/>
                  </a:cubicBezTo>
                  <a:cubicBezTo>
                    <a:pt x="15730" y="3657"/>
                    <a:pt x="15948" y="3600"/>
                    <a:pt x="16208" y="3600"/>
                  </a:cubicBezTo>
                  <a:cubicBezTo>
                    <a:pt x="16716" y="3600"/>
                    <a:pt x="17211" y="3825"/>
                    <a:pt x="17332" y="3919"/>
                  </a:cubicBezTo>
                  <a:cubicBezTo>
                    <a:pt x="17375" y="3953"/>
                    <a:pt x="17421" y="3983"/>
                    <a:pt x="17467" y="4008"/>
                  </a:cubicBezTo>
                  <a:cubicBezTo>
                    <a:pt x="17950" y="4265"/>
                    <a:pt x="18131" y="4362"/>
                    <a:pt x="18562" y="5641"/>
                  </a:cubicBezTo>
                  <a:cubicBezTo>
                    <a:pt x="18822" y="6387"/>
                    <a:pt x="18452" y="7378"/>
                    <a:pt x="18253" y="7911"/>
                  </a:cubicBezTo>
                  <a:cubicBezTo>
                    <a:pt x="18161" y="8156"/>
                    <a:pt x="18130" y="8457"/>
                    <a:pt x="18182" y="8718"/>
                  </a:cubicBezTo>
                  <a:cubicBezTo>
                    <a:pt x="18316" y="9392"/>
                    <a:pt x="18254" y="9706"/>
                    <a:pt x="18232" y="9784"/>
                  </a:cubicBezTo>
                  <a:cubicBezTo>
                    <a:pt x="18230" y="9788"/>
                    <a:pt x="18227" y="9793"/>
                    <a:pt x="18224" y="9798"/>
                  </a:cubicBezTo>
                  <a:lnTo>
                    <a:pt x="18191" y="9853"/>
                  </a:lnTo>
                  <a:cubicBezTo>
                    <a:pt x="17926" y="10290"/>
                    <a:pt x="17434" y="11106"/>
                    <a:pt x="17434" y="12954"/>
                  </a:cubicBezTo>
                  <a:cubicBezTo>
                    <a:pt x="17434" y="15019"/>
                    <a:pt x="18570" y="15933"/>
                    <a:pt x="19229" y="16155"/>
                  </a:cubicBezTo>
                  <a:cubicBezTo>
                    <a:pt x="19856" y="16429"/>
                    <a:pt x="20435" y="16859"/>
                    <a:pt x="20582" y="17999"/>
                  </a:cubicBezTo>
                  <a:lnTo>
                    <a:pt x="18459" y="18000"/>
                  </a:lnTo>
                  <a:cubicBezTo>
                    <a:pt x="18647" y="18353"/>
                    <a:pt x="18802" y="18755"/>
                    <a:pt x="18920" y="19200"/>
                  </a:cubicBezTo>
                  <a:lnTo>
                    <a:pt x="21109" y="19199"/>
                  </a:lnTo>
                  <a:cubicBezTo>
                    <a:pt x="21600" y="19199"/>
                    <a:pt x="21600" y="18599"/>
                    <a:pt x="21600" y="18599"/>
                  </a:cubicBezTo>
                  <a:cubicBezTo>
                    <a:pt x="21600" y="16199"/>
                    <a:pt x="20410" y="15388"/>
                    <a:pt x="19516" y="15006"/>
                  </a:cubicBezTo>
                  <a:moveTo>
                    <a:pt x="2371" y="16155"/>
                  </a:moveTo>
                  <a:cubicBezTo>
                    <a:pt x="3030" y="15933"/>
                    <a:pt x="4166" y="15019"/>
                    <a:pt x="4166" y="12954"/>
                  </a:cubicBezTo>
                  <a:cubicBezTo>
                    <a:pt x="4166" y="11106"/>
                    <a:pt x="3673" y="10290"/>
                    <a:pt x="3409" y="9853"/>
                  </a:cubicBezTo>
                  <a:lnTo>
                    <a:pt x="3376" y="9798"/>
                  </a:lnTo>
                  <a:cubicBezTo>
                    <a:pt x="3373" y="9793"/>
                    <a:pt x="3370" y="9788"/>
                    <a:pt x="3367" y="9784"/>
                  </a:cubicBezTo>
                  <a:cubicBezTo>
                    <a:pt x="3346" y="9706"/>
                    <a:pt x="3283" y="9392"/>
                    <a:pt x="3418" y="8718"/>
                  </a:cubicBezTo>
                  <a:cubicBezTo>
                    <a:pt x="3470" y="8457"/>
                    <a:pt x="3439" y="8156"/>
                    <a:pt x="3347" y="7911"/>
                  </a:cubicBezTo>
                  <a:cubicBezTo>
                    <a:pt x="3148" y="7378"/>
                    <a:pt x="2778" y="6387"/>
                    <a:pt x="3038" y="5641"/>
                  </a:cubicBezTo>
                  <a:cubicBezTo>
                    <a:pt x="3469" y="4362"/>
                    <a:pt x="3649" y="4265"/>
                    <a:pt x="4133" y="4008"/>
                  </a:cubicBezTo>
                  <a:cubicBezTo>
                    <a:pt x="4180" y="3983"/>
                    <a:pt x="4225" y="3953"/>
                    <a:pt x="4268" y="3919"/>
                  </a:cubicBezTo>
                  <a:cubicBezTo>
                    <a:pt x="4389" y="3825"/>
                    <a:pt x="4884" y="3600"/>
                    <a:pt x="5392" y="3600"/>
                  </a:cubicBezTo>
                  <a:cubicBezTo>
                    <a:pt x="5636" y="3600"/>
                    <a:pt x="5839" y="3655"/>
                    <a:pt x="6002" y="3755"/>
                  </a:cubicBezTo>
                  <a:cubicBezTo>
                    <a:pt x="6045" y="3548"/>
                    <a:pt x="6096" y="3341"/>
                    <a:pt x="6165" y="3134"/>
                  </a:cubicBezTo>
                  <a:cubicBezTo>
                    <a:pt x="6225" y="2950"/>
                    <a:pt x="6289" y="2793"/>
                    <a:pt x="6351" y="2630"/>
                  </a:cubicBezTo>
                  <a:cubicBezTo>
                    <a:pt x="6046" y="2468"/>
                    <a:pt x="5716" y="2400"/>
                    <a:pt x="5392" y="2400"/>
                  </a:cubicBezTo>
                  <a:cubicBezTo>
                    <a:pt x="4682" y="2400"/>
                    <a:pt x="4009" y="2699"/>
                    <a:pt x="3740" y="2908"/>
                  </a:cubicBezTo>
                  <a:cubicBezTo>
                    <a:pt x="2955" y="3327"/>
                    <a:pt x="2625" y="3714"/>
                    <a:pt x="2130" y="5184"/>
                  </a:cubicBezTo>
                  <a:cubicBezTo>
                    <a:pt x="1700" y="6419"/>
                    <a:pt x="2212" y="7760"/>
                    <a:pt x="2464" y="8435"/>
                  </a:cubicBezTo>
                  <a:cubicBezTo>
                    <a:pt x="2156" y="9975"/>
                    <a:pt x="2583" y="10506"/>
                    <a:pt x="2583" y="10506"/>
                  </a:cubicBezTo>
                  <a:cubicBezTo>
                    <a:pt x="2806" y="10879"/>
                    <a:pt x="3185" y="11419"/>
                    <a:pt x="3185" y="12954"/>
                  </a:cubicBezTo>
                  <a:cubicBezTo>
                    <a:pt x="3185" y="14701"/>
                    <a:pt x="2084" y="15006"/>
                    <a:pt x="2084" y="15006"/>
                  </a:cubicBezTo>
                  <a:cubicBezTo>
                    <a:pt x="1191" y="15388"/>
                    <a:pt x="0" y="16199"/>
                    <a:pt x="0" y="18599"/>
                  </a:cubicBezTo>
                  <a:cubicBezTo>
                    <a:pt x="0" y="18599"/>
                    <a:pt x="0" y="19199"/>
                    <a:pt x="491" y="19199"/>
                  </a:cubicBezTo>
                  <a:lnTo>
                    <a:pt x="2680" y="19200"/>
                  </a:lnTo>
                  <a:cubicBezTo>
                    <a:pt x="2798" y="18755"/>
                    <a:pt x="2952" y="18353"/>
                    <a:pt x="3141" y="18000"/>
                  </a:cubicBezTo>
                  <a:lnTo>
                    <a:pt x="1018" y="17999"/>
                  </a:lnTo>
                  <a:cubicBezTo>
                    <a:pt x="1165" y="16859"/>
                    <a:pt x="1744" y="16429"/>
                    <a:pt x="2371" y="16155"/>
                  </a:cubicBezTo>
                </a:path>
              </a:pathLst>
            </a:custGeom>
            <a:solidFill>
              <a:schemeClr val="bg1"/>
            </a:solidFill>
            <a:ln w="12700">
              <a:miter lim="400000"/>
            </a:ln>
          </p:spPr>
          <p:txBody>
            <a:bodyPr lIns="19049" tIns="19049" rIns="19049" bIns="19049" anchor="ctr"/>
            <a:lstStyle/>
            <a:p>
              <a:pPr marL="0" marR="0" lvl="0" indent="0" algn="ctr" defTabSz="228580" rtl="0" eaLnBrk="1" fontAlgn="auto" latinLnBrk="0" hangingPunct="0">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lang="en-US" sz="1562" b="0" i="0" u="none" strike="noStrike" kern="0" cap="none" spc="0" normalizeH="0" baseline="0" noProof="0" dirty="0">
                <a:ln>
                  <a:noFill/>
                </a:ln>
                <a:solidFill>
                  <a:srgbClr val="FFFFFF"/>
                </a:solidFill>
                <a:effectLst>
                  <a:outerShdw blurRad="38100" dist="12700" dir="5400000" rotWithShape="0">
                    <a:srgbClr val="000000">
                      <a:alpha val="50000"/>
                    </a:srgbClr>
                  </a:outerShdw>
                </a:effectLst>
                <a:uLnTx/>
                <a:uFillTx/>
                <a:latin typeface="Arial"/>
                <a:ea typeface="Arial"/>
                <a:cs typeface="Arial"/>
                <a:sym typeface="Gill Sans"/>
              </a:endParaRPr>
            </a:p>
          </p:txBody>
        </p:sp>
      </p:grpSp>
      <p:grpSp>
        <p:nvGrpSpPr>
          <p:cNvPr id="18" name="Group 34">
            <a:extLst>
              <a:ext uri="{FF2B5EF4-FFF2-40B4-BE49-F238E27FC236}">
                <a16:creationId xmlns:a16="http://schemas.microsoft.com/office/drawing/2014/main" id="{1114F063-7FCF-CA5C-BED1-E1A434CB6400}"/>
              </a:ext>
            </a:extLst>
          </p:cNvPr>
          <p:cNvGrpSpPr/>
          <p:nvPr/>
        </p:nvGrpSpPr>
        <p:grpSpPr>
          <a:xfrm>
            <a:off x="8841024" y="2897115"/>
            <a:ext cx="1951989" cy="1461599"/>
            <a:chOff x="546483" y="3912605"/>
            <a:chExt cx="2598096" cy="1945385"/>
          </a:xfrm>
        </p:grpSpPr>
        <p:sp>
          <p:nvSpPr>
            <p:cNvPr id="19" name="TextBox 35">
              <a:extLst>
                <a:ext uri="{FF2B5EF4-FFF2-40B4-BE49-F238E27FC236}">
                  <a16:creationId xmlns:a16="http://schemas.microsoft.com/office/drawing/2014/main" id="{97D2C775-12CA-4EA6-1710-1D6877ECAA18}"/>
                </a:ext>
              </a:extLst>
            </p:cNvPr>
            <p:cNvSpPr txBox="1"/>
            <p:nvPr/>
          </p:nvSpPr>
          <p:spPr>
            <a:xfrm>
              <a:off x="546483" y="5079656"/>
              <a:ext cx="2598096" cy="77833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600" b="1" i="0" u="none" strike="noStrike" kern="1200" cap="none" spc="0" normalizeH="0" baseline="0" noProof="0" dirty="0" err="1">
                  <a:ln>
                    <a:noFill/>
                  </a:ln>
                  <a:solidFill>
                    <a:srgbClr val="009999"/>
                  </a:solidFill>
                  <a:effectLst/>
                  <a:uLnTx/>
                  <a:uFillTx/>
                  <a:latin typeface="Arial"/>
                  <a:ea typeface="+mn-ea"/>
                  <a:cs typeface="+mn-cs"/>
                </a:rPr>
                <a:t>Transfers</a:t>
              </a:r>
              <a:r>
                <a:rPr kumimoji="0" lang="pl-PL" sz="1600" b="1" i="0" u="none" strike="noStrike" kern="1200" cap="none" spc="0" normalizeH="0" baseline="0" noProof="0" dirty="0">
                  <a:ln>
                    <a:noFill/>
                  </a:ln>
                  <a:solidFill>
                    <a:srgbClr val="009999"/>
                  </a:solidFill>
                  <a:effectLst/>
                  <a:uLnTx/>
                  <a:uFillTx/>
                  <a:latin typeface="Arial"/>
                  <a:ea typeface="+mn-ea"/>
                  <a:cs typeface="+mn-cs"/>
                </a:rPr>
                <a:t> to high </a:t>
              </a:r>
              <a:r>
                <a:rPr kumimoji="0" lang="pl-PL" sz="1600" b="1" i="0" u="none" strike="noStrike" kern="1200" cap="none" spc="0" normalizeH="0" baseline="0" noProof="0" dirty="0" err="1">
                  <a:ln>
                    <a:noFill/>
                  </a:ln>
                  <a:solidFill>
                    <a:srgbClr val="009999"/>
                  </a:solidFill>
                  <a:effectLst/>
                  <a:uLnTx/>
                  <a:uFillTx/>
                  <a:latin typeface="Arial"/>
                  <a:ea typeface="+mn-ea"/>
                  <a:cs typeface="+mn-cs"/>
                </a:rPr>
                <a:t>risk</a:t>
              </a:r>
              <a:r>
                <a:rPr kumimoji="0" lang="pl-PL" sz="1600" b="1" i="0" u="none" strike="noStrike" kern="1200" cap="none" spc="0" normalizeH="0" baseline="0" noProof="0" dirty="0">
                  <a:ln>
                    <a:noFill/>
                  </a:ln>
                  <a:solidFill>
                    <a:srgbClr val="009999"/>
                  </a:solidFill>
                  <a:effectLst/>
                  <a:uLnTx/>
                  <a:uFillTx/>
                  <a:latin typeface="Arial"/>
                  <a:ea typeface="+mn-ea"/>
                  <a:cs typeface="+mn-cs"/>
                </a:rPr>
                <a:t> </a:t>
              </a:r>
              <a:r>
                <a:rPr kumimoji="0" lang="pl-PL" sz="1600" b="1" i="0" u="none" strike="noStrike" kern="1200" cap="none" spc="0" normalizeH="0" baseline="0" noProof="0" dirty="0" err="1">
                  <a:ln>
                    <a:noFill/>
                  </a:ln>
                  <a:solidFill>
                    <a:srgbClr val="009999"/>
                  </a:solidFill>
                  <a:effectLst/>
                  <a:uLnTx/>
                  <a:uFillTx/>
                  <a:latin typeface="Arial"/>
                  <a:ea typeface="+mn-ea"/>
                  <a:cs typeface="+mn-cs"/>
                </a:rPr>
                <a:t>countries</a:t>
              </a:r>
              <a:endParaRPr kumimoji="0" lang="en-US" sz="1600" b="1" i="0" u="none" strike="noStrike" kern="1200" cap="none" spc="0" normalizeH="0" baseline="0" noProof="0" dirty="0">
                <a:ln>
                  <a:noFill/>
                </a:ln>
                <a:solidFill>
                  <a:srgbClr val="009999"/>
                </a:solidFill>
                <a:effectLst/>
                <a:uLnTx/>
                <a:uFillTx/>
                <a:latin typeface="Arial"/>
                <a:ea typeface="+mn-ea"/>
                <a:cs typeface="+mn-cs"/>
              </a:endParaRPr>
            </a:p>
          </p:txBody>
        </p:sp>
        <p:sp>
          <p:nvSpPr>
            <p:cNvPr id="20" name="Shape 2460">
              <a:extLst>
                <a:ext uri="{FF2B5EF4-FFF2-40B4-BE49-F238E27FC236}">
                  <a16:creationId xmlns:a16="http://schemas.microsoft.com/office/drawing/2014/main" id="{3B6B41F4-2634-4D4B-0EA3-5612B6055443}"/>
                </a:ext>
              </a:extLst>
            </p:cNvPr>
            <p:cNvSpPr/>
            <p:nvPr/>
          </p:nvSpPr>
          <p:spPr>
            <a:xfrm>
              <a:off x="1689666" y="3912605"/>
              <a:ext cx="311731" cy="255061"/>
            </a:xfrm>
            <a:custGeom>
              <a:avLst/>
              <a:gdLst/>
              <a:ahLst/>
              <a:cxnLst>
                <a:cxn ang="0">
                  <a:pos x="wd2" y="hd2"/>
                </a:cxn>
                <a:cxn ang="5400000">
                  <a:pos x="wd2" y="hd2"/>
                </a:cxn>
                <a:cxn ang="10800000">
                  <a:pos x="wd2" y="hd2"/>
                </a:cxn>
                <a:cxn ang="16200000">
                  <a:pos x="wd2" y="hd2"/>
                </a:cxn>
              </a:cxnLst>
              <a:rect l="0" t="0" r="r" b="b"/>
              <a:pathLst>
                <a:path w="21600" h="21600" extrusionOk="0">
                  <a:moveTo>
                    <a:pt x="4457" y="20400"/>
                  </a:moveTo>
                  <a:cubicBezTo>
                    <a:pt x="4686" y="18711"/>
                    <a:pt x="5897" y="18036"/>
                    <a:pt x="7134" y="17493"/>
                  </a:cubicBezTo>
                  <a:lnTo>
                    <a:pt x="7173" y="17477"/>
                  </a:lnTo>
                  <a:cubicBezTo>
                    <a:pt x="8055" y="17190"/>
                    <a:pt x="9626" y="16039"/>
                    <a:pt x="9626" y="13569"/>
                  </a:cubicBezTo>
                  <a:cubicBezTo>
                    <a:pt x="9626" y="11474"/>
                    <a:pt x="8932" y="10452"/>
                    <a:pt x="8558" y="9902"/>
                  </a:cubicBezTo>
                  <a:cubicBezTo>
                    <a:pt x="8484" y="9791"/>
                    <a:pt x="8394" y="9649"/>
                    <a:pt x="8414" y="9680"/>
                  </a:cubicBezTo>
                  <a:cubicBezTo>
                    <a:pt x="8384" y="9599"/>
                    <a:pt x="8237" y="9129"/>
                    <a:pt x="8449" y="8035"/>
                  </a:cubicBezTo>
                  <a:cubicBezTo>
                    <a:pt x="8549" y="7522"/>
                    <a:pt x="8380" y="7241"/>
                    <a:pt x="8380" y="7241"/>
                  </a:cubicBezTo>
                  <a:cubicBezTo>
                    <a:pt x="8112" y="6505"/>
                    <a:pt x="7614" y="5133"/>
                    <a:pt x="7988" y="4025"/>
                  </a:cubicBezTo>
                  <a:cubicBezTo>
                    <a:pt x="8490" y="2492"/>
                    <a:pt x="8935" y="2190"/>
                    <a:pt x="9741" y="1747"/>
                  </a:cubicBezTo>
                  <a:cubicBezTo>
                    <a:pt x="9788" y="1721"/>
                    <a:pt x="9834" y="1691"/>
                    <a:pt x="9877" y="1657"/>
                  </a:cubicBezTo>
                  <a:cubicBezTo>
                    <a:pt x="10029" y="1535"/>
                    <a:pt x="10674" y="1200"/>
                    <a:pt x="11403" y="1200"/>
                  </a:cubicBezTo>
                  <a:cubicBezTo>
                    <a:pt x="11768" y="1200"/>
                    <a:pt x="12075" y="1285"/>
                    <a:pt x="12318" y="1454"/>
                  </a:cubicBezTo>
                  <a:cubicBezTo>
                    <a:pt x="12610" y="1655"/>
                    <a:pt x="12890" y="2039"/>
                    <a:pt x="13313" y="3271"/>
                  </a:cubicBezTo>
                  <a:cubicBezTo>
                    <a:pt x="14101" y="5469"/>
                    <a:pt x="13602" y="6698"/>
                    <a:pt x="13350" y="7124"/>
                  </a:cubicBezTo>
                  <a:cubicBezTo>
                    <a:pt x="13183" y="7407"/>
                    <a:pt x="13126" y="7764"/>
                    <a:pt x="13191" y="8102"/>
                  </a:cubicBezTo>
                  <a:cubicBezTo>
                    <a:pt x="13386" y="9109"/>
                    <a:pt x="13260" y="9534"/>
                    <a:pt x="13227" y="9619"/>
                  </a:cubicBezTo>
                  <a:cubicBezTo>
                    <a:pt x="13219" y="9631"/>
                    <a:pt x="13101" y="9814"/>
                    <a:pt x="13041" y="9902"/>
                  </a:cubicBezTo>
                  <a:cubicBezTo>
                    <a:pt x="12668" y="10452"/>
                    <a:pt x="11973" y="11474"/>
                    <a:pt x="11973" y="13569"/>
                  </a:cubicBezTo>
                  <a:cubicBezTo>
                    <a:pt x="11973" y="16039"/>
                    <a:pt x="13545" y="17190"/>
                    <a:pt x="14427" y="17477"/>
                  </a:cubicBezTo>
                  <a:lnTo>
                    <a:pt x="14466" y="17493"/>
                  </a:lnTo>
                  <a:cubicBezTo>
                    <a:pt x="15703" y="18036"/>
                    <a:pt x="16914" y="18711"/>
                    <a:pt x="17143" y="20400"/>
                  </a:cubicBezTo>
                  <a:cubicBezTo>
                    <a:pt x="17143" y="20400"/>
                    <a:pt x="4457" y="20400"/>
                    <a:pt x="4457" y="20400"/>
                  </a:cubicBezTo>
                  <a:close/>
                  <a:moveTo>
                    <a:pt x="14715" y="16328"/>
                  </a:moveTo>
                  <a:cubicBezTo>
                    <a:pt x="14715" y="16328"/>
                    <a:pt x="12955" y="15815"/>
                    <a:pt x="12955" y="13569"/>
                  </a:cubicBezTo>
                  <a:cubicBezTo>
                    <a:pt x="12955" y="11596"/>
                    <a:pt x="13678" y="10901"/>
                    <a:pt x="13957" y="10421"/>
                  </a:cubicBezTo>
                  <a:cubicBezTo>
                    <a:pt x="13957" y="10421"/>
                    <a:pt x="14531" y="9807"/>
                    <a:pt x="14146" y="7826"/>
                  </a:cubicBezTo>
                  <a:cubicBezTo>
                    <a:pt x="14787" y="6740"/>
                    <a:pt x="14995" y="4972"/>
                    <a:pt x="14211" y="2789"/>
                  </a:cubicBezTo>
                  <a:cubicBezTo>
                    <a:pt x="13774" y="1514"/>
                    <a:pt x="13389" y="815"/>
                    <a:pt x="12801" y="409"/>
                  </a:cubicBezTo>
                  <a:cubicBezTo>
                    <a:pt x="12370" y="110"/>
                    <a:pt x="11880" y="0"/>
                    <a:pt x="11403" y="0"/>
                  </a:cubicBezTo>
                  <a:cubicBezTo>
                    <a:pt x="10516" y="0"/>
                    <a:pt x="9675" y="384"/>
                    <a:pt x="9339" y="653"/>
                  </a:cubicBezTo>
                  <a:cubicBezTo>
                    <a:pt x="8357" y="1192"/>
                    <a:pt x="7697" y="1688"/>
                    <a:pt x="7077" y="3579"/>
                  </a:cubicBezTo>
                  <a:cubicBezTo>
                    <a:pt x="6540" y="5168"/>
                    <a:pt x="7179" y="6892"/>
                    <a:pt x="7494" y="7758"/>
                  </a:cubicBezTo>
                  <a:cubicBezTo>
                    <a:pt x="7110" y="9740"/>
                    <a:pt x="7642" y="10421"/>
                    <a:pt x="7642" y="10421"/>
                  </a:cubicBezTo>
                  <a:cubicBezTo>
                    <a:pt x="7922" y="10901"/>
                    <a:pt x="8644" y="11596"/>
                    <a:pt x="8644" y="13569"/>
                  </a:cubicBezTo>
                  <a:cubicBezTo>
                    <a:pt x="8644" y="15815"/>
                    <a:pt x="6885" y="16328"/>
                    <a:pt x="6885" y="16328"/>
                  </a:cubicBezTo>
                  <a:cubicBezTo>
                    <a:pt x="5768" y="16819"/>
                    <a:pt x="3436" y="17760"/>
                    <a:pt x="3436" y="21000"/>
                  </a:cubicBezTo>
                  <a:cubicBezTo>
                    <a:pt x="3436" y="21000"/>
                    <a:pt x="3436" y="21600"/>
                    <a:pt x="3927" y="21600"/>
                  </a:cubicBezTo>
                  <a:lnTo>
                    <a:pt x="17673" y="21600"/>
                  </a:lnTo>
                  <a:cubicBezTo>
                    <a:pt x="18164" y="21600"/>
                    <a:pt x="18164" y="21000"/>
                    <a:pt x="18164" y="21000"/>
                  </a:cubicBezTo>
                  <a:cubicBezTo>
                    <a:pt x="18164" y="17760"/>
                    <a:pt x="15832" y="16819"/>
                    <a:pt x="14715" y="16328"/>
                  </a:cubicBezTo>
                  <a:moveTo>
                    <a:pt x="19516" y="15006"/>
                  </a:moveTo>
                  <a:cubicBezTo>
                    <a:pt x="19516" y="15006"/>
                    <a:pt x="18416" y="14701"/>
                    <a:pt x="18416" y="12954"/>
                  </a:cubicBezTo>
                  <a:cubicBezTo>
                    <a:pt x="18416" y="11419"/>
                    <a:pt x="18794" y="10879"/>
                    <a:pt x="19017" y="10506"/>
                  </a:cubicBezTo>
                  <a:cubicBezTo>
                    <a:pt x="19017" y="10506"/>
                    <a:pt x="19443" y="9975"/>
                    <a:pt x="19136" y="8435"/>
                  </a:cubicBezTo>
                  <a:cubicBezTo>
                    <a:pt x="19388" y="7760"/>
                    <a:pt x="19900" y="6419"/>
                    <a:pt x="19470" y="5184"/>
                  </a:cubicBezTo>
                  <a:cubicBezTo>
                    <a:pt x="18974" y="3714"/>
                    <a:pt x="18645" y="3327"/>
                    <a:pt x="17860" y="2908"/>
                  </a:cubicBezTo>
                  <a:cubicBezTo>
                    <a:pt x="17591" y="2699"/>
                    <a:pt x="16918" y="2400"/>
                    <a:pt x="16208" y="2400"/>
                  </a:cubicBezTo>
                  <a:cubicBezTo>
                    <a:pt x="15873" y="2400"/>
                    <a:pt x="15531" y="2473"/>
                    <a:pt x="15218" y="2647"/>
                  </a:cubicBezTo>
                  <a:cubicBezTo>
                    <a:pt x="15343" y="3035"/>
                    <a:pt x="15449" y="3420"/>
                    <a:pt x="15525" y="3799"/>
                  </a:cubicBezTo>
                  <a:cubicBezTo>
                    <a:pt x="15537" y="3790"/>
                    <a:pt x="15550" y="3779"/>
                    <a:pt x="15563" y="3770"/>
                  </a:cubicBezTo>
                  <a:cubicBezTo>
                    <a:pt x="15730" y="3657"/>
                    <a:pt x="15948" y="3600"/>
                    <a:pt x="16208" y="3600"/>
                  </a:cubicBezTo>
                  <a:cubicBezTo>
                    <a:pt x="16716" y="3600"/>
                    <a:pt x="17211" y="3825"/>
                    <a:pt x="17332" y="3919"/>
                  </a:cubicBezTo>
                  <a:cubicBezTo>
                    <a:pt x="17375" y="3953"/>
                    <a:pt x="17421" y="3983"/>
                    <a:pt x="17467" y="4008"/>
                  </a:cubicBezTo>
                  <a:cubicBezTo>
                    <a:pt x="17950" y="4265"/>
                    <a:pt x="18131" y="4362"/>
                    <a:pt x="18562" y="5641"/>
                  </a:cubicBezTo>
                  <a:cubicBezTo>
                    <a:pt x="18822" y="6387"/>
                    <a:pt x="18452" y="7378"/>
                    <a:pt x="18253" y="7911"/>
                  </a:cubicBezTo>
                  <a:cubicBezTo>
                    <a:pt x="18161" y="8156"/>
                    <a:pt x="18130" y="8457"/>
                    <a:pt x="18182" y="8718"/>
                  </a:cubicBezTo>
                  <a:cubicBezTo>
                    <a:pt x="18316" y="9392"/>
                    <a:pt x="18254" y="9706"/>
                    <a:pt x="18232" y="9784"/>
                  </a:cubicBezTo>
                  <a:cubicBezTo>
                    <a:pt x="18230" y="9788"/>
                    <a:pt x="18227" y="9793"/>
                    <a:pt x="18224" y="9798"/>
                  </a:cubicBezTo>
                  <a:lnTo>
                    <a:pt x="18191" y="9853"/>
                  </a:lnTo>
                  <a:cubicBezTo>
                    <a:pt x="17926" y="10290"/>
                    <a:pt x="17434" y="11106"/>
                    <a:pt x="17434" y="12954"/>
                  </a:cubicBezTo>
                  <a:cubicBezTo>
                    <a:pt x="17434" y="15019"/>
                    <a:pt x="18570" y="15933"/>
                    <a:pt x="19229" y="16155"/>
                  </a:cubicBezTo>
                  <a:cubicBezTo>
                    <a:pt x="19856" y="16429"/>
                    <a:pt x="20435" y="16859"/>
                    <a:pt x="20582" y="17999"/>
                  </a:cubicBezTo>
                  <a:lnTo>
                    <a:pt x="18459" y="18000"/>
                  </a:lnTo>
                  <a:cubicBezTo>
                    <a:pt x="18647" y="18353"/>
                    <a:pt x="18802" y="18755"/>
                    <a:pt x="18920" y="19200"/>
                  </a:cubicBezTo>
                  <a:lnTo>
                    <a:pt x="21109" y="19199"/>
                  </a:lnTo>
                  <a:cubicBezTo>
                    <a:pt x="21600" y="19199"/>
                    <a:pt x="21600" y="18599"/>
                    <a:pt x="21600" y="18599"/>
                  </a:cubicBezTo>
                  <a:cubicBezTo>
                    <a:pt x="21600" y="16199"/>
                    <a:pt x="20410" y="15388"/>
                    <a:pt x="19516" y="15006"/>
                  </a:cubicBezTo>
                  <a:moveTo>
                    <a:pt x="2371" y="16155"/>
                  </a:moveTo>
                  <a:cubicBezTo>
                    <a:pt x="3030" y="15933"/>
                    <a:pt x="4166" y="15019"/>
                    <a:pt x="4166" y="12954"/>
                  </a:cubicBezTo>
                  <a:cubicBezTo>
                    <a:pt x="4166" y="11106"/>
                    <a:pt x="3673" y="10290"/>
                    <a:pt x="3409" y="9853"/>
                  </a:cubicBezTo>
                  <a:lnTo>
                    <a:pt x="3376" y="9798"/>
                  </a:lnTo>
                  <a:cubicBezTo>
                    <a:pt x="3373" y="9793"/>
                    <a:pt x="3370" y="9788"/>
                    <a:pt x="3367" y="9784"/>
                  </a:cubicBezTo>
                  <a:cubicBezTo>
                    <a:pt x="3346" y="9706"/>
                    <a:pt x="3283" y="9392"/>
                    <a:pt x="3418" y="8718"/>
                  </a:cubicBezTo>
                  <a:cubicBezTo>
                    <a:pt x="3470" y="8457"/>
                    <a:pt x="3439" y="8156"/>
                    <a:pt x="3347" y="7911"/>
                  </a:cubicBezTo>
                  <a:cubicBezTo>
                    <a:pt x="3148" y="7378"/>
                    <a:pt x="2778" y="6387"/>
                    <a:pt x="3038" y="5641"/>
                  </a:cubicBezTo>
                  <a:cubicBezTo>
                    <a:pt x="3469" y="4362"/>
                    <a:pt x="3649" y="4265"/>
                    <a:pt x="4133" y="4008"/>
                  </a:cubicBezTo>
                  <a:cubicBezTo>
                    <a:pt x="4180" y="3983"/>
                    <a:pt x="4225" y="3953"/>
                    <a:pt x="4268" y="3919"/>
                  </a:cubicBezTo>
                  <a:cubicBezTo>
                    <a:pt x="4389" y="3825"/>
                    <a:pt x="4884" y="3600"/>
                    <a:pt x="5392" y="3600"/>
                  </a:cubicBezTo>
                  <a:cubicBezTo>
                    <a:pt x="5636" y="3600"/>
                    <a:pt x="5839" y="3655"/>
                    <a:pt x="6002" y="3755"/>
                  </a:cubicBezTo>
                  <a:cubicBezTo>
                    <a:pt x="6045" y="3548"/>
                    <a:pt x="6096" y="3341"/>
                    <a:pt x="6165" y="3134"/>
                  </a:cubicBezTo>
                  <a:cubicBezTo>
                    <a:pt x="6225" y="2950"/>
                    <a:pt x="6289" y="2793"/>
                    <a:pt x="6351" y="2630"/>
                  </a:cubicBezTo>
                  <a:cubicBezTo>
                    <a:pt x="6046" y="2468"/>
                    <a:pt x="5716" y="2400"/>
                    <a:pt x="5392" y="2400"/>
                  </a:cubicBezTo>
                  <a:cubicBezTo>
                    <a:pt x="4682" y="2400"/>
                    <a:pt x="4009" y="2699"/>
                    <a:pt x="3740" y="2908"/>
                  </a:cubicBezTo>
                  <a:cubicBezTo>
                    <a:pt x="2955" y="3327"/>
                    <a:pt x="2625" y="3714"/>
                    <a:pt x="2130" y="5184"/>
                  </a:cubicBezTo>
                  <a:cubicBezTo>
                    <a:pt x="1700" y="6419"/>
                    <a:pt x="2212" y="7760"/>
                    <a:pt x="2464" y="8435"/>
                  </a:cubicBezTo>
                  <a:cubicBezTo>
                    <a:pt x="2156" y="9975"/>
                    <a:pt x="2583" y="10506"/>
                    <a:pt x="2583" y="10506"/>
                  </a:cubicBezTo>
                  <a:cubicBezTo>
                    <a:pt x="2806" y="10879"/>
                    <a:pt x="3185" y="11419"/>
                    <a:pt x="3185" y="12954"/>
                  </a:cubicBezTo>
                  <a:cubicBezTo>
                    <a:pt x="3185" y="14701"/>
                    <a:pt x="2084" y="15006"/>
                    <a:pt x="2084" y="15006"/>
                  </a:cubicBezTo>
                  <a:cubicBezTo>
                    <a:pt x="1191" y="15388"/>
                    <a:pt x="0" y="16199"/>
                    <a:pt x="0" y="18599"/>
                  </a:cubicBezTo>
                  <a:cubicBezTo>
                    <a:pt x="0" y="18599"/>
                    <a:pt x="0" y="19199"/>
                    <a:pt x="491" y="19199"/>
                  </a:cubicBezTo>
                  <a:lnTo>
                    <a:pt x="2680" y="19200"/>
                  </a:lnTo>
                  <a:cubicBezTo>
                    <a:pt x="2798" y="18755"/>
                    <a:pt x="2952" y="18353"/>
                    <a:pt x="3141" y="18000"/>
                  </a:cubicBezTo>
                  <a:lnTo>
                    <a:pt x="1018" y="17999"/>
                  </a:lnTo>
                  <a:cubicBezTo>
                    <a:pt x="1165" y="16859"/>
                    <a:pt x="1744" y="16429"/>
                    <a:pt x="2371" y="16155"/>
                  </a:cubicBezTo>
                </a:path>
              </a:pathLst>
            </a:custGeom>
            <a:solidFill>
              <a:schemeClr val="bg1"/>
            </a:solidFill>
            <a:ln w="12700">
              <a:miter lim="400000"/>
            </a:ln>
          </p:spPr>
          <p:txBody>
            <a:bodyPr lIns="19049" tIns="19049" rIns="19049" bIns="19049" anchor="ctr"/>
            <a:lstStyle/>
            <a:p>
              <a:pPr marL="0" marR="0" lvl="0" indent="0" algn="ctr" defTabSz="228580" rtl="0" eaLnBrk="1" fontAlgn="auto" latinLnBrk="0" hangingPunct="0">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lang="en-US" sz="1562" b="0" i="0" u="none" strike="noStrike" kern="0" cap="none" spc="0" normalizeH="0" baseline="0" noProof="0" dirty="0">
                <a:ln>
                  <a:noFill/>
                </a:ln>
                <a:solidFill>
                  <a:srgbClr val="FFFFFF"/>
                </a:solidFill>
                <a:effectLst>
                  <a:outerShdw blurRad="38100" dist="12700" dir="5400000" rotWithShape="0">
                    <a:srgbClr val="000000">
                      <a:alpha val="50000"/>
                    </a:srgbClr>
                  </a:outerShdw>
                </a:effectLst>
                <a:uLnTx/>
                <a:uFillTx/>
                <a:latin typeface="Arial"/>
                <a:ea typeface="Arial"/>
                <a:cs typeface="Arial"/>
                <a:sym typeface="Gill Sans"/>
              </a:endParaRPr>
            </a:p>
          </p:txBody>
        </p:sp>
      </p:grpSp>
      <p:sp>
        <p:nvSpPr>
          <p:cNvPr id="21" name="TextBox 35">
            <a:extLst>
              <a:ext uri="{FF2B5EF4-FFF2-40B4-BE49-F238E27FC236}">
                <a16:creationId xmlns:a16="http://schemas.microsoft.com/office/drawing/2014/main" id="{6C6C95EF-3550-EE86-EF9B-438F964B5A60}"/>
              </a:ext>
            </a:extLst>
          </p:cNvPr>
          <p:cNvSpPr txBox="1"/>
          <p:nvPr/>
        </p:nvSpPr>
        <p:spPr>
          <a:xfrm>
            <a:off x="6815535" y="3322201"/>
            <a:ext cx="1478341" cy="375552"/>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a:ea typeface="+mn-ea"/>
              <a:cs typeface="+mn-cs"/>
            </a:endParaRPr>
          </a:p>
        </p:txBody>
      </p:sp>
      <p:sp>
        <p:nvSpPr>
          <p:cNvPr id="24" name="TextBox 35">
            <a:extLst>
              <a:ext uri="{FF2B5EF4-FFF2-40B4-BE49-F238E27FC236}">
                <a16:creationId xmlns:a16="http://schemas.microsoft.com/office/drawing/2014/main" id="{C2B6B71E-0468-D1C1-66B0-2044F84C267E}"/>
              </a:ext>
            </a:extLst>
          </p:cNvPr>
          <p:cNvSpPr txBox="1"/>
          <p:nvPr/>
        </p:nvSpPr>
        <p:spPr>
          <a:xfrm>
            <a:off x="1261584" y="2607889"/>
            <a:ext cx="1478341" cy="820674"/>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endParaRPr kumimoji="0" lang="en-US" sz="3600" b="1" i="0" u="none" strike="noStrike" kern="1200" cap="none" spc="0" normalizeH="0" baseline="0" noProof="0" dirty="0">
              <a:ln>
                <a:noFill/>
              </a:ln>
              <a:solidFill>
                <a:srgbClr val="FFFFFF"/>
              </a:solidFill>
              <a:effectLst/>
              <a:uLnTx/>
              <a:uFillTx/>
              <a:latin typeface="Arial"/>
              <a:ea typeface="+mn-ea"/>
              <a:cs typeface="+mn-cs"/>
            </a:endParaRPr>
          </a:p>
        </p:txBody>
      </p:sp>
      <p:sp>
        <p:nvSpPr>
          <p:cNvPr id="25" name="pole tekstowe 24">
            <a:extLst>
              <a:ext uri="{FF2B5EF4-FFF2-40B4-BE49-F238E27FC236}">
                <a16:creationId xmlns:a16="http://schemas.microsoft.com/office/drawing/2014/main" id="{D81AC80F-8451-D071-F1EC-B62B57E840BA}"/>
              </a:ext>
            </a:extLst>
          </p:cNvPr>
          <p:cNvSpPr txBox="1"/>
          <p:nvPr/>
        </p:nvSpPr>
        <p:spPr>
          <a:xfrm>
            <a:off x="800894" y="4541520"/>
            <a:ext cx="2274259" cy="954107"/>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no view in e-bank and </a:t>
            </a:r>
            <a:r>
              <a:rPr kumimoji="0" lang="pl-PL" sz="1400" b="0" i="0" u="none" strike="noStrike" kern="1200" cap="none" spc="0" normalizeH="0" baseline="0" noProof="0" dirty="0">
                <a:ln>
                  <a:noFill/>
                </a:ln>
                <a:solidFill>
                  <a:srgbClr val="000000"/>
                </a:solidFill>
                <a:effectLst/>
                <a:uLnTx/>
                <a:uFillTx/>
                <a:latin typeface="Arial"/>
                <a:ea typeface="+mn-ea"/>
                <a:cs typeface="+mn-cs"/>
              </a:rPr>
              <a:t>m</a:t>
            </a:r>
            <a:r>
              <a:rPr kumimoji="0" lang="en-US" sz="1400" b="0" i="0" u="none" strike="noStrike" kern="1200" cap="none" spc="0" normalizeH="0" baseline="0" noProof="0" dirty="0" err="1">
                <a:ln>
                  <a:noFill/>
                </a:ln>
                <a:solidFill>
                  <a:srgbClr val="000000"/>
                </a:solidFill>
                <a:effectLst/>
                <a:uLnTx/>
                <a:uFillTx/>
                <a:latin typeface="Arial"/>
                <a:ea typeface="+mn-ea"/>
                <a:cs typeface="+mn-cs"/>
              </a:rPr>
              <a:t>obile</a:t>
            </a:r>
            <a:r>
              <a:rPr kumimoji="0" lang="en-US" sz="1400" b="0" i="0" u="none" strike="noStrike" kern="1200" cap="none" spc="0" normalizeH="0" baseline="0" noProof="0" dirty="0">
                <a:ln>
                  <a:noFill/>
                </a:ln>
                <a:solidFill>
                  <a:srgbClr val="000000"/>
                </a:solidFill>
                <a:effectLst/>
                <a:uLnTx/>
                <a:uFillTx/>
                <a:latin typeface="Arial"/>
                <a:ea typeface="+mn-ea"/>
                <a:cs typeface="+mn-cs"/>
              </a:rPr>
              <a:t> </a:t>
            </a:r>
            <a:r>
              <a:rPr kumimoji="0" lang="pl-PL" sz="1400" b="0" i="0" u="none" strike="noStrike" kern="1200" cap="none" spc="0" normalizeH="0" baseline="0" noProof="0" dirty="0">
                <a:ln>
                  <a:noFill/>
                </a:ln>
                <a:solidFill>
                  <a:srgbClr val="000000"/>
                </a:solidFill>
                <a:effectLst/>
                <a:uLnTx/>
                <a:uFillTx/>
                <a:latin typeface="Arial"/>
                <a:ea typeface="+mn-ea"/>
                <a:cs typeface="+mn-cs"/>
              </a:rPr>
              <a:t>a</a:t>
            </a:r>
            <a:r>
              <a:rPr kumimoji="0" lang="en-US" sz="1400" b="0" i="0" u="none" strike="noStrike" kern="1200" cap="none" spc="0" normalizeH="0" baseline="0" noProof="0" dirty="0" err="1">
                <a:ln>
                  <a:noFill/>
                </a:ln>
                <a:solidFill>
                  <a:srgbClr val="000000"/>
                </a:solidFill>
                <a:effectLst/>
                <a:uLnTx/>
                <a:uFillTx/>
                <a:latin typeface="Arial"/>
                <a:ea typeface="+mn-ea"/>
                <a:cs typeface="+mn-cs"/>
              </a:rPr>
              <a:t>pplication</a:t>
            </a:r>
            <a:endParaRPr kumimoji="0" lang="pl-PL" sz="1400" b="0" i="0" u="none" strike="noStrike" kern="1200" cap="none" spc="0" normalizeH="0" baseline="0" noProof="0" dirty="0">
              <a:ln>
                <a:noFill/>
              </a:ln>
              <a:solidFill>
                <a:srgbClr val="000000"/>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need to unlock funds manually</a:t>
            </a:r>
          </a:p>
        </p:txBody>
      </p:sp>
      <p:sp>
        <p:nvSpPr>
          <p:cNvPr id="26" name="pole tekstowe 25">
            <a:extLst>
              <a:ext uri="{FF2B5EF4-FFF2-40B4-BE49-F238E27FC236}">
                <a16:creationId xmlns:a16="http://schemas.microsoft.com/office/drawing/2014/main" id="{EA188BE4-B62F-C48B-A122-30FA0DBCB741}"/>
              </a:ext>
            </a:extLst>
          </p:cNvPr>
          <p:cNvSpPr txBox="1"/>
          <p:nvPr/>
        </p:nvSpPr>
        <p:spPr>
          <a:xfrm>
            <a:off x="3708400" y="4510802"/>
            <a:ext cx="2621280" cy="2031325"/>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in the sales process - long waiting time for consent to enter into relations</a:t>
            </a:r>
            <a:endParaRPr kumimoji="0" lang="pl-PL" sz="1400" b="0" i="0" u="none" strike="noStrike" kern="1200" cap="none" spc="0" normalizeH="0" baseline="0" noProof="0" dirty="0">
              <a:ln>
                <a:noFill/>
              </a:ln>
              <a:solidFill>
                <a:srgbClr val="000000"/>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pl-PL" sz="1400" b="0" i="0" u="none" strike="noStrike" kern="1200" cap="none" spc="0" normalizeH="0" baseline="0" noProof="0" dirty="0">
                <a:ln>
                  <a:noFill/>
                </a:ln>
                <a:solidFill>
                  <a:srgbClr val="000000"/>
                </a:solidFill>
                <a:effectLst/>
                <a:uLnTx/>
                <a:uFillTx/>
                <a:latin typeface="Arial"/>
                <a:ea typeface="+mn-ea"/>
                <a:cs typeface="+mn-cs"/>
              </a:rPr>
              <a:t>i</a:t>
            </a:r>
            <a:r>
              <a:rPr kumimoji="0" lang="en-US" sz="1400" b="0" i="0" u="none" strike="noStrike" kern="1200" cap="none" spc="0" normalizeH="0" baseline="0" noProof="0" dirty="0">
                <a:ln>
                  <a:noFill/>
                </a:ln>
                <a:solidFill>
                  <a:srgbClr val="000000"/>
                </a:solidFill>
                <a:effectLst/>
                <a:uLnTx/>
                <a:uFillTx/>
                <a:latin typeface="Arial"/>
                <a:ea typeface="+mn-ea"/>
                <a:cs typeface="+mn-cs"/>
              </a:rPr>
              <a:t>n the after-sales process - blocking accounts and transfers - lack of a </a:t>
            </a:r>
            <a:r>
              <a:rPr kumimoji="0" lang="pl-PL" sz="1400" b="0" i="0" u="none" strike="noStrike" kern="1200" cap="none" spc="0" normalizeH="0" baseline="0" noProof="0" dirty="0">
                <a:ln>
                  <a:noFill/>
                </a:ln>
                <a:solidFill>
                  <a:srgbClr val="000000"/>
                </a:solidFill>
                <a:effectLst/>
                <a:uLnTx/>
                <a:uFillTx/>
                <a:latin typeface="Arial"/>
                <a:ea typeface="+mn-ea"/>
                <a:cs typeface="+mn-cs"/>
              </a:rPr>
              <a:t>smart</a:t>
            </a:r>
            <a:r>
              <a:rPr kumimoji="0" lang="en-US" sz="1400" b="0" i="0" u="none" strike="noStrike" kern="1200" cap="none" spc="0" normalizeH="0" baseline="0" noProof="0" dirty="0">
                <a:ln>
                  <a:noFill/>
                </a:ln>
                <a:solidFill>
                  <a:srgbClr val="000000"/>
                </a:solidFill>
                <a:effectLst/>
                <a:uLnTx/>
                <a:uFillTx/>
                <a:latin typeface="Arial"/>
                <a:ea typeface="+mn-ea"/>
                <a:cs typeface="+mn-cs"/>
              </a:rPr>
              <a:t> process of handling blockages, difficult communication with AML</a:t>
            </a:r>
          </a:p>
        </p:txBody>
      </p:sp>
      <p:sp>
        <p:nvSpPr>
          <p:cNvPr id="27" name="pole tekstowe 26">
            <a:extLst>
              <a:ext uri="{FF2B5EF4-FFF2-40B4-BE49-F238E27FC236}">
                <a16:creationId xmlns:a16="http://schemas.microsoft.com/office/drawing/2014/main" id="{789D1891-E271-0C76-9A19-DDF69D8DC77A}"/>
              </a:ext>
            </a:extLst>
          </p:cNvPr>
          <p:cNvSpPr txBox="1"/>
          <p:nvPr/>
        </p:nvSpPr>
        <p:spPr>
          <a:xfrm>
            <a:off x="6417575" y="4509869"/>
            <a:ext cx="2274259" cy="1384995"/>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pl-PL" sz="1400" b="0" i="0" u="none" strike="noStrike" kern="1200" cap="none" spc="0" normalizeH="0" baseline="0" noProof="0" dirty="0" err="1">
                <a:ln>
                  <a:noFill/>
                </a:ln>
                <a:solidFill>
                  <a:srgbClr val="000000"/>
                </a:solidFill>
                <a:effectLst/>
                <a:uLnTx/>
                <a:uFillTx/>
                <a:latin typeface="Arial"/>
                <a:ea typeface="+mn-ea"/>
                <a:cs typeface="+mn-cs"/>
              </a:rPr>
              <a:t>change</a:t>
            </a:r>
            <a:r>
              <a:rPr kumimoji="0" lang="pl-PL" sz="1400" b="0" i="0" u="none" strike="noStrike" kern="1200" cap="none" spc="0" normalizeH="0" baseline="0" noProof="0" dirty="0">
                <a:ln>
                  <a:noFill/>
                </a:ln>
                <a:solidFill>
                  <a:srgbClr val="000000"/>
                </a:solidFill>
                <a:effectLst/>
                <a:uLnTx/>
                <a:uFillTx/>
                <a:latin typeface="Arial"/>
                <a:ea typeface="+mn-ea"/>
                <a:cs typeface="+mn-cs"/>
              </a:rPr>
              <a:t> </a:t>
            </a:r>
            <a:r>
              <a:rPr kumimoji="0" lang="en-US" sz="1400" b="0" i="0" u="none" strike="noStrike" kern="1200" cap="none" spc="0" normalizeH="0" baseline="0" noProof="0" dirty="0">
                <a:ln>
                  <a:noFill/>
                </a:ln>
                <a:solidFill>
                  <a:srgbClr val="000000"/>
                </a:solidFill>
                <a:effectLst/>
                <a:uLnTx/>
                <a:uFillTx/>
                <a:latin typeface="Arial"/>
                <a:ea typeface="+mn-ea"/>
                <a:cs typeface="+mn-cs"/>
              </a:rPr>
              <a:t>available only in </a:t>
            </a:r>
            <a:r>
              <a:rPr kumimoji="0" lang="pl-PL" sz="1400" b="0" i="0" u="none" strike="noStrike" kern="1200" cap="none" spc="0" normalizeH="0" baseline="0" noProof="0" dirty="0" err="1">
                <a:ln>
                  <a:noFill/>
                </a:ln>
                <a:solidFill>
                  <a:srgbClr val="000000"/>
                </a:solidFill>
                <a:effectLst/>
                <a:uLnTx/>
                <a:uFillTx/>
                <a:latin typeface="Arial"/>
                <a:ea typeface="+mn-ea"/>
                <a:cs typeface="+mn-cs"/>
              </a:rPr>
              <a:t>branches</a:t>
            </a:r>
            <a:r>
              <a:rPr kumimoji="0" lang="en-US" sz="1400" b="0" i="0" u="none" strike="noStrike" kern="1200" cap="none" spc="0" normalizeH="0" baseline="0" noProof="0" dirty="0">
                <a:ln>
                  <a:noFill/>
                </a:ln>
                <a:solidFill>
                  <a:srgbClr val="000000"/>
                </a:solidFill>
                <a:effectLst/>
                <a:uLnTx/>
                <a:uFillTx/>
                <a:latin typeface="Arial"/>
                <a:ea typeface="+mn-ea"/>
                <a:cs typeface="+mn-cs"/>
              </a:rPr>
              <a:t> and CC</a:t>
            </a:r>
            <a:endParaRPr kumimoji="0" lang="pl-PL" sz="1400" b="0" i="0" u="none" strike="noStrike" kern="1200" cap="none" spc="0" normalizeH="0" baseline="0" noProof="0" dirty="0">
              <a:ln>
                <a:noFill/>
              </a:ln>
              <a:solidFill>
                <a:srgbClr val="000000"/>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no change on-line as in the case of a retail client (the limit applies from the next day)</a:t>
            </a:r>
          </a:p>
        </p:txBody>
      </p:sp>
      <p:sp>
        <p:nvSpPr>
          <p:cNvPr id="28" name="pole tekstowe 27">
            <a:extLst>
              <a:ext uri="{FF2B5EF4-FFF2-40B4-BE49-F238E27FC236}">
                <a16:creationId xmlns:a16="http://schemas.microsoft.com/office/drawing/2014/main" id="{9603CCFC-73D0-5857-CEA9-828D3E4F0686}"/>
              </a:ext>
            </a:extLst>
          </p:cNvPr>
          <p:cNvSpPr txBox="1"/>
          <p:nvPr/>
        </p:nvSpPr>
        <p:spPr>
          <a:xfrm>
            <a:off x="8679888" y="4505255"/>
            <a:ext cx="2274259" cy="160043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pl-PL" sz="1400" b="0" i="0" u="none" strike="noStrike" kern="1200" cap="none" spc="0" normalizeH="0" baseline="0" noProof="0" dirty="0" err="1">
                <a:ln>
                  <a:noFill/>
                </a:ln>
                <a:solidFill>
                  <a:srgbClr val="000000"/>
                </a:solidFill>
                <a:effectLst/>
                <a:uLnTx/>
                <a:uFillTx/>
                <a:latin typeface="Arial"/>
                <a:ea typeface="+mn-ea"/>
                <a:cs typeface="+mn-cs"/>
              </a:rPr>
              <a:t>available</a:t>
            </a:r>
            <a:r>
              <a:rPr kumimoji="0" lang="pl-PL" sz="1400" b="0" i="0" u="none" strike="noStrike" kern="1200" cap="none" spc="0" normalizeH="0" baseline="0" noProof="0" dirty="0">
                <a:ln>
                  <a:noFill/>
                </a:ln>
                <a:solidFill>
                  <a:srgbClr val="000000"/>
                </a:solidFill>
                <a:effectLst/>
                <a:uLnTx/>
                <a:uFillTx/>
                <a:latin typeface="Arial"/>
                <a:ea typeface="+mn-ea"/>
                <a:cs typeface="+mn-cs"/>
              </a:rPr>
              <a:t> </a:t>
            </a:r>
            <a:r>
              <a:rPr kumimoji="0" lang="pl-PL" sz="1400" b="0" i="0" u="none" strike="noStrike" kern="1200" cap="none" spc="0" normalizeH="0" baseline="0" noProof="0" dirty="0" err="1">
                <a:ln>
                  <a:noFill/>
                </a:ln>
                <a:solidFill>
                  <a:srgbClr val="000000"/>
                </a:solidFill>
                <a:effectLst/>
                <a:uLnTx/>
                <a:uFillTx/>
                <a:latin typeface="Arial"/>
                <a:ea typeface="+mn-ea"/>
                <a:cs typeface="+mn-cs"/>
              </a:rPr>
              <a:t>only</a:t>
            </a:r>
            <a:r>
              <a:rPr kumimoji="0" lang="pl-PL" sz="1400" b="0" i="0" u="none" strike="noStrike" kern="1200" cap="none" spc="0" normalizeH="0" baseline="0" noProof="0" dirty="0">
                <a:ln>
                  <a:noFill/>
                </a:ln>
                <a:solidFill>
                  <a:srgbClr val="000000"/>
                </a:solidFill>
                <a:effectLst/>
                <a:uLnTx/>
                <a:uFillTx/>
                <a:latin typeface="Arial"/>
                <a:ea typeface="+mn-ea"/>
                <a:cs typeface="+mn-cs"/>
              </a:rPr>
              <a:t> in </a:t>
            </a:r>
            <a:r>
              <a:rPr kumimoji="0" lang="pl-PL" sz="1400" b="0" i="0" u="none" strike="noStrike" kern="1200" cap="none" spc="0" normalizeH="0" baseline="0" noProof="0" dirty="0" err="1">
                <a:ln>
                  <a:noFill/>
                </a:ln>
                <a:solidFill>
                  <a:srgbClr val="000000"/>
                </a:solidFill>
                <a:effectLst/>
                <a:uLnTx/>
                <a:uFillTx/>
                <a:latin typeface="Arial"/>
                <a:ea typeface="+mn-ea"/>
                <a:cs typeface="+mn-cs"/>
              </a:rPr>
              <a:t>branches</a:t>
            </a:r>
            <a:r>
              <a:rPr kumimoji="0" lang="pl-PL" sz="1400" b="0" i="0" u="none" strike="noStrike" kern="1200" cap="none" spc="0" normalizeH="0" baseline="0" noProof="0" dirty="0">
                <a:ln>
                  <a:noFill/>
                </a:ln>
                <a:solidFill>
                  <a:srgbClr val="000000"/>
                </a:solidFill>
                <a:effectLst/>
                <a:uLnTx/>
                <a:uFillTx/>
                <a:latin typeface="Arial"/>
                <a:ea typeface="+mn-ea"/>
                <a:cs typeface="+mn-cs"/>
              </a:rPr>
              <a:t> and CC (</a:t>
            </a:r>
            <a:r>
              <a:rPr kumimoji="0" lang="en-US" sz="1400" b="0" i="0" u="none" strike="noStrike" kern="1200" cap="none" spc="0" normalizeH="0" baseline="0" noProof="0" dirty="0">
                <a:ln>
                  <a:noFill/>
                </a:ln>
                <a:solidFill>
                  <a:srgbClr val="000000"/>
                </a:solidFill>
                <a:effectLst/>
                <a:uLnTx/>
                <a:uFillTx/>
                <a:latin typeface="Arial"/>
                <a:ea typeface="+mn-ea"/>
                <a:cs typeface="+mn-cs"/>
              </a:rPr>
              <a:t>are not available in e-bank and mobile ap</a:t>
            </a:r>
            <a:r>
              <a:rPr kumimoji="0" lang="pl-PL" sz="1400" b="0" i="0" u="none" strike="noStrike" kern="1200" cap="none" spc="0" normalizeH="0" baseline="0" noProof="0" dirty="0">
                <a:ln>
                  <a:noFill/>
                </a:ln>
                <a:solidFill>
                  <a:srgbClr val="000000"/>
                </a:solidFill>
                <a:effectLst/>
                <a:uLnTx/>
                <a:uFillTx/>
                <a:latin typeface="Arial"/>
                <a:ea typeface="+mn-ea"/>
                <a:cs typeface="+mn-cs"/>
              </a:rPr>
              <a:t>p)</a:t>
            </a:r>
            <a:r>
              <a:rPr kumimoji="0" lang="en-US" sz="1400" b="0" i="0" u="none" strike="noStrike" kern="1200" cap="none" spc="0" normalizeH="0" baseline="0" noProof="0" dirty="0">
                <a:ln>
                  <a:noFill/>
                </a:ln>
                <a:solidFill>
                  <a:srgbClr val="000000"/>
                </a:solidFill>
                <a:effectLst/>
                <a:uLnTx/>
                <a:uFillTx/>
                <a:latin typeface="Arial"/>
                <a:ea typeface="+mn-ea"/>
                <a:cs typeface="+mn-cs"/>
              </a:rPr>
              <a:t> due to the need to collect additional data for Compliance</a:t>
            </a:r>
          </a:p>
        </p:txBody>
      </p:sp>
    </p:spTree>
    <p:extLst>
      <p:ext uri="{BB962C8B-B14F-4D97-AF65-F5344CB8AC3E}">
        <p14:creationId xmlns:p14="http://schemas.microsoft.com/office/powerpoint/2010/main" val="393215604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D8B271-91E8-F619-7259-AFB4CB3EB6FB}"/>
            </a:ext>
          </a:extLst>
        </p:cNvPr>
        <p:cNvGrpSpPr/>
        <p:nvPr/>
      </p:nvGrpSpPr>
      <p:grpSpPr>
        <a:xfrm>
          <a:off x="0" y="0"/>
          <a:ext cx="0" cy="0"/>
          <a:chOff x="0" y="0"/>
          <a:chExt cx="0" cy="0"/>
        </a:xfrm>
      </p:grpSpPr>
      <p:sp>
        <p:nvSpPr>
          <p:cNvPr id="7" name="Tytuł 1">
            <a:extLst>
              <a:ext uri="{FF2B5EF4-FFF2-40B4-BE49-F238E27FC236}">
                <a16:creationId xmlns:a16="http://schemas.microsoft.com/office/drawing/2014/main" id="{925D5229-E521-CBC3-CD26-0219BAD1849E}"/>
              </a:ext>
            </a:extLst>
          </p:cNvPr>
          <p:cNvSpPr>
            <a:spLocks noGrp="1"/>
          </p:cNvSpPr>
          <p:nvPr>
            <p:ph type="title"/>
          </p:nvPr>
        </p:nvSpPr>
        <p:spPr>
          <a:xfrm>
            <a:off x="390658" y="2387817"/>
            <a:ext cx="7816499" cy="2082365"/>
          </a:xfrm>
        </p:spPr>
        <p:txBody>
          <a:bodyPr/>
          <a:lstStyle/>
          <a:p>
            <a:r>
              <a:rPr lang="pl-PL" dirty="0"/>
              <a:t>CONTACT CHANNELS STRATEGY</a:t>
            </a:r>
            <a:br>
              <a:rPr lang="pl-PL" dirty="0"/>
            </a:br>
            <a:br>
              <a:rPr lang="pl-PL" dirty="0"/>
            </a:br>
            <a:br>
              <a:rPr lang="pl-PL" dirty="0"/>
            </a:br>
            <a:endParaRPr lang="pl-PL" dirty="0">
              <a:latin typeface="Bradley Hand ITC" panose="03070402050302030203" pitchFamily="66" charset="0"/>
            </a:endParaRPr>
          </a:p>
        </p:txBody>
      </p:sp>
      <p:sp>
        <p:nvSpPr>
          <p:cNvPr id="8" name="Owal 7">
            <a:extLst>
              <a:ext uri="{FF2B5EF4-FFF2-40B4-BE49-F238E27FC236}">
                <a16:creationId xmlns:a16="http://schemas.microsoft.com/office/drawing/2014/main" id="{018A6EFF-F8A2-A13B-BCE6-03DFB75385EF}"/>
              </a:ext>
            </a:extLst>
          </p:cNvPr>
          <p:cNvSpPr/>
          <p:nvPr/>
        </p:nvSpPr>
        <p:spPr>
          <a:xfrm>
            <a:off x="6656941" y="3571253"/>
            <a:ext cx="2674465" cy="2674465"/>
          </a:xfrm>
          <a:prstGeom prst="ellipse">
            <a:avLst/>
          </a:prstGeom>
          <a:blipFill dpi="0" rotWithShape="1">
            <a:blip r:embed="rId2"/>
            <a:srcRect/>
            <a:stretch>
              <a:fillRect l="-40000" t="-9000" r="-36000" b="-6000"/>
            </a:stretch>
          </a:blipFill>
          <a:ln w="28575" cap="rnd" cmpd="sng" algn="ctr">
            <a:solidFill>
              <a:schemeClr val="bg1">
                <a:lumMod val="85000"/>
              </a:schemeClr>
            </a:solidFill>
            <a:prstDash val="solid"/>
            <a:round/>
            <a:headEnd type="none" w="med" len="med"/>
            <a:tailEnd type="none" w="med" len="med"/>
          </a:ln>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9" name="Owal 8">
            <a:extLst>
              <a:ext uri="{FF2B5EF4-FFF2-40B4-BE49-F238E27FC236}">
                <a16:creationId xmlns:a16="http://schemas.microsoft.com/office/drawing/2014/main" id="{65B9A4F1-3DDE-D233-10AC-3C19D3E7D32C}"/>
              </a:ext>
            </a:extLst>
          </p:cNvPr>
          <p:cNvSpPr/>
          <p:nvPr/>
        </p:nvSpPr>
        <p:spPr>
          <a:xfrm>
            <a:off x="8291632" y="2015248"/>
            <a:ext cx="2674465" cy="2674465"/>
          </a:xfrm>
          <a:prstGeom prst="ellipse">
            <a:avLst/>
          </a:prstGeom>
          <a:blipFill dpi="0" rotWithShape="1">
            <a:blip r:embed="rId3"/>
            <a:srcRect/>
            <a:stretch>
              <a:fillRect l="-28000" r="-26000"/>
            </a:stretch>
          </a:blipFill>
          <a:ln w="28575" cap="rnd" cmpd="sng" algn="ctr">
            <a:solidFill>
              <a:schemeClr val="bg1">
                <a:lumMod val="85000"/>
              </a:schemeClr>
            </a:solidFill>
            <a:prstDash val="solid"/>
            <a:round/>
            <a:headEnd type="none" w="med" len="med"/>
            <a:tailEnd type="none" w="med" len="med"/>
          </a:ln>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3" name="pole tekstowe 2">
            <a:extLst>
              <a:ext uri="{FF2B5EF4-FFF2-40B4-BE49-F238E27FC236}">
                <a16:creationId xmlns:a16="http://schemas.microsoft.com/office/drawing/2014/main" id="{82C96C51-8374-3EC3-8E19-DCE2AD9DE2E4}"/>
              </a:ext>
            </a:extLst>
          </p:cNvPr>
          <p:cNvSpPr txBox="1"/>
          <p:nvPr/>
        </p:nvSpPr>
        <p:spPr>
          <a:xfrm>
            <a:off x="390658" y="2980628"/>
            <a:ext cx="6097002" cy="1077218"/>
          </a:xfrm>
          <a:prstGeom prst="rect">
            <a:avLst/>
          </a:prstGeom>
          <a:noFill/>
        </p:spPr>
        <p:txBody>
          <a:bodyPr wrap="square">
            <a:spAutoFit/>
          </a:bodyPr>
          <a:lstStyle/>
          <a:p>
            <a:br>
              <a:rPr lang="pl-PL" sz="2800" b="0" dirty="0"/>
            </a:br>
            <a:r>
              <a:rPr lang="pl-PL" sz="1800" b="0" dirty="0" err="1">
                <a:solidFill>
                  <a:schemeClr val="bg1"/>
                </a:solidFill>
              </a:rPr>
              <a:t>Omnichannel</a:t>
            </a:r>
            <a:r>
              <a:rPr lang="pl-PL" sz="1800" b="0" dirty="0">
                <a:solidFill>
                  <a:schemeClr val="bg1"/>
                </a:solidFill>
              </a:rPr>
              <a:t> </a:t>
            </a:r>
            <a:r>
              <a:rPr lang="pl-PL" sz="1800" b="0" dirty="0" err="1">
                <a:solidFill>
                  <a:schemeClr val="bg1"/>
                </a:solidFill>
              </a:rPr>
              <a:t>customer</a:t>
            </a:r>
            <a:r>
              <a:rPr lang="pl-PL" sz="1800" b="0" dirty="0">
                <a:solidFill>
                  <a:schemeClr val="bg1"/>
                </a:solidFill>
              </a:rPr>
              <a:t> relations </a:t>
            </a:r>
            <a:r>
              <a:rPr lang="pl-PL" sz="1800" b="0" dirty="0" err="1">
                <a:solidFill>
                  <a:schemeClr val="bg1"/>
                </a:solidFill>
              </a:rPr>
              <a:t>department</a:t>
            </a:r>
            <a:br>
              <a:rPr lang="pl-PL" sz="3200" dirty="0">
                <a:solidFill>
                  <a:schemeClr val="bg1"/>
                </a:solidFill>
                <a:latin typeface="Arial Black" panose="020B0A04020102020204" pitchFamily="34" charset="0"/>
              </a:rPr>
            </a:br>
            <a:endParaRPr lang="pl-PL" dirty="0">
              <a:solidFill>
                <a:schemeClr val="bg1"/>
              </a:solidFill>
            </a:endParaRPr>
          </a:p>
        </p:txBody>
      </p:sp>
    </p:spTree>
    <p:extLst>
      <p:ext uri="{BB962C8B-B14F-4D97-AF65-F5344CB8AC3E}">
        <p14:creationId xmlns:p14="http://schemas.microsoft.com/office/powerpoint/2010/main" val="66099540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ytuł 4">
            <a:extLst>
              <a:ext uri="{FF2B5EF4-FFF2-40B4-BE49-F238E27FC236}">
                <a16:creationId xmlns:a16="http://schemas.microsoft.com/office/drawing/2014/main" id="{0D429662-F346-F63B-C244-51C7FA4228B9}"/>
              </a:ext>
            </a:extLst>
          </p:cNvPr>
          <p:cNvSpPr>
            <a:spLocks noGrp="1"/>
          </p:cNvSpPr>
          <p:nvPr>
            <p:ph type="title"/>
          </p:nvPr>
        </p:nvSpPr>
        <p:spPr>
          <a:xfrm>
            <a:off x="202201" y="2627361"/>
            <a:ext cx="6277094" cy="1168733"/>
          </a:xfrm>
        </p:spPr>
        <p:txBody>
          <a:bodyPr/>
          <a:lstStyle/>
          <a:p>
            <a:pPr>
              <a:lnSpc>
                <a:spcPct val="150000"/>
              </a:lnSpc>
            </a:pPr>
            <a:br>
              <a:rPr lang="pl-PL" sz="3200" dirty="0">
                <a:latin typeface="Arial Black" panose="020B0A04020102020204" pitchFamily="34" charset="0"/>
              </a:rPr>
            </a:br>
            <a:r>
              <a:rPr lang="pl-PL" sz="3200" dirty="0" err="1">
                <a:latin typeface="Arial Black" panose="020B0A04020102020204" pitchFamily="34" charset="0"/>
              </a:rPr>
              <a:t>soho</a:t>
            </a:r>
            <a:r>
              <a:rPr lang="pl-PL" sz="3200" dirty="0">
                <a:latin typeface="Arial Black" panose="020B0A04020102020204" pitchFamily="34" charset="0"/>
              </a:rPr>
              <a:t> </a:t>
            </a:r>
            <a:r>
              <a:rPr lang="pl-PL" sz="3200" dirty="0" err="1">
                <a:latin typeface="Arial Black" panose="020B0A04020102020204" pitchFamily="34" charset="0"/>
              </a:rPr>
              <a:t>remote</a:t>
            </a:r>
            <a:r>
              <a:rPr lang="pl-PL" sz="3200" dirty="0">
                <a:latin typeface="Arial Black" panose="020B0A04020102020204" pitchFamily="34" charset="0"/>
              </a:rPr>
              <a:t> </a:t>
            </a:r>
            <a:r>
              <a:rPr lang="pl-PL" sz="3200" dirty="0" err="1">
                <a:latin typeface="Arial Black" panose="020B0A04020102020204" pitchFamily="34" charset="0"/>
              </a:rPr>
              <a:t>advisors</a:t>
            </a:r>
            <a:br>
              <a:rPr lang="pl-PL" sz="3200" dirty="0">
                <a:latin typeface="Arial Black" panose="020B0A04020102020204" pitchFamily="34" charset="0"/>
              </a:rPr>
            </a:br>
            <a:br>
              <a:rPr lang="pl-PL" sz="2400" b="0" dirty="0"/>
            </a:br>
            <a:r>
              <a:rPr lang="pl-PL" sz="1600" b="0" dirty="0" err="1"/>
              <a:t>rafał</a:t>
            </a:r>
            <a:r>
              <a:rPr lang="pl-PL" sz="1600" b="0" dirty="0"/>
              <a:t> trojanowski</a:t>
            </a:r>
            <a:br>
              <a:rPr lang="pl-PL" sz="1600" b="0" dirty="0"/>
            </a:br>
            <a:r>
              <a:rPr lang="pl-PL" sz="1600" b="0" dirty="0" err="1"/>
              <a:t>soho</a:t>
            </a:r>
            <a:r>
              <a:rPr lang="pl-PL" sz="1600" b="0" dirty="0"/>
              <a:t> </a:t>
            </a:r>
            <a:r>
              <a:rPr lang="pl-PL" sz="1600" b="0" dirty="0" err="1"/>
              <a:t>remote</a:t>
            </a:r>
            <a:r>
              <a:rPr lang="pl-PL" sz="1600" b="0" dirty="0"/>
              <a:t> </a:t>
            </a:r>
            <a:r>
              <a:rPr lang="pl-PL" sz="1600" b="0" dirty="0" err="1"/>
              <a:t>sales</a:t>
            </a:r>
            <a:r>
              <a:rPr lang="pl-PL" sz="1600" b="0" dirty="0"/>
              <a:t> </a:t>
            </a:r>
            <a:r>
              <a:rPr lang="pl-PL" sz="1600" b="0" dirty="0" err="1"/>
              <a:t>netowrk</a:t>
            </a:r>
            <a:r>
              <a:rPr lang="pl-PL" sz="1600" b="0" dirty="0"/>
              <a:t> </a:t>
            </a:r>
            <a:br>
              <a:rPr lang="pl-PL" sz="2667" dirty="0">
                <a:latin typeface="Arial Black" panose="020B0A04020102020204" pitchFamily="34" charset="0"/>
              </a:rPr>
            </a:br>
            <a:br>
              <a:rPr lang="pl-PL" sz="2667" dirty="0">
                <a:latin typeface="Arial Black" panose="020B0A04020102020204" pitchFamily="34" charset="0"/>
              </a:rPr>
            </a:br>
            <a:br>
              <a:rPr lang="pl-PL" sz="2667" dirty="0">
                <a:latin typeface="Arial Black" panose="020B0A04020102020204" pitchFamily="34" charset="0"/>
              </a:rPr>
            </a:br>
            <a:endParaRPr lang="pl-PL" sz="2667" dirty="0">
              <a:solidFill>
                <a:srgbClr val="92D050"/>
              </a:solidFill>
              <a:latin typeface="Arial Black" panose="020B0A04020102020204" pitchFamily="34" charset="0"/>
            </a:endParaRPr>
          </a:p>
        </p:txBody>
      </p:sp>
      <p:sp>
        <p:nvSpPr>
          <p:cNvPr id="6" name="Symbol zastępczy tekstu 5">
            <a:extLst>
              <a:ext uri="{FF2B5EF4-FFF2-40B4-BE49-F238E27FC236}">
                <a16:creationId xmlns:a16="http://schemas.microsoft.com/office/drawing/2014/main" id="{91E26E86-033C-5BF8-CB00-FD9AB57B8F46}"/>
              </a:ext>
            </a:extLst>
          </p:cNvPr>
          <p:cNvSpPr>
            <a:spLocks noGrp="1"/>
          </p:cNvSpPr>
          <p:nvPr>
            <p:ph type="body" sz="quarter" idx="20"/>
          </p:nvPr>
        </p:nvSpPr>
        <p:spPr>
          <a:xfrm>
            <a:off x="312268" y="5349021"/>
            <a:ext cx="4997672" cy="168000"/>
          </a:xfrm>
        </p:spPr>
        <p:txBody>
          <a:bodyPr/>
          <a:lstStyle/>
          <a:p>
            <a:r>
              <a:rPr lang="pl-PL" sz="1600" dirty="0"/>
              <a:t>Paris, 11.03.2026</a:t>
            </a:r>
          </a:p>
        </p:txBody>
      </p:sp>
      <p:sp>
        <p:nvSpPr>
          <p:cNvPr id="3" name="AutoShape 2">
            <a:extLst>
              <a:ext uri="{FF2B5EF4-FFF2-40B4-BE49-F238E27FC236}">
                <a16:creationId xmlns:a16="http://schemas.microsoft.com/office/drawing/2014/main" id="{8E8A1CA9-5C89-4F81-B623-3874BC913BBA}"/>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000000"/>
              </a:solidFill>
              <a:effectLst/>
              <a:uLnTx/>
              <a:uFillTx/>
              <a:latin typeface="Arial"/>
              <a:ea typeface="+mn-ea"/>
              <a:cs typeface="+mn-cs"/>
            </a:endParaRPr>
          </a:p>
        </p:txBody>
      </p:sp>
      <p:sp>
        <p:nvSpPr>
          <p:cNvPr id="4" name="AutoShape 4">
            <a:extLst>
              <a:ext uri="{FF2B5EF4-FFF2-40B4-BE49-F238E27FC236}">
                <a16:creationId xmlns:a16="http://schemas.microsoft.com/office/drawing/2014/main" id="{70D380F7-C7C9-42A6-BCA6-68B8AB2D2C3C}"/>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000000"/>
              </a:solidFill>
              <a:effectLst/>
              <a:uLnTx/>
              <a:uFillTx/>
              <a:latin typeface="Arial"/>
              <a:ea typeface="+mn-ea"/>
              <a:cs typeface="+mn-cs"/>
            </a:endParaRPr>
          </a:p>
        </p:txBody>
      </p:sp>
      <p:pic>
        <p:nvPicPr>
          <p:cNvPr id="11" name="Symbol zastępczy obrazu 5">
            <a:extLst>
              <a:ext uri="{FF2B5EF4-FFF2-40B4-BE49-F238E27FC236}">
                <a16:creationId xmlns:a16="http://schemas.microsoft.com/office/drawing/2014/main" id="{EFE3001B-3FEA-48A2-BAB0-8B67072F7AC2}"/>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6248400" y="2021643"/>
            <a:ext cx="3395134" cy="3411378"/>
          </a:xfrm>
          <a:prstGeom prst="ellipse">
            <a:avLst/>
          </a:prstGeom>
        </p:spPr>
      </p:pic>
    </p:spTree>
    <p:extLst>
      <p:ext uri="{BB962C8B-B14F-4D97-AF65-F5344CB8AC3E}">
        <p14:creationId xmlns:p14="http://schemas.microsoft.com/office/powerpoint/2010/main" val="143473775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p:cNvSpPr>
            <a:spLocks noGrp="1"/>
          </p:cNvSpPr>
          <p:nvPr>
            <p:ph type="title"/>
          </p:nvPr>
        </p:nvSpPr>
        <p:spPr>
          <a:xfrm>
            <a:off x="339569" y="116075"/>
            <a:ext cx="11976065" cy="600007"/>
          </a:xfrm>
        </p:spPr>
        <p:txBody>
          <a:bodyPr/>
          <a:lstStyle/>
          <a:p>
            <a:pPr>
              <a:lnSpc>
                <a:spcPct val="114000"/>
              </a:lnSpc>
            </a:pPr>
            <a:r>
              <a:rPr lang="pl-PL" sz="2667" dirty="0"/>
              <a:t>W</a:t>
            </a:r>
            <a:r>
              <a:rPr lang="en-US" sz="2667" dirty="0" err="1"/>
              <a:t>hy</a:t>
            </a:r>
            <a:r>
              <a:rPr lang="en-US" sz="2667" dirty="0"/>
              <a:t> </a:t>
            </a:r>
            <a:r>
              <a:rPr lang="pl-PL" sz="2667" dirty="0"/>
              <a:t>do </a:t>
            </a:r>
            <a:r>
              <a:rPr lang="en-US" sz="2667" dirty="0"/>
              <a:t>we want to </a:t>
            </a:r>
            <a:r>
              <a:rPr lang="pl-PL" sz="2667" dirty="0" err="1"/>
              <a:t>further</a:t>
            </a:r>
            <a:r>
              <a:rPr lang="pl-PL" sz="2667" dirty="0"/>
              <a:t> </a:t>
            </a:r>
            <a:r>
              <a:rPr lang="en-US" sz="2667" dirty="0"/>
              <a:t>develop the SOHO remote advisor model</a:t>
            </a:r>
            <a:r>
              <a:rPr lang="pl-PL" sz="2667" dirty="0"/>
              <a:t>?</a:t>
            </a:r>
          </a:p>
        </p:txBody>
      </p:sp>
      <p:sp>
        <p:nvSpPr>
          <p:cNvPr id="3" name="Symbol zastępczy numeru slajdu 2"/>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32DF002-2E43-485C-89F8-8DCEF59D6C4F}" type="slidenum">
              <a:rPr kumimoji="0" lang="pl-PL" sz="1067" b="0" i="0" u="none" strike="noStrike" kern="1200" cap="none" spc="0" normalizeH="0" baseline="0" noProof="0" smtClean="0">
                <a:ln>
                  <a:noFill/>
                </a:ln>
                <a:solidFill>
                  <a:srgbClr val="7E93A5"/>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pl-PL" sz="1067" b="0" i="0" u="none" strike="noStrike" kern="1200" cap="none" spc="0" normalizeH="0" baseline="0" noProof="0" dirty="0">
              <a:ln>
                <a:noFill/>
              </a:ln>
              <a:solidFill>
                <a:srgbClr val="7E93A5"/>
              </a:solidFill>
              <a:effectLst/>
              <a:uLnTx/>
              <a:uFillTx/>
              <a:latin typeface="Arial"/>
              <a:ea typeface="+mn-ea"/>
              <a:cs typeface="+mn-cs"/>
            </a:endParaRPr>
          </a:p>
        </p:txBody>
      </p:sp>
      <p:sp>
        <p:nvSpPr>
          <p:cNvPr id="4" name="Prostokąt 3"/>
          <p:cNvSpPr/>
          <p:nvPr/>
        </p:nvSpPr>
        <p:spPr>
          <a:xfrm>
            <a:off x="286060" y="992973"/>
            <a:ext cx="11619880" cy="515916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33" b="1" i="0" u="none" strike="noStrike" kern="1200" cap="none" spc="0" normalizeH="0" baseline="0" noProof="0" dirty="0">
                <a:ln>
                  <a:noFill/>
                </a:ln>
                <a:solidFill>
                  <a:srgbClr val="000000"/>
                </a:solidFill>
                <a:effectLst/>
                <a:uLnTx/>
                <a:uFillTx/>
                <a:latin typeface="Arial"/>
                <a:ea typeface="+mn-ea"/>
                <a:cs typeface="+mn-cs"/>
              </a:rPr>
              <a:t>Small businesses are increasingly less likely to need a bank branch.</a:t>
            </a:r>
            <a:endParaRPr kumimoji="0" lang="pl-PL" sz="1733" b="1" i="0" u="none" strike="noStrike" kern="1200" cap="none" spc="0" normalizeH="0" baseline="0" noProof="0" dirty="0">
              <a:ln>
                <a:noFill/>
              </a:ln>
              <a:solidFill>
                <a:srgbClr val="000000"/>
              </a:solidFill>
              <a:effectLst/>
              <a:uLnTx/>
              <a:uFillTx/>
              <a:latin typeface="Arial"/>
              <a:ea typeface="+mn-ea"/>
              <a:cs typeface="+mn-cs"/>
            </a:endParaRPr>
          </a:p>
          <a:p>
            <a:pPr marL="848529" marR="0" lvl="1" indent="-38099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33" b="1" i="0" u="none" strike="noStrike" kern="1200" cap="none" spc="0" normalizeH="0" baseline="0" noProof="0" dirty="0">
                <a:ln>
                  <a:noFill/>
                </a:ln>
                <a:solidFill>
                  <a:srgbClr val="009597"/>
                </a:solidFill>
                <a:effectLst/>
                <a:uLnTx/>
                <a:uFillTx/>
                <a:latin typeface="Arial"/>
                <a:ea typeface="+mn-ea"/>
                <a:cs typeface="+mn-cs"/>
              </a:rPr>
              <a:t>86% of over 2 million companies are sole entrepreneurs </a:t>
            </a:r>
            <a:endParaRPr kumimoji="0" lang="pl-PL" sz="1733" b="1" i="0" u="none" strike="noStrike" kern="1200" cap="none" spc="0" normalizeH="0" baseline="0" noProof="0" dirty="0">
              <a:ln>
                <a:noFill/>
              </a:ln>
              <a:solidFill>
                <a:srgbClr val="009597"/>
              </a:solidFill>
              <a:effectLst/>
              <a:uLnTx/>
              <a:uFillTx/>
              <a:latin typeface="Arial"/>
              <a:ea typeface="+mn-ea"/>
              <a:cs typeface="+mn-cs"/>
            </a:endParaRPr>
          </a:p>
          <a:p>
            <a:pPr marL="848529" marR="0" lvl="1" indent="-38099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33" b="1" i="0" u="none" strike="noStrike" kern="1200" cap="none" spc="0" normalizeH="0" baseline="0" noProof="0" dirty="0">
                <a:ln>
                  <a:noFill/>
                </a:ln>
                <a:solidFill>
                  <a:srgbClr val="009597"/>
                </a:solidFill>
                <a:effectLst/>
                <a:uLnTx/>
                <a:uFillTx/>
                <a:latin typeface="Arial"/>
                <a:ea typeface="+mn-ea"/>
                <a:cs typeface="+mn-cs"/>
              </a:rPr>
              <a:t>Currently, approximately 50% - 60% of small companies choose fully automated processes, another 20% - 30% prefer a remote consulting model with a live expert, and another 10% - 20% prefer visits to branches </a:t>
            </a:r>
            <a:endParaRPr kumimoji="0" lang="pl-PL" sz="1733" b="1" i="0" u="none" strike="noStrike" kern="1200" cap="none" spc="0" normalizeH="0" baseline="0" noProof="0" dirty="0">
              <a:ln>
                <a:noFill/>
              </a:ln>
              <a:solidFill>
                <a:srgbClr val="009597"/>
              </a:solidFill>
              <a:effectLst/>
              <a:uLnTx/>
              <a:uFillTx/>
              <a:latin typeface="Arial"/>
              <a:ea typeface="+mn-ea"/>
              <a:cs typeface="+mn-cs"/>
            </a:endParaRPr>
          </a:p>
          <a:p>
            <a:pPr marL="467539" marR="0" lvl="1" indent="0" algn="l" defTabSz="914400" rtl="0" eaLnBrk="1" fontAlgn="auto" latinLnBrk="0" hangingPunct="1">
              <a:lnSpc>
                <a:spcPct val="100000"/>
              </a:lnSpc>
              <a:spcBef>
                <a:spcPts val="0"/>
              </a:spcBef>
              <a:spcAft>
                <a:spcPts val="0"/>
              </a:spcAft>
              <a:buClrTx/>
              <a:buSzTx/>
              <a:buFontTx/>
              <a:buNone/>
              <a:tabLst/>
              <a:defRPr/>
            </a:pPr>
            <a:endParaRPr kumimoji="0" lang="pl-PL" sz="1733" b="1" i="0" u="none" strike="noStrike" kern="1200" cap="none" spc="0" normalizeH="0" baseline="0" noProof="0" dirty="0">
              <a:ln>
                <a:noFill/>
              </a:ln>
              <a:solidFill>
                <a:srgbClr val="009597"/>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33" b="1" i="0" u="none" strike="noStrike" kern="1200" cap="none" spc="0" normalizeH="0" baseline="0" noProof="0" dirty="0">
                <a:ln>
                  <a:noFill/>
                </a:ln>
                <a:solidFill>
                  <a:srgbClr val="000000"/>
                </a:solidFill>
                <a:effectLst/>
                <a:uLnTx/>
                <a:uFillTx/>
                <a:latin typeface="Arial"/>
                <a:ea typeface="+mn-ea"/>
                <a:cs typeface="+mn-cs"/>
              </a:rPr>
              <a:t>There are more and more </a:t>
            </a:r>
            <a:r>
              <a:rPr kumimoji="0" lang="pl-PL" sz="1733" b="1" i="0" u="none" strike="noStrike" kern="1200" cap="none" spc="0" normalizeH="0" baseline="0" noProof="0" dirty="0">
                <a:ln>
                  <a:noFill/>
                </a:ln>
                <a:solidFill>
                  <a:srgbClr val="000000"/>
                </a:solidFill>
                <a:effectLst/>
                <a:uLnTx/>
                <a:uFillTx/>
                <a:latin typeface="Arial"/>
                <a:ea typeface="+mn-ea"/>
                <a:cs typeface="+mn-cs"/>
              </a:rPr>
              <a:t>„</a:t>
            </a:r>
            <a:r>
              <a:rPr kumimoji="0" lang="en-US" sz="1733" b="1" i="0" u="none" strike="noStrike" kern="1200" cap="none" spc="0" normalizeH="0" baseline="0" noProof="0" dirty="0">
                <a:ln>
                  <a:noFill/>
                </a:ln>
                <a:solidFill>
                  <a:srgbClr val="000000"/>
                </a:solidFill>
                <a:effectLst/>
                <a:uLnTx/>
                <a:uFillTx/>
                <a:latin typeface="Arial"/>
                <a:ea typeface="+mn-ea"/>
                <a:cs typeface="+mn-cs"/>
              </a:rPr>
              <a:t>Generation Z</a:t>
            </a:r>
            <a:r>
              <a:rPr kumimoji="0" lang="pl-PL" sz="1733" b="1" i="0" u="none" strike="noStrike" kern="1200" cap="none" spc="0" normalizeH="0" baseline="0" noProof="0" dirty="0">
                <a:ln>
                  <a:noFill/>
                </a:ln>
                <a:solidFill>
                  <a:srgbClr val="000000"/>
                </a:solidFill>
                <a:effectLst/>
                <a:uLnTx/>
                <a:uFillTx/>
                <a:latin typeface="Arial"/>
                <a:ea typeface="+mn-ea"/>
                <a:cs typeface="+mn-cs"/>
              </a:rPr>
              <a:t>”</a:t>
            </a:r>
            <a:r>
              <a:rPr kumimoji="0" lang="en-US" sz="1733" b="1" i="0" u="none" strike="noStrike" kern="1200" cap="none" spc="0" normalizeH="0" baseline="0" noProof="0" dirty="0">
                <a:ln>
                  <a:noFill/>
                </a:ln>
                <a:solidFill>
                  <a:srgbClr val="000000"/>
                </a:solidFill>
                <a:effectLst/>
                <a:uLnTx/>
                <a:uFillTx/>
                <a:latin typeface="Arial"/>
                <a:ea typeface="+mn-ea"/>
                <a:cs typeface="+mn-cs"/>
              </a:rPr>
              <a:t> business owners on the market</a:t>
            </a:r>
            <a:endParaRPr kumimoji="0" lang="pl-PL" sz="1733" b="1" i="0" u="none" strike="noStrike" kern="1200" cap="none" spc="0" normalizeH="0" baseline="0" noProof="0" dirty="0">
              <a:ln>
                <a:noFill/>
              </a:ln>
              <a:solidFill>
                <a:srgbClr val="009597"/>
              </a:solidFill>
              <a:effectLst/>
              <a:uLnTx/>
              <a:uFillTx/>
              <a:latin typeface="Arial"/>
              <a:ea typeface="+mn-ea"/>
              <a:cs typeface="+mn-cs"/>
            </a:endParaRPr>
          </a:p>
          <a:p>
            <a:pPr marL="848529" marR="0" lvl="1" indent="-38099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33" b="1" i="0" u="none" strike="noStrike" kern="1200" cap="none" spc="0" normalizeH="0" baseline="0" noProof="0" dirty="0">
                <a:ln>
                  <a:noFill/>
                </a:ln>
                <a:solidFill>
                  <a:srgbClr val="009597"/>
                </a:solidFill>
                <a:effectLst/>
                <a:uLnTx/>
                <a:uFillTx/>
                <a:latin typeface="Arial"/>
                <a:ea typeface="+mn-ea"/>
                <a:cs typeface="+mn-cs"/>
              </a:rPr>
              <a:t>for them, new technologies, processes and remote consulting are commonplace</a:t>
            </a:r>
            <a:endParaRPr kumimoji="0" lang="pl-PL" sz="1733" b="1" i="0" u="none" strike="noStrike" kern="1200" cap="none" spc="0" normalizeH="0" baseline="0" noProof="0" dirty="0">
              <a:ln>
                <a:noFill/>
              </a:ln>
              <a:solidFill>
                <a:srgbClr val="009597"/>
              </a:solidFill>
              <a:effectLst/>
              <a:uLnTx/>
              <a:uFillTx/>
              <a:latin typeface="Arial"/>
              <a:ea typeface="+mn-ea"/>
              <a:cs typeface="+mn-cs"/>
            </a:endParaRPr>
          </a:p>
          <a:p>
            <a:pPr marL="467539" marR="0" lvl="1" indent="0" algn="l" defTabSz="914400" rtl="0" eaLnBrk="1" fontAlgn="auto" latinLnBrk="0" hangingPunct="1">
              <a:lnSpc>
                <a:spcPct val="100000"/>
              </a:lnSpc>
              <a:spcBef>
                <a:spcPts val="0"/>
              </a:spcBef>
              <a:spcAft>
                <a:spcPts val="0"/>
              </a:spcAft>
              <a:buClrTx/>
              <a:buSzTx/>
              <a:buFontTx/>
              <a:buNone/>
              <a:tabLst/>
              <a:defRPr/>
            </a:pPr>
            <a:endParaRPr kumimoji="0" lang="pl-PL" sz="1733" b="1" i="0" u="none" strike="noStrike" kern="1200" cap="none" spc="0" normalizeH="0" baseline="0" noProof="0" dirty="0">
              <a:ln>
                <a:noFill/>
              </a:ln>
              <a:solidFill>
                <a:srgbClr val="009597"/>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733" b="1" i="0" u="none" strike="noStrike" kern="1200" cap="none" spc="0" normalizeH="0" baseline="0" noProof="0" dirty="0">
                <a:ln>
                  <a:noFill/>
                </a:ln>
                <a:solidFill>
                  <a:srgbClr val="000000"/>
                </a:solidFill>
                <a:effectLst/>
                <a:uLnTx/>
                <a:uFillTx/>
                <a:latin typeface="Arial"/>
                <a:ea typeface="+mn-ea"/>
                <a:cs typeface="+mn-cs"/>
              </a:rPr>
              <a:t>Lower </a:t>
            </a:r>
            <a:r>
              <a:rPr kumimoji="0" lang="pl-PL" sz="1733" b="1" i="0" u="none" strike="noStrike" kern="1200" cap="none" spc="0" normalizeH="0" baseline="0" noProof="0" dirty="0" err="1">
                <a:ln>
                  <a:noFill/>
                </a:ln>
                <a:solidFill>
                  <a:srgbClr val="000000"/>
                </a:solidFill>
                <a:effectLst/>
                <a:uLnTx/>
                <a:uFillTx/>
                <a:latin typeface="Arial"/>
                <a:ea typeface="+mn-ea"/>
                <a:cs typeface="+mn-cs"/>
              </a:rPr>
              <a:t>costs</a:t>
            </a:r>
            <a:endParaRPr kumimoji="0" lang="pl-PL" sz="1733" b="1" i="0" u="none" strike="noStrike" kern="1200" cap="none" spc="0" normalizeH="0" baseline="0" noProof="0" dirty="0">
              <a:ln>
                <a:noFill/>
              </a:ln>
              <a:solidFill>
                <a:srgbClr val="000000"/>
              </a:solidFill>
              <a:effectLst/>
              <a:uLnTx/>
              <a:uFillTx/>
              <a:latin typeface="Arial"/>
              <a:ea typeface="+mn-ea"/>
              <a:cs typeface="+mn-cs"/>
            </a:endParaRPr>
          </a:p>
          <a:p>
            <a:pPr marL="848529" marR="0" lvl="1" indent="-38099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33" b="1" i="0" u="none" strike="noStrike" kern="1200" cap="none" spc="0" normalizeH="0" baseline="0" noProof="0" dirty="0">
                <a:ln>
                  <a:noFill/>
                </a:ln>
                <a:solidFill>
                  <a:srgbClr val="009597"/>
                </a:solidFill>
                <a:effectLst/>
                <a:uLnTx/>
                <a:uFillTx/>
                <a:latin typeface="Arial"/>
                <a:ea typeface="+mn-ea"/>
                <a:cs typeface="+mn-cs"/>
              </a:rPr>
              <a:t>the advisor does not have to travel, for example, 100 km to the client for a meeting to discuss the bank's offer, sign a loan agreement, order a payment terminal, etc. </a:t>
            </a:r>
            <a:endParaRPr kumimoji="0" lang="pl-PL" sz="1733" b="1" i="0" u="none" strike="noStrike" kern="1200" cap="none" spc="0" normalizeH="0" baseline="0" noProof="0" dirty="0">
              <a:ln>
                <a:noFill/>
              </a:ln>
              <a:solidFill>
                <a:srgbClr val="009597"/>
              </a:solidFill>
              <a:effectLst/>
              <a:uLnTx/>
              <a:uFillTx/>
              <a:latin typeface="Arial"/>
              <a:ea typeface="+mn-ea"/>
              <a:cs typeface="+mn-cs"/>
            </a:endParaRPr>
          </a:p>
          <a:p>
            <a:pPr marL="467539" marR="0" lvl="1" indent="0" algn="l" defTabSz="914400" rtl="0" eaLnBrk="1" fontAlgn="auto" latinLnBrk="0" hangingPunct="1">
              <a:lnSpc>
                <a:spcPct val="100000"/>
              </a:lnSpc>
              <a:spcBef>
                <a:spcPts val="0"/>
              </a:spcBef>
              <a:spcAft>
                <a:spcPts val="0"/>
              </a:spcAft>
              <a:buClrTx/>
              <a:buSzTx/>
              <a:buFontTx/>
              <a:buNone/>
              <a:tabLst/>
              <a:defRPr/>
            </a:pPr>
            <a:endParaRPr kumimoji="0" lang="pl-PL" sz="1733" b="1" i="0" u="none" strike="noStrike" kern="1200" cap="none" spc="0" normalizeH="0" baseline="0" noProof="0" dirty="0">
              <a:ln>
                <a:noFill/>
              </a:ln>
              <a:solidFill>
                <a:srgbClr val="009597"/>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733" b="1" i="0" u="none" strike="noStrike" kern="1200" cap="none" spc="0" normalizeH="0" baseline="0" noProof="0" dirty="0" err="1">
                <a:ln>
                  <a:noFill/>
                </a:ln>
                <a:solidFill>
                  <a:srgbClr val="000000"/>
                </a:solidFill>
                <a:effectLst/>
                <a:uLnTx/>
                <a:uFillTx/>
                <a:latin typeface="Arial"/>
                <a:ea typeface="+mn-ea"/>
                <a:cs typeface="+mn-cs"/>
              </a:rPr>
              <a:t>Better</a:t>
            </a:r>
            <a:r>
              <a:rPr kumimoji="0" lang="pl-PL" sz="1733" b="1" i="0" u="none" strike="noStrike" kern="1200" cap="none" spc="0" normalizeH="0" baseline="0" noProof="0" dirty="0">
                <a:ln>
                  <a:noFill/>
                </a:ln>
                <a:solidFill>
                  <a:srgbClr val="000000"/>
                </a:solidFill>
                <a:effectLst/>
                <a:uLnTx/>
                <a:uFillTx/>
                <a:latin typeface="Arial"/>
                <a:ea typeface="+mn-ea"/>
                <a:cs typeface="+mn-cs"/>
              </a:rPr>
              <a:t> business </a:t>
            </a:r>
            <a:r>
              <a:rPr kumimoji="0" lang="pl-PL" sz="1733" b="1" i="0" u="none" strike="noStrike" kern="1200" cap="none" spc="0" normalizeH="0" baseline="0" noProof="0" dirty="0" err="1">
                <a:ln>
                  <a:noFill/>
                </a:ln>
                <a:solidFill>
                  <a:srgbClr val="000000"/>
                </a:solidFill>
                <a:effectLst/>
                <a:uLnTx/>
                <a:uFillTx/>
                <a:latin typeface="Arial"/>
                <a:ea typeface="+mn-ea"/>
                <a:cs typeface="+mn-cs"/>
              </a:rPr>
              <a:t>efficiency</a:t>
            </a:r>
            <a:endParaRPr kumimoji="0" lang="pl-PL" sz="1733" b="1" i="0" u="none" strike="noStrike" kern="1200" cap="none" spc="0" normalizeH="0" baseline="0" noProof="0" dirty="0">
              <a:ln>
                <a:noFill/>
              </a:ln>
              <a:solidFill>
                <a:srgbClr val="000000"/>
              </a:solidFill>
              <a:effectLst/>
              <a:uLnTx/>
              <a:uFillTx/>
              <a:latin typeface="Arial"/>
              <a:ea typeface="+mn-ea"/>
              <a:cs typeface="+mn-cs"/>
            </a:endParaRPr>
          </a:p>
          <a:p>
            <a:pPr marL="848529" marR="0" lvl="1" indent="-38099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33" b="1" i="0" u="none" strike="noStrike" kern="1200" cap="none" spc="0" normalizeH="0" baseline="0" noProof="0" dirty="0">
                <a:ln>
                  <a:noFill/>
                </a:ln>
                <a:solidFill>
                  <a:srgbClr val="009597"/>
                </a:solidFill>
                <a:effectLst/>
                <a:uLnTx/>
                <a:uFillTx/>
                <a:latin typeface="Arial"/>
                <a:ea typeface="+mn-ea"/>
                <a:cs typeface="+mn-cs"/>
              </a:rPr>
              <a:t>instead of 3-4 physical meetings per day, Remote Advisor will conduct 10-40 telephone </a:t>
            </a:r>
            <a:r>
              <a:rPr kumimoji="0" lang="pl-PL" sz="1733" b="1" i="0" u="none" strike="noStrike" kern="1200" cap="none" spc="0" normalizeH="0" baseline="0" noProof="0" dirty="0" err="1">
                <a:ln>
                  <a:noFill/>
                </a:ln>
                <a:solidFill>
                  <a:srgbClr val="009597"/>
                </a:solidFill>
                <a:effectLst/>
                <a:uLnTx/>
                <a:uFillTx/>
                <a:latin typeface="Arial"/>
                <a:ea typeface="+mn-ea"/>
                <a:cs typeface="+mn-cs"/>
              </a:rPr>
              <a:t>aquisition</a:t>
            </a:r>
            <a:r>
              <a:rPr kumimoji="0" lang="pl-PL" sz="1733" b="1" i="0" u="none" strike="noStrike" kern="1200" cap="none" spc="0" normalizeH="0" baseline="0" noProof="0" dirty="0">
                <a:ln>
                  <a:noFill/>
                </a:ln>
                <a:solidFill>
                  <a:srgbClr val="009597"/>
                </a:solidFill>
                <a:effectLst/>
                <a:uLnTx/>
                <a:uFillTx/>
                <a:latin typeface="Arial"/>
                <a:ea typeface="+mn-ea"/>
                <a:cs typeface="+mn-cs"/>
              </a:rPr>
              <a:t>  and </a:t>
            </a:r>
            <a:r>
              <a:rPr kumimoji="0" lang="en-US" sz="1733" b="1" i="0" u="none" strike="noStrike" kern="1200" cap="none" spc="0" normalizeH="0" baseline="0" noProof="0" dirty="0">
                <a:ln>
                  <a:noFill/>
                </a:ln>
                <a:solidFill>
                  <a:srgbClr val="009597"/>
                </a:solidFill>
                <a:effectLst/>
                <a:uLnTx/>
                <a:uFillTx/>
                <a:latin typeface="Arial"/>
                <a:ea typeface="+mn-ea"/>
                <a:cs typeface="+mn-cs"/>
              </a:rPr>
              <a:t>meetings with his portfolio clients, depending on the clients' availability</a:t>
            </a:r>
            <a:endParaRPr kumimoji="0" lang="pl-PL" sz="1733" b="1" i="0" u="none" strike="noStrike" kern="1200" cap="none" spc="0" normalizeH="0" baseline="0" noProof="0" dirty="0">
              <a:ln>
                <a:noFill/>
              </a:ln>
              <a:solidFill>
                <a:srgbClr val="009597"/>
              </a:solidFill>
              <a:effectLst/>
              <a:uLnTx/>
              <a:uFillTx/>
              <a:latin typeface="Arial"/>
              <a:ea typeface="+mn-ea"/>
              <a:cs typeface="+mn-cs"/>
            </a:endParaRPr>
          </a:p>
          <a:p>
            <a:pPr marL="848529" marR="0" lvl="1" indent="-38099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33" b="1" i="0" u="none" strike="noStrike" kern="1200" cap="none" spc="0" normalizeH="0" baseline="0" noProof="0" dirty="0">
                <a:ln>
                  <a:noFill/>
                </a:ln>
                <a:solidFill>
                  <a:srgbClr val="009597"/>
                </a:solidFill>
                <a:effectLst/>
                <a:uLnTx/>
                <a:uFillTx/>
                <a:latin typeface="Arial"/>
                <a:ea typeface="+mn-ea"/>
                <a:cs typeface="+mn-cs"/>
              </a:rPr>
              <a:t>Today, Remote Advisor acquires an average of 12 business accounts per month, compared to 2-4 for a traditional advisor.</a:t>
            </a:r>
            <a:r>
              <a:rPr kumimoji="0" lang="pl-PL" sz="1733" b="1" i="0" u="none" strike="noStrike" kern="1200" cap="none" spc="0" normalizeH="0" baseline="0" noProof="0" dirty="0">
                <a:ln>
                  <a:noFill/>
                </a:ln>
                <a:solidFill>
                  <a:srgbClr val="009597"/>
                </a:solidFill>
                <a:effectLst/>
                <a:uLnTx/>
                <a:uFillTx/>
                <a:latin typeface="Arial"/>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733"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57797253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ymbol zastępczy numeru slajdu 2">
            <a:extLst>
              <a:ext uri="{FF2B5EF4-FFF2-40B4-BE49-F238E27FC236}">
                <a16:creationId xmlns:a16="http://schemas.microsoft.com/office/drawing/2014/main" id="{AA30C020-C667-4A02-80DD-CE9BCF5EE8F5}"/>
              </a:ext>
            </a:extLst>
          </p:cNvPr>
          <p:cNvSpPr>
            <a:spLocks noGrp="1"/>
          </p:cNvSpPr>
          <p:nvPr>
            <p:ph type="sldNum" sz="quarter" idx="10"/>
          </p:nvPr>
        </p:nvSpPr>
        <p:spPr>
          <a:xfrm>
            <a:off x="48673" y="6366239"/>
            <a:ext cx="943180" cy="366183"/>
          </a:xfrm>
        </p:spPr>
        <p:txBody>
          <a:bodyPr/>
          <a:lstStyle/>
          <a:p>
            <a:pPr marL="0" marR="0" lvl="0" indent="0" algn="l" defTabSz="467539" rtl="0" eaLnBrk="1" fontAlgn="auto" latinLnBrk="0" hangingPunct="1">
              <a:lnSpc>
                <a:spcPct val="100000"/>
              </a:lnSpc>
              <a:spcBef>
                <a:spcPts val="0"/>
              </a:spcBef>
              <a:spcAft>
                <a:spcPts val="0"/>
              </a:spcAft>
              <a:buClrTx/>
              <a:buSzTx/>
              <a:buFontTx/>
              <a:buNone/>
              <a:tabLst/>
              <a:defRPr/>
            </a:pPr>
            <a:fld id="{332DF002-2E43-485C-89F8-8DCEF59D6C4F}" type="slidenum">
              <a:rPr kumimoji="0" lang="pl-PL" sz="1067" b="0" i="0" u="none" strike="noStrike" kern="1200" cap="none" spc="0" normalizeH="0" baseline="0" noProof="0">
                <a:ln>
                  <a:noFill/>
                </a:ln>
                <a:solidFill>
                  <a:srgbClr val="7E93A5"/>
                </a:solidFill>
                <a:effectLst/>
                <a:uLnTx/>
                <a:uFillTx/>
                <a:latin typeface="Arial"/>
                <a:ea typeface="+mn-ea"/>
                <a:cs typeface="+mn-cs"/>
              </a:rPr>
              <a:pPr marL="0" marR="0" lvl="0" indent="0" algn="l" defTabSz="467539" rtl="0" eaLnBrk="1" fontAlgn="auto" latinLnBrk="0" hangingPunct="1">
                <a:lnSpc>
                  <a:spcPct val="100000"/>
                </a:lnSpc>
                <a:spcBef>
                  <a:spcPts val="0"/>
                </a:spcBef>
                <a:spcAft>
                  <a:spcPts val="0"/>
                </a:spcAft>
                <a:buClrTx/>
                <a:buSzTx/>
                <a:buFontTx/>
                <a:buNone/>
                <a:tabLst/>
                <a:defRPr/>
              </a:pPr>
              <a:t>22</a:t>
            </a:fld>
            <a:endParaRPr kumimoji="0" lang="pl-PL" sz="1067" b="0" i="0" u="none" strike="noStrike" kern="1200" cap="none" spc="0" normalizeH="0" baseline="0" noProof="0" dirty="0">
              <a:ln>
                <a:noFill/>
              </a:ln>
              <a:solidFill>
                <a:srgbClr val="7E93A5"/>
              </a:solidFill>
              <a:effectLst/>
              <a:uLnTx/>
              <a:uFillTx/>
              <a:latin typeface="Arial"/>
              <a:ea typeface="+mn-ea"/>
              <a:cs typeface="+mn-cs"/>
            </a:endParaRPr>
          </a:p>
        </p:txBody>
      </p:sp>
      <p:sp>
        <p:nvSpPr>
          <p:cNvPr id="4" name="Symbol zastępczy zawartości 2">
            <a:extLst>
              <a:ext uri="{FF2B5EF4-FFF2-40B4-BE49-F238E27FC236}">
                <a16:creationId xmlns:a16="http://schemas.microsoft.com/office/drawing/2014/main" id="{7EFB1F37-155E-4D79-B3D6-39B948470E00}"/>
              </a:ext>
            </a:extLst>
          </p:cNvPr>
          <p:cNvSpPr txBox="1">
            <a:spLocks/>
          </p:cNvSpPr>
          <p:nvPr/>
        </p:nvSpPr>
        <p:spPr bwMode="gray">
          <a:xfrm>
            <a:off x="6854887" y="788971"/>
            <a:ext cx="4526227" cy="4019532"/>
          </a:xfrm>
          <a:prstGeom prst="rect">
            <a:avLst/>
          </a:prstGeom>
        </p:spPr>
        <p:txBody>
          <a:bodyPr vert="horz" lIns="0" tIns="0" rIns="0" bIns="0" numCol="1" spcCol="180000" rtlCol="0" anchor="t" anchorCtr="0">
            <a:noAutofit/>
          </a:bodyPr>
          <a:lstStyle>
            <a:lvl1pPr marL="252000" indent="-252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b="0" kern="1200" cap="none" baseline="0">
                <a:solidFill>
                  <a:schemeClr val="accent3"/>
                </a:solidFill>
                <a:latin typeface="+mn-lt"/>
                <a:ea typeface="+mn-ea"/>
                <a:cs typeface="+mn-cs"/>
              </a:defRPr>
            </a:lvl1pPr>
            <a:lvl2pPr marL="234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2pPr>
            <a:lvl3pPr marL="342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3pPr>
            <a:lvl4pPr marL="432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b="0" kern="1200" cap="none" baseline="0">
                <a:solidFill>
                  <a:schemeClr val="accent3"/>
                </a:solidFill>
                <a:latin typeface="+mn-lt"/>
                <a:ea typeface="+mn-ea"/>
                <a:cs typeface="+mn-cs"/>
              </a:defRPr>
            </a:lvl4pPr>
            <a:lvl5pPr marL="540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kern="1200" cap="none">
                <a:solidFill>
                  <a:schemeClr val="accent3"/>
                </a:solidFill>
                <a:latin typeface="+mn-lt"/>
                <a:ea typeface="+mn-ea"/>
                <a:cs typeface="+mn-cs"/>
              </a:defRPr>
            </a:lvl5pPr>
            <a:lvl6pPr marL="1885874"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3"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l" defTabSz="914341" rtl="0" eaLnBrk="1" fontAlgn="auto" latinLnBrk="0" hangingPunct="1">
              <a:lnSpc>
                <a:spcPct val="95000"/>
              </a:lnSpc>
              <a:spcBef>
                <a:spcPts val="0"/>
              </a:spcBef>
              <a:spcAft>
                <a:spcPts val="1600"/>
              </a:spcAft>
              <a:buClr>
                <a:srgbClr val="7E93A5"/>
              </a:buClr>
              <a:buSzPct val="100000"/>
              <a:buFont typeface="Wingdings" pitchFamily="2" charset="2"/>
              <a:buNone/>
              <a:tabLst/>
              <a:defRPr/>
            </a:pPr>
            <a:endParaRPr kumimoji="0" lang="pl-PL" sz="1867" b="0" i="0" u="none" strike="noStrike" kern="1200" cap="none" spc="0" normalizeH="0" baseline="0" noProof="0">
              <a:ln>
                <a:noFill/>
              </a:ln>
              <a:solidFill>
                <a:srgbClr val="7E93A5"/>
              </a:solidFill>
              <a:effectLst/>
              <a:uLnTx/>
              <a:uFillTx/>
              <a:latin typeface="Arial"/>
              <a:ea typeface="+mn-ea"/>
              <a:cs typeface="+mn-cs"/>
            </a:endParaRPr>
          </a:p>
        </p:txBody>
      </p:sp>
      <p:grpSp>
        <p:nvGrpSpPr>
          <p:cNvPr id="5" name="Grupa 4">
            <a:extLst>
              <a:ext uri="{FF2B5EF4-FFF2-40B4-BE49-F238E27FC236}">
                <a16:creationId xmlns:a16="http://schemas.microsoft.com/office/drawing/2014/main" id="{0C1D911E-2469-48B5-9312-65E7C77A4346}"/>
              </a:ext>
            </a:extLst>
          </p:cNvPr>
          <p:cNvGrpSpPr/>
          <p:nvPr/>
        </p:nvGrpSpPr>
        <p:grpSpPr>
          <a:xfrm>
            <a:off x="6854887" y="1261556"/>
            <a:ext cx="623744" cy="614843"/>
            <a:chOff x="5376270" y="1867583"/>
            <a:chExt cx="467808" cy="461132"/>
          </a:xfrm>
        </p:grpSpPr>
        <p:sp>
          <p:nvSpPr>
            <p:cNvPr id="6" name="Oval 17">
              <a:extLst>
                <a:ext uri="{FF2B5EF4-FFF2-40B4-BE49-F238E27FC236}">
                  <a16:creationId xmlns:a16="http://schemas.microsoft.com/office/drawing/2014/main" id="{D01F7F68-4D5D-461B-973A-CBDB2D851C05}"/>
                </a:ext>
              </a:extLst>
            </p:cNvPr>
            <p:cNvSpPr/>
            <p:nvPr/>
          </p:nvSpPr>
          <p:spPr bwMode="auto">
            <a:xfrm>
              <a:off x="5376270" y="1867583"/>
              <a:ext cx="467808" cy="461132"/>
            </a:xfrm>
            <a:prstGeom prst="ellipse">
              <a:avLst/>
            </a:prstGeom>
            <a:solidFill>
              <a:srgbClr val="81BC00"/>
            </a:solidFill>
            <a:ln w="2857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7466" b="0" i="0" u="none" strike="noStrike" kern="1200" cap="none" spc="0" normalizeH="0" baseline="0" noProof="0" dirty="0">
                <a:ln>
                  <a:noFill/>
                </a:ln>
                <a:solidFill>
                  <a:srgbClr val="000000"/>
                </a:solidFill>
                <a:effectLst/>
                <a:uLnTx/>
                <a:uFillTx/>
                <a:latin typeface="Calibri"/>
                <a:ea typeface="ヒラギノ角ゴ ProN W3" charset="0"/>
                <a:cs typeface="Calibri"/>
                <a:sym typeface="Gill Sans" charset="0"/>
              </a:endParaRPr>
            </a:p>
          </p:txBody>
        </p:sp>
        <p:sp>
          <p:nvSpPr>
            <p:cNvPr id="7" name="Symbol zastępczy zawartości 2">
              <a:extLst>
                <a:ext uri="{FF2B5EF4-FFF2-40B4-BE49-F238E27FC236}">
                  <a16:creationId xmlns:a16="http://schemas.microsoft.com/office/drawing/2014/main" id="{6C4B6BE3-D021-494B-8236-270564B55970}"/>
                </a:ext>
              </a:extLst>
            </p:cNvPr>
            <p:cNvSpPr txBox="1">
              <a:spLocks/>
            </p:cNvSpPr>
            <p:nvPr/>
          </p:nvSpPr>
          <p:spPr bwMode="gray">
            <a:xfrm>
              <a:off x="5376270" y="2003559"/>
              <a:ext cx="467808" cy="273589"/>
            </a:xfrm>
            <a:prstGeom prst="rect">
              <a:avLst/>
            </a:prstGeom>
          </p:spPr>
          <p:txBody>
            <a:bodyPr vert="horz" lIns="0" tIns="0" rIns="0" bIns="0" rtlCol="0" anchor="t" anchorCtr="0">
              <a:noAutofit/>
            </a:bodyPr>
            <a:lstStyle>
              <a:lvl1pPr marL="252000" indent="-252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b="0" kern="1200" cap="none" baseline="0">
                  <a:solidFill>
                    <a:schemeClr val="accent3"/>
                  </a:solidFill>
                  <a:latin typeface="+mn-lt"/>
                  <a:ea typeface="+mn-ea"/>
                  <a:cs typeface="+mn-cs"/>
                </a:defRPr>
              </a:lvl1pPr>
              <a:lvl2pPr marL="234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2pPr>
              <a:lvl3pPr marL="342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3pPr>
              <a:lvl4pPr marL="432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b="0" kern="1200" cap="none" baseline="0">
                  <a:solidFill>
                    <a:schemeClr val="accent3"/>
                  </a:solidFill>
                  <a:latin typeface="+mn-lt"/>
                  <a:ea typeface="+mn-ea"/>
                  <a:cs typeface="+mn-cs"/>
                </a:defRPr>
              </a:lvl4pPr>
              <a:lvl5pPr marL="540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kern="1200" cap="none">
                  <a:solidFill>
                    <a:schemeClr val="accent3"/>
                  </a:solidFill>
                  <a:latin typeface="+mn-lt"/>
                  <a:ea typeface="+mn-ea"/>
                  <a:cs typeface="+mn-cs"/>
                </a:defRPr>
              </a:lvl5pPr>
              <a:lvl6pPr marL="1885874"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3"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ctr" defTabSz="914341" rtl="0" eaLnBrk="1" fontAlgn="auto" latinLnBrk="0" hangingPunct="1">
                <a:lnSpc>
                  <a:spcPct val="95000"/>
                </a:lnSpc>
                <a:spcBef>
                  <a:spcPts val="0"/>
                </a:spcBef>
                <a:spcAft>
                  <a:spcPts val="1600"/>
                </a:spcAft>
                <a:buClr>
                  <a:srgbClr val="7E93A5"/>
                </a:buClr>
                <a:buSzPct val="100000"/>
                <a:buFont typeface="Wingdings" pitchFamily="2" charset="2"/>
                <a:buNone/>
                <a:tabLst/>
                <a:defRPr/>
              </a:pPr>
              <a:r>
                <a:rPr kumimoji="0" lang="pl-PL" sz="1867" b="0" i="0" u="none" strike="noStrike" kern="1200" cap="none" spc="0" normalizeH="0" baseline="0" noProof="0" dirty="0">
                  <a:ln>
                    <a:noFill/>
                  </a:ln>
                  <a:solidFill>
                    <a:srgbClr val="FFFFFF"/>
                  </a:solidFill>
                  <a:effectLst/>
                  <a:uLnTx/>
                  <a:uFillTx/>
                  <a:latin typeface="Arial"/>
                  <a:ea typeface="+mn-ea"/>
                  <a:cs typeface="+mn-cs"/>
                </a:rPr>
                <a:t>02</a:t>
              </a:r>
            </a:p>
          </p:txBody>
        </p:sp>
      </p:grpSp>
      <p:sp>
        <p:nvSpPr>
          <p:cNvPr id="8" name="Symbol zastępczy zawartości 2">
            <a:extLst>
              <a:ext uri="{FF2B5EF4-FFF2-40B4-BE49-F238E27FC236}">
                <a16:creationId xmlns:a16="http://schemas.microsoft.com/office/drawing/2014/main" id="{871268EE-2225-4585-A3A3-1B2EE159D270}"/>
              </a:ext>
            </a:extLst>
          </p:cNvPr>
          <p:cNvSpPr txBox="1">
            <a:spLocks/>
          </p:cNvSpPr>
          <p:nvPr/>
        </p:nvSpPr>
        <p:spPr bwMode="gray">
          <a:xfrm>
            <a:off x="48673" y="900987"/>
            <a:ext cx="5095895" cy="594760"/>
          </a:xfrm>
          <a:prstGeom prst="rect">
            <a:avLst/>
          </a:prstGeom>
        </p:spPr>
        <p:txBody>
          <a:bodyPr vert="horz" lIns="0" tIns="0" rIns="0" bIns="0" rtlCol="0" anchor="t" anchorCtr="0">
            <a:noAutofit/>
          </a:bodyPr>
          <a:lstStyle>
            <a:lvl1pPr marL="252000" indent="-252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b="0" kern="1200" cap="none" baseline="0">
                <a:solidFill>
                  <a:schemeClr val="accent3"/>
                </a:solidFill>
                <a:latin typeface="+mn-lt"/>
                <a:ea typeface="+mn-ea"/>
                <a:cs typeface="+mn-cs"/>
              </a:defRPr>
            </a:lvl1pPr>
            <a:lvl2pPr marL="234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2pPr>
            <a:lvl3pPr marL="342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3pPr>
            <a:lvl4pPr marL="432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b="0" kern="1200" cap="none" baseline="0">
                <a:solidFill>
                  <a:schemeClr val="accent3"/>
                </a:solidFill>
                <a:latin typeface="+mn-lt"/>
                <a:ea typeface="+mn-ea"/>
                <a:cs typeface="+mn-cs"/>
              </a:defRPr>
            </a:lvl4pPr>
            <a:lvl5pPr marL="540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kern="1200" cap="none">
                <a:solidFill>
                  <a:schemeClr val="accent3"/>
                </a:solidFill>
                <a:latin typeface="+mn-lt"/>
                <a:ea typeface="+mn-ea"/>
                <a:cs typeface="+mn-cs"/>
              </a:defRPr>
            </a:lvl5pPr>
            <a:lvl6pPr marL="1885874"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3"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r" defTabSz="914341" rtl="0" eaLnBrk="1" fontAlgn="auto" latinLnBrk="0" hangingPunct="1">
              <a:lnSpc>
                <a:spcPct val="95000"/>
              </a:lnSpc>
              <a:spcBef>
                <a:spcPts val="0"/>
              </a:spcBef>
              <a:spcAft>
                <a:spcPts val="800"/>
              </a:spcAft>
              <a:buClr>
                <a:srgbClr val="7E93A5"/>
              </a:buClr>
              <a:buSzPct val="100000"/>
              <a:buFont typeface="Wingdings" pitchFamily="2" charset="2"/>
              <a:buNone/>
              <a:tabLst/>
              <a:defRPr/>
            </a:pPr>
            <a:r>
              <a:rPr kumimoji="0" lang="en-US" sz="1867" b="1" i="0" u="none" strike="noStrike" kern="1200" cap="none" spc="0" normalizeH="0" baseline="0" noProof="0" dirty="0">
                <a:ln>
                  <a:noFill/>
                </a:ln>
                <a:solidFill>
                  <a:srgbClr val="81BC00"/>
                </a:solidFill>
                <a:effectLst/>
                <a:uLnTx/>
                <a:uFillTx/>
                <a:latin typeface="Arial"/>
                <a:ea typeface="+mn-ea"/>
                <a:cs typeface="+mn-cs"/>
              </a:rPr>
              <a:t>increasing the acquisition of new customers</a:t>
            </a:r>
            <a:endParaRPr kumimoji="0" lang="da-DK" sz="1867" b="1" i="0" u="none" strike="noStrike" kern="1200" cap="none" spc="0" normalizeH="0" baseline="0" noProof="0" dirty="0">
              <a:ln>
                <a:noFill/>
              </a:ln>
              <a:solidFill>
                <a:srgbClr val="81BC00"/>
              </a:solidFill>
              <a:effectLst/>
              <a:uLnTx/>
              <a:uFillTx/>
              <a:latin typeface="Arial"/>
              <a:ea typeface="+mn-ea"/>
              <a:cs typeface="+mn-cs"/>
            </a:endParaRPr>
          </a:p>
        </p:txBody>
      </p:sp>
      <p:sp>
        <p:nvSpPr>
          <p:cNvPr id="14" name="Symbol zastępczy zawartości 2">
            <a:extLst>
              <a:ext uri="{FF2B5EF4-FFF2-40B4-BE49-F238E27FC236}">
                <a16:creationId xmlns:a16="http://schemas.microsoft.com/office/drawing/2014/main" id="{F98D520B-AF78-4ECE-AE7F-E31AC8C00593}"/>
              </a:ext>
            </a:extLst>
          </p:cNvPr>
          <p:cNvSpPr txBox="1">
            <a:spLocks/>
          </p:cNvSpPr>
          <p:nvPr/>
        </p:nvSpPr>
        <p:spPr bwMode="gray">
          <a:xfrm>
            <a:off x="6990354" y="3677496"/>
            <a:ext cx="623744" cy="364786"/>
          </a:xfrm>
          <a:prstGeom prst="rect">
            <a:avLst/>
          </a:prstGeom>
        </p:spPr>
        <p:txBody>
          <a:bodyPr vert="horz" lIns="0" tIns="0" rIns="0" bIns="0" rtlCol="0" anchor="t" anchorCtr="0">
            <a:noAutofit/>
          </a:bodyPr>
          <a:lstStyle>
            <a:lvl1pPr marL="252000" indent="-252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b="0" kern="1200" cap="none" baseline="0">
                <a:solidFill>
                  <a:schemeClr val="accent3"/>
                </a:solidFill>
                <a:latin typeface="+mn-lt"/>
                <a:ea typeface="+mn-ea"/>
                <a:cs typeface="+mn-cs"/>
              </a:defRPr>
            </a:lvl1pPr>
            <a:lvl2pPr marL="234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2pPr>
            <a:lvl3pPr marL="342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3pPr>
            <a:lvl4pPr marL="432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b="0" kern="1200" cap="none" baseline="0">
                <a:solidFill>
                  <a:schemeClr val="accent3"/>
                </a:solidFill>
                <a:latin typeface="+mn-lt"/>
                <a:ea typeface="+mn-ea"/>
                <a:cs typeface="+mn-cs"/>
              </a:defRPr>
            </a:lvl4pPr>
            <a:lvl5pPr marL="540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kern="1200" cap="none">
                <a:solidFill>
                  <a:schemeClr val="accent3"/>
                </a:solidFill>
                <a:latin typeface="+mn-lt"/>
                <a:ea typeface="+mn-ea"/>
                <a:cs typeface="+mn-cs"/>
              </a:defRPr>
            </a:lvl5pPr>
            <a:lvl6pPr marL="1885874"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3"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ctr" defTabSz="914341" rtl="0" eaLnBrk="1" fontAlgn="auto" latinLnBrk="0" hangingPunct="1">
              <a:lnSpc>
                <a:spcPct val="95000"/>
              </a:lnSpc>
              <a:spcBef>
                <a:spcPts val="0"/>
              </a:spcBef>
              <a:spcAft>
                <a:spcPts val="1600"/>
              </a:spcAft>
              <a:buClr>
                <a:srgbClr val="7E93A5"/>
              </a:buClr>
              <a:buSzPct val="100000"/>
              <a:buFont typeface="Wingdings" pitchFamily="2" charset="2"/>
              <a:buNone/>
              <a:tabLst/>
              <a:defRPr/>
            </a:pPr>
            <a:r>
              <a:rPr kumimoji="0" lang="pl-PL" sz="1867" b="0" i="0" u="none" strike="noStrike" kern="1200" cap="none" spc="0" normalizeH="0" baseline="0" noProof="0" dirty="0">
                <a:ln>
                  <a:noFill/>
                </a:ln>
                <a:solidFill>
                  <a:srgbClr val="FFFFFF"/>
                </a:solidFill>
                <a:effectLst/>
                <a:uLnTx/>
                <a:uFillTx/>
                <a:latin typeface="Arial"/>
                <a:ea typeface="+mn-ea"/>
                <a:cs typeface="+mn-cs"/>
              </a:rPr>
              <a:t>0</a:t>
            </a:r>
          </a:p>
        </p:txBody>
      </p:sp>
      <p:sp>
        <p:nvSpPr>
          <p:cNvPr id="15" name="Oval 17">
            <a:extLst>
              <a:ext uri="{FF2B5EF4-FFF2-40B4-BE49-F238E27FC236}">
                <a16:creationId xmlns:a16="http://schemas.microsoft.com/office/drawing/2014/main" id="{2CA2BAD5-46E9-4CD7-BDDB-558BAA3DDD14}"/>
              </a:ext>
            </a:extLst>
          </p:cNvPr>
          <p:cNvSpPr/>
          <p:nvPr/>
        </p:nvSpPr>
        <p:spPr bwMode="auto">
          <a:xfrm>
            <a:off x="5144569" y="2019285"/>
            <a:ext cx="1597969" cy="1575164"/>
          </a:xfrm>
          <a:prstGeom prst="ellipse">
            <a:avLst/>
          </a:prstGeom>
          <a:solidFill>
            <a:srgbClr val="81BC00"/>
          </a:solidFill>
          <a:ln w="57150"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7466" b="0" i="0" u="none" strike="noStrike" kern="1200" cap="none" spc="0" normalizeH="0" baseline="0" noProof="0" dirty="0">
              <a:ln>
                <a:noFill/>
              </a:ln>
              <a:solidFill>
                <a:srgbClr val="000000"/>
              </a:solidFill>
              <a:effectLst/>
              <a:uLnTx/>
              <a:uFillTx/>
              <a:latin typeface="Calibri"/>
              <a:ea typeface="ヒラギノ角ゴ ProN W3" charset="0"/>
              <a:cs typeface="Calibri"/>
              <a:sym typeface="Gill Sans" charset="0"/>
            </a:endParaRPr>
          </a:p>
        </p:txBody>
      </p:sp>
      <p:grpSp>
        <p:nvGrpSpPr>
          <p:cNvPr id="16" name="Grupa 15">
            <a:extLst>
              <a:ext uri="{FF2B5EF4-FFF2-40B4-BE49-F238E27FC236}">
                <a16:creationId xmlns:a16="http://schemas.microsoft.com/office/drawing/2014/main" id="{0DECD943-32E4-484A-ABF4-E82726AB19D3}"/>
              </a:ext>
            </a:extLst>
          </p:cNvPr>
          <p:cNvGrpSpPr/>
          <p:nvPr/>
        </p:nvGrpSpPr>
        <p:grpSpPr>
          <a:xfrm>
            <a:off x="4438775" y="1261556"/>
            <a:ext cx="623744" cy="614843"/>
            <a:chOff x="3564186" y="1867583"/>
            <a:chExt cx="467808" cy="461132"/>
          </a:xfrm>
        </p:grpSpPr>
        <p:sp>
          <p:nvSpPr>
            <p:cNvPr id="17" name="Oval 17">
              <a:extLst>
                <a:ext uri="{FF2B5EF4-FFF2-40B4-BE49-F238E27FC236}">
                  <a16:creationId xmlns:a16="http://schemas.microsoft.com/office/drawing/2014/main" id="{0259D01E-8FB1-4D9A-890A-E96FDB0E8D3D}"/>
                </a:ext>
              </a:extLst>
            </p:cNvPr>
            <p:cNvSpPr/>
            <p:nvPr/>
          </p:nvSpPr>
          <p:spPr bwMode="auto">
            <a:xfrm>
              <a:off x="3564186" y="1867583"/>
              <a:ext cx="467808" cy="461132"/>
            </a:xfrm>
            <a:prstGeom prst="ellipse">
              <a:avLst/>
            </a:prstGeom>
            <a:solidFill>
              <a:srgbClr val="81BC00"/>
            </a:solidFill>
            <a:ln w="2857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7466" b="0" i="0" u="none" strike="noStrike" kern="1200" cap="none" spc="0" normalizeH="0" baseline="0" noProof="0" dirty="0">
                <a:ln>
                  <a:noFill/>
                </a:ln>
                <a:solidFill>
                  <a:srgbClr val="000000"/>
                </a:solidFill>
                <a:effectLst/>
                <a:uLnTx/>
                <a:uFillTx/>
                <a:latin typeface="Calibri"/>
                <a:ea typeface="ヒラギノ角ゴ ProN W3" charset="0"/>
                <a:cs typeface="Calibri"/>
                <a:sym typeface="Gill Sans" charset="0"/>
              </a:endParaRPr>
            </a:p>
          </p:txBody>
        </p:sp>
        <p:sp>
          <p:nvSpPr>
            <p:cNvPr id="18" name="Symbol zastępczy zawartości 2">
              <a:extLst>
                <a:ext uri="{FF2B5EF4-FFF2-40B4-BE49-F238E27FC236}">
                  <a16:creationId xmlns:a16="http://schemas.microsoft.com/office/drawing/2014/main" id="{8E4F4366-CA27-4D5B-A6A5-420E13076964}"/>
                </a:ext>
              </a:extLst>
            </p:cNvPr>
            <p:cNvSpPr txBox="1">
              <a:spLocks/>
            </p:cNvSpPr>
            <p:nvPr/>
          </p:nvSpPr>
          <p:spPr bwMode="gray">
            <a:xfrm>
              <a:off x="3564186" y="2003559"/>
              <a:ext cx="467808" cy="273589"/>
            </a:xfrm>
            <a:prstGeom prst="rect">
              <a:avLst/>
            </a:prstGeom>
          </p:spPr>
          <p:txBody>
            <a:bodyPr vert="horz" lIns="0" tIns="0" rIns="0" bIns="0" rtlCol="0" anchor="t" anchorCtr="0">
              <a:noAutofit/>
            </a:bodyPr>
            <a:lstStyle>
              <a:lvl1pPr marL="252000" indent="-252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b="0" kern="1200" cap="none" baseline="0">
                  <a:solidFill>
                    <a:schemeClr val="accent3"/>
                  </a:solidFill>
                  <a:latin typeface="+mn-lt"/>
                  <a:ea typeface="+mn-ea"/>
                  <a:cs typeface="+mn-cs"/>
                </a:defRPr>
              </a:lvl1pPr>
              <a:lvl2pPr marL="234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2pPr>
              <a:lvl3pPr marL="342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3pPr>
              <a:lvl4pPr marL="432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b="0" kern="1200" cap="none" baseline="0">
                  <a:solidFill>
                    <a:schemeClr val="accent3"/>
                  </a:solidFill>
                  <a:latin typeface="+mn-lt"/>
                  <a:ea typeface="+mn-ea"/>
                  <a:cs typeface="+mn-cs"/>
                </a:defRPr>
              </a:lvl4pPr>
              <a:lvl5pPr marL="540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kern="1200" cap="none">
                  <a:solidFill>
                    <a:schemeClr val="accent3"/>
                  </a:solidFill>
                  <a:latin typeface="+mn-lt"/>
                  <a:ea typeface="+mn-ea"/>
                  <a:cs typeface="+mn-cs"/>
                </a:defRPr>
              </a:lvl5pPr>
              <a:lvl6pPr marL="1885874"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3"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ctr" defTabSz="914341" rtl="0" eaLnBrk="1" fontAlgn="auto" latinLnBrk="0" hangingPunct="1">
                <a:lnSpc>
                  <a:spcPct val="95000"/>
                </a:lnSpc>
                <a:spcBef>
                  <a:spcPts val="0"/>
                </a:spcBef>
                <a:spcAft>
                  <a:spcPts val="1600"/>
                </a:spcAft>
                <a:buClr>
                  <a:srgbClr val="7E93A5"/>
                </a:buClr>
                <a:buSzPct val="100000"/>
                <a:buFont typeface="Wingdings" pitchFamily="2" charset="2"/>
                <a:buNone/>
                <a:tabLst/>
                <a:defRPr/>
              </a:pPr>
              <a:r>
                <a:rPr kumimoji="0" lang="pl-PL" sz="1867" b="0" i="0" u="none" strike="noStrike" kern="1200" cap="none" spc="0" normalizeH="0" baseline="0" noProof="0" dirty="0">
                  <a:ln>
                    <a:noFill/>
                  </a:ln>
                  <a:solidFill>
                    <a:srgbClr val="FFFFFF"/>
                  </a:solidFill>
                  <a:effectLst/>
                  <a:uLnTx/>
                  <a:uFillTx/>
                  <a:latin typeface="Arial"/>
                  <a:ea typeface="+mn-ea"/>
                  <a:cs typeface="+mn-cs"/>
                </a:rPr>
                <a:t>01</a:t>
              </a:r>
            </a:p>
          </p:txBody>
        </p:sp>
      </p:grpSp>
      <p:grpSp>
        <p:nvGrpSpPr>
          <p:cNvPr id="19" name="Grupa 18">
            <a:extLst>
              <a:ext uri="{FF2B5EF4-FFF2-40B4-BE49-F238E27FC236}">
                <a16:creationId xmlns:a16="http://schemas.microsoft.com/office/drawing/2014/main" id="{9E38F439-2C52-499D-96BA-4B1FEAC1B866}"/>
              </a:ext>
            </a:extLst>
          </p:cNvPr>
          <p:cNvGrpSpPr/>
          <p:nvPr/>
        </p:nvGrpSpPr>
        <p:grpSpPr>
          <a:xfrm>
            <a:off x="3632929" y="2395806"/>
            <a:ext cx="623744" cy="614843"/>
            <a:chOff x="2959802" y="2781773"/>
            <a:chExt cx="467808" cy="461132"/>
          </a:xfrm>
        </p:grpSpPr>
        <p:sp>
          <p:nvSpPr>
            <p:cNvPr id="20" name="Oval 17">
              <a:extLst>
                <a:ext uri="{FF2B5EF4-FFF2-40B4-BE49-F238E27FC236}">
                  <a16:creationId xmlns:a16="http://schemas.microsoft.com/office/drawing/2014/main" id="{3A15F1B3-9339-4A5E-A904-0CED1369F98D}"/>
                </a:ext>
              </a:extLst>
            </p:cNvPr>
            <p:cNvSpPr/>
            <p:nvPr/>
          </p:nvSpPr>
          <p:spPr bwMode="auto">
            <a:xfrm>
              <a:off x="2959802" y="2781773"/>
              <a:ext cx="467808" cy="461132"/>
            </a:xfrm>
            <a:prstGeom prst="ellipse">
              <a:avLst/>
            </a:prstGeom>
            <a:solidFill>
              <a:srgbClr val="81BC00"/>
            </a:solidFill>
            <a:ln w="2857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7466" b="0" i="0" u="none" strike="noStrike" kern="1200" cap="none" spc="0" normalizeH="0" baseline="0" noProof="0" dirty="0">
                <a:ln>
                  <a:noFill/>
                </a:ln>
                <a:solidFill>
                  <a:srgbClr val="000000"/>
                </a:solidFill>
                <a:effectLst/>
                <a:uLnTx/>
                <a:uFillTx/>
                <a:latin typeface="Calibri"/>
                <a:ea typeface="ヒラギノ角ゴ ProN W3" charset="0"/>
                <a:cs typeface="Calibri"/>
                <a:sym typeface="Gill Sans" charset="0"/>
              </a:endParaRPr>
            </a:p>
          </p:txBody>
        </p:sp>
        <p:sp>
          <p:nvSpPr>
            <p:cNvPr id="21" name="Symbol zastępczy zawartości 2">
              <a:extLst>
                <a:ext uri="{FF2B5EF4-FFF2-40B4-BE49-F238E27FC236}">
                  <a16:creationId xmlns:a16="http://schemas.microsoft.com/office/drawing/2014/main" id="{09DF068C-3CE9-4ADE-92C4-932A94080D69}"/>
                </a:ext>
              </a:extLst>
            </p:cNvPr>
            <p:cNvSpPr txBox="1">
              <a:spLocks/>
            </p:cNvSpPr>
            <p:nvPr/>
          </p:nvSpPr>
          <p:spPr bwMode="gray">
            <a:xfrm>
              <a:off x="2959802" y="2917749"/>
              <a:ext cx="467808" cy="273589"/>
            </a:xfrm>
            <a:prstGeom prst="rect">
              <a:avLst/>
            </a:prstGeom>
          </p:spPr>
          <p:txBody>
            <a:bodyPr vert="horz" lIns="0" tIns="0" rIns="0" bIns="0" rtlCol="0" anchor="t" anchorCtr="0">
              <a:noAutofit/>
            </a:bodyPr>
            <a:lstStyle>
              <a:lvl1pPr marL="252000" indent="-252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b="0" kern="1200" cap="none" baseline="0">
                  <a:solidFill>
                    <a:schemeClr val="accent3"/>
                  </a:solidFill>
                  <a:latin typeface="+mn-lt"/>
                  <a:ea typeface="+mn-ea"/>
                  <a:cs typeface="+mn-cs"/>
                </a:defRPr>
              </a:lvl1pPr>
              <a:lvl2pPr marL="234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2pPr>
              <a:lvl3pPr marL="342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3pPr>
              <a:lvl4pPr marL="432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b="0" kern="1200" cap="none" baseline="0">
                  <a:solidFill>
                    <a:schemeClr val="accent3"/>
                  </a:solidFill>
                  <a:latin typeface="+mn-lt"/>
                  <a:ea typeface="+mn-ea"/>
                  <a:cs typeface="+mn-cs"/>
                </a:defRPr>
              </a:lvl4pPr>
              <a:lvl5pPr marL="540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kern="1200" cap="none">
                  <a:solidFill>
                    <a:schemeClr val="accent3"/>
                  </a:solidFill>
                  <a:latin typeface="+mn-lt"/>
                  <a:ea typeface="+mn-ea"/>
                  <a:cs typeface="+mn-cs"/>
                </a:defRPr>
              </a:lvl5pPr>
              <a:lvl6pPr marL="1885874"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3"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ctr" defTabSz="914341" rtl="0" eaLnBrk="1" fontAlgn="auto" latinLnBrk="0" hangingPunct="1">
                <a:lnSpc>
                  <a:spcPct val="95000"/>
                </a:lnSpc>
                <a:spcBef>
                  <a:spcPts val="0"/>
                </a:spcBef>
                <a:spcAft>
                  <a:spcPts val="1600"/>
                </a:spcAft>
                <a:buClr>
                  <a:srgbClr val="7E93A5"/>
                </a:buClr>
                <a:buSzPct val="100000"/>
                <a:buFont typeface="Wingdings" pitchFamily="2" charset="2"/>
                <a:buNone/>
                <a:tabLst/>
                <a:defRPr/>
              </a:pPr>
              <a:r>
                <a:rPr kumimoji="0" lang="pl-PL" sz="1867" b="0" i="0" u="none" strike="noStrike" kern="1200" cap="none" spc="0" normalizeH="0" baseline="0" noProof="0" dirty="0">
                  <a:ln>
                    <a:noFill/>
                  </a:ln>
                  <a:solidFill>
                    <a:srgbClr val="FFFFFF"/>
                  </a:solidFill>
                  <a:effectLst/>
                  <a:uLnTx/>
                  <a:uFillTx/>
                  <a:latin typeface="Arial"/>
                  <a:ea typeface="+mn-ea"/>
                  <a:cs typeface="+mn-cs"/>
                </a:rPr>
                <a:t>06</a:t>
              </a:r>
            </a:p>
          </p:txBody>
        </p:sp>
      </p:grpSp>
      <p:sp>
        <p:nvSpPr>
          <p:cNvPr id="27" name="Symbol zastępczy zawartości 2">
            <a:extLst>
              <a:ext uri="{FF2B5EF4-FFF2-40B4-BE49-F238E27FC236}">
                <a16:creationId xmlns:a16="http://schemas.microsoft.com/office/drawing/2014/main" id="{CD4FE938-7B59-4C0F-83CD-02B8D7DF8ACA}"/>
              </a:ext>
            </a:extLst>
          </p:cNvPr>
          <p:cNvSpPr txBox="1">
            <a:spLocks/>
          </p:cNvSpPr>
          <p:nvPr/>
        </p:nvSpPr>
        <p:spPr bwMode="gray">
          <a:xfrm>
            <a:off x="7948311" y="893540"/>
            <a:ext cx="3384549" cy="594760"/>
          </a:xfrm>
          <a:prstGeom prst="rect">
            <a:avLst/>
          </a:prstGeom>
        </p:spPr>
        <p:txBody>
          <a:bodyPr vert="horz" lIns="0" tIns="0" rIns="0" bIns="0" rtlCol="0" anchor="t" anchorCtr="0">
            <a:noAutofit/>
          </a:bodyPr>
          <a:lstStyle>
            <a:lvl1pPr marL="252000" indent="-252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b="0" kern="1200" cap="none" baseline="0">
                <a:solidFill>
                  <a:schemeClr val="accent3"/>
                </a:solidFill>
                <a:latin typeface="+mn-lt"/>
                <a:ea typeface="+mn-ea"/>
                <a:cs typeface="+mn-cs"/>
              </a:defRPr>
            </a:lvl1pPr>
            <a:lvl2pPr marL="234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2pPr>
            <a:lvl3pPr marL="342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3pPr>
            <a:lvl4pPr marL="432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b="0" kern="1200" cap="none" baseline="0">
                <a:solidFill>
                  <a:schemeClr val="accent3"/>
                </a:solidFill>
                <a:latin typeface="+mn-lt"/>
                <a:ea typeface="+mn-ea"/>
                <a:cs typeface="+mn-cs"/>
              </a:defRPr>
            </a:lvl4pPr>
            <a:lvl5pPr marL="540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kern="1200" cap="none">
                <a:solidFill>
                  <a:schemeClr val="accent3"/>
                </a:solidFill>
                <a:latin typeface="+mn-lt"/>
                <a:ea typeface="+mn-ea"/>
                <a:cs typeface="+mn-cs"/>
              </a:defRPr>
            </a:lvl5pPr>
            <a:lvl6pPr marL="1885874"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3"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l" defTabSz="914341" rtl="0" eaLnBrk="1" fontAlgn="auto" latinLnBrk="0" hangingPunct="1">
              <a:lnSpc>
                <a:spcPct val="95000"/>
              </a:lnSpc>
              <a:spcBef>
                <a:spcPts val="0"/>
              </a:spcBef>
              <a:spcAft>
                <a:spcPts val="800"/>
              </a:spcAft>
              <a:buClr>
                <a:srgbClr val="7E93A5"/>
              </a:buClr>
              <a:buSzPct val="100000"/>
              <a:buFont typeface="Wingdings" pitchFamily="2" charset="2"/>
              <a:buNone/>
              <a:tabLst/>
              <a:defRPr/>
            </a:pPr>
            <a:r>
              <a:rPr kumimoji="0" lang="pl-PL" sz="1867" b="1" i="0" u="none" strike="noStrike" kern="1200" cap="none" spc="0" normalizeH="0" baseline="0" noProof="0" dirty="0">
                <a:ln>
                  <a:noFill/>
                </a:ln>
                <a:solidFill>
                  <a:srgbClr val="81BC00"/>
                </a:solidFill>
                <a:effectLst/>
                <a:uLnTx/>
                <a:uFillTx/>
                <a:latin typeface="Arial"/>
                <a:ea typeface="+mn-ea"/>
                <a:cs typeface="+mn-cs"/>
              </a:rPr>
              <a:t>LUMI / Virtual Agent AI </a:t>
            </a:r>
            <a:endParaRPr kumimoji="0" lang="da-DK" sz="1867" b="1" i="0" u="none" strike="noStrike" kern="1200" cap="none" spc="0" normalizeH="0" baseline="0" noProof="0" dirty="0">
              <a:ln>
                <a:noFill/>
              </a:ln>
              <a:solidFill>
                <a:srgbClr val="81BC00"/>
              </a:solidFill>
              <a:effectLst/>
              <a:uLnTx/>
              <a:uFillTx/>
              <a:latin typeface="Arial"/>
              <a:ea typeface="+mn-ea"/>
              <a:cs typeface="+mn-cs"/>
            </a:endParaRPr>
          </a:p>
        </p:txBody>
      </p:sp>
      <p:sp>
        <p:nvSpPr>
          <p:cNvPr id="28" name="Symbol zastępczy zawartości 2">
            <a:extLst>
              <a:ext uri="{FF2B5EF4-FFF2-40B4-BE49-F238E27FC236}">
                <a16:creationId xmlns:a16="http://schemas.microsoft.com/office/drawing/2014/main" id="{6778B99A-1B7F-4A60-9F6C-4266E1B8ACFA}"/>
              </a:ext>
            </a:extLst>
          </p:cNvPr>
          <p:cNvSpPr txBox="1">
            <a:spLocks/>
          </p:cNvSpPr>
          <p:nvPr/>
        </p:nvSpPr>
        <p:spPr bwMode="gray">
          <a:xfrm>
            <a:off x="1567331" y="4508544"/>
            <a:ext cx="3384549" cy="1080066"/>
          </a:xfrm>
          <a:prstGeom prst="rect">
            <a:avLst/>
          </a:prstGeom>
        </p:spPr>
        <p:txBody>
          <a:bodyPr vert="horz" lIns="0" tIns="0" rIns="0" bIns="0" rtlCol="0" anchor="t" anchorCtr="0">
            <a:noAutofit/>
          </a:bodyPr>
          <a:lstStyle>
            <a:lvl1pPr marL="252000" indent="-252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b="0" kern="1200" cap="none" baseline="0">
                <a:solidFill>
                  <a:schemeClr val="accent3"/>
                </a:solidFill>
                <a:latin typeface="+mn-lt"/>
                <a:ea typeface="+mn-ea"/>
                <a:cs typeface="+mn-cs"/>
              </a:defRPr>
            </a:lvl1pPr>
            <a:lvl2pPr marL="234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2pPr>
            <a:lvl3pPr marL="342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3pPr>
            <a:lvl4pPr marL="432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b="0" kern="1200" cap="none" baseline="0">
                <a:solidFill>
                  <a:schemeClr val="accent3"/>
                </a:solidFill>
                <a:latin typeface="+mn-lt"/>
                <a:ea typeface="+mn-ea"/>
                <a:cs typeface="+mn-cs"/>
              </a:defRPr>
            </a:lvl4pPr>
            <a:lvl5pPr marL="540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kern="1200" cap="none">
                <a:solidFill>
                  <a:schemeClr val="accent3"/>
                </a:solidFill>
                <a:latin typeface="+mn-lt"/>
                <a:ea typeface="+mn-ea"/>
                <a:cs typeface="+mn-cs"/>
              </a:defRPr>
            </a:lvl5pPr>
            <a:lvl6pPr marL="1885874"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3"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r" defTabSz="914341" rtl="0" eaLnBrk="1" fontAlgn="auto" latinLnBrk="0" hangingPunct="1">
              <a:lnSpc>
                <a:spcPct val="95000"/>
              </a:lnSpc>
              <a:spcBef>
                <a:spcPts val="0"/>
              </a:spcBef>
              <a:spcAft>
                <a:spcPts val="800"/>
              </a:spcAft>
              <a:buClr>
                <a:srgbClr val="7E93A5"/>
              </a:buClr>
              <a:buSzPct val="100000"/>
              <a:buFont typeface="Wingdings" pitchFamily="2" charset="2"/>
              <a:buNone/>
              <a:tabLst/>
              <a:defRPr/>
            </a:pPr>
            <a:r>
              <a:rPr kumimoji="0" lang="en-US" sz="1867" b="1" i="0" u="none" strike="noStrike" kern="1200" cap="none" spc="0" normalizeH="0" baseline="0" noProof="0" dirty="0">
                <a:ln>
                  <a:noFill/>
                </a:ln>
                <a:solidFill>
                  <a:srgbClr val="81BC00"/>
                </a:solidFill>
                <a:effectLst/>
                <a:uLnTx/>
                <a:uFillTx/>
                <a:latin typeface="Arial"/>
                <a:ea typeface="+mn-ea"/>
                <a:cs typeface="+mn-cs"/>
              </a:rPr>
              <a:t>increasing upsells and customer activity, especially in the first 3 months after opening the Biznes Account</a:t>
            </a:r>
            <a:endParaRPr kumimoji="0" lang="da-DK" sz="1867" b="1" i="0" u="none" strike="noStrike" kern="1200" cap="none" spc="0" normalizeH="0" baseline="0" noProof="0" dirty="0">
              <a:ln>
                <a:noFill/>
              </a:ln>
              <a:solidFill>
                <a:srgbClr val="81BC00"/>
              </a:solidFill>
              <a:effectLst/>
              <a:uLnTx/>
              <a:uFillTx/>
              <a:latin typeface="Arial"/>
              <a:ea typeface="+mn-ea"/>
              <a:cs typeface="+mn-cs"/>
            </a:endParaRPr>
          </a:p>
        </p:txBody>
      </p:sp>
      <p:sp>
        <p:nvSpPr>
          <p:cNvPr id="29" name="Symbol zastępczy zawartości 2">
            <a:extLst>
              <a:ext uri="{FF2B5EF4-FFF2-40B4-BE49-F238E27FC236}">
                <a16:creationId xmlns:a16="http://schemas.microsoft.com/office/drawing/2014/main" id="{05F222DE-32BD-4BF9-877C-D801DB4685BC}"/>
              </a:ext>
            </a:extLst>
          </p:cNvPr>
          <p:cNvSpPr txBox="1">
            <a:spLocks/>
          </p:cNvSpPr>
          <p:nvPr/>
        </p:nvSpPr>
        <p:spPr bwMode="gray">
          <a:xfrm>
            <a:off x="483103" y="2479166"/>
            <a:ext cx="2874647" cy="948636"/>
          </a:xfrm>
          <a:prstGeom prst="rect">
            <a:avLst/>
          </a:prstGeom>
        </p:spPr>
        <p:txBody>
          <a:bodyPr vert="horz" lIns="0" tIns="0" rIns="0" bIns="0" rtlCol="0" anchor="t" anchorCtr="0">
            <a:noAutofit/>
          </a:bodyPr>
          <a:lstStyle>
            <a:lvl1pPr marL="252000" indent="-252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b="0" kern="1200" cap="none" baseline="0">
                <a:solidFill>
                  <a:schemeClr val="accent3"/>
                </a:solidFill>
                <a:latin typeface="+mn-lt"/>
                <a:ea typeface="+mn-ea"/>
                <a:cs typeface="+mn-cs"/>
              </a:defRPr>
            </a:lvl1pPr>
            <a:lvl2pPr marL="234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2pPr>
            <a:lvl3pPr marL="342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3pPr>
            <a:lvl4pPr marL="432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b="0" kern="1200" cap="none" baseline="0">
                <a:solidFill>
                  <a:schemeClr val="accent3"/>
                </a:solidFill>
                <a:latin typeface="+mn-lt"/>
                <a:ea typeface="+mn-ea"/>
                <a:cs typeface="+mn-cs"/>
              </a:defRPr>
            </a:lvl4pPr>
            <a:lvl5pPr marL="540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kern="1200" cap="none">
                <a:solidFill>
                  <a:schemeClr val="accent3"/>
                </a:solidFill>
                <a:latin typeface="+mn-lt"/>
                <a:ea typeface="+mn-ea"/>
                <a:cs typeface="+mn-cs"/>
              </a:defRPr>
            </a:lvl5pPr>
            <a:lvl6pPr marL="1885874"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3"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r" defTabSz="914341" rtl="0" eaLnBrk="1" fontAlgn="auto" latinLnBrk="0" hangingPunct="1">
              <a:lnSpc>
                <a:spcPct val="95000"/>
              </a:lnSpc>
              <a:spcBef>
                <a:spcPts val="0"/>
              </a:spcBef>
              <a:spcAft>
                <a:spcPts val="800"/>
              </a:spcAft>
              <a:buClr>
                <a:srgbClr val="7E93A5"/>
              </a:buClr>
              <a:buSzPct val="100000"/>
              <a:buFont typeface="Wingdings" pitchFamily="2" charset="2"/>
              <a:buNone/>
              <a:tabLst/>
              <a:defRPr/>
            </a:pPr>
            <a:r>
              <a:rPr kumimoji="0" lang="da-DK" sz="1867" b="1" i="0" u="none" strike="noStrike" kern="1200" cap="none" spc="0" normalizeH="0" baseline="0" noProof="0" dirty="0">
                <a:ln>
                  <a:noFill/>
                </a:ln>
                <a:solidFill>
                  <a:srgbClr val="81BC00"/>
                </a:solidFill>
                <a:effectLst/>
                <a:uLnTx/>
                <a:uFillTx/>
                <a:latin typeface="Arial"/>
                <a:ea typeface="+mn-ea"/>
                <a:cs typeface="+mn-cs"/>
              </a:rPr>
              <a:t>credit processes</a:t>
            </a:r>
          </a:p>
        </p:txBody>
      </p:sp>
      <p:cxnSp>
        <p:nvCxnSpPr>
          <p:cNvPr id="30" name="Łącznik prosty 29">
            <a:extLst>
              <a:ext uri="{FF2B5EF4-FFF2-40B4-BE49-F238E27FC236}">
                <a16:creationId xmlns:a16="http://schemas.microsoft.com/office/drawing/2014/main" id="{263C7588-4DF3-48B2-9D9B-EA8D483E19BD}"/>
              </a:ext>
            </a:extLst>
          </p:cNvPr>
          <p:cNvCxnSpPr/>
          <p:nvPr/>
        </p:nvCxnSpPr>
        <p:spPr>
          <a:xfrm flipV="1">
            <a:off x="6502535" y="1807643"/>
            <a:ext cx="352352" cy="279216"/>
          </a:xfrm>
          <a:prstGeom prst="line">
            <a:avLst/>
          </a:prstGeom>
          <a:ln>
            <a:solidFill>
              <a:srgbClr val="009597"/>
            </a:solidFill>
            <a:headEnd type="oval"/>
          </a:ln>
        </p:spPr>
        <p:style>
          <a:lnRef idx="1">
            <a:schemeClr val="accent1"/>
          </a:lnRef>
          <a:fillRef idx="0">
            <a:schemeClr val="accent1"/>
          </a:fillRef>
          <a:effectRef idx="0">
            <a:schemeClr val="accent1"/>
          </a:effectRef>
          <a:fontRef idx="minor">
            <a:schemeClr val="tx1"/>
          </a:fontRef>
        </p:style>
      </p:cxnSp>
      <p:cxnSp>
        <p:nvCxnSpPr>
          <p:cNvPr id="33" name="Łącznik prosty 32">
            <a:extLst>
              <a:ext uri="{FF2B5EF4-FFF2-40B4-BE49-F238E27FC236}">
                <a16:creationId xmlns:a16="http://schemas.microsoft.com/office/drawing/2014/main" id="{9C8F8503-FAA9-4727-8BB4-042BD9A55F98}"/>
              </a:ext>
            </a:extLst>
          </p:cNvPr>
          <p:cNvCxnSpPr>
            <a:cxnSpLocks/>
          </p:cNvCxnSpPr>
          <p:nvPr/>
        </p:nvCxnSpPr>
        <p:spPr>
          <a:xfrm flipH="1" flipV="1">
            <a:off x="4969604" y="1807643"/>
            <a:ext cx="374984" cy="314512"/>
          </a:xfrm>
          <a:prstGeom prst="line">
            <a:avLst/>
          </a:prstGeom>
          <a:ln>
            <a:solidFill>
              <a:srgbClr val="009597"/>
            </a:solidFill>
            <a:headEnd type="oval"/>
          </a:ln>
        </p:spPr>
        <p:style>
          <a:lnRef idx="1">
            <a:schemeClr val="accent1"/>
          </a:lnRef>
          <a:fillRef idx="0">
            <a:schemeClr val="accent1"/>
          </a:fillRef>
          <a:effectRef idx="0">
            <a:schemeClr val="accent1"/>
          </a:effectRef>
          <a:fontRef idx="minor">
            <a:schemeClr val="tx1"/>
          </a:fontRef>
        </p:style>
      </p:cxnSp>
      <p:cxnSp>
        <p:nvCxnSpPr>
          <p:cNvPr id="34" name="Łącznik prosty 33">
            <a:extLst>
              <a:ext uri="{FF2B5EF4-FFF2-40B4-BE49-F238E27FC236}">
                <a16:creationId xmlns:a16="http://schemas.microsoft.com/office/drawing/2014/main" id="{70F358F2-4CC9-45D8-A7A9-49D581634478}"/>
              </a:ext>
            </a:extLst>
          </p:cNvPr>
          <p:cNvCxnSpPr>
            <a:cxnSpLocks/>
          </p:cNvCxnSpPr>
          <p:nvPr/>
        </p:nvCxnSpPr>
        <p:spPr>
          <a:xfrm flipH="1">
            <a:off x="5431460" y="3594449"/>
            <a:ext cx="196792" cy="521509"/>
          </a:xfrm>
          <a:prstGeom prst="line">
            <a:avLst/>
          </a:prstGeom>
          <a:ln>
            <a:solidFill>
              <a:srgbClr val="009597"/>
            </a:solidFill>
            <a:headEnd type="oval"/>
          </a:ln>
        </p:spPr>
        <p:style>
          <a:lnRef idx="1">
            <a:schemeClr val="accent1"/>
          </a:lnRef>
          <a:fillRef idx="0">
            <a:schemeClr val="accent1"/>
          </a:fillRef>
          <a:effectRef idx="0">
            <a:schemeClr val="accent1"/>
          </a:effectRef>
          <a:fontRef idx="minor">
            <a:schemeClr val="tx1"/>
          </a:fontRef>
        </p:style>
      </p:cxnSp>
      <p:cxnSp>
        <p:nvCxnSpPr>
          <p:cNvPr id="35" name="Łącznik prosty 34">
            <a:extLst>
              <a:ext uri="{FF2B5EF4-FFF2-40B4-BE49-F238E27FC236}">
                <a16:creationId xmlns:a16="http://schemas.microsoft.com/office/drawing/2014/main" id="{4B6686A9-16EF-4054-ABBB-286675818289}"/>
              </a:ext>
            </a:extLst>
          </p:cNvPr>
          <p:cNvCxnSpPr>
            <a:cxnSpLocks/>
          </p:cNvCxnSpPr>
          <p:nvPr/>
        </p:nvCxnSpPr>
        <p:spPr>
          <a:xfrm flipH="1" flipV="1">
            <a:off x="4369023" y="2722196"/>
            <a:ext cx="600581" cy="2199"/>
          </a:xfrm>
          <a:prstGeom prst="line">
            <a:avLst/>
          </a:prstGeom>
          <a:ln>
            <a:solidFill>
              <a:srgbClr val="009597"/>
            </a:solidFill>
            <a:headEnd type="oval"/>
          </a:ln>
        </p:spPr>
        <p:style>
          <a:lnRef idx="1">
            <a:schemeClr val="accent1"/>
          </a:lnRef>
          <a:fillRef idx="0">
            <a:schemeClr val="accent1"/>
          </a:fillRef>
          <a:effectRef idx="0">
            <a:schemeClr val="accent1"/>
          </a:effectRef>
          <a:fontRef idx="minor">
            <a:schemeClr val="tx1"/>
          </a:fontRef>
        </p:style>
      </p:cxnSp>
      <p:sp>
        <p:nvSpPr>
          <p:cNvPr id="39" name="Owal 38">
            <a:extLst>
              <a:ext uri="{FF2B5EF4-FFF2-40B4-BE49-F238E27FC236}">
                <a16:creationId xmlns:a16="http://schemas.microsoft.com/office/drawing/2014/main" id="{B174DC49-30C6-4A37-9255-B4E11E96A789}"/>
              </a:ext>
            </a:extLst>
          </p:cNvPr>
          <p:cNvSpPr/>
          <p:nvPr/>
        </p:nvSpPr>
        <p:spPr>
          <a:xfrm>
            <a:off x="5210003" y="2086859"/>
            <a:ext cx="1460741" cy="1460741"/>
          </a:xfrm>
          <a:prstGeom prst="ellipse">
            <a:avLst/>
          </a:prstGeom>
          <a:blipFill>
            <a:blip r:embed="rId2"/>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67539"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40" name="Grupa 39">
            <a:extLst>
              <a:ext uri="{FF2B5EF4-FFF2-40B4-BE49-F238E27FC236}">
                <a16:creationId xmlns:a16="http://schemas.microsoft.com/office/drawing/2014/main" id="{126CE282-44B3-4085-9920-07F1B060E033}"/>
              </a:ext>
            </a:extLst>
          </p:cNvPr>
          <p:cNvGrpSpPr/>
          <p:nvPr/>
        </p:nvGrpSpPr>
        <p:grpSpPr>
          <a:xfrm>
            <a:off x="6774944" y="3775291"/>
            <a:ext cx="623744" cy="614843"/>
            <a:chOff x="5376270" y="3695963"/>
            <a:chExt cx="467808" cy="461132"/>
          </a:xfrm>
        </p:grpSpPr>
        <p:sp>
          <p:nvSpPr>
            <p:cNvPr id="41" name="Oval 17">
              <a:extLst>
                <a:ext uri="{FF2B5EF4-FFF2-40B4-BE49-F238E27FC236}">
                  <a16:creationId xmlns:a16="http://schemas.microsoft.com/office/drawing/2014/main" id="{0D269DBA-E034-48E4-8159-001614A57928}"/>
                </a:ext>
              </a:extLst>
            </p:cNvPr>
            <p:cNvSpPr/>
            <p:nvPr/>
          </p:nvSpPr>
          <p:spPr bwMode="auto">
            <a:xfrm>
              <a:off x="5376270" y="3695963"/>
              <a:ext cx="467808" cy="461132"/>
            </a:xfrm>
            <a:prstGeom prst="ellipse">
              <a:avLst/>
            </a:prstGeom>
            <a:solidFill>
              <a:srgbClr val="81BC00"/>
            </a:solidFill>
            <a:ln w="2857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7466" b="0" i="0" u="none" strike="noStrike" kern="1200" cap="none" spc="0" normalizeH="0" baseline="0" noProof="0" dirty="0">
                <a:ln>
                  <a:noFill/>
                </a:ln>
                <a:solidFill>
                  <a:srgbClr val="000000"/>
                </a:solidFill>
                <a:effectLst/>
                <a:uLnTx/>
                <a:uFillTx/>
                <a:latin typeface="Calibri"/>
                <a:ea typeface="ヒラギノ角ゴ ProN W3" charset="0"/>
                <a:cs typeface="Calibri"/>
                <a:sym typeface="Gill Sans" charset="0"/>
              </a:endParaRPr>
            </a:p>
          </p:txBody>
        </p:sp>
        <p:sp>
          <p:nvSpPr>
            <p:cNvPr id="42" name="Symbol zastępczy zawartości 2">
              <a:extLst>
                <a:ext uri="{FF2B5EF4-FFF2-40B4-BE49-F238E27FC236}">
                  <a16:creationId xmlns:a16="http://schemas.microsoft.com/office/drawing/2014/main" id="{C358F14E-2318-4B6A-9AE6-6924093B4669}"/>
                </a:ext>
              </a:extLst>
            </p:cNvPr>
            <p:cNvSpPr txBox="1">
              <a:spLocks/>
            </p:cNvSpPr>
            <p:nvPr/>
          </p:nvSpPr>
          <p:spPr bwMode="gray">
            <a:xfrm>
              <a:off x="5376270" y="3831939"/>
              <a:ext cx="467808" cy="273589"/>
            </a:xfrm>
            <a:prstGeom prst="rect">
              <a:avLst/>
            </a:prstGeom>
          </p:spPr>
          <p:txBody>
            <a:bodyPr vert="horz" lIns="0" tIns="0" rIns="0" bIns="0" rtlCol="0" anchor="t" anchorCtr="0">
              <a:noAutofit/>
            </a:bodyPr>
            <a:lstStyle>
              <a:lvl1pPr marL="252000" indent="-252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b="0" kern="1200" cap="none" baseline="0">
                  <a:solidFill>
                    <a:schemeClr val="accent3"/>
                  </a:solidFill>
                  <a:latin typeface="+mn-lt"/>
                  <a:ea typeface="+mn-ea"/>
                  <a:cs typeface="+mn-cs"/>
                </a:defRPr>
              </a:lvl1pPr>
              <a:lvl2pPr marL="234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2pPr>
              <a:lvl3pPr marL="342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3pPr>
              <a:lvl4pPr marL="432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b="0" kern="1200" cap="none" baseline="0">
                  <a:solidFill>
                    <a:schemeClr val="accent3"/>
                  </a:solidFill>
                  <a:latin typeface="+mn-lt"/>
                  <a:ea typeface="+mn-ea"/>
                  <a:cs typeface="+mn-cs"/>
                </a:defRPr>
              </a:lvl4pPr>
              <a:lvl5pPr marL="540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kern="1200" cap="none">
                  <a:solidFill>
                    <a:schemeClr val="accent3"/>
                  </a:solidFill>
                  <a:latin typeface="+mn-lt"/>
                  <a:ea typeface="+mn-ea"/>
                  <a:cs typeface="+mn-cs"/>
                </a:defRPr>
              </a:lvl5pPr>
              <a:lvl6pPr marL="1885874"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3"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ctr" defTabSz="914341" rtl="0" eaLnBrk="1" fontAlgn="auto" latinLnBrk="0" hangingPunct="1">
                <a:lnSpc>
                  <a:spcPct val="95000"/>
                </a:lnSpc>
                <a:spcBef>
                  <a:spcPts val="0"/>
                </a:spcBef>
                <a:spcAft>
                  <a:spcPts val="1600"/>
                </a:spcAft>
                <a:buClr>
                  <a:srgbClr val="7E93A5"/>
                </a:buClr>
                <a:buSzPct val="100000"/>
                <a:buFont typeface="Wingdings" pitchFamily="2" charset="2"/>
                <a:buNone/>
                <a:tabLst/>
                <a:defRPr/>
              </a:pPr>
              <a:r>
                <a:rPr kumimoji="0" lang="pl-PL" sz="1867" b="0" i="0" u="none" strike="noStrike" kern="1200" cap="none" spc="0" normalizeH="0" baseline="0" noProof="0" dirty="0">
                  <a:ln>
                    <a:noFill/>
                  </a:ln>
                  <a:solidFill>
                    <a:srgbClr val="FFFFFF"/>
                  </a:solidFill>
                  <a:effectLst/>
                  <a:uLnTx/>
                  <a:uFillTx/>
                  <a:latin typeface="Arial"/>
                  <a:ea typeface="+mn-ea"/>
                  <a:cs typeface="+mn-cs"/>
                </a:rPr>
                <a:t>04</a:t>
              </a:r>
            </a:p>
          </p:txBody>
        </p:sp>
      </p:grpSp>
      <p:sp>
        <p:nvSpPr>
          <p:cNvPr id="43" name="Symbol zastępczy zawartości 2">
            <a:extLst>
              <a:ext uri="{FF2B5EF4-FFF2-40B4-BE49-F238E27FC236}">
                <a16:creationId xmlns:a16="http://schemas.microsoft.com/office/drawing/2014/main" id="{FC2ABEE7-7E7E-4C68-8096-B41C39BD11A6}"/>
              </a:ext>
            </a:extLst>
          </p:cNvPr>
          <p:cNvSpPr txBox="1">
            <a:spLocks/>
          </p:cNvSpPr>
          <p:nvPr/>
        </p:nvSpPr>
        <p:spPr bwMode="gray">
          <a:xfrm>
            <a:off x="8035563" y="3911455"/>
            <a:ext cx="3600395" cy="594760"/>
          </a:xfrm>
          <a:prstGeom prst="rect">
            <a:avLst/>
          </a:prstGeom>
        </p:spPr>
        <p:txBody>
          <a:bodyPr vert="horz" lIns="0" tIns="0" rIns="0" bIns="0" rtlCol="0" anchor="t" anchorCtr="0">
            <a:noAutofit/>
          </a:bodyPr>
          <a:lstStyle>
            <a:lvl1pPr marL="252000" indent="-252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b="0" kern="1200" cap="none" baseline="0">
                <a:solidFill>
                  <a:schemeClr val="accent3"/>
                </a:solidFill>
                <a:latin typeface="+mn-lt"/>
                <a:ea typeface="+mn-ea"/>
                <a:cs typeface="+mn-cs"/>
              </a:defRPr>
            </a:lvl1pPr>
            <a:lvl2pPr marL="234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2pPr>
            <a:lvl3pPr marL="342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3pPr>
            <a:lvl4pPr marL="432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b="0" kern="1200" cap="none" baseline="0">
                <a:solidFill>
                  <a:schemeClr val="accent3"/>
                </a:solidFill>
                <a:latin typeface="+mn-lt"/>
                <a:ea typeface="+mn-ea"/>
                <a:cs typeface="+mn-cs"/>
              </a:defRPr>
            </a:lvl4pPr>
            <a:lvl5pPr marL="540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kern="1200" cap="none">
                <a:solidFill>
                  <a:schemeClr val="accent3"/>
                </a:solidFill>
                <a:latin typeface="+mn-lt"/>
                <a:ea typeface="+mn-ea"/>
                <a:cs typeface="+mn-cs"/>
              </a:defRPr>
            </a:lvl5pPr>
            <a:lvl6pPr marL="1885874"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3"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l" defTabSz="914341" rtl="0" eaLnBrk="1" fontAlgn="auto" latinLnBrk="0" hangingPunct="1">
              <a:lnSpc>
                <a:spcPct val="95000"/>
              </a:lnSpc>
              <a:spcBef>
                <a:spcPts val="0"/>
              </a:spcBef>
              <a:spcAft>
                <a:spcPts val="800"/>
              </a:spcAft>
              <a:buClr>
                <a:srgbClr val="7E93A5"/>
              </a:buClr>
              <a:buSzPct val="100000"/>
              <a:buFont typeface="Wingdings" pitchFamily="2" charset="2"/>
              <a:buNone/>
              <a:tabLst/>
              <a:defRPr/>
            </a:pPr>
            <a:r>
              <a:rPr kumimoji="0" lang="en-US" sz="1867" b="1" i="0" u="none" strike="noStrike" kern="1200" cap="none" spc="0" normalizeH="0" baseline="0" noProof="0" dirty="0">
                <a:ln>
                  <a:noFill/>
                </a:ln>
                <a:solidFill>
                  <a:srgbClr val="81BC00"/>
                </a:solidFill>
                <a:effectLst/>
                <a:uLnTx/>
                <a:uFillTx/>
                <a:latin typeface="Arial"/>
                <a:ea typeface="+mn-ea"/>
                <a:cs typeface="+mn-cs"/>
              </a:rPr>
              <a:t>improving processes and standards for advisors</a:t>
            </a:r>
            <a:endParaRPr kumimoji="0" lang="da-DK" sz="1867" b="1" i="0" u="none" strike="noStrike" kern="1200" cap="none" spc="0" normalizeH="0" baseline="0" noProof="0" dirty="0">
              <a:ln>
                <a:noFill/>
              </a:ln>
              <a:solidFill>
                <a:srgbClr val="81BC00"/>
              </a:solidFill>
              <a:effectLst/>
              <a:uLnTx/>
              <a:uFillTx/>
              <a:latin typeface="Arial"/>
              <a:ea typeface="+mn-ea"/>
              <a:cs typeface="+mn-cs"/>
            </a:endParaRPr>
          </a:p>
        </p:txBody>
      </p:sp>
      <p:cxnSp>
        <p:nvCxnSpPr>
          <p:cNvPr id="44" name="Łącznik prosty 43">
            <a:extLst>
              <a:ext uri="{FF2B5EF4-FFF2-40B4-BE49-F238E27FC236}">
                <a16:creationId xmlns:a16="http://schemas.microsoft.com/office/drawing/2014/main" id="{D4A3E6D5-0D1D-46B6-83FD-0E15B261B60B}"/>
              </a:ext>
            </a:extLst>
          </p:cNvPr>
          <p:cNvCxnSpPr>
            <a:cxnSpLocks/>
          </p:cNvCxnSpPr>
          <p:nvPr/>
        </p:nvCxnSpPr>
        <p:spPr>
          <a:xfrm>
            <a:off x="6608098" y="3409186"/>
            <a:ext cx="235430" cy="478770"/>
          </a:xfrm>
          <a:prstGeom prst="line">
            <a:avLst/>
          </a:prstGeom>
          <a:ln>
            <a:solidFill>
              <a:srgbClr val="009597"/>
            </a:solidFill>
            <a:headEnd type="oval"/>
          </a:ln>
        </p:spPr>
        <p:style>
          <a:lnRef idx="1">
            <a:schemeClr val="accent1"/>
          </a:lnRef>
          <a:fillRef idx="0">
            <a:schemeClr val="accent1"/>
          </a:fillRef>
          <a:effectRef idx="0">
            <a:schemeClr val="accent1"/>
          </a:effectRef>
          <a:fontRef idx="minor">
            <a:schemeClr val="tx1"/>
          </a:fontRef>
        </p:style>
      </p:cxnSp>
      <p:sp>
        <p:nvSpPr>
          <p:cNvPr id="48" name="pole tekstowe 47">
            <a:extLst>
              <a:ext uri="{FF2B5EF4-FFF2-40B4-BE49-F238E27FC236}">
                <a16:creationId xmlns:a16="http://schemas.microsoft.com/office/drawing/2014/main" id="{6E85890F-F0EE-4BDD-9AE0-BAC4B80F6388}"/>
              </a:ext>
            </a:extLst>
          </p:cNvPr>
          <p:cNvSpPr txBox="1"/>
          <p:nvPr/>
        </p:nvSpPr>
        <p:spPr>
          <a:xfrm>
            <a:off x="250873" y="1212013"/>
            <a:ext cx="4403003" cy="830997"/>
          </a:xfrm>
          <a:prstGeom prst="rect">
            <a:avLst/>
          </a:prstGeom>
          <a:noFill/>
        </p:spPr>
        <p:txBody>
          <a:bodyPr wrap="square">
            <a:spAutoFit/>
          </a:bodyPr>
          <a:lstStyle/>
          <a:p>
            <a:pPr marL="228594" marR="0" lvl="0" indent="-228594" algn="l" defTabSz="46753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even more leads from digital </a:t>
            </a:r>
            <a:endParaRPr kumimoji="0" lang="pl-PL" sz="1200" b="0" i="0" u="none" strike="noStrike" kern="1200" cap="none" spc="0" normalizeH="0" baseline="0" noProof="0" dirty="0">
              <a:ln>
                <a:noFill/>
              </a:ln>
              <a:solidFill>
                <a:srgbClr val="000000"/>
              </a:solidFill>
              <a:effectLst/>
              <a:uLnTx/>
              <a:uFillTx/>
              <a:latin typeface="Arial"/>
              <a:ea typeface="+mn-ea"/>
              <a:cs typeface="+mn-cs"/>
            </a:endParaRPr>
          </a:p>
          <a:p>
            <a:pPr marL="228594" marR="0" lvl="0" indent="-228594" algn="l" defTabSz="46753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new EFL leasing offer combined with a business account (cheaper leasing if you pay it from your CABP account)</a:t>
            </a:r>
            <a:endParaRPr kumimoji="0" lang="pl-PL" sz="1200" b="0" i="0" u="none" strike="noStrike" kern="1200" cap="none" spc="0" normalizeH="0" baseline="0" noProof="0" dirty="0">
              <a:ln>
                <a:noFill/>
              </a:ln>
              <a:solidFill>
                <a:srgbClr val="000000"/>
              </a:solidFill>
              <a:effectLst/>
              <a:uLnTx/>
              <a:uFillTx/>
              <a:latin typeface="Arial"/>
              <a:ea typeface="+mn-ea"/>
              <a:cs typeface="+mn-cs"/>
            </a:endParaRPr>
          </a:p>
          <a:p>
            <a:pPr marL="228594" marR="0" lvl="0" indent="-228594" algn="l" defTabSz="46753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activation of customers from the Business Zone</a:t>
            </a:r>
          </a:p>
        </p:txBody>
      </p:sp>
      <p:sp>
        <p:nvSpPr>
          <p:cNvPr id="50" name="pole tekstowe 49">
            <a:extLst>
              <a:ext uri="{FF2B5EF4-FFF2-40B4-BE49-F238E27FC236}">
                <a16:creationId xmlns:a16="http://schemas.microsoft.com/office/drawing/2014/main" id="{8AE94FA8-3CA6-49D5-AABF-3F8B0D863EEF}"/>
              </a:ext>
            </a:extLst>
          </p:cNvPr>
          <p:cNvSpPr txBox="1"/>
          <p:nvPr/>
        </p:nvSpPr>
        <p:spPr>
          <a:xfrm>
            <a:off x="7620761" y="1214141"/>
            <a:ext cx="4638576" cy="2123658"/>
          </a:xfrm>
          <a:prstGeom prst="rect">
            <a:avLst/>
          </a:prstGeom>
          <a:noFill/>
        </p:spPr>
        <p:txBody>
          <a:bodyPr wrap="square">
            <a:spAutoFit/>
          </a:bodyPr>
          <a:lstStyle/>
          <a:p>
            <a:pPr marL="228594" marR="0" lvl="0" indent="-228594" algn="l" defTabSz="46753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effective notes and their structure after a conversation with a </a:t>
            </a:r>
            <a:r>
              <a:rPr kumimoji="0" lang="pl-PL" sz="1200" b="0" i="0" u="none" strike="noStrike" kern="1200" cap="none" spc="0" normalizeH="0" baseline="0" noProof="0" dirty="0">
                <a:ln>
                  <a:noFill/>
                </a:ln>
                <a:solidFill>
                  <a:srgbClr val="000000"/>
                </a:solidFill>
                <a:effectLst/>
                <a:uLnTx/>
                <a:uFillTx/>
                <a:latin typeface="Arial"/>
                <a:ea typeface="+mn-ea"/>
                <a:cs typeface="+mn-cs"/>
              </a:rPr>
              <a:t>SOHO </a:t>
            </a:r>
            <a:r>
              <a:rPr kumimoji="0" lang="en-US" sz="1200" b="0" i="0" u="none" strike="noStrike" kern="1200" cap="none" spc="0" normalizeH="0" baseline="0" noProof="0" dirty="0">
                <a:ln>
                  <a:noFill/>
                </a:ln>
                <a:solidFill>
                  <a:srgbClr val="000000"/>
                </a:solidFill>
                <a:effectLst/>
                <a:uLnTx/>
                <a:uFillTx/>
                <a:latin typeface="Arial"/>
                <a:ea typeface="+mn-ea"/>
                <a:cs typeface="+mn-cs"/>
              </a:rPr>
              <a:t>portfolio client</a:t>
            </a:r>
            <a:endParaRPr kumimoji="0" lang="pl-PL" sz="1200" b="0" i="0" u="none" strike="noStrike" kern="1200" cap="none" spc="0" normalizeH="0" baseline="0" noProof="0" dirty="0">
              <a:ln>
                <a:noFill/>
              </a:ln>
              <a:solidFill>
                <a:srgbClr val="000000"/>
              </a:solidFill>
              <a:effectLst/>
              <a:uLnTx/>
              <a:uFillTx/>
              <a:latin typeface="Arial"/>
              <a:ea typeface="+mn-ea"/>
              <a:cs typeface="+mn-cs"/>
            </a:endParaRPr>
          </a:p>
          <a:p>
            <a:pPr marL="228594" marR="0" lvl="0" indent="-228594" algn="l" defTabSz="46753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automatic detection and planning of client business projects after the conversation</a:t>
            </a:r>
            <a:endParaRPr kumimoji="0" lang="pl-PL" sz="1200" b="0" i="0" u="none" strike="noStrike" kern="1200" cap="none" spc="0" normalizeH="0" baseline="0" noProof="0" dirty="0">
              <a:ln>
                <a:noFill/>
              </a:ln>
              <a:solidFill>
                <a:srgbClr val="000000"/>
              </a:solidFill>
              <a:effectLst/>
              <a:uLnTx/>
              <a:uFillTx/>
              <a:latin typeface="Arial"/>
              <a:ea typeface="+mn-ea"/>
              <a:cs typeface="+mn-cs"/>
            </a:endParaRPr>
          </a:p>
          <a:p>
            <a:pPr marL="228594" marR="0" lvl="0" indent="-228594" algn="l" defTabSz="46753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effectively reaching the customer at the moment of real need for the bank's product or service</a:t>
            </a:r>
            <a:endParaRPr kumimoji="0" lang="pl-PL" sz="1200" b="0" i="0" u="none" strike="noStrike" kern="1200" cap="none" spc="0" normalizeH="0" baseline="0" noProof="0" dirty="0">
              <a:ln>
                <a:noFill/>
              </a:ln>
              <a:solidFill>
                <a:srgbClr val="000000"/>
              </a:solidFill>
              <a:effectLst/>
              <a:uLnTx/>
              <a:uFillTx/>
              <a:latin typeface="Arial"/>
              <a:ea typeface="+mn-ea"/>
              <a:cs typeface="+mn-cs"/>
            </a:endParaRPr>
          </a:p>
          <a:p>
            <a:pPr marL="228594" marR="0" lvl="0" indent="-228594" algn="l" defTabSz="46753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The next stage is AI synthesis based on internal and external data about the customer (e.g. customer behavior on the business account, customer opinions from our client's business card in Google Maps; information from the client's websites)</a:t>
            </a:r>
            <a:r>
              <a:rPr kumimoji="0" lang="pl-PL" sz="1200" b="0" i="0" u="none" strike="noStrike" kern="1200" cap="none" spc="0" normalizeH="0" baseline="0" noProof="0" dirty="0">
                <a:ln>
                  <a:noFill/>
                </a:ln>
                <a:solidFill>
                  <a:srgbClr val="000000"/>
                </a:solidFill>
                <a:effectLst/>
                <a:uLnTx/>
                <a:uFillTx/>
                <a:latin typeface="Arial"/>
                <a:ea typeface="+mn-ea"/>
                <a:cs typeface="+mn-cs"/>
              </a:rPr>
              <a:t> </a:t>
            </a:r>
            <a:r>
              <a:rPr kumimoji="0" lang="pl-PL" sz="1100" b="0" i="1" u="none" strike="noStrike" kern="1200" cap="none" spc="0" normalizeH="0" baseline="0" noProof="0" dirty="0">
                <a:ln>
                  <a:noFill/>
                </a:ln>
                <a:solidFill>
                  <a:srgbClr val="000000"/>
                </a:solidFill>
                <a:effectLst/>
                <a:uLnTx/>
                <a:uFillTx/>
                <a:latin typeface="Arial"/>
                <a:ea typeface="+mn-ea"/>
                <a:cs typeface="+mn-cs"/>
              </a:rPr>
              <a:t>[MVP1 – </a:t>
            </a:r>
            <a:r>
              <a:rPr kumimoji="0" lang="pl-PL" sz="1100" b="0" i="1" u="none" strike="noStrike" kern="1200" cap="none" spc="0" normalizeH="0" baseline="0" noProof="0" dirty="0" err="1">
                <a:ln>
                  <a:noFill/>
                </a:ln>
                <a:solidFill>
                  <a:srgbClr val="000000"/>
                </a:solidFill>
                <a:effectLst/>
                <a:uLnTx/>
                <a:uFillTx/>
                <a:latin typeface="Arial"/>
                <a:ea typeface="+mn-ea"/>
                <a:cs typeface="+mn-cs"/>
              </a:rPr>
              <a:t>June</a:t>
            </a:r>
            <a:r>
              <a:rPr kumimoji="0" lang="pl-PL" sz="1100" b="0" i="1" u="none" strike="noStrike" kern="1200" cap="none" spc="0" normalizeH="0" baseline="0" noProof="0" dirty="0">
                <a:ln>
                  <a:noFill/>
                </a:ln>
                <a:solidFill>
                  <a:srgbClr val="000000"/>
                </a:solidFill>
                <a:effectLst/>
                <a:uLnTx/>
                <a:uFillTx/>
                <a:latin typeface="Arial"/>
                <a:ea typeface="+mn-ea"/>
                <a:cs typeface="+mn-cs"/>
              </a:rPr>
              <a:t> 2026]</a:t>
            </a:r>
            <a:endParaRPr kumimoji="0" lang="pl-PL" sz="1200" b="0" i="1" u="none" strike="noStrike" kern="1200" cap="none" spc="0" normalizeH="0" baseline="0" noProof="0" dirty="0">
              <a:ln>
                <a:noFill/>
              </a:ln>
              <a:solidFill>
                <a:srgbClr val="000000"/>
              </a:solidFill>
              <a:effectLst/>
              <a:uLnTx/>
              <a:uFillTx/>
              <a:latin typeface="Arial"/>
              <a:ea typeface="+mn-ea"/>
              <a:cs typeface="+mn-cs"/>
            </a:endParaRPr>
          </a:p>
        </p:txBody>
      </p:sp>
      <p:sp>
        <p:nvSpPr>
          <p:cNvPr id="51" name="pole tekstowe 50">
            <a:extLst>
              <a:ext uri="{FF2B5EF4-FFF2-40B4-BE49-F238E27FC236}">
                <a16:creationId xmlns:a16="http://schemas.microsoft.com/office/drawing/2014/main" id="{9BD1AFF6-6E4C-4D5D-ABE4-C51134D1549D}"/>
              </a:ext>
            </a:extLst>
          </p:cNvPr>
          <p:cNvSpPr txBox="1"/>
          <p:nvPr/>
        </p:nvSpPr>
        <p:spPr>
          <a:xfrm>
            <a:off x="200787" y="2962478"/>
            <a:ext cx="4773795" cy="1200329"/>
          </a:xfrm>
          <a:prstGeom prst="rect">
            <a:avLst/>
          </a:prstGeom>
          <a:noFill/>
        </p:spPr>
        <p:txBody>
          <a:bodyPr wrap="square">
            <a:spAutoFit/>
          </a:bodyPr>
          <a:lstStyle/>
          <a:p>
            <a:pPr marL="228594" marR="0" lvl="0" indent="-228594" algn="l" defTabSz="46753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developing the </a:t>
            </a:r>
            <a:r>
              <a:rPr kumimoji="0" lang="en-US" sz="1200" b="0" i="0" u="none" strike="noStrike" kern="1200" cap="none" spc="0" normalizeH="0" baseline="0" noProof="0" dirty="0" err="1">
                <a:ln>
                  <a:noFill/>
                </a:ln>
                <a:solidFill>
                  <a:srgbClr val="000000"/>
                </a:solidFill>
                <a:effectLst/>
                <a:uLnTx/>
                <a:uFillTx/>
                <a:latin typeface="Arial"/>
                <a:ea typeface="+mn-ea"/>
                <a:cs typeface="+mn-cs"/>
              </a:rPr>
              <a:t>ProCA</a:t>
            </a:r>
            <a:r>
              <a:rPr kumimoji="0" lang="en-US" sz="1200" b="0" i="0" u="none" strike="noStrike" kern="1200" cap="none" spc="0" normalizeH="0" baseline="0" noProof="0" dirty="0">
                <a:ln>
                  <a:noFill/>
                </a:ln>
                <a:solidFill>
                  <a:srgbClr val="000000"/>
                </a:solidFill>
                <a:effectLst/>
                <a:uLnTx/>
                <a:uFillTx/>
                <a:latin typeface="Arial"/>
                <a:ea typeface="+mn-ea"/>
                <a:cs typeface="+mn-cs"/>
              </a:rPr>
              <a:t> system for business products</a:t>
            </a:r>
          </a:p>
          <a:p>
            <a:pPr marL="228594" marR="0" lvl="0" indent="-228594" algn="l" defTabSz="46753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building a process of simulating the company's Credit</a:t>
            </a:r>
            <a:r>
              <a:rPr kumimoji="0" lang="pl-PL" sz="1200" b="0" i="0" u="none" strike="noStrike" kern="1200" cap="none" spc="0" normalizeH="0" baseline="0" noProof="0" dirty="0">
                <a:ln>
                  <a:noFill/>
                </a:ln>
                <a:solidFill>
                  <a:srgbClr val="000000"/>
                </a:solidFill>
                <a:effectLst/>
                <a:uLnTx/>
                <a:uFillTx/>
                <a:latin typeface="Arial"/>
                <a:ea typeface="+mn-ea"/>
                <a:cs typeface="+mn-cs"/>
              </a:rPr>
              <a:t> </a:t>
            </a:r>
            <a:r>
              <a:rPr kumimoji="0" lang="pl-PL" sz="1200" b="0" i="0" u="none" strike="noStrike" kern="1200" cap="none" spc="0" normalizeH="0" baseline="0" noProof="0" dirty="0" err="1">
                <a:ln>
                  <a:noFill/>
                </a:ln>
                <a:solidFill>
                  <a:srgbClr val="000000"/>
                </a:solidFill>
                <a:effectLst/>
                <a:uLnTx/>
                <a:uFillTx/>
                <a:latin typeface="Arial"/>
                <a:ea typeface="+mn-ea"/>
                <a:cs typeface="+mn-cs"/>
              </a:rPr>
              <a:t>capacity</a:t>
            </a:r>
            <a:r>
              <a:rPr kumimoji="0" lang="en-US" sz="1200" b="0" i="0" u="none" strike="noStrike" kern="1200" cap="none" spc="0" normalizeH="0" baseline="0" noProof="0" dirty="0">
                <a:ln>
                  <a:noFill/>
                </a:ln>
                <a:solidFill>
                  <a:srgbClr val="000000"/>
                </a:solidFill>
                <a:effectLst/>
                <a:uLnTx/>
                <a:uFillTx/>
                <a:latin typeface="Arial"/>
                <a:ea typeface="+mn-ea"/>
                <a:cs typeface="+mn-cs"/>
              </a:rPr>
              <a:t> for the prospect</a:t>
            </a:r>
            <a:endParaRPr kumimoji="0" lang="pl-PL" sz="1200" b="0" i="0" u="none" strike="noStrike" kern="1200" cap="none" spc="0" normalizeH="0" baseline="0" noProof="0" dirty="0">
              <a:ln>
                <a:noFill/>
              </a:ln>
              <a:solidFill>
                <a:srgbClr val="000000"/>
              </a:solidFill>
              <a:effectLst/>
              <a:uLnTx/>
              <a:uFillTx/>
              <a:latin typeface="Arial"/>
              <a:ea typeface="+mn-ea"/>
              <a:cs typeface="+mn-cs"/>
            </a:endParaRPr>
          </a:p>
          <a:p>
            <a:pPr marL="228594" marR="0" lvl="0" indent="-228594" algn="l" defTabSz="46753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effective remote sale of credit with an account</a:t>
            </a:r>
            <a:endParaRPr kumimoji="0" lang="pl-PL" sz="1200" b="0" i="0" u="none" strike="noStrike" kern="1200" cap="none" spc="0" normalizeH="0" baseline="0" noProof="0" dirty="0">
              <a:ln>
                <a:noFill/>
              </a:ln>
              <a:solidFill>
                <a:srgbClr val="000000"/>
              </a:solidFill>
              <a:effectLst/>
              <a:uLnTx/>
              <a:uFillTx/>
              <a:latin typeface="Arial"/>
              <a:ea typeface="+mn-ea"/>
              <a:cs typeface="+mn-cs"/>
            </a:endParaRPr>
          </a:p>
          <a:p>
            <a:pPr marL="228594" marR="0" lvl="0" indent="-228594" algn="l" defTabSz="46753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continuation in 2026 of the happy days campaign for the sale of pre-approved loans.</a:t>
            </a:r>
          </a:p>
        </p:txBody>
      </p:sp>
      <p:sp>
        <p:nvSpPr>
          <p:cNvPr id="56" name="pole tekstowe 55">
            <a:extLst>
              <a:ext uri="{FF2B5EF4-FFF2-40B4-BE49-F238E27FC236}">
                <a16:creationId xmlns:a16="http://schemas.microsoft.com/office/drawing/2014/main" id="{8DD95325-75EF-4D60-BC6F-15E90B5ED2F1}"/>
              </a:ext>
            </a:extLst>
          </p:cNvPr>
          <p:cNvSpPr txBox="1"/>
          <p:nvPr/>
        </p:nvSpPr>
        <p:spPr>
          <a:xfrm>
            <a:off x="2288810" y="5663420"/>
            <a:ext cx="3923947" cy="1015663"/>
          </a:xfrm>
          <a:prstGeom prst="rect">
            <a:avLst/>
          </a:prstGeom>
          <a:noFill/>
        </p:spPr>
        <p:txBody>
          <a:bodyPr wrap="square">
            <a:spAutoFit/>
          </a:bodyPr>
          <a:lstStyle/>
          <a:p>
            <a:pPr marL="228594" marR="0" lvl="0" indent="-228594" algn="l" defTabSz="46753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training and coaching of advisors, effective conversations</a:t>
            </a:r>
            <a:endParaRPr kumimoji="0" lang="pl-PL" sz="1200" b="0" i="0" u="none" strike="noStrike" kern="1200" cap="none" spc="0" normalizeH="0" baseline="0" noProof="0" dirty="0">
              <a:ln>
                <a:noFill/>
              </a:ln>
              <a:solidFill>
                <a:srgbClr val="000000"/>
              </a:solidFill>
              <a:effectLst/>
              <a:uLnTx/>
              <a:uFillTx/>
              <a:latin typeface="Arial"/>
              <a:ea typeface="+mn-ea"/>
              <a:cs typeface="+mn-cs"/>
            </a:endParaRPr>
          </a:p>
          <a:p>
            <a:pPr marL="228594" marR="0" lvl="0" indent="-228594" algn="l" defTabSz="46753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strengthening communication with new customers within 3 months after opening the account - highlighting the benefits of active use of the Account</a:t>
            </a:r>
            <a:endParaRPr kumimoji="0" lang="pl-PL"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60" name="pole tekstowe 59">
            <a:extLst>
              <a:ext uri="{FF2B5EF4-FFF2-40B4-BE49-F238E27FC236}">
                <a16:creationId xmlns:a16="http://schemas.microsoft.com/office/drawing/2014/main" id="{8754D82B-6223-4AA7-9820-09F678E18CC5}"/>
              </a:ext>
            </a:extLst>
          </p:cNvPr>
          <p:cNvSpPr txBox="1"/>
          <p:nvPr/>
        </p:nvSpPr>
        <p:spPr>
          <a:xfrm>
            <a:off x="7599385" y="4583224"/>
            <a:ext cx="4036573" cy="830997"/>
          </a:xfrm>
          <a:prstGeom prst="rect">
            <a:avLst/>
          </a:prstGeom>
          <a:noFill/>
        </p:spPr>
        <p:txBody>
          <a:bodyPr wrap="square">
            <a:spAutoFit/>
          </a:bodyPr>
          <a:lstStyle/>
          <a:p>
            <a:pPr marL="228594" marR="0" lvl="0" indent="-228594" algn="l" defTabSz="46753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based on customer research</a:t>
            </a:r>
            <a:r>
              <a:rPr kumimoji="0" lang="pl-PL" sz="1200" b="0" i="0" u="none" strike="noStrike" kern="1200" cap="none" spc="0" normalizeH="0" baseline="0" noProof="0" dirty="0">
                <a:ln>
                  <a:noFill/>
                </a:ln>
                <a:solidFill>
                  <a:srgbClr val="000000"/>
                </a:solidFill>
                <a:effectLst/>
                <a:uLnTx/>
                <a:uFillTx/>
                <a:latin typeface="Arial"/>
                <a:ea typeface="+mn-ea"/>
                <a:cs typeface="+mn-cs"/>
              </a:rPr>
              <a:t> - </a:t>
            </a:r>
            <a:r>
              <a:rPr kumimoji="0" lang="en-US" sz="1200" b="0" i="0" u="none" strike="noStrike" kern="1200" cap="none" spc="0" normalizeH="0" baseline="0" noProof="0" dirty="0">
                <a:ln>
                  <a:noFill/>
                </a:ln>
                <a:solidFill>
                  <a:srgbClr val="000000"/>
                </a:solidFill>
                <a:effectLst/>
                <a:uLnTx/>
                <a:uFillTx/>
                <a:latin typeface="Arial"/>
                <a:ea typeface="+mn-ea"/>
                <a:cs typeface="+mn-cs"/>
              </a:rPr>
              <a:t>customer offers by phone, email communication with the customer, relationship management,</a:t>
            </a:r>
            <a:r>
              <a:rPr kumimoji="0" lang="pl-PL" sz="1200" b="0" i="0" u="none" strike="noStrike" kern="1200" cap="none" spc="0" normalizeH="0" baseline="0" noProof="0" dirty="0">
                <a:ln>
                  <a:noFill/>
                </a:ln>
                <a:solidFill>
                  <a:srgbClr val="000000"/>
                </a:solidFill>
                <a:effectLst/>
                <a:uLnTx/>
                <a:uFillTx/>
                <a:latin typeface="Arial"/>
                <a:ea typeface="+mn-ea"/>
                <a:cs typeface="+mn-cs"/>
              </a:rPr>
              <a:t> </a:t>
            </a:r>
            <a:r>
              <a:rPr kumimoji="0" lang="pl-PL" sz="1200" b="0" i="0" u="none" strike="noStrike" kern="1200" cap="none" spc="0" normalizeH="0" baseline="0" noProof="0" dirty="0" err="1">
                <a:ln>
                  <a:noFill/>
                </a:ln>
                <a:solidFill>
                  <a:srgbClr val="000000"/>
                </a:solidFill>
                <a:effectLst/>
                <a:uLnTx/>
                <a:uFillTx/>
                <a:latin typeface="Arial"/>
                <a:ea typeface="+mn-ea"/>
                <a:cs typeface="+mn-cs"/>
              </a:rPr>
              <a:t>standards</a:t>
            </a:r>
            <a:r>
              <a:rPr kumimoji="0" lang="pl-PL" sz="1200" b="0" i="0" u="none" strike="noStrike" kern="1200" cap="none" spc="0" normalizeH="0" baseline="0" noProof="0" dirty="0">
                <a:ln>
                  <a:noFill/>
                </a:ln>
                <a:solidFill>
                  <a:srgbClr val="000000"/>
                </a:solidFill>
                <a:effectLst/>
                <a:uLnTx/>
                <a:uFillTx/>
                <a:latin typeface="Arial"/>
                <a:ea typeface="+mn-ea"/>
                <a:cs typeface="+mn-cs"/>
              </a:rPr>
              <a:t>, </a:t>
            </a:r>
            <a:r>
              <a:rPr kumimoji="0" lang="en-US" sz="1200" b="0" i="0" u="none" strike="noStrike" kern="1200" cap="none" spc="0" normalizeH="0" baseline="0" noProof="0" dirty="0">
                <a:ln>
                  <a:noFill/>
                </a:ln>
                <a:solidFill>
                  <a:srgbClr val="000000"/>
                </a:solidFill>
                <a:effectLst/>
                <a:uLnTx/>
                <a:uFillTx/>
                <a:latin typeface="Arial"/>
                <a:ea typeface="+mn-ea"/>
                <a:cs typeface="+mn-cs"/>
              </a:rPr>
              <a:t> addressing and managing difficult customer issues</a:t>
            </a:r>
            <a:endParaRPr kumimoji="0" lang="pl-PL"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49" name="Tytuł 1">
            <a:extLst>
              <a:ext uri="{FF2B5EF4-FFF2-40B4-BE49-F238E27FC236}">
                <a16:creationId xmlns:a16="http://schemas.microsoft.com/office/drawing/2014/main" id="{3BF9F851-854C-4D17-A5AF-20ABECEDDC9E}"/>
              </a:ext>
            </a:extLst>
          </p:cNvPr>
          <p:cNvSpPr>
            <a:spLocks noGrp="1"/>
          </p:cNvSpPr>
          <p:nvPr>
            <p:ph type="title"/>
          </p:nvPr>
        </p:nvSpPr>
        <p:spPr>
          <a:xfrm>
            <a:off x="215936" y="-120453"/>
            <a:ext cx="10824633" cy="753532"/>
          </a:xfrm>
        </p:spPr>
        <p:txBody>
          <a:bodyPr/>
          <a:lstStyle/>
          <a:p>
            <a:r>
              <a:rPr lang="en-US" sz="3200" dirty="0">
                <a:latin typeface="Arial Black" panose="020B0A04020102020204" pitchFamily="34" charset="0"/>
                <a:ea typeface="Calibri" panose="020F0502020204030204" pitchFamily="34" charset="0"/>
                <a:cs typeface="Calibri" panose="020F0502020204030204" pitchFamily="34" charset="0"/>
              </a:rPr>
              <a:t>Main projects and development activities</a:t>
            </a:r>
            <a:endParaRPr lang="pl-PL" sz="3200" dirty="0">
              <a:latin typeface="Arial Black" panose="020B0A04020102020204" pitchFamily="34" charset="0"/>
              <a:ea typeface="Calibri" panose="020F0502020204030204" pitchFamily="34" charset="0"/>
              <a:cs typeface="Calibri" panose="020F0502020204030204" pitchFamily="34" charset="0"/>
            </a:endParaRPr>
          </a:p>
        </p:txBody>
      </p:sp>
      <p:grpSp>
        <p:nvGrpSpPr>
          <p:cNvPr id="52" name="Grupa 51">
            <a:extLst>
              <a:ext uri="{FF2B5EF4-FFF2-40B4-BE49-F238E27FC236}">
                <a16:creationId xmlns:a16="http://schemas.microsoft.com/office/drawing/2014/main" id="{53D91162-ACCE-449C-808F-9C486BF16E2C}"/>
              </a:ext>
            </a:extLst>
          </p:cNvPr>
          <p:cNvGrpSpPr/>
          <p:nvPr/>
        </p:nvGrpSpPr>
        <p:grpSpPr>
          <a:xfrm>
            <a:off x="5106296" y="4162807"/>
            <a:ext cx="623744" cy="614843"/>
            <a:chOff x="3564186" y="3867413"/>
            <a:chExt cx="467808" cy="461132"/>
          </a:xfrm>
        </p:grpSpPr>
        <p:sp>
          <p:nvSpPr>
            <p:cNvPr id="53" name="Oval 17">
              <a:extLst>
                <a:ext uri="{FF2B5EF4-FFF2-40B4-BE49-F238E27FC236}">
                  <a16:creationId xmlns:a16="http://schemas.microsoft.com/office/drawing/2014/main" id="{B3F9FA7A-81A6-40C3-ADC6-8170E113C141}"/>
                </a:ext>
              </a:extLst>
            </p:cNvPr>
            <p:cNvSpPr/>
            <p:nvPr/>
          </p:nvSpPr>
          <p:spPr bwMode="auto">
            <a:xfrm>
              <a:off x="3564186" y="3867413"/>
              <a:ext cx="467808" cy="461132"/>
            </a:xfrm>
            <a:prstGeom prst="ellipse">
              <a:avLst/>
            </a:prstGeom>
            <a:solidFill>
              <a:srgbClr val="81BC00"/>
            </a:solidFill>
            <a:ln w="2857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7466" b="0" i="0" u="none" strike="noStrike" kern="1200" cap="none" spc="0" normalizeH="0" baseline="0" noProof="0" dirty="0">
                <a:ln>
                  <a:noFill/>
                </a:ln>
                <a:solidFill>
                  <a:srgbClr val="000000"/>
                </a:solidFill>
                <a:effectLst/>
                <a:uLnTx/>
                <a:uFillTx/>
                <a:latin typeface="Calibri"/>
                <a:ea typeface="ヒラギノ角ゴ ProN W3" charset="0"/>
                <a:cs typeface="Calibri"/>
                <a:sym typeface="Gill Sans" charset="0"/>
              </a:endParaRPr>
            </a:p>
          </p:txBody>
        </p:sp>
        <p:sp>
          <p:nvSpPr>
            <p:cNvPr id="55" name="Symbol zastępczy zawartości 2">
              <a:extLst>
                <a:ext uri="{FF2B5EF4-FFF2-40B4-BE49-F238E27FC236}">
                  <a16:creationId xmlns:a16="http://schemas.microsoft.com/office/drawing/2014/main" id="{70BA9FAF-F848-4D53-8549-672594E5F1E0}"/>
                </a:ext>
              </a:extLst>
            </p:cNvPr>
            <p:cNvSpPr txBox="1">
              <a:spLocks/>
            </p:cNvSpPr>
            <p:nvPr/>
          </p:nvSpPr>
          <p:spPr bwMode="gray">
            <a:xfrm>
              <a:off x="3564186" y="4003387"/>
              <a:ext cx="467808" cy="273589"/>
            </a:xfrm>
            <a:prstGeom prst="rect">
              <a:avLst/>
            </a:prstGeom>
          </p:spPr>
          <p:txBody>
            <a:bodyPr vert="horz" lIns="0" tIns="0" rIns="0" bIns="0" rtlCol="0" anchor="t" anchorCtr="0">
              <a:noAutofit/>
            </a:bodyPr>
            <a:lstStyle>
              <a:lvl1pPr marL="252000" indent="-252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b="0" kern="1200" cap="none" baseline="0">
                  <a:solidFill>
                    <a:schemeClr val="accent3"/>
                  </a:solidFill>
                  <a:latin typeface="+mn-lt"/>
                  <a:ea typeface="+mn-ea"/>
                  <a:cs typeface="+mn-cs"/>
                </a:defRPr>
              </a:lvl1pPr>
              <a:lvl2pPr marL="234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2pPr>
              <a:lvl3pPr marL="342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3pPr>
              <a:lvl4pPr marL="432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b="0" kern="1200" cap="none" baseline="0">
                  <a:solidFill>
                    <a:schemeClr val="accent3"/>
                  </a:solidFill>
                  <a:latin typeface="+mn-lt"/>
                  <a:ea typeface="+mn-ea"/>
                  <a:cs typeface="+mn-cs"/>
                </a:defRPr>
              </a:lvl4pPr>
              <a:lvl5pPr marL="540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kern="1200" cap="none">
                  <a:solidFill>
                    <a:schemeClr val="accent3"/>
                  </a:solidFill>
                  <a:latin typeface="+mn-lt"/>
                  <a:ea typeface="+mn-ea"/>
                  <a:cs typeface="+mn-cs"/>
                </a:defRPr>
              </a:lvl5pPr>
              <a:lvl6pPr marL="1885874"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3"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ctr" defTabSz="914341" rtl="0" eaLnBrk="1" fontAlgn="auto" latinLnBrk="0" hangingPunct="1">
                <a:lnSpc>
                  <a:spcPct val="95000"/>
                </a:lnSpc>
                <a:spcBef>
                  <a:spcPts val="0"/>
                </a:spcBef>
                <a:spcAft>
                  <a:spcPts val="1600"/>
                </a:spcAft>
                <a:buClr>
                  <a:srgbClr val="7E93A5"/>
                </a:buClr>
                <a:buSzPct val="100000"/>
                <a:buFont typeface="Wingdings" pitchFamily="2" charset="2"/>
                <a:buNone/>
                <a:tabLst/>
                <a:defRPr/>
              </a:pPr>
              <a:r>
                <a:rPr kumimoji="0" lang="pl-PL" sz="1867" b="0" i="0" u="none" strike="noStrike" kern="1200" cap="none" spc="0" normalizeH="0" baseline="0" noProof="0">
                  <a:ln>
                    <a:noFill/>
                  </a:ln>
                  <a:solidFill>
                    <a:srgbClr val="FFFFFF"/>
                  </a:solidFill>
                  <a:effectLst/>
                  <a:uLnTx/>
                  <a:uFillTx/>
                  <a:latin typeface="Arial"/>
                  <a:ea typeface="+mn-ea"/>
                  <a:cs typeface="+mn-cs"/>
                </a:rPr>
                <a:t>05</a:t>
              </a:r>
            </a:p>
          </p:txBody>
        </p:sp>
      </p:grpSp>
      <p:pic>
        <p:nvPicPr>
          <p:cNvPr id="37" name="Obraz 36">
            <a:extLst>
              <a:ext uri="{FF2B5EF4-FFF2-40B4-BE49-F238E27FC236}">
                <a16:creationId xmlns:a16="http://schemas.microsoft.com/office/drawing/2014/main" id="{D0CB28B7-4F81-48E9-A637-B654317F02B8}"/>
              </a:ext>
            </a:extLst>
          </p:cNvPr>
          <p:cNvPicPr>
            <a:picLocks noChangeAspect="1"/>
          </p:cNvPicPr>
          <p:nvPr/>
        </p:nvPicPr>
        <p:blipFill>
          <a:blip r:embed="rId3"/>
          <a:stretch>
            <a:fillRect/>
          </a:stretch>
        </p:blipFill>
        <p:spPr>
          <a:xfrm>
            <a:off x="10629427" y="783477"/>
            <a:ext cx="893817" cy="436158"/>
          </a:xfrm>
          <a:prstGeom prst="rect">
            <a:avLst/>
          </a:prstGeom>
        </p:spPr>
      </p:pic>
    </p:spTree>
    <p:extLst>
      <p:ext uri="{BB962C8B-B14F-4D97-AF65-F5344CB8AC3E}">
        <p14:creationId xmlns:p14="http://schemas.microsoft.com/office/powerpoint/2010/main" val="108891638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ymbol zastępczy numeru slajdu 2">
            <a:extLst>
              <a:ext uri="{FF2B5EF4-FFF2-40B4-BE49-F238E27FC236}">
                <a16:creationId xmlns:a16="http://schemas.microsoft.com/office/drawing/2014/main" id="{F5737D7C-6392-4586-A096-659E3F84A5B3}"/>
              </a:ext>
            </a:extLst>
          </p:cNvPr>
          <p:cNvSpPr>
            <a:spLocks noGrp="1"/>
          </p:cNvSpPr>
          <p:nvPr>
            <p:ph type="sldNum" sz="quarter" idx="10"/>
          </p:nvPr>
        </p:nvSpPr>
        <p:spPr/>
        <p:txBody>
          <a:bodyPr>
            <a:normAutofit/>
          </a:bodyPr>
          <a:lstStyle/>
          <a:p>
            <a:pPr marL="0" marR="0" lvl="0" indent="0" algn="l" defTabSz="467539" rtl="0" eaLnBrk="1" fontAlgn="auto" latinLnBrk="0" hangingPunct="1">
              <a:lnSpc>
                <a:spcPct val="100000"/>
              </a:lnSpc>
              <a:spcBef>
                <a:spcPts val="0"/>
              </a:spcBef>
              <a:spcAft>
                <a:spcPts val="0"/>
              </a:spcAft>
              <a:buClrTx/>
              <a:buSzTx/>
              <a:buFontTx/>
              <a:buNone/>
              <a:tabLst/>
              <a:defRPr/>
            </a:pPr>
            <a:fld id="{332DF002-2E43-485C-89F8-8DCEF59D6C4F}" type="slidenum">
              <a:rPr kumimoji="0" lang="pl-PL" sz="1067" b="0" i="0" u="none" strike="noStrike" kern="1200" cap="none" spc="0" normalizeH="0" baseline="0" noProof="0">
                <a:ln>
                  <a:noFill/>
                </a:ln>
                <a:solidFill>
                  <a:srgbClr val="7E93A5"/>
                </a:solidFill>
                <a:effectLst/>
                <a:uLnTx/>
                <a:uFillTx/>
                <a:latin typeface="Arial"/>
                <a:ea typeface="+mn-ea"/>
                <a:cs typeface="+mn-cs"/>
              </a:rPr>
              <a:pPr marL="0" marR="0" lvl="0" indent="0" algn="l" defTabSz="467539" rtl="0" eaLnBrk="1" fontAlgn="auto" latinLnBrk="0" hangingPunct="1">
                <a:lnSpc>
                  <a:spcPct val="100000"/>
                </a:lnSpc>
                <a:spcBef>
                  <a:spcPts val="0"/>
                </a:spcBef>
                <a:spcAft>
                  <a:spcPts val="0"/>
                </a:spcAft>
                <a:buClrTx/>
                <a:buSzTx/>
                <a:buFontTx/>
                <a:buNone/>
                <a:tabLst/>
                <a:defRPr/>
              </a:pPr>
              <a:t>23</a:t>
            </a:fld>
            <a:endParaRPr kumimoji="0" lang="pl-PL" sz="1067" b="0" i="0" u="none" strike="noStrike" kern="1200" cap="none" spc="0" normalizeH="0" baseline="0" noProof="0" dirty="0">
              <a:ln>
                <a:noFill/>
              </a:ln>
              <a:solidFill>
                <a:srgbClr val="7E93A5"/>
              </a:solidFill>
              <a:effectLst/>
              <a:uLnTx/>
              <a:uFillTx/>
              <a:latin typeface="Arial"/>
              <a:ea typeface="+mn-ea"/>
              <a:cs typeface="+mn-cs"/>
            </a:endParaRPr>
          </a:p>
        </p:txBody>
      </p:sp>
      <p:sp>
        <p:nvSpPr>
          <p:cNvPr id="5" name="Tytuł 4">
            <a:extLst>
              <a:ext uri="{FF2B5EF4-FFF2-40B4-BE49-F238E27FC236}">
                <a16:creationId xmlns:a16="http://schemas.microsoft.com/office/drawing/2014/main" id="{39F73CF7-0DFE-41D0-ADB5-5B2FF769B402}"/>
              </a:ext>
            </a:extLst>
          </p:cNvPr>
          <p:cNvSpPr>
            <a:spLocks noGrp="1"/>
          </p:cNvSpPr>
          <p:nvPr>
            <p:ph type="title"/>
          </p:nvPr>
        </p:nvSpPr>
        <p:spPr>
          <a:xfrm>
            <a:off x="231725" y="188088"/>
            <a:ext cx="12185065" cy="753532"/>
          </a:xfrm>
        </p:spPr>
        <p:txBody>
          <a:bodyPr>
            <a:normAutofit/>
          </a:bodyPr>
          <a:lstStyle/>
          <a:p>
            <a:r>
              <a:rPr lang="pl-PL" sz="3100" dirty="0"/>
              <a:t>Remote </a:t>
            </a:r>
            <a:r>
              <a:rPr lang="pl-PL" sz="3100" dirty="0" err="1"/>
              <a:t>Advisors</a:t>
            </a:r>
            <a:r>
              <a:rPr lang="pl-PL" sz="3100" dirty="0"/>
              <a:t> ACQUISITION </a:t>
            </a:r>
            <a:br>
              <a:rPr lang="pl-PL" dirty="0"/>
            </a:br>
            <a:r>
              <a:rPr lang="pl-PL" sz="2200" dirty="0">
                <a:solidFill>
                  <a:srgbClr val="92D050"/>
                </a:solidFill>
              </a:rPr>
              <a:t>SALE OF SOHO ACCOUNTS</a:t>
            </a:r>
          </a:p>
        </p:txBody>
      </p:sp>
      <p:sp>
        <p:nvSpPr>
          <p:cNvPr id="7" name="Strzałka: w dół 6">
            <a:extLst>
              <a:ext uri="{FF2B5EF4-FFF2-40B4-BE49-F238E27FC236}">
                <a16:creationId xmlns:a16="http://schemas.microsoft.com/office/drawing/2014/main" id="{28D72E7F-F7AA-42FF-9A86-921A60AE6263}"/>
              </a:ext>
            </a:extLst>
          </p:cNvPr>
          <p:cNvSpPr/>
          <p:nvPr/>
        </p:nvSpPr>
        <p:spPr>
          <a:xfrm>
            <a:off x="1059180" y="3138183"/>
            <a:ext cx="1529715" cy="391949"/>
          </a:xfrm>
          <a:prstGeom prst="downArrow">
            <a:avLst/>
          </a:prstGeom>
          <a:solidFill>
            <a:srgbClr val="FF66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100" b="1" i="0" u="none" strike="noStrike" kern="1200" cap="none" spc="0" normalizeH="0" baseline="0" noProof="0" dirty="0">
                <a:ln>
                  <a:noFill/>
                </a:ln>
                <a:solidFill>
                  <a:srgbClr val="FFFFFF"/>
                </a:solidFill>
                <a:effectLst/>
                <a:uLnTx/>
                <a:uFillTx/>
                <a:latin typeface="Arial"/>
                <a:ea typeface="+mn-ea"/>
                <a:cs typeface="+mn-cs"/>
              </a:rPr>
              <a:t>+ 625%</a:t>
            </a:r>
          </a:p>
        </p:txBody>
      </p:sp>
      <p:sp>
        <p:nvSpPr>
          <p:cNvPr id="9" name="pole tekstowe 8">
            <a:extLst>
              <a:ext uri="{FF2B5EF4-FFF2-40B4-BE49-F238E27FC236}">
                <a16:creationId xmlns:a16="http://schemas.microsoft.com/office/drawing/2014/main" id="{82BF7EFC-AB90-4AC9-BFD0-4DB3952092DD}"/>
              </a:ext>
            </a:extLst>
          </p:cNvPr>
          <p:cNvSpPr txBox="1"/>
          <p:nvPr/>
        </p:nvSpPr>
        <p:spPr>
          <a:xfrm>
            <a:off x="647699" y="5693342"/>
            <a:ext cx="8862500" cy="738664"/>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1" u="none" strike="noStrike" kern="1200" cap="none" spc="0" normalizeH="0" baseline="0" noProof="0" dirty="0">
                <a:ln>
                  <a:noFill/>
                </a:ln>
                <a:solidFill>
                  <a:srgbClr val="707173"/>
                </a:solidFill>
                <a:effectLst/>
                <a:uLnTx/>
                <a:uFillTx/>
                <a:latin typeface="Calibri" panose="020F0502020204030204" pitchFamily="34" charset="0"/>
                <a:ea typeface="Calibri" panose="020F0502020204030204" pitchFamily="34" charset="0"/>
                <a:cs typeface="Calibri" panose="020F0502020204030204" pitchFamily="34" charset="0"/>
              </a:rPr>
              <a:t>Remote Adv </a:t>
            </a:r>
            <a:r>
              <a:rPr kumimoji="0" lang="pl-PL" sz="1050" b="0" i="1" u="none" strike="noStrike" kern="1200" cap="none" spc="0" normalizeH="0" baseline="0" noProof="0" dirty="0">
                <a:ln>
                  <a:noFill/>
                </a:ln>
                <a:solidFill>
                  <a:srgbClr val="707173"/>
                </a:solidFill>
                <a:effectLst/>
                <a:uLnTx/>
                <a:uFillTx/>
                <a:latin typeface="Calibri" panose="020F0502020204030204" pitchFamily="34" charset="0"/>
                <a:ea typeface="Calibri" panose="020F0502020204030204" pitchFamily="34" charset="0"/>
                <a:cs typeface="Calibri" panose="020F0502020204030204" pitchFamily="34" charset="0"/>
              </a:rPr>
              <a:t>T</a:t>
            </a:r>
            <a:r>
              <a:rPr kumimoji="0" lang="en-US" sz="1050" b="0" i="1" u="none" strike="noStrike" kern="1200" cap="none" spc="0" normalizeH="0" baseline="0" noProof="0" dirty="0" err="1">
                <a:ln>
                  <a:noFill/>
                </a:ln>
                <a:solidFill>
                  <a:srgbClr val="707173"/>
                </a:solidFill>
                <a:effectLst/>
                <a:uLnTx/>
                <a:uFillTx/>
                <a:latin typeface="Calibri" panose="020F0502020204030204" pitchFamily="34" charset="0"/>
                <a:ea typeface="Calibri" panose="020F0502020204030204" pitchFamily="34" charset="0"/>
                <a:cs typeface="Calibri" panose="020F0502020204030204" pitchFamily="34" charset="0"/>
              </a:rPr>
              <a:t>eam</a:t>
            </a:r>
            <a:r>
              <a:rPr kumimoji="0" lang="en-US" sz="1050" b="0" i="1" u="none" strike="noStrike" kern="1200" cap="none" spc="0" normalizeH="0" baseline="0" noProof="0" dirty="0">
                <a:ln>
                  <a:noFill/>
                </a:ln>
                <a:solidFill>
                  <a:srgbClr val="707173"/>
                </a:solidFill>
                <a:effectLst/>
                <a:uLnTx/>
                <a:uFillTx/>
                <a:latin typeface="Calibri" panose="020F0502020204030204" pitchFamily="34" charset="0"/>
                <a:ea typeface="Calibri" panose="020F0502020204030204" pitchFamily="34" charset="0"/>
                <a:cs typeface="Calibri" panose="020F0502020204030204" pitchFamily="34" charset="0"/>
              </a:rPr>
              <a:t> started in 2024</a:t>
            </a:r>
            <a:endParaRPr kumimoji="0" lang="pl-PL" sz="1050" b="0" i="1" u="none" strike="noStrike" kern="1200" cap="none" spc="0" normalizeH="0" baseline="0" noProof="0" dirty="0">
              <a:ln>
                <a:noFill/>
              </a:ln>
              <a:solidFill>
                <a:srgbClr val="707173"/>
              </a:solidFill>
              <a:effectLst/>
              <a:uLnTx/>
              <a:uFillTx/>
              <a:latin typeface="Calibri" panose="020F0502020204030204" pitchFamily="34" charset="0"/>
              <a:ea typeface="Calibri" panose="020F0502020204030204" pitchFamily="34" charset="0"/>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1" u="none" strike="noStrike" kern="1200" cap="none" spc="0" normalizeH="0" baseline="0" noProof="0" dirty="0">
                <a:ln>
                  <a:noFill/>
                </a:ln>
                <a:solidFill>
                  <a:srgbClr val="707173"/>
                </a:solidFill>
                <a:effectLst/>
                <a:uLnTx/>
                <a:uFillTx/>
                <a:latin typeface="Calibri" panose="020F0502020204030204" pitchFamily="34" charset="0"/>
                <a:ea typeface="Calibri" panose="020F0502020204030204" pitchFamily="34" charset="0"/>
                <a:cs typeface="Calibri" panose="020F0502020204030204" pitchFamily="34" charset="0"/>
              </a:rPr>
              <a:t>has now gained full sales power for new accounts</a:t>
            </a:r>
            <a:r>
              <a:rPr kumimoji="0" lang="pl-PL" sz="1050" b="0" i="1" u="none" strike="noStrike" kern="1200" cap="none" spc="0" normalizeH="0" baseline="0" noProof="0" dirty="0">
                <a:ln>
                  <a:noFill/>
                </a:ln>
                <a:solidFill>
                  <a:srgbClr val="707173"/>
                </a:solidFill>
                <a:effectLst/>
                <a:uLnTx/>
                <a:uFillTx/>
                <a:latin typeface="Calibri" panose="020F0502020204030204" pitchFamily="34" charset="0"/>
                <a:ea typeface="Calibri" panose="020F0502020204030204" pitchFamily="34" charset="0"/>
                <a:cs typeface="Calibri" panose="020F0502020204030204" pitchFamily="34" charset="0"/>
              </a:rPr>
              <a:t>;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1" u="none" strike="noStrike" kern="1200" cap="none" spc="0" normalizeH="0" baseline="0" noProof="0" dirty="0">
                <a:ln>
                  <a:noFill/>
                </a:ln>
                <a:solidFill>
                  <a:srgbClr val="707173"/>
                </a:solidFill>
                <a:effectLst/>
                <a:uLnTx/>
                <a:uFillTx/>
                <a:latin typeface="Calibri" panose="020F0502020204030204" pitchFamily="34" charset="0"/>
                <a:ea typeface="Calibri" panose="020F0502020204030204" pitchFamily="34" charset="0"/>
                <a:cs typeface="Calibri" panose="020F0502020204030204" pitchFamily="34" charset="0"/>
              </a:rPr>
              <a:t>over 20 new accounts per month per person</a:t>
            </a:r>
            <a:endParaRPr kumimoji="0" lang="pl-PL" sz="1050" b="0" i="1" u="none" strike="noStrike" kern="1200" cap="none" spc="0" normalizeH="0" baseline="0" noProof="0" dirty="0">
              <a:ln>
                <a:noFill/>
              </a:ln>
              <a:solidFill>
                <a:srgbClr val="707173"/>
              </a:solidFill>
              <a:effectLst/>
              <a:uLnTx/>
              <a:uFillTx/>
              <a:latin typeface="Calibri" panose="020F0502020204030204" pitchFamily="34" charset="0"/>
              <a:ea typeface="Calibri" panose="020F0502020204030204" pitchFamily="34" charset="0"/>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pl-PL" sz="1050" b="0" i="1" u="none" strike="noStrike" kern="1200" cap="none" spc="0" normalizeH="0" baseline="0" noProof="0" dirty="0">
                <a:ln>
                  <a:noFill/>
                </a:ln>
                <a:solidFill>
                  <a:srgbClr val="707173"/>
                </a:solidFill>
                <a:effectLst/>
                <a:uLnTx/>
                <a:uFillTx/>
                <a:latin typeface="Calibri" panose="020F0502020204030204" pitchFamily="34" charset="0"/>
                <a:ea typeface="Calibri" panose="020F0502020204030204" pitchFamily="34" charset="0"/>
                <a:cs typeface="Calibri" panose="020F0502020204030204" pitchFamily="34" charset="0"/>
              </a:rPr>
              <a:t>10% </a:t>
            </a:r>
            <a:r>
              <a:rPr kumimoji="0" lang="pl-PL" sz="1050" b="0" i="1" u="none" strike="noStrike" kern="1200" cap="none" spc="0" normalizeH="0" baseline="0" noProof="0" dirty="0" err="1">
                <a:ln>
                  <a:noFill/>
                </a:ln>
                <a:solidFill>
                  <a:srgbClr val="707173"/>
                </a:solidFill>
                <a:effectLst/>
                <a:uLnTx/>
                <a:uFillTx/>
                <a:latin typeface="Calibri" panose="020F0502020204030204" pitchFamily="34" charset="0"/>
                <a:ea typeface="Calibri" panose="020F0502020204030204" pitchFamily="34" charset="0"/>
                <a:cs typeface="Calibri" panose="020F0502020204030204" pitchFamily="34" charset="0"/>
              </a:rPr>
              <a:t>share</a:t>
            </a:r>
            <a:r>
              <a:rPr kumimoji="0" lang="pl-PL" sz="1050" b="0" i="1" u="none" strike="noStrike" kern="1200" cap="none" spc="0" normalizeH="0" baseline="0" noProof="0" dirty="0">
                <a:ln>
                  <a:noFill/>
                </a:ln>
                <a:solidFill>
                  <a:srgbClr val="707173"/>
                </a:solidFill>
                <a:effectLst/>
                <a:uLnTx/>
                <a:uFillTx/>
                <a:latin typeface="Calibri" panose="020F0502020204030204" pitchFamily="34" charset="0"/>
                <a:ea typeface="Calibri" panose="020F0502020204030204" pitchFamily="34" charset="0"/>
                <a:cs typeface="Calibri" panose="020F0502020204030204" pitchFamily="34" charset="0"/>
              </a:rPr>
              <a:t> of </a:t>
            </a:r>
            <a:r>
              <a:rPr kumimoji="0" lang="pl-PL" sz="1050" b="0" i="1" u="none" strike="noStrike" kern="1200" cap="none" spc="0" normalizeH="0" baseline="0" noProof="0" dirty="0" err="1">
                <a:ln>
                  <a:noFill/>
                </a:ln>
                <a:solidFill>
                  <a:srgbClr val="707173"/>
                </a:solidFill>
                <a:effectLst/>
                <a:uLnTx/>
                <a:uFillTx/>
                <a:latin typeface="Calibri" panose="020F0502020204030204" pitchFamily="34" charset="0"/>
                <a:ea typeface="Calibri" panose="020F0502020204030204" pitchFamily="34" charset="0"/>
                <a:cs typeface="Calibri" panose="020F0502020204030204" pitchFamily="34" charset="0"/>
              </a:rPr>
              <a:t>sales</a:t>
            </a:r>
            <a:r>
              <a:rPr kumimoji="0" lang="pl-PL" sz="1050" b="0" i="1" u="none" strike="noStrike" kern="1200" cap="none" spc="0" normalizeH="0" baseline="0" noProof="0" dirty="0">
                <a:ln>
                  <a:noFill/>
                </a:ln>
                <a:solidFill>
                  <a:srgbClr val="707173"/>
                </a:solidFill>
                <a:effectLst/>
                <a:uLnTx/>
                <a:uFillTx/>
                <a:latin typeface="Calibri" panose="020F0502020204030204" pitchFamily="34" charset="0"/>
                <a:ea typeface="Calibri" panose="020F0502020204030204" pitchFamily="34" charset="0"/>
                <a:cs typeface="Calibri" panose="020F0502020204030204" pitchFamily="34" charset="0"/>
              </a:rPr>
              <a:t> vs 2% </a:t>
            </a:r>
            <a:r>
              <a:rPr kumimoji="0" lang="pl-PL" sz="1050" b="0" i="1" u="none" strike="noStrike" kern="1200" cap="none" spc="0" normalizeH="0" baseline="0" noProof="0" dirty="0" err="1">
                <a:ln>
                  <a:noFill/>
                </a:ln>
                <a:solidFill>
                  <a:srgbClr val="707173"/>
                </a:solidFill>
                <a:effectLst/>
                <a:uLnTx/>
                <a:uFillTx/>
                <a:latin typeface="Calibri" panose="020F0502020204030204" pitchFamily="34" charset="0"/>
                <a:ea typeface="Calibri" panose="020F0502020204030204" pitchFamily="34" charset="0"/>
                <a:cs typeface="Calibri" panose="020F0502020204030204" pitchFamily="34" charset="0"/>
              </a:rPr>
              <a:t>share</a:t>
            </a:r>
            <a:r>
              <a:rPr kumimoji="0" lang="pl-PL" sz="1050" b="0" i="1" u="none" strike="noStrike" kern="1200" cap="none" spc="0" normalizeH="0" baseline="0" noProof="0" dirty="0">
                <a:ln>
                  <a:noFill/>
                </a:ln>
                <a:solidFill>
                  <a:srgbClr val="707173"/>
                </a:solidFill>
                <a:effectLst/>
                <a:uLnTx/>
                <a:uFillTx/>
                <a:latin typeface="Calibri" panose="020F0502020204030204" pitchFamily="34" charset="0"/>
                <a:ea typeface="Calibri" panose="020F0502020204030204" pitchFamily="34" charset="0"/>
                <a:cs typeface="Calibri" panose="020F0502020204030204" pitchFamily="34" charset="0"/>
              </a:rPr>
              <a:t> of  </a:t>
            </a:r>
            <a:r>
              <a:rPr kumimoji="0" lang="pl-PL" sz="1050" b="0" i="1" u="none" strike="noStrike" kern="1200" cap="none" spc="0" normalizeH="0" baseline="0" noProof="0" dirty="0" err="1">
                <a:ln>
                  <a:noFill/>
                </a:ln>
                <a:solidFill>
                  <a:srgbClr val="707173"/>
                </a:solidFill>
                <a:effectLst/>
                <a:uLnTx/>
                <a:uFillTx/>
                <a:latin typeface="Calibri" panose="020F0502020204030204" pitchFamily="34" charset="0"/>
                <a:ea typeface="Calibri" panose="020F0502020204030204" pitchFamily="34" charset="0"/>
                <a:cs typeface="Calibri" panose="020F0502020204030204" pitchFamily="34" charset="0"/>
              </a:rPr>
              <a:t>sales</a:t>
            </a:r>
            <a:r>
              <a:rPr kumimoji="0" lang="pl-PL" sz="1050" b="0" i="1" u="none" strike="noStrike" kern="1200" cap="none" spc="0" normalizeH="0" baseline="0" noProof="0" dirty="0">
                <a:ln>
                  <a:noFill/>
                </a:ln>
                <a:solidFill>
                  <a:srgbClr val="707173"/>
                </a:solidFill>
                <a:effectLst/>
                <a:uLnTx/>
                <a:uFillTx/>
                <a:latin typeface="Calibri" panose="020F0502020204030204" pitchFamily="34" charset="0"/>
                <a:ea typeface="Calibri" panose="020F0502020204030204" pitchFamily="34" charset="0"/>
                <a:cs typeface="Calibri" panose="020F0502020204030204" pitchFamily="34" charset="0"/>
              </a:rPr>
              <a:t> channel „</a:t>
            </a:r>
            <a:r>
              <a:rPr kumimoji="0" lang="pl-PL" sz="1050" b="0" i="1" u="none" strike="noStrike" kern="1200" cap="none" spc="0" normalizeH="0" baseline="0" noProof="0" dirty="0" err="1">
                <a:ln>
                  <a:noFill/>
                </a:ln>
                <a:solidFill>
                  <a:srgbClr val="707173"/>
                </a:solidFill>
                <a:effectLst/>
                <a:uLnTx/>
                <a:uFillTx/>
                <a:latin typeface="Calibri" panose="020F0502020204030204" pitchFamily="34" charset="0"/>
                <a:ea typeface="Calibri" panose="020F0502020204030204" pitchFamily="34" charset="0"/>
                <a:cs typeface="Calibri" panose="020F0502020204030204" pitchFamily="34" charset="0"/>
              </a:rPr>
              <a:t>size</a:t>
            </a:r>
            <a:r>
              <a:rPr kumimoji="0" lang="pl-PL" sz="1050" b="0" i="1" u="none" strike="noStrike" kern="1200" cap="none" spc="0" normalizeH="0" baseline="0" noProof="0" dirty="0">
                <a:ln>
                  <a:noFill/>
                </a:ln>
                <a:solidFill>
                  <a:srgbClr val="707173"/>
                </a:solidFill>
                <a:effectLst/>
                <a:uLnTx/>
                <a:uFillTx/>
                <a:latin typeface="Calibri" panose="020F0502020204030204" pitchFamily="34" charset="0"/>
                <a:ea typeface="Calibri" panose="020F0502020204030204" pitchFamily="34" charset="0"/>
                <a:cs typeface="Calibri" panose="020F0502020204030204" pitchFamily="34" charset="0"/>
              </a:rPr>
              <a:t>” – </a:t>
            </a:r>
            <a:r>
              <a:rPr kumimoji="0" lang="pl-PL" sz="1050" b="0" i="1" u="none" strike="noStrike" kern="1200" cap="none" spc="0" normalizeH="0" baseline="0" noProof="0" dirty="0" err="1">
                <a:ln>
                  <a:noFill/>
                </a:ln>
                <a:solidFill>
                  <a:srgbClr val="707173"/>
                </a:solidFill>
                <a:effectLst/>
                <a:uLnTx/>
                <a:uFillTx/>
                <a:latin typeface="Calibri" panose="020F0502020204030204" pitchFamily="34" charset="0"/>
                <a:ea typeface="Calibri" panose="020F0502020204030204" pitchFamily="34" charset="0"/>
                <a:cs typeface="Calibri" panose="020F0502020204030204" pitchFamily="34" charset="0"/>
              </a:rPr>
              <a:t>very</a:t>
            </a:r>
            <a:r>
              <a:rPr kumimoji="0" lang="pl-PL" sz="1050" b="0" i="1" u="none" strike="noStrike" kern="1200" cap="none" spc="0" normalizeH="0" baseline="0" noProof="0" dirty="0">
                <a:ln>
                  <a:noFill/>
                </a:ln>
                <a:solidFill>
                  <a:srgbClr val="707173"/>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pl-PL" sz="1050" b="0" i="1" u="none" strike="noStrike" kern="1200" cap="none" spc="0" normalizeH="0" baseline="0" noProof="0" dirty="0" err="1">
                <a:ln>
                  <a:noFill/>
                </a:ln>
                <a:solidFill>
                  <a:srgbClr val="707173"/>
                </a:solidFill>
                <a:effectLst/>
                <a:uLnTx/>
                <a:uFillTx/>
                <a:latin typeface="Calibri" panose="020F0502020204030204" pitchFamily="34" charset="0"/>
                <a:ea typeface="Calibri" panose="020F0502020204030204" pitchFamily="34" charset="0"/>
                <a:cs typeface="Calibri" panose="020F0502020204030204" pitchFamily="34" charset="0"/>
              </a:rPr>
              <a:t>good</a:t>
            </a:r>
            <a:r>
              <a:rPr kumimoji="0" lang="pl-PL" sz="1050" b="0" i="1" u="none" strike="noStrike" kern="1200" cap="none" spc="0" normalizeH="0" baseline="0" noProof="0" dirty="0">
                <a:ln>
                  <a:noFill/>
                </a:ln>
                <a:solidFill>
                  <a:srgbClr val="707173"/>
                </a:solidFill>
                <a:effectLst/>
                <a:uLnTx/>
                <a:uFillTx/>
                <a:latin typeface="Calibri" panose="020F0502020204030204" pitchFamily="34" charset="0"/>
                <a:ea typeface="Calibri" panose="020F0502020204030204" pitchFamily="34" charset="0"/>
                <a:cs typeface="Calibri" panose="020F0502020204030204" pitchFamily="34" charset="0"/>
              </a:rPr>
              <a:t> channel </a:t>
            </a:r>
            <a:r>
              <a:rPr kumimoji="0" lang="pl-PL" sz="1050" b="0" i="1" u="none" strike="noStrike" kern="1200" cap="none" spc="0" normalizeH="0" baseline="0" noProof="0" dirty="0" err="1">
                <a:ln>
                  <a:noFill/>
                </a:ln>
                <a:solidFill>
                  <a:srgbClr val="707173"/>
                </a:solidFill>
                <a:effectLst/>
                <a:uLnTx/>
                <a:uFillTx/>
                <a:latin typeface="Calibri" panose="020F0502020204030204" pitchFamily="34" charset="0"/>
                <a:ea typeface="Calibri" panose="020F0502020204030204" pitchFamily="34" charset="0"/>
                <a:cs typeface="Calibri" panose="020F0502020204030204" pitchFamily="34" charset="0"/>
              </a:rPr>
              <a:t>efficiency</a:t>
            </a:r>
            <a:r>
              <a:rPr kumimoji="0" lang="pl-PL" sz="1050" b="0" i="1" u="none" strike="noStrike" kern="1200" cap="none" spc="0" normalizeH="0" baseline="0" noProof="0" dirty="0">
                <a:ln>
                  <a:noFill/>
                </a:ln>
                <a:solidFill>
                  <a:srgbClr val="707173"/>
                </a:solidFill>
                <a:effectLst/>
                <a:uLnTx/>
                <a:uFillTx/>
                <a:latin typeface="Calibri" panose="020F0502020204030204" pitchFamily="34" charset="0"/>
                <a:ea typeface="Calibri" panose="020F0502020204030204" pitchFamily="34" charset="0"/>
                <a:cs typeface="Calibri" panose="020F0502020204030204" pitchFamily="34" charset="0"/>
              </a:rPr>
              <a:t> vs </a:t>
            </a:r>
            <a:r>
              <a:rPr kumimoji="0" lang="pl-PL" sz="1050" b="0" i="1" u="none" strike="noStrike" kern="1200" cap="none" spc="0" normalizeH="0" baseline="0" noProof="0" dirty="0" err="1">
                <a:ln>
                  <a:noFill/>
                </a:ln>
                <a:solidFill>
                  <a:srgbClr val="707173"/>
                </a:solidFill>
                <a:effectLst/>
                <a:uLnTx/>
                <a:uFillTx/>
                <a:latin typeface="Calibri" panose="020F0502020204030204" pitchFamily="34" charset="0"/>
                <a:ea typeface="Calibri" panose="020F0502020204030204" pitchFamily="34" charset="0"/>
                <a:cs typeface="Calibri" panose="020F0502020204030204" pitchFamily="34" charset="0"/>
              </a:rPr>
              <a:t>other</a:t>
            </a:r>
            <a:r>
              <a:rPr kumimoji="0" lang="pl-PL" sz="1050" b="0" i="1" u="none" strike="noStrike" kern="1200" cap="none" spc="0" normalizeH="0" baseline="0" noProof="0" dirty="0">
                <a:ln>
                  <a:noFill/>
                </a:ln>
                <a:solidFill>
                  <a:srgbClr val="707173"/>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pl-PL" sz="1050" b="0" i="1" u="none" strike="noStrike" kern="1200" cap="none" spc="0" normalizeH="0" baseline="0" noProof="0" dirty="0" err="1">
                <a:ln>
                  <a:noFill/>
                </a:ln>
                <a:solidFill>
                  <a:srgbClr val="707173"/>
                </a:solidFill>
                <a:effectLst/>
                <a:uLnTx/>
                <a:uFillTx/>
                <a:latin typeface="Calibri" panose="020F0502020204030204" pitchFamily="34" charset="0"/>
                <a:ea typeface="Calibri" panose="020F0502020204030204" pitchFamily="34" charset="0"/>
                <a:cs typeface="Calibri" panose="020F0502020204030204" pitchFamily="34" charset="0"/>
              </a:rPr>
              <a:t>channels</a:t>
            </a:r>
            <a:endParaRPr kumimoji="0" lang="pl-PL" sz="1050" b="0" i="1" u="none" strike="noStrike" kern="1200" cap="none" spc="0" normalizeH="0" baseline="0" noProof="0" dirty="0">
              <a:ln>
                <a:noFill/>
              </a:ln>
              <a:solidFill>
                <a:srgbClr val="707173"/>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2" name="Tabela 1">
            <a:extLst>
              <a:ext uri="{FF2B5EF4-FFF2-40B4-BE49-F238E27FC236}">
                <a16:creationId xmlns:a16="http://schemas.microsoft.com/office/drawing/2014/main" id="{91F58DB7-29AD-4B00-BE33-5273DF185ADA}"/>
              </a:ext>
            </a:extLst>
          </p:cNvPr>
          <p:cNvGraphicFramePr>
            <a:graphicFrameLocks noGrp="1"/>
          </p:cNvGraphicFramePr>
          <p:nvPr/>
        </p:nvGraphicFramePr>
        <p:xfrm>
          <a:off x="869933" y="1065641"/>
          <a:ext cx="9097024" cy="1979053"/>
        </p:xfrm>
        <a:graphic>
          <a:graphicData uri="http://schemas.openxmlformats.org/drawingml/2006/table">
            <a:tbl>
              <a:tblPr/>
              <a:tblGrid>
                <a:gridCol w="586117">
                  <a:extLst>
                    <a:ext uri="{9D8B030D-6E8A-4147-A177-3AD203B41FA5}">
                      <a16:colId xmlns:a16="http://schemas.microsoft.com/office/drawing/2014/main" val="232327753"/>
                    </a:ext>
                  </a:extLst>
                </a:gridCol>
                <a:gridCol w="891386">
                  <a:extLst>
                    <a:ext uri="{9D8B030D-6E8A-4147-A177-3AD203B41FA5}">
                      <a16:colId xmlns:a16="http://schemas.microsoft.com/office/drawing/2014/main" val="1961828559"/>
                    </a:ext>
                  </a:extLst>
                </a:gridCol>
                <a:gridCol w="586117">
                  <a:extLst>
                    <a:ext uri="{9D8B030D-6E8A-4147-A177-3AD203B41FA5}">
                      <a16:colId xmlns:a16="http://schemas.microsoft.com/office/drawing/2014/main" val="2197756298"/>
                    </a:ext>
                  </a:extLst>
                </a:gridCol>
                <a:gridCol w="586117">
                  <a:extLst>
                    <a:ext uri="{9D8B030D-6E8A-4147-A177-3AD203B41FA5}">
                      <a16:colId xmlns:a16="http://schemas.microsoft.com/office/drawing/2014/main" val="3796297308"/>
                    </a:ext>
                  </a:extLst>
                </a:gridCol>
                <a:gridCol w="586117">
                  <a:extLst>
                    <a:ext uri="{9D8B030D-6E8A-4147-A177-3AD203B41FA5}">
                      <a16:colId xmlns:a16="http://schemas.microsoft.com/office/drawing/2014/main" val="3107282520"/>
                    </a:ext>
                  </a:extLst>
                </a:gridCol>
                <a:gridCol w="586117">
                  <a:extLst>
                    <a:ext uri="{9D8B030D-6E8A-4147-A177-3AD203B41FA5}">
                      <a16:colId xmlns:a16="http://schemas.microsoft.com/office/drawing/2014/main" val="4138056770"/>
                    </a:ext>
                  </a:extLst>
                </a:gridCol>
                <a:gridCol w="586117">
                  <a:extLst>
                    <a:ext uri="{9D8B030D-6E8A-4147-A177-3AD203B41FA5}">
                      <a16:colId xmlns:a16="http://schemas.microsoft.com/office/drawing/2014/main" val="1035790225"/>
                    </a:ext>
                  </a:extLst>
                </a:gridCol>
                <a:gridCol w="586117">
                  <a:extLst>
                    <a:ext uri="{9D8B030D-6E8A-4147-A177-3AD203B41FA5}">
                      <a16:colId xmlns:a16="http://schemas.microsoft.com/office/drawing/2014/main" val="1041492655"/>
                    </a:ext>
                  </a:extLst>
                </a:gridCol>
                <a:gridCol w="586117">
                  <a:extLst>
                    <a:ext uri="{9D8B030D-6E8A-4147-A177-3AD203B41FA5}">
                      <a16:colId xmlns:a16="http://schemas.microsoft.com/office/drawing/2014/main" val="386300293"/>
                    </a:ext>
                  </a:extLst>
                </a:gridCol>
                <a:gridCol w="586117">
                  <a:extLst>
                    <a:ext uri="{9D8B030D-6E8A-4147-A177-3AD203B41FA5}">
                      <a16:colId xmlns:a16="http://schemas.microsoft.com/office/drawing/2014/main" val="2642156183"/>
                    </a:ext>
                  </a:extLst>
                </a:gridCol>
                <a:gridCol w="586117">
                  <a:extLst>
                    <a:ext uri="{9D8B030D-6E8A-4147-A177-3AD203B41FA5}">
                      <a16:colId xmlns:a16="http://schemas.microsoft.com/office/drawing/2014/main" val="2792868469"/>
                    </a:ext>
                  </a:extLst>
                </a:gridCol>
                <a:gridCol w="586117">
                  <a:extLst>
                    <a:ext uri="{9D8B030D-6E8A-4147-A177-3AD203B41FA5}">
                      <a16:colId xmlns:a16="http://schemas.microsoft.com/office/drawing/2014/main" val="2897438610"/>
                    </a:ext>
                  </a:extLst>
                </a:gridCol>
                <a:gridCol w="586117">
                  <a:extLst>
                    <a:ext uri="{9D8B030D-6E8A-4147-A177-3AD203B41FA5}">
                      <a16:colId xmlns:a16="http://schemas.microsoft.com/office/drawing/2014/main" val="582521449"/>
                    </a:ext>
                  </a:extLst>
                </a:gridCol>
                <a:gridCol w="586117">
                  <a:extLst>
                    <a:ext uri="{9D8B030D-6E8A-4147-A177-3AD203B41FA5}">
                      <a16:colId xmlns:a16="http://schemas.microsoft.com/office/drawing/2014/main" val="528797632"/>
                    </a:ext>
                  </a:extLst>
                </a:gridCol>
                <a:gridCol w="586117">
                  <a:extLst>
                    <a:ext uri="{9D8B030D-6E8A-4147-A177-3AD203B41FA5}">
                      <a16:colId xmlns:a16="http://schemas.microsoft.com/office/drawing/2014/main" val="2259463268"/>
                    </a:ext>
                  </a:extLst>
                </a:gridCol>
              </a:tblGrid>
              <a:tr h="164454">
                <a:tc>
                  <a:txBody>
                    <a:bodyPr/>
                    <a:lstStyle/>
                    <a:p>
                      <a:pPr algn="l" fontAlgn="b"/>
                      <a:endParaRPr lang="pl-PL" sz="1100" b="0" i="0" u="none" strike="noStrike">
                        <a:solidFill>
                          <a:srgbClr val="000000"/>
                        </a:solidFill>
                        <a:effectLst/>
                        <a:latin typeface="Calibri" panose="020F0502020204030204" pitchFamily="34" charset="0"/>
                      </a:endParaRPr>
                    </a:p>
                  </a:txBody>
                  <a:tcPr marL="9503" marR="9503" marT="9503" marB="0" anchor="b">
                    <a:lnL>
                      <a:noFill/>
                    </a:lnL>
                    <a:lnR>
                      <a:noFill/>
                    </a:lnR>
                    <a:lnT>
                      <a:noFill/>
                    </a:lnT>
                    <a:lnB>
                      <a:noFill/>
                    </a:lnB>
                  </a:tcPr>
                </a:tc>
                <a:tc>
                  <a:txBody>
                    <a:bodyPr/>
                    <a:lstStyle/>
                    <a:p>
                      <a:pPr algn="l" fontAlgn="b"/>
                      <a:endParaRPr lang="pl-PL" sz="1100" b="0" i="0" u="none" strike="noStrike">
                        <a:solidFill>
                          <a:srgbClr val="000000"/>
                        </a:solidFill>
                        <a:effectLst/>
                        <a:latin typeface="Calibri" panose="020F0502020204030204" pitchFamily="34" charset="0"/>
                      </a:endParaRPr>
                    </a:p>
                  </a:txBody>
                  <a:tcPr marL="9503" marR="9503" marT="9503"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gridSpan="13">
                  <a:txBody>
                    <a:bodyPr/>
                    <a:lstStyle/>
                    <a:p>
                      <a:pPr algn="ctr" fontAlgn="b"/>
                      <a:r>
                        <a:rPr lang="pl-PL" sz="1200" b="1" i="0" u="none" strike="noStrike">
                          <a:solidFill>
                            <a:srgbClr val="FFFFFF"/>
                          </a:solidFill>
                          <a:effectLst/>
                          <a:latin typeface="Calibri" panose="020F0502020204030204" pitchFamily="34" charset="0"/>
                        </a:rPr>
                        <a:t>2025</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9999"/>
                    </a:solidFill>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extLst>
                  <a:ext uri="{0D108BD9-81ED-4DB2-BD59-A6C34878D82A}">
                    <a16:rowId xmlns:a16="http://schemas.microsoft.com/office/drawing/2014/main" val="4179671183"/>
                  </a:ext>
                </a:extLst>
              </a:tr>
              <a:tr h="156624">
                <a:tc>
                  <a:txBody>
                    <a:bodyPr/>
                    <a:lstStyle/>
                    <a:p>
                      <a:pPr algn="l" fontAlgn="b"/>
                      <a:endParaRPr lang="pl-PL" sz="1100" b="0" i="0" u="none" strike="noStrike">
                        <a:solidFill>
                          <a:srgbClr val="000000"/>
                        </a:solidFill>
                        <a:effectLst/>
                        <a:latin typeface="Calibri" panose="020F0502020204030204" pitchFamily="34" charset="0"/>
                      </a:endParaRPr>
                    </a:p>
                  </a:txBody>
                  <a:tcPr marL="9503" marR="9503" marT="9503"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pl-PL" sz="1100" b="0" i="0" u="none" strike="noStrike">
                          <a:solidFill>
                            <a:srgbClr val="000000"/>
                          </a:solidFill>
                          <a:effectLst/>
                          <a:latin typeface="Calibri" panose="020F0502020204030204" pitchFamily="34" charset="0"/>
                        </a:rPr>
                        <a:t> </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jan'25</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feb'25</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mar'25</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apr'25</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may'25</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jun'25</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jul'25</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aug'25</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sep'25</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oct'25</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nov'25</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dec'25</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1" i="0" u="none" strike="noStrike">
                          <a:solidFill>
                            <a:srgbClr val="000000"/>
                          </a:solidFill>
                          <a:effectLst/>
                          <a:latin typeface="Calibri" panose="020F0502020204030204" pitchFamily="34" charset="0"/>
                        </a:rPr>
                        <a:t>TOTAL</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19219252"/>
                  </a:ext>
                </a:extLst>
              </a:tr>
              <a:tr h="156624">
                <a:tc>
                  <a:txBody>
                    <a:bodyPr/>
                    <a:lstStyle/>
                    <a:p>
                      <a:pPr algn="l" fontAlgn="b"/>
                      <a:endParaRPr lang="pl-PL" sz="1100" b="0" i="0" u="none" strike="noStrike">
                        <a:solidFill>
                          <a:srgbClr val="000000"/>
                        </a:solidFill>
                        <a:effectLst/>
                        <a:latin typeface="Calibri" panose="020F0502020204030204" pitchFamily="34" charset="0"/>
                      </a:endParaRPr>
                    </a:p>
                  </a:txBody>
                  <a:tcPr marL="9503" marR="9503" marT="9503"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b"/>
                      <a:r>
                        <a:rPr lang="pl-PL" sz="1100" b="0" i="0" u="none" strike="noStrike">
                          <a:solidFill>
                            <a:srgbClr val="000000"/>
                          </a:solidFill>
                          <a:effectLst/>
                          <a:latin typeface="Calibri" panose="020F0502020204030204" pitchFamily="34" charset="0"/>
                        </a:rPr>
                        <a:t>New Accounts</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1" i="0" u="none" strike="noStrike">
                          <a:solidFill>
                            <a:srgbClr val="000000"/>
                          </a:solidFill>
                          <a:effectLst/>
                          <a:latin typeface="Calibri" panose="020F0502020204030204" pitchFamily="34" charset="0"/>
                        </a:rPr>
                        <a:t>15</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1" i="0" u="none" strike="noStrike">
                          <a:solidFill>
                            <a:srgbClr val="000000"/>
                          </a:solidFill>
                          <a:effectLst/>
                          <a:latin typeface="Calibri" panose="020F0502020204030204" pitchFamily="34" charset="0"/>
                        </a:rPr>
                        <a:t>24</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1" i="0" u="none" strike="noStrike">
                          <a:solidFill>
                            <a:srgbClr val="000000"/>
                          </a:solidFill>
                          <a:effectLst/>
                          <a:latin typeface="Calibri" panose="020F0502020204030204" pitchFamily="34" charset="0"/>
                        </a:rPr>
                        <a:t>111</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1" i="0" u="none" strike="noStrike">
                          <a:solidFill>
                            <a:srgbClr val="000000"/>
                          </a:solidFill>
                          <a:effectLst/>
                          <a:latin typeface="Calibri" panose="020F0502020204030204" pitchFamily="34" charset="0"/>
                        </a:rPr>
                        <a:t>114</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1" i="0" u="none" strike="noStrike">
                          <a:solidFill>
                            <a:srgbClr val="000000"/>
                          </a:solidFill>
                          <a:effectLst/>
                          <a:latin typeface="Calibri" panose="020F0502020204030204" pitchFamily="34" charset="0"/>
                        </a:rPr>
                        <a:t>127</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1" i="0" u="none" strike="noStrike">
                          <a:solidFill>
                            <a:srgbClr val="000000"/>
                          </a:solidFill>
                          <a:effectLst/>
                          <a:latin typeface="Calibri" panose="020F0502020204030204" pitchFamily="34" charset="0"/>
                        </a:rPr>
                        <a:t>110</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1" i="0" u="none" strike="noStrike">
                          <a:solidFill>
                            <a:srgbClr val="000000"/>
                          </a:solidFill>
                          <a:effectLst/>
                          <a:latin typeface="Calibri" panose="020F0502020204030204" pitchFamily="34" charset="0"/>
                        </a:rPr>
                        <a:t>106</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1" i="0" u="none" strike="noStrike">
                          <a:solidFill>
                            <a:srgbClr val="000000"/>
                          </a:solidFill>
                          <a:effectLst/>
                          <a:latin typeface="Calibri" panose="020F0502020204030204" pitchFamily="34" charset="0"/>
                        </a:rPr>
                        <a:t>100</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1" i="0" u="none" strike="noStrike">
                          <a:solidFill>
                            <a:srgbClr val="000000"/>
                          </a:solidFill>
                          <a:effectLst/>
                          <a:latin typeface="Calibri" panose="020F0502020204030204" pitchFamily="34" charset="0"/>
                        </a:rPr>
                        <a:t>97</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1" i="0" u="none" strike="noStrike">
                          <a:solidFill>
                            <a:srgbClr val="000000"/>
                          </a:solidFill>
                          <a:effectLst/>
                          <a:latin typeface="Calibri" panose="020F0502020204030204" pitchFamily="34" charset="0"/>
                        </a:rPr>
                        <a:t>95</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1" i="0" u="none" strike="noStrike">
                          <a:solidFill>
                            <a:srgbClr val="000000"/>
                          </a:solidFill>
                          <a:effectLst/>
                          <a:latin typeface="Calibri" panose="020F0502020204030204" pitchFamily="34" charset="0"/>
                        </a:rPr>
                        <a:t>96</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1" i="0" u="none" strike="noStrike">
                          <a:solidFill>
                            <a:srgbClr val="000000"/>
                          </a:solidFill>
                          <a:effectLst/>
                          <a:latin typeface="Calibri" panose="020F0502020204030204" pitchFamily="34" charset="0"/>
                        </a:rPr>
                        <a:t>122</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1" i="0" u="none" strike="noStrike">
                          <a:solidFill>
                            <a:srgbClr val="000000"/>
                          </a:solidFill>
                          <a:effectLst/>
                          <a:latin typeface="Calibri" panose="020F0502020204030204" pitchFamily="34" charset="0"/>
                        </a:rPr>
                        <a:t>1117</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46508066"/>
                  </a:ext>
                </a:extLst>
              </a:tr>
              <a:tr h="156624">
                <a:tc>
                  <a:txBody>
                    <a:bodyPr/>
                    <a:lstStyle/>
                    <a:p>
                      <a:pPr algn="l" fontAlgn="b"/>
                      <a:r>
                        <a:rPr lang="pl-PL" sz="1100" b="0" i="1" u="none" strike="noStrike">
                          <a:solidFill>
                            <a:srgbClr val="000000"/>
                          </a:solidFill>
                          <a:effectLst/>
                          <a:latin typeface="Calibri" panose="020F0502020204030204" pitchFamily="34" charset="0"/>
                        </a:rPr>
                        <a:t>8 FTE</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1" u="none" strike="noStrike">
                          <a:solidFill>
                            <a:srgbClr val="000000"/>
                          </a:solidFill>
                          <a:effectLst/>
                          <a:latin typeface="Calibri" panose="020F0502020204030204" pitchFamily="34" charset="0"/>
                        </a:rPr>
                        <a:t>Avr per 1 FTE</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1,8</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3</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13,8</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14,2</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15,8</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13,7</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13,2</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12,5</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12,1</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11,8</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12</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15,2</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pl-PL" sz="1100" b="0" i="0" u="none" strike="noStrike">
                        <a:solidFill>
                          <a:srgbClr val="000000"/>
                        </a:solidFill>
                        <a:effectLst/>
                        <a:latin typeface="Calibri" panose="020F0502020204030204" pitchFamily="34" charset="0"/>
                      </a:endParaRPr>
                    </a:p>
                  </a:txBody>
                  <a:tcPr marL="9503" marR="9503" marT="9503"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234146518"/>
                  </a:ext>
                </a:extLst>
              </a:tr>
              <a:tr h="156624">
                <a:tc>
                  <a:txBody>
                    <a:bodyPr/>
                    <a:lstStyle/>
                    <a:p>
                      <a:pPr algn="l" fontAlgn="b"/>
                      <a:endParaRPr lang="pl-PL" sz="1100" b="0" i="0" u="none" strike="noStrike">
                        <a:solidFill>
                          <a:srgbClr val="000000"/>
                        </a:solidFill>
                        <a:effectLst/>
                        <a:latin typeface="Calibri" panose="020F0502020204030204" pitchFamily="34" charset="0"/>
                      </a:endParaRPr>
                    </a:p>
                  </a:txBody>
                  <a:tcPr marL="9503" marR="9503" marT="9503"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pl-PL" sz="1100" b="0" i="1" u="none" strike="noStrike">
                          <a:solidFill>
                            <a:srgbClr val="000000"/>
                          </a:solidFill>
                          <a:effectLst/>
                          <a:latin typeface="Calibri" panose="020F0502020204030204" pitchFamily="34" charset="0"/>
                        </a:rPr>
                        <a:t>cumulative</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15</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39</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150</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264</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391</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501</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607</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707</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804</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899</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995</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1117</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pl-PL" sz="1100" b="0" i="0" u="none" strike="noStrike">
                        <a:solidFill>
                          <a:srgbClr val="000000"/>
                        </a:solidFill>
                        <a:effectLst/>
                        <a:latin typeface="Calibri" panose="020F0502020204030204" pitchFamily="34" charset="0"/>
                      </a:endParaRPr>
                    </a:p>
                  </a:txBody>
                  <a:tcPr marL="9503" marR="9503" marT="9503"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118568958"/>
                  </a:ext>
                </a:extLst>
              </a:tr>
              <a:tr h="156624">
                <a:tc>
                  <a:txBody>
                    <a:bodyPr/>
                    <a:lstStyle/>
                    <a:p>
                      <a:pPr algn="l" fontAlgn="b"/>
                      <a:endParaRPr lang="pl-PL" sz="1100" b="0" i="0" u="none" strike="noStrike">
                        <a:solidFill>
                          <a:srgbClr val="000000"/>
                        </a:solidFill>
                        <a:effectLst/>
                        <a:latin typeface="Calibri" panose="020F0502020204030204" pitchFamily="34" charset="0"/>
                      </a:endParaRPr>
                    </a:p>
                  </a:txBody>
                  <a:tcPr marL="9503" marR="9503" marT="9503" marB="0" anchor="b">
                    <a:lnL>
                      <a:noFill/>
                    </a:lnL>
                    <a:lnR>
                      <a:noFill/>
                    </a:lnR>
                    <a:lnT>
                      <a:noFill/>
                    </a:lnT>
                    <a:lnB>
                      <a:noFill/>
                    </a:lnB>
                  </a:tcPr>
                </a:tc>
                <a:tc>
                  <a:txBody>
                    <a:bodyPr/>
                    <a:lstStyle/>
                    <a:p>
                      <a:pPr algn="l" fontAlgn="b"/>
                      <a:endParaRPr lang="pl-PL" sz="1100" b="0" i="1" u="none" strike="noStrike">
                        <a:solidFill>
                          <a:srgbClr val="000000"/>
                        </a:solidFill>
                        <a:effectLst/>
                        <a:latin typeface="Calibri" panose="020F0502020204030204" pitchFamily="34" charset="0"/>
                      </a:endParaRPr>
                    </a:p>
                  </a:txBody>
                  <a:tcPr marL="9503" marR="9503" marT="9503"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endParaRPr lang="pl-PL" sz="1100" b="0" i="0" u="none" strike="noStrike">
                        <a:solidFill>
                          <a:srgbClr val="000000"/>
                        </a:solidFill>
                        <a:effectLst/>
                        <a:latin typeface="Calibri" panose="020F0502020204030204" pitchFamily="34" charset="0"/>
                      </a:endParaRPr>
                    </a:p>
                  </a:txBody>
                  <a:tcPr marL="9503" marR="9503" marT="9503"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endParaRPr lang="pl-PL" sz="1100" b="0" i="0" u="none" strike="noStrike">
                        <a:solidFill>
                          <a:srgbClr val="000000"/>
                        </a:solidFill>
                        <a:effectLst/>
                        <a:latin typeface="Calibri" panose="020F0502020204030204" pitchFamily="34" charset="0"/>
                      </a:endParaRPr>
                    </a:p>
                  </a:txBody>
                  <a:tcPr marL="9503" marR="9503" marT="9503"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endParaRPr lang="pl-PL" sz="1100" b="0" i="0" u="none" strike="noStrike">
                        <a:solidFill>
                          <a:srgbClr val="000000"/>
                        </a:solidFill>
                        <a:effectLst/>
                        <a:latin typeface="Calibri" panose="020F0502020204030204" pitchFamily="34" charset="0"/>
                      </a:endParaRPr>
                    </a:p>
                  </a:txBody>
                  <a:tcPr marL="9503" marR="9503" marT="9503"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endParaRPr lang="pl-PL" sz="1100" b="0" i="0" u="none" strike="noStrike">
                        <a:solidFill>
                          <a:srgbClr val="000000"/>
                        </a:solidFill>
                        <a:effectLst/>
                        <a:latin typeface="Calibri" panose="020F0502020204030204" pitchFamily="34" charset="0"/>
                      </a:endParaRPr>
                    </a:p>
                  </a:txBody>
                  <a:tcPr marL="9503" marR="9503" marT="9503"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endParaRPr lang="pl-PL" sz="1100" b="0" i="0" u="none" strike="noStrike">
                        <a:solidFill>
                          <a:srgbClr val="000000"/>
                        </a:solidFill>
                        <a:effectLst/>
                        <a:latin typeface="Calibri" panose="020F0502020204030204" pitchFamily="34" charset="0"/>
                      </a:endParaRPr>
                    </a:p>
                  </a:txBody>
                  <a:tcPr marL="9503" marR="9503" marT="9503"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endParaRPr lang="pl-PL" sz="1100" b="0" i="0" u="none" strike="noStrike">
                        <a:solidFill>
                          <a:srgbClr val="000000"/>
                        </a:solidFill>
                        <a:effectLst/>
                        <a:latin typeface="Calibri" panose="020F0502020204030204" pitchFamily="34" charset="0"/>
                      </a:endParaRPr>
                    </a:p>
                  </a:txBody>
                  <a:tcPr marL="9503" marR="9503" marT="9503"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endParaRPr lang="pl-PL" sz="1100" b="0" i="0" u="none" strike="noStrike">
                        <a:solidFill>
                          <a:srgbClr val="000000"/>
                        </a:solidFill>
                        <a:effectLst/>
                        <a:latin typeface="Calibri" panose="020F0502020204030204" pitchFamily="34" charset="0"/>
                      </a:endParaRPr>
                    </a:p>
                  </a:txBody>
                  <a:tcPr marL="9503" marR="9503" marT="9503"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endParaRPr lang="pl-PL" sz="1100" b="0" i="0" u="none" strike="noStrike">
                        <a:solidFill>
                          <a:srgbClr val="000000"/>
                        </a:solidFill>
                        <a:effectLst/>
                        <a:latin typeface="Calibri" panose="020F0502020204030204" pitchFamily="34" charset="0"/>
                      </a:endParaRPr>
                    </a:p>
                  </a:txBody>
                  <a:tcPr marL="9503" marR="9503" marT="9503"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endParaRPr lang="pl-PL" sz="1100" b="0" i="0" u="none" strike="noStrike">
                        <a:solidFill>
                          <a:srgbClr val="000000"/>
                        </a:solidFill>
                        <a:effectLst/>
                        <a:latin typeface="Calibri" panose="020F0502020204030204" pitchFamily="34" charset="0"/>
                      </a:endParaRPr>
                    </a:p>
                  </a:txBody>
                  <a:tcPr marL="9503" marR="9503" marT="9503"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endParaRPr lang="pl-PL" sz="1100" b="0" i="0" u="none" strike="noStrike">
                        <a:solidFill>
                          <a:srgbClr val="000000"/>
                        </a:solidFill>
                        <a:effectLst/>
                        <a:latin typeface="Calibri" panose="020F0502020204030204" pitchFamily="34" charset="0"/>
                      </a:endParaRPr>
                    </a:p>
                  </a:txBody>
                  <a:tcPr marL="9503" marR="9503" marT="9503"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endParaRPr lang="pl-PL" sz="1100" b="0" i="0" u="none" strike="noStrike">
                        <a:solidFill>
                          <a:srgbClr val="000000"/>
                        </a:solidFill>
                        <a:effectLst/>
                        <a:latin typeface="Calibri" panose="020F0502020204030204" pitchFamily="34" charset="0"/>
                      </a:endParaRPr>
                    </a:p>
                  </a:txBody>
                  <a:tcPr marL="9503" marR="9503" marT="9503"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endParaRPr lang="pl-PL" sz="1100" b="0" i="0" u="none" strike="noStrike">
                        <a:solidFill>
                          <a:srgbClr val="000000"/>
                        </a:solidFill>
                        <a:effectLst/>
                        <a:latin typeface="Calibri" panose="020F0502020204030204" pitchFamily="34" charset="0"/>
                      </a:endParaRPr>
                    </a:p>
                  </a:txBody>
                  <a:tcPr marL="9503" marR="9503" marT="9503"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pl-PL" sz="1100" b="0" i="0" u="none" strike="noStrike">
                        <a:solidFill>
                          <a:srgbClr val="000000"/>
                        </a:solidFill>
                        <a:effectLst/>
                        <a:latin typeface="Calibri" panose="020F0502020204030204" pitchFamily="34" charset="0"/>
                      </a:endParaRPr>
                    </a:p>
                  </a:txBody>
                  <a:tcPr marL="9503" marR="9503" marT="9503" marB="0" anchor="b">
                    <a:lnL>
                      <a:noFill/>
                    </a:lnL>
                    <a:lnR>
                      <a:noFill/>
                    </a:lnR>
                    <a:lnT>
                      <a:noFill/>
                    </a:lnT>
                    <a:lnB>
                      <a:noFill/>
                    </a:lnB>
                  </a:tcPr>
                </a:tc>
                <a:extLst>
                  <a:ext uri="{0D108BD9-81ED-4DB2-BD59-A6C34878D82A}">
                    <a16:rowId xmlns:a16="http://schemas.microsoft.com/office/drawing/2014/main" val="2683976228"/>
                  </a:ext>
                </a:extLst>
              </a:tr>
              <a:tr h="164454">
                <a:tc>
                  <a:txBody>
                    <a:bodyPr/>
                    <a:lstStyle/>
                    <a:p>
                      <a:pPr algn="l" fontAlgn="b"/>
                      <a:endParaRPr lang="pl-PL" sz="1100" b="0" i="0" u="none" strike="noStrike">
                        <a:solidFill>
                          <a:srgbClr val="000000"/>
                        </a:solidFill>
                        <a:effectLst/>
                        <a:latin typeface="Calibri" panose="020F0502020204030204" pitchFamily="34" charset="0"/>
                      </a:endParaRPr>
                    </a:p>
                  </a:txBody>
                  <a:tcPr marL="9503" marR="9503" marT="9503" marB="0" anchor="b">
                    <a:lnL>
                      <a:noFill/>
                    </a:lnL>
                    <a:lnR>
                      <a:noFill/>
                    </a:lnR>
                    <a:lnT>
                      <a:noFill/>
                    </a:lnT>
                    <a:lnB>
                      <a:noFill/>
                    </a:lnB>
                  </a:tcPr>
                </a:tc>
                <a:tc>
                  <a:txBody>
                    <a:bodyPr/>
                    <a:lstStyle/>
                    <a:p>
                      <a:pPr algn="l" fontAlgn="b"/>
                      <a:endParaRPr lang="pl-PL" sz="1100" b="0" i="1" u="none" strike="noStrike">
                        <a:solidFill>
                          <a:srgbClr val="000000"/>
                        </a:solidFill>
                        <a:effectLst/>
                        <a:latin typeface="Calibri" panose="020F0502020204030204" pitchFamily="34" charset="0"/>
                      </a:endParaRPr>
                    </a:p>
                  </a:txBody>
                  <a:tcPr marL="9503" marR="9503" marT="9503" marB="0" anchor="b">
                    <a:lnL>
                      <a:noFill/>
                    </a:lnL>
                    <a:lnR>
                      <a:noFill/>
                    </a:lnR>
                    <a:lnT>
                      <a:noFill/>
                    </a:lnT>
                    <a:lnB w="6350" cap="flat" cmpd="sng" algn="ctr">
                      <a:solidFill>
                        <a:srgbClr val="000000"/>
                      </a:solidFill>
                      <a:prstDash val="solid"/>
                      <a:round/>
                      <a:headEnd type="none" w="med" len="med"/>
                      <a:tailEnd type="none" w="med" len="med"/>
                    </a:lnB>
                  </a:tcPr>
                </a:tc>
                <a:tc gridSpan="13">
                  <a:txBody>
                    <a:bodyPr/>
                    <a:lstStyle/>
                    <a:p>
                      <a:pPr algn="ctr" fontAlgn="b"/>
                      <a:r>
                        <a:rPr lang="pl-PL" sz="1200" b="1" i="0" u="none" strike="noStrike" dirty="0">
                          <a:solidFill>
                            <a:srgbClr val="FFFFFF"/>
                          </a:solidFill>
                          <a:effectLst/>
                          <a:latin typeface="Calibri" panose="020F0502020204030204" pitchFamily="34" charset="0"/>
                        </a:rPr>
                        <a:t>2026</a:t>
                      </a:r>
                    </a:p>
                  </a:txBody>
                  <a:tcPr marL="9503" marR="9503" marT="9503" marB="0" anchor="b">
                    <a:lnL>
                      <a:noFill/>
                    </a:lnL>
                    <a:lnR>
                      <a:noFill/>
                    </a:lnR>
                    <a:lnT>
                      <a:noFill/>
                    </a:lnT>
                    <a:lnB w="6350" cap="flat" cmpd="sng" algn="ctr">
                      <a:solidFill>
                        <a:srgbClr val="000000"/>
                      </a:solidFill>
                      <a:prstDash val="solid"/>
                      <a:round/>
                      <a:headEnd type="none" w="med" len="med"/>
                      <a:tailEnd type="none" w="med" len="med"/>
                    </a:lnB>
                    <a:solidFill>
                      <a:srgbClr val="009999"/>
                    </a:solidFill>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extLst>
                  <a:ext uri="{0D108BD9-81ED-4DB2-BD59-A6C34878D82A}">
                    <a16:rowId xmlns:a16="http://schemas.microsoft.com/office/drawing/2014/main" val="803762521"/>
                  </a:ext>
                </a:extLst>
              </a:tr>
              <a:tr h="156624">
                <a:tc>
                  <a:txBody>
                    <a:bodyPr/>
                    <a:lstStyle/>
                    <a:p>
                      <a:pPr algn="l" fontAlgn="b"/>
                      <a:endParaRPr lang="pl-PL" sz="1100" b="0" i="0" u="none" strike="noStrike">
                        <a:solidFill>
                          <a:srgbClr val="000000"/>
                        </a:solidFill>
                        <a:effectLst/>
                        <a:latin typeface="Calibri" panose="020F0502020204030204" pitchFamily="34" charset="0"/>
                      </a:endParaRPr>
                    </a:p>
                  </a:txBody>
                  <a:tcPr marL="9503" marR="9503" marT="9503"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jan'26</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feb'26</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mar'26</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apr'26</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may'26</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jun'26</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jul'26</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aug'26</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sep'26</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oct'26</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nov'26</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dec'26</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1" i="0" u="none" strike="noStrike">
                          <a:solidFill>
                            <a:srgbClr val="000000"/>
                          </a:solidFill>
                          <a:effectLst/>
                          <a:latin typeface="Calibri" panose="020F0502020204030204" pitchFamily="34" charset="0"/>
                        </a:rPr>
                        <a:t>TOTAL</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19346177"/>
                  </a:ext>
                </a:extLst>
              </a:tr>
              <a:tr h="156624">
                <a:tc>
                  <a:txBody>
                    <a:bodyPr/>
                    <a:lstStyle/>
                    <a:p>
                      <a:pPr algn="l" fontAlgn="b"/>
                      <a:endParaRPr lang="pl-PL" sz="1100" b="0" i="0" u="none" strike="noStrike">
                        <a:solidFill>
                          <a:srgbClr val="000000"/>
                        </a:solidFill>
                        <a:effectLst/>
                        <a:latin typeface="Calibri" panose="020F0502020204030204" pitchFamily="34" charset="0"/>
                      </a:endParaRPr>
                    </a:p>
                  </a:txBody>
                  <a:tcPr marL="9503" marR="9503" marT="9503"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b"/>
                      <a:r>
                        <a:rPr lang="pl-PL" sz="1100" b="0" i="0" u="none" strike="noStrike">
                          <a:solidFill>
                            <a:srgbClr val="000000"/>
                          </a:solidFill>
                          <a:effectLst/>
                          <a:latin typeface="Calibri" panose="020F0502020204030204" pitchFamily="34" charset="0"/>
                        </a:rPr>
                        <a:t>New Accounts</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1" i="0" u="none" strike="noStrike">
                          <a:solidFill>
                            <a:srgbClr val="000000"/>
                          </a:solidFill>
                          <a:effectLst/>
                          <a:latin typeface="Calibri" panose="020F0502020204030204" pitchFamily="34" charset="0"/>
                        </a:rPr>
                        <a:t>193</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1" i="0" u="none" strike="noStrike">
                          <a:solidFill>
                            <a:srgbClr val="000000"/>
                          </a:solidFill>
                          <a:effectLst/>
                          <a:latin typeface="Calibri" panose="020F0502020204030204" pitchFamily="34" charset="0"/>
                        </a:rPr>
                        <a:t>177</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dirty="0">
                          <a:solidFill>
                            <a:srgbClr val="000000"/>
                          </a:solidFill>
                          <a:effectLst/>
                          <a:latin typeface="Calibri" panose="020F0502020204030204" pitchFamily="34" charset="0"/>
                        </a:rPr>
                        <a:t> </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1" i="0" u="none" strike="noStrike">
                          <a:solidFill>
                            <a:srgbClr val="000000"/>
                          </a:solidFill>
                          <a:effectLst/>
                          <a:latin typeface="Calibri" panose="020F0502020204030204" pitchFamily="34" charset="0"/>
                        </a:rPr>
                        <a:t>370</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2509951"/>
                  </a:ext>
                </a:extLst>
              </a:tr>
              <a:tr h="156624">
                <a:tc>
                  <a:txBody>
                    <a:bodyPr/>
                    <a:lstStyle/>
                    <a:p>
                      <a:pPr algn="l" fontAlgn="b"/>
                      <a:r>
                        <a:rPr lang="pl-PL" sz="1100" b="0" i="1" u="none" strike="noStrike">
                          <a:solidFill>
                            <a:srgbClr val="000000"/>
                          </a:solidFill>
                          <a:effectLst/>
                          <a:latin typeface="Calibri" panose="020F0502020204030204" pitchFamily="34" charset="0"/>
                        </a:rPr>
                        <a:t>8 FTE</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1" u="none" strike="noStrike">
                          <a:solidFill>
                            <a:srgbClr val="000000"/>
                          </a:solidFill>
                          <a:effectLst/>
                          <a:latin typeface="Calibri" panose="020F0502020204030204" pitchFamily="34" charset="0"/>
                        </a:rPr>
                        <a:t>Avr per 1 FTE</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24,1</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22,1</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pl-PL" sz="1100" b="0" i="0" u="none" strike="noStrike">
                        <a:solidFill>
                          <a:srgbClr val="000000"/>
                        </a:solidFill>
                        <a:effectLst/>
                        <a:latin typeface="Calibri" panose="020F0502020204030204" pitchFamily="34" charset="0"/>
                      </a:endParaRPr>
                    </a:p>
                  </a:txBody>
                  <a:tcPr marL="9503" marR="9503" marT="9503"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940047888"/>
                  </a:ext>
                </a:extLst>
              </a:tr>
              <a:tr h="156624">
                <a:tc>
                  <a:txBody>
                    <a:bodyPr/>
                    <a:lstStyle/>
                    <a:p>
                      <a:pPr algn="l" fontAlgn="b"/>
                      <a:endParaRPr lang="pl-PL" sz="1100" b="0" i="0" u="none" strike="noStrike">
                        <a:solidFill>
                          <a:srgbClr val="000000"/>
                        </a:solidFill>
                        <a:effectLst/>
                        <a:latin typeface="Calibri" panose="020F0502020204030204" pitchFamily="34" charset="0"/>
                      </a:endParaRPr>
                    </a:p>
                  </a:txBody>
                  <a:tcPr marL="9503" marR="9503" marT="9503"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pl-PL" sz="1100" b="0" i="1" u="none" strike="noStrike">
                          <a:solidFill>
                            <a:srgbClr val="000000"/>
                          </a:solidFill>
                          <a:effectLst/>
                          <a:latin typeface="Calibri" panose="020F0502020204030204" pitchFamily="34" charset="0"/>
                        </a:rPr>
                        <a:t>cumulative</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193</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370</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503" marR="9503" marT="9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pl-PL" sz="1100" b="0" i="0" u="none" strike="noStrike" dirty="0">
                        <a:solidFill>
                          <a:srgbClr val="000000"/>
                        </a:solidFill>
                        <a:effectLst/>
                        <a:latin typeface="Calibri" panose="020F0502020204030204" pitchFamily="34" charset="0"/>
                      </a:endParaRPr>
                    </a:p>
                  </a:txBody>
                  <a:tcPr marL="9503" marR="9503" marT="9503"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150010860"/>
                  </a:ext>
                </a:extLst>
              </a:tr>
            </a:tbl>
          </a:graphicData>
        </a:graphic>
      </p:graphicFrame>
      <p:sp>
        <p:nvSpPr>
          <p:cNvPr id="10" name="Prostokąt 9">
            <a:extLst>
              <a:ext uri="{FF2B5EF4-FFF2-40B4-BE49-F238E27FC236}">
                <a16:creationId xmlns:a16="http://schemas.microsoft.com/office/drawing/2014/main" id="{8925494E-318F-4E7C-83B1-3FA9BCF5AE71}"/>
              </a:ext>
            </a:extLst>
          </p:cNvPr>
          <p:cNvSpPr/>
          <p:nvPr/>
        </p:nvSpPr>
        <p:spPr>
          <a:xfrm>
            <a:off x="777240" y="5051982"/>
            <a:ext cx="563880" cy="221058"/>
          </a:xfrm>
          <a:prstGeom prst="rect">
            <a:avLst/>
          </a:prstGeom>
          <a:solidFill>
            <a:srgbClr val="FF66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050" b="0" i="0" u="none" strike="noStrike" kern="1200" cap="none" spc="0" normalizeH="0" baseline="0" noProof="0" dirty="0">
                <a:ln>
                  <a:noFill/>
                </a:ln>
                <a:solidFill>
                  <a:srgbClr val="FFFFFF"/>
                </a:solidFill>
                <a:effectLst/>
                <a:uLnTx/>
                <a:uFillTx/>
                <a:latin typeface="Arial"/>
                <a:ea typeface="+mn-ea"/>
                <a:cs typeface="+mn-cs"/>
              </a:rPr>
              <a:t>154</a:t>
            </a:r>
          </a:p>
        </p:txBody>
      </p:sp>
      <p:sp>
        <p:nvSpPr>
          <p:cNvPr id="12" name="Prostokąt 11">
            <a:extLst>
              <a:ext uri="{FF2B5EF4-FFF2-40B4-BE49-F238E27FC236}">
                <a16:creationId xmlns:a16="http://schemas.microsoft.com/office/drawing/2014/main" id="{E5E84958-A9A1-4F81-8171-8C7760188871}"/>
              </a:ext>
            </a:extLst>
          </p:cNvPr>
          <p:cNvSpPr/>
          <p:nvPr/>
        </p:nvSpPr>
        <p:spPr>
          <a:xfrm>
            <a:off x="1493520" y="3611880"/>
            <a:ext cx="563880" cy="1661160"/>
          </a:xfrm>
          <a:prstGeom prst="rect">
            <a:avLst/>
          </a:prstGeom>
          <a:solidFill>
            <a:srgbClr val="FF66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400" b="0" i="0" u="none" strike="noStrike" kern="1200" cap="none" spc="0" normalizeH="0" baseline="0" noProof="0" dirty="0">
                <a:ln>
                  <a:noFill/>
                </a:ln>
                <a:solidFill>
                  <a:srgbClr val="FFFFFF"/>
                </a:solidFill>
                <a:effectLst/>
                <a:uLnTx/>
                <a:uFillTx/>
                <a:latin typeface="Arial"/>
                <a:ea typeface="+mn-ea"/>
                <a:cs typeface="+mn-cs"/>
              </a:rPr>
              <a:t>1117</a:t>
            </a:r>
          </a:p>
        </p:txBody>
      </p:sp>
      <p:sp>
        <p:nvSpPr>
          <p:cNvPr id="13" name="pole tekstowe 12">
            <a:extLst>
              <a:ext uri="{FF2B5EF4-FFF2-40B4-BE49-F238E27FC236}">
                <a16:creationId xmlns:a16="http://schemas.microsoft.com/office/drawing/2014/main" id="{8633575F-D36A-4B36-84C8-8F8746FD704A}"/>
              </a:ext>
            </a:extLst>
          </p:cNvPr>
          <p:cNvSpPr txBox="1"/>
          <p:nvPr/>
        </p:nvSpPr>
        <p:spPr>
          <a:xfrm>
            <a:off x="754380" y="5273040"/>
            <a:ext cx="64008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600" b="0" i="0" u="none" strike="noStrike" kern="1200" cap="none" spc="0" normalizeH="0" baseline="0" noProof="0" dirty="0">
                <a:ln>
                  <a:noFill/>
                </a:ln>
                <a:solidFill>
                  <a:srgbClr val="000000"/>
                </a:solidFill>
                <a:effectLst/>
                <a:uLnTx/>
                <a:uFillTx/>
                <a:latin typeface="Arial"/>
                <a:ea typeface="+mn-ea"/>
                <a:cs typeface="+mn-cs"/>
              </a:rPr>
              <a:t>2024</a:t>
            </a:r>
          </a:p>
        </p:txBody>
      </p:sp>
      <p:sp>
        <p:nvSpPr>
          <p:cNvPr id="15" name="pole tekstowe 14">
            <a:extLst>
              <a:ext uri="{FF2B5EF4-FFF2-40B4-BE49-F238E27FC236}">
                <a16:creationId xmlns:a16="http://schemas.microsoft.com/office/drawing/2014/main" id="{7E998DFE-18F3-4CAE-9217-3E5CD0A3ED5B}"/>
              </a:ext>
            </a:extLst>
          </p:cNvPr>
          <p:cNvSpPr txBox="1"/>
          <p:nvPr/>
        </p:nvSpPr>
        <p:spPr>
          <a:xfrm>
            <a:off x="1455420" y="5273040"/>
            <a:ext cx="64008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600" b="0" i="0" u="none" strike="noStrike" kern="1200" cap="none" spc="0" normalizeH="0" baseline="0" noProof="0" dirty="0">
                <a:ln>
                  <a:noFill/>
                </a:ln>
                <a:solidFill>
                  <a:srgbClr val="000000"/>
                </a:solidFill>
                <a:effectLst/>
                <a:uLnTx/>
                <a:uFillTx/>
                <a:latin typeface="Arial"/>
                <a:ea typeface="+mn-ea"/>
                <a:cs typeface="+mn-cs"/>
              </a:rPr>
              <a:t>2025</a:t>
            </a:r>
          </a:p>
        </p:txBody>
      </p:sp>
      <p:sp>
        <p:nvSpPr>
          <p:cNvPr id="16" name="Prostokąt 15">
            <a:extLst>
              <a:ext uri="{FF2B5EF4-FFF2-40B4-BE49-F238E27FC236}">
                <a16:creationId xmlns:a16="http://schemas.microsoft.com/office/drawing/2014/main" id="{4EAAA03C-E2E3-49DE-A4B4-6AAC7C6B2E1D}"/>
              </a:ext>
            </a:extLst>
          </p:cNvPr>
          <p:cNvSpPr/>
          <p:nvPr/>
        </p:nvSpPr>
        <p:spPr>
          <a:xfrm>
            <a:off x="2306955" y="4749818"/>
            <a:ext cx="563880" cy="523221"/>
          </a:xfrm>
          <a:prstGeom prst="rect">
            <a:avLst/>
          </a:prstGeom>
          <a:gradFill flip="none" rotWithShape="1">
            <a:gsLst>
              <a:gs pos="0">
                <a:srgbClr val="FF6600">
                  <a:tint val="66000"/>
                  <a:satMod val="160000"/>
                </a:srgbClr>
              </a:gs>
              <a:gs pos="50000">
                <a:srgbClr val="FF6600">
                  <a:tint val="44500"/>
                  <a:satMod val="160000"/>
                </a:srgbClr>
              </a:gs>
              <a:gs pos="100000">
                <a:srgbClr val="FF6600">
                  <a:tint val="23500"/>
                  <a:satMod val="160000"/>
                </a:srgbClr>
              </a:gs>
            </a:gsLst>
            <a:path path="circle">
              <a:fillToRect l="100000" b="100000"/>
            </a:path>
            <a:tileRect t="-100000" r="-100000"/>
          </a:gra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400" b="0" i="0" u="none" strike="noStrike" kern="1200" cap="none" spc="0" normalizeH="0" baseline="0" noProof="0" dirty="0">
                <a:ln>
                  <a:noFill/>
                </a:ln>
                <a:solidFill>
                  <a:srgbClr val="FFFFFF"/>
                </a:solidFill>
                <a:effectLst/>
                <a:uLnTx/>
                <a:uFillTx/>
                <a:latin typeface="Arial"/>
                <a:ea typeface="+mn-ea"/>
                <a:cs typeface="+mn-cs"/>
              </a:rPr>
              <a:t>370</a:t>
            </a:r>
          </a:p>
        </p:txBody>
      </p:sp>
      <p:sp>
        <p:nvSpPr>
          <p:cNvPr id="17" name="pole tekstowe 16">
            <a:extLst>
              <a:ext uri="{FF2B5EF4-FFF2-40B4-BE49-F238E27FC236}">
                <a16:creationId xmlns:a16="http://schemas.microsoft.com/office/drawing/2014/main" id="{BAE32EAC-C573-4C75-BE94-BAD094349B57}"/>
              </a:ext>
            </a:extLst>
          </p:cNvPr>
          <p:cNvSpPr txBox="1"/>
          <p:nvPr/>
        </p:nvSpPr>
        <p:spPr>
          <a:xfrm>
            <a:off x="2264832" y="5273040"/>
            <a:ext cx="101176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600" b="0" i="0" u="none" strike="noStrike" kern="1200" cap="none" spc="0" normalizeH="0" baseline="0" noProof="0" dirty="0">
                <a:ln>
                  <a:noFill/>
                </a:ln>
                <a:solidFill>
                  <a:srgbClr val="000000"/>
                </a:solidFill>
                <a:effectLst/>
                <a:uLnTx/>
                <a:uFillTx/>
                <a:latin typeface="Arial"/>
                <a:ea typeface="+mn-ea"/>
                <a:cs typeface="+mn-cs"/>
              </a:rPr>
              <a:t>02.2026</a:t>
            </a:r>
          </a:p>
        </p:txBody>
      </p:sp>
      <p:graphicFrame>
        <p:nvGraphicFramePr>
          <p:cNvPr id="19" name="Wykres 18">
            <a:extLst>
              <a:ext uri="{FF2B5EF4-FFF2-40B4-BE49-F238E27FC236}">
                <a16:creationId xmlns:a16="http://schemas.microsoft.com/office/drawing/2014/main" id="{A9BA0DCD-7F19-4E28-BD8B-72E3DEC8CD33}"/>
              </a:ext>
            </a:extLst>
          </p:cNvPr>
          <p:cNvGraphicFramePr>
            <a:graphicFrameLocks/>
          </p:cNvGraphicFramePr>
          <p:nvPr/>
        </p:nvGraphicFramePr>
        <p:xfrm>
          <a:off x="3318722" y="3170306"/>
          <a:ext cx="4242875" cy="244128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2" name="Wykres 21">
            <a:extLst>
              <a:ext uri="{FF2B5EF4-FFF2-40B4-BE49-F238E27FC236}">
                <a16:creationId xmlns:a16="http://schemas.microsoft.com/office/drawing/2014/main" id="{71A5F332-EBED-41F0-94DB-999901D08D2D}"/>
              </a:ext>
            </a:extLst>
          </p:cNvPr>
          <p:cNvGraphicFramePr>
            <a:graphicFrameLocks/>
          </p:cNvGraphicFramePr>
          <p:nvPr/>
        </p:nvGraphicFramePr>
        <p:xfrm>
          <a:off x="7740015" y="3170306"/>
          <a:ext cx="3956685" cy="244128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26816486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ymbol zastępczy numeru slajdu 2">
            <a:extLst>
              <a:ext uri="{FF2B5EF4-FFF2-40B4-BE49-F238E27FC236}">
                <a16:creationId xmlns:a16="http://schemas.microsoft.com/office/drawing/2014/main" id="{F5737D7C-6392-4586-A096-659E3F84A5B3}"/>
              </a:ext>
            </a:extLst>
          </p:cNvPr>
          <p:cNvSpPr>
            <a:spLocks noGrp="1"/>
          </p:cNvSpPr>
          <p:nvPr>
            <p:ph type="sldNum" sz="quarter" idx="10"/>
          </p:nvPr>
        </p:nvSpPr>
        <p:spPr/>
        <p:txBody>
          <a:bodyPr>
            <a:normAutofit/>
          </a:bodyPr>
          <a:lstStyle/>
          <a:p>
            <a:pPr marL="0" marR="0" lvl="0" indent="0" algn="l" defTabSz="467539" rtl="0" eaLnBrk="1" fontAlgn="auto" latinLnBrk="0" hangingPunct="1">
              <a:lnSpc>
                <a:spcPct val="100000"/>
              </a:lnSpc>
              <a:spcBef>
                <a:spcPts val="0"/>
              </a:spcBef>
              <a:spcAft>
                <a:spcPts val="0"/>
              </a:spcAft>
              <a:buClrTx/>
              <a:buSzTx/>
              <a:buFontTx/>
              <a:buNone/>
              <a:tabLst/>
              <a:defRPr/>
            </a:pPr>
            <a:fld id="{332DF002-2E43-485C-89F8-8DCEF59D6C4F}" type="slidenum">
              <a:rPr kumimoji="0" lang="pl-PL" sz="1067" b="0" i="0" u="none" strike="noStrike" kern="1200" cap="none" spc="0" normalizeH="0" baseline="0" noProof="0">
                <a:ln>
                  <a:noFill/>
                </a:ln>
                <a:solidFill>
                  <a:srgbClr val="7E93A5"/>
                </a:solidFill>
                <a:effectLst/>
                <a:uLnTx/>
                <a:uFillTx/>
                <a:latin typeface="Arial"/>
                <a:ea typeface="+mn-ea"/>
                <a:cs typeface="+mn-cs"/>
              </a:rPr>
              <a:pPr marL="0" marR="0" lvl="0" indent="0" algn="l" defTabSz="467539" rtl="0" eaLnBrk="1" fontAlgn="auto" latinLnBrk="0" hangingPunct="1">
                <a:lnSpc>
                  <a:spcPct val="100000"/>
                </a:lnSpc>
                <a:spcBef>
                  <a:spcPts val="0"/>
                </a:spcBef>
                <a:spcAft>
                  <a:spcPts val="0"/>
                </a:spcAft>
                <a:buClrTx/>
                <a:buSzTx/>
                <a:buFontTx/>
                <a:buNone/>
                <a:tabLst/>
                <a:defRPr/>
              </a:pPr>
              <a:t>24</a:t>
            </a:fld>
            <a:endParaRPr kumimoji="0" lang="pl-PL" sz="1067" b="0" i="0" u="none" strike="noStrike" kern="1200" cap="none" spc="0" normalizeH="0" baseline="0" noProof="0" dirty="0">
              <a:ln>
                <a:noFill/>
              </a:ln>
              <a:solidFill>
                <a:srgbClr val="7E93A5"/>
              </a:solidFill>
              <a:effectLst/>
              <a:uLnTx/>
              <a:uFillTx/>
              <a:latin typeface="Arial"/>
              <a:ea typeface="+mn-ea"/>
              <a:cs typeface="+mn-cs"/>
            </a:endParaRPr>
          </a:p>
        </p:txBody>
      </p:sp>
      <p:sp>
        <p:nvSpPr>
          <p:cNvPr id="7" name="Strzałka: w dół 6">
            <a:extLst>
              <a:ext uri="{FF2B5EF4-FFF2-40B4-BE49-F238E27FC236}">
                <a16:creationId xmlns:a16="http://schemas.microsoft.com/office/drawing/2014/main" id="{28D72E7F-F7AA-42FF-9A86-921A60AE6263}"/>
              </a:ext>
            </a:extLst>
          </p:cNvPr>
          <p:cNvSpPr/>
          <p:nvPr/>
        </p:nvSpPr>
        <p:spPr>
          <a:xfrm>
            <a:off x="1059180" y="3138183"/>
            <a:ext cx="1529715" cy="391949"/>
          </a:xfrm>
          <a:prstGeom prst="downArrow">
            <a:avLst/>
          </a:prstGeom>
          <a:solidFill>
            <a:srgbClr val="FF66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200" b="1" i="0" u="none" strike="noStrike" kern="1200" cap="none" spc="0" normalizeH="0" baseline="0" noProof="0" dirty="0">
                <a:ln>
                  <a:noFill/>
                </a:ln>
                <a:solidFill>
                  <a:srgbClr val="FFFFFF"/>
                </a:solidFill>
                <a:effectLst/>
                <a:uLnTx/>
                <a:uFillTx/>
                <a:latin typeface="Arial"/>
                <a:ea typeface="+mn-ea"/>
                <a:cs typeface="+mn-cs"/>
              </a:rPr>
              <a:t>+ 74%</a:t>
            </a:r>
          </a:p>
        </p:txBody>
      </p:sp>
      <p:sp>
        <p:nvSpPr>
          <p:cNvPr id="9" name="pole tekstowe 8">
            <a:extLst>
              <a:ext uri="{FF2B5EF4-FFF2-40B4-BE49-F238E27FC236}">
                <a16:creationId xmlns:a16="http://schemas.microsoft.com/office/drawing/2014/main" id="{82BF7EFC-AB90-4AC9-BFD0-4DB3952092DD}"/>
              </a:ext>
            </a:extLst>
          </p:cNvPr>
          <p:cNvSpPr txBox="1"/>
          <p:nvPr/>
        </p:nvSpPr>
        <p:spPr>
          <a:xfrm>
            <a:off x="647699" y="5693342"/>
            <a:ext cx="8862500" cy="738664"/>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1" u="none" strike="noStrike" kern="1200" cap="none" spc="0" normalizeH="0" baseline="0" noProof="0" dirty="0">
                <a:ln>
                  <a:noFill/>
                </a:ln>
                <a:solidFill>
                  <a:srgbClr val="707173"/>
                </a:solidFill>
                <a:effectLst/>
                <a:uLnTx/>
                <a:uFillTx/>
                <a:latin typeface="Calibri" panose="020F0502020204030204" pitchFamily="34" charset="0"/>
                <a:ea typeface="Calibri" panose="020F0502020204030204" pitchFamily="34" charset="0"/>
                <a:cs typeface="Calibri" panose="020F0502020204030204" pitchFamily="34" charset="0"/>
              </a:rPr>
              <a:t>The area of ​​loans is currently the weakest for us.</a:t>
            </a:r>
            <a:r>
              <a:rPr kumimoji="0" lang="pl-PL" sz="1050" b="0" i="1" u="none" strike="noStrike" kern="1200" cap="none" spc="0" normalizeH="0" baseline="0" noProof="0" dirty="0">
                <a:ln>
                  <a:noFill/>
                </a:ln>
                <a:solidFill>
                  <a:srgbClr val="707173"/>
                </a:solidFill>
                <a:effectLst/>
                <a:uLnTx/>
                <a:uFillTx/>
                <a:latin typeface="Calibri" panose="020F0502020204030204" pitchFamily="34" charset="0"/>
                <a:ea typeface="Calibri" panose="020F0502020204030204" pitchFamily="34" charset="0"/>
                <a:cs typeface="Calibri" panose="020F0502020204030204" pitchFamily="34" charset="0"/>
              </a:rPr>
              <a:t>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1" u="none" strike="noStrike" kern="1200" cap="none" spc="0" normalizeH="0" baseline="0" noProof="0" dirty="0">
                <a:ln>
                  <a:noFill/>
                </a:ln>
                <a:solidFill>
                  <a:srgbClr val="707173"/>
                </a:solidFill>
                <a:effectLst/>
                <a:uLnTx/>
                <a:uFillTx/>
                <a:latin typeface="Calibri" panose="020F0502020204030204" pitchFamily="34" charset="0"/>
                <a:ea typeface="Calibri" panose="020F0502020204030204" pitchFamily="34" charset="0"/>
                <a:cs typeface="Calibri" panose="020F0502020204030204" pitchFamily="34" charset="0"/>
              </a:rPr>
              <a:t>This year, we've increased our focus on pre-approved loans, which are the best for phone sales. Customers sign the agreement themselves in online banking while being assisted by a credit advisor over the phone.</a:t>
            </a:r>
            <a:endParaRPr kumimoji="0" lang="pl-PL" sz="1050" b="0" i="1" u="none" strike="noStrike" kern="1200" cap="none" spc="0" normalizeH="0" baseline="0" noProof="0" dirty="0">
              <a:ln>
                <a:noFill/>
              </a:ln>
              <a:solidFill>
                <a:srgbClr val="707173"/>
              </a:solidFill>
              <a:effectLst/>
              <a:uLnTx/>
              <a:uFillTx/>
              <a:latin typeface="Calibri" panose="020F0502020204030204" pitchFamily="34" charset="0"/>
              <a:ea typeface="Calibri" panose="020F0502020204030204" pitchFamily="34" charset="0"/>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1" u="none" strike="noStrike" kern="1200" cap="none" spc="0" normalizeH="0" baseline="0" noProof="0" dirty="0">
                <a:ln>
                  <a:noFill/>
                </a:ln>
                <a:solidFill>
                  <a:srgbClr val="707173"/>
                </a:solidFill>
                <a:effectLst/>
                <a:uLnTx/>
                <a:uFillTx/>
                <a:latin typeface="Calibri" panose="020F0502020204030204" pitchFamily="34" charset="0"/>
                <a:ea typeface="Calibri" panose="020F0502020204030204" pitchFamily="34" charset="0"/>
                <a:cs typeface="Calibri" panose="020F0502020204030204" pitchFamily="34" charset="0"/>
              </a:rPr>
              <a:t>our current operational goal is to sell 2 loans per month per advisor</a:t>
            </a:r>
            <a:endParaRPr kumimoji="0" lang="pl-PL" sz="1050" b="0" i="1" u="none" strike="noStrike" kern="1200" cap="none" spc="0" normalizeH="0" baseline="0" noProof="0" dirty="0">
              <a:ln>
                <a:noFill/>
              </a:ln>
              <a:solidFill>
                <a:srgbClr val="707173"/>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10" name="Prostokąt 9">
            <a:extLst>
              <a:ext uri="{FF2B5EF4-FFF2-40B4-BE49-F238E27FC236}">
                <a16:creationId xmlns:a16="http://schemas.microsoft.com/office/drawing/2014/main" id="{8925494E-318F-4E7C-83B1-3FA9BCF5AE71}"/>
              </a:ext>
            </a:extLst>
          </p:cNvPr>
          <p:cNvSpPr/>
          <p:nvPr/>
        </p:nvSpPr>
        <p:spPr>
          <a:xfrm>
            <a:off x="777240" y="4320540"/>
            <a:ext cx="563880" cy="952500"/>
          </a:xfrm>
          <a:prstGeom prst="rect">
            <a:avLst/>
          </a:prstGeom>
          <a:solidFill>
            <a:srgbClr val="FF66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050" b="0" i="0" u="none" strike="noStrike" kern="1200" cap="none" spc="0" normalizeH="0" baseline="0" noProof="0" dirty="0">
                <a:ln>
                  <a:noFill/>
                </a:ln>
                <a:solidFill>
                  <a:srgbClr val="FFFFFF"/>
                </a:solidFill>
                <a:effectLst/>
                <a:uLnTx/>
                <a:uFillTx/>
                <a:latin typeface="Arial"/>
                <a:ea typeface="+mn-ea"/>
                <a:cs typeface="+mn-cs"/>
              </a:rPr>
              <a:t>47</a:t>
            </a:r>
          </a:p>
        </p:txBody>
      </p:sp>
      <p:sp>
        <p:nvSpPr>
          <p:cNvPr id="12" name="Prostokąt 11">
            <a:extLst>
              <a:ext uri="{FF2B5EF4-FFF2-40B4-BE49-F238E27FC236}">
                <a16:creationId xmlns:a16="http://schemas.microsoft.com/office/drawing/2014/main" id="{E5E84958-A9A1-4F81-8171-8C7760188871}"/>
              </a:ext>
            </a:extLst>
          </p:cNvPr>
          <p:cNvSpPr/>
          <p:nvPr/>
        </p:nvSpPr>
        <p:spPr>
          <a:xfrm>
            <a:off x="1493520" y="3611880"/>
            <a:ext cx="563880" cy="1661160"/>
          </a:xfrm>
          <a:prstGeom prst="rect">
            <a:avLst/>
          </a:prstGeom>
          <a:solidFill>
            <a:srgbClr val="FF66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400" b="0" i="0" u="none" strike="noStrike" kern="1200" cap="none" spc="0" normalizeH="0" baseline="0" noProof="0" dirty="0">
                <a:ln>
                  <a:noFill/>
                </a:ln>
                <a:solidFill>
                  <a:srgbClr val="FFFFFF"/>
                </a:solidFill>
                <a:effectLst/>
                <a:uLnTx/>
                <a:uFillTx/>
                <a:latin typeface="Arial"/>
                <a:ea typeface="+mn-ea"/>
                <a:cs typeface="+mn-cs"/>
              </a:rPr>
              <a:t>82</a:t>
            </a:r>
          </a:p>
        </p:txBody>
      </p:sp>
      <p:sp>
        <p:nvSpPr>
          <p:cNvPr id="13" name="pole tekstowe 12">
            <a:extLst>
              <a:ext uri="{FF2B5EF4-FFF2-40B4-BE49-F238E27FC236}">
                <a16:creationId xmlns:a16="http://schemas.microsoft.com/office/drawing/2014/main" id="{8633575F-D36A-4B36-84C8-8F8746FD704A}"/>
              </a:ext>
            </a:extLst>
          </p:cNvPr>
          <p:cNvSpPr txBox="1"/>
          <p:nvPr/>
        </p:nvSpPr>
        <p:spPr>
          <a:xfrm>
            <a:off x="754380" y="5273040"/>
            <a:ext cx="64008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600" b="0" i="0" u="none" strike="noStrike" kern="1200" cap="none" spc="0" normalizeH="0" baseline="0" noProof="0" dirty="0">
                <a:ln>
                  <a:noFill/>
                </a:ln>
                <a:solidFill>
                  <a:srgbClr val="000000"/>
                </a:solidFill>
                <a:effectLst/>
                <a:uLnTx/>
                <a:uFillTx/>
                <a:latin typeface="Arial"/>
                <a:ea typeface="+mn-ea"/>
                <a:cs typeface="+mn-cs"/>
              </a:rPr>
              <a:t>2024</a:t>
            </a:r>
          </a:p>
        </p:txBody>
      </p:sp>
      <p:sp>
        <p:nvSpPr>
          <p:cNvPr id="15" name="pole tekstowe 14">
            <a:extLst>
              <a:ext uri="{FF2B5EF4-FFF2-40B4-BE49-F238E27FC236}">
                <a16:creationId xmlns:a16="http://schemas.microsoft.com/office/drawing/2014/main" id="{7E998DFE-18F3-4CAE-9217-3E5CD0A3ED5B}"/>
              </a:ext>
            </a:extLst>
          </p:cNvPr>
          <p:cNvSpPr txBox="1"/>
          <p:nvPr/>
        </p:nvSpPr>
        <p:spPr>
          <a:xfrm>
            <a:off x="1455420" y="5273040"/>
            <a:ext cx="64008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600" b="0" i="0" u="none" strike="noStrike" kern="1200" cap="none" spc="0" normalizeH="0" baseline="0" noProof="0" dirty="0">
                <a:ln>
                  <a:noFill/>
                </a:ln>
                <a:solidFill>
                  <a:srgbClr val="000000"/>
                </a:solidFill>
                <a:effectLst/>
                <a:uLnTx/>
                <a:uFillTx/>
                <a:latin typeface="Arial"/>
                <a:ea typeface="+mn-ea"/>
                <a:cs typeface="+mn-cs"/>
              </a:rPr>
              <a:t>2025</a:t>
            </a:r>
          </a:p>
        </p:txBody>
      </p:sp>
      <p:sp>
        <p:nvSpPr>
          <p:cNvPr id="16" name="Prostokąt 15">
            <a:extLst>
              <a:ext uri="{FF2B5EF4-FFF2-40B4-BE49-F238E27FC236}">
                <a16:creationId xmlns:a16="http://schemas.microsoft.com/office/drawing/2014/main" id="{4EAAA03C-E2E3-49DE-A4B4-6AAC7C6B2E1D}"/>
              </a:ext>
            </a:extLst>
          </p:cNvPr>
          <p:cNvSpPr/>
          <p:nvPr/>
        </p:nvSpPr>
        <p:spPr>
          <a:xfrm>
            <a:off x="2306955" y="4749818"/>
            <a:ext cx="563880" cy="523221"/>
          </a:xfrm>
          <a:prstGeom prst="rect">
            <a:avLst/>
          </a:prstGeom>
          <a:gradFill flip="none" rotWithShape="1">
            <a:gsLst>
              <a:gs pos="0">
                <a:srgbClr val="FF6600">
                  <a:tint val="66000"/>
                  <a:satMod val="160000"/>
                </a:srgbClr>
              </a:gs>
              <a:gs pos="50000">
                <a:srgbClr val="FF6600">
                  <a:tint val="44500"/>
                  <a:satMod val="160000"/>
                </a:srgbClr>
              </a:gs>
              <a:gs pos="100000">
                <a:srgbClr val="FF6600">
                  <a:tint val="23500"/>
                  <a:satMod val="160000"/>
                </a:srgbClr>
              </a:gs>
            </a:gsLst>
            <a:path path="circle">
              <a:fillToRect l="100000" b="100000"/>
            </a:path>
            <a:tileRect t="-100000" r="-100000"/>
          </a:gra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400" b="0" i="0" u="none" strike="noStrike" kern="1200" cap="none" spc="0" normalizeH="0" baseline="0" noProof="0" dirty="0">
                <a:ln>
                  <a:noFill/>
                </a:ln>
                <a:solidFill>
                  <a:srgbClr val="FFFFFF"/>
                </a:solidFill>
                <a:effectLst/>
                <a:uLnTx/>
                <a:uFillTx/>
                <a:latin typeface="Arial"/>
                <a:ea typeface="+mn-ea"/>
                <a:cs typeface="+mn-cs"/>
              </a:rPr>
              <a:t>19</a:t>
            </a:r>
          </a:p>
        </p:txBody>
      </p:sp>
      <p:sp>
        <p:nvSpPr>
          <p:cNvPr id="17" name="pole tekstowe 16">
            <a:extLst>
              <a:ext uri="{FF2B5EF4-FFF2-40B4-BE49-F238E27FC236}">
                <a16:creationId xmlns:a16="http://schemas.microsoft.com/office/drawing/2014/main" id="{BAE32EAC-C573-4C75-BE94-BAD094349B57}"/>
              </a:ext>
            </a:extLst>
          </p:cNvPr>
          <p:cNvSpPr txBox="1"/>
          <p:nvPr/>
        </p:nvSpPr>
        <p:spPr>
          <a:xfrm>
            <a:off x="2264832" y="5273040"/>
            <a:ext cx="101176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600" b="0" i="0" u="none" strike="noStrike" kern="1200" cap="none" spc="0" normalizeH="0" baseline="0" noProof="0" dirty="0">
                <a:ln>
                  <a:noFill/>
                </a:ln>
                <a:solidFill>
                  <a:srgbClr val="000000"/>
                </a:solidFill>
                <a:effectLst/>
                <a:uLnTx/>
                <a:uFillTx/>
                <a:latin typeface="Arial"/>
                <a:ea typeface="+mn-ea"/>
                <a:cs typeface="+mn-cs"/>
              </a:rPr>
              <a:t>02.2026</a:t>
            </a:r>
          </a:p>
        </p:txBody>
      </p:sp>
      <p:sp>
        <p:nvSpPr>
          <p:cNvPr id="18" name="Tytuł 4">
            <a:extLst>
              <a:ext uri="{FF2B5EF4-FFF2-40B4-BE49-F238E27FC236}">
                <a16:creationId xmlns:a16="http://schemas.microsoft.com/office/drawing/2014/main" id="{80F7ABAD-DBDE-422B-B544-5C816AED4E9A}"/>
              </a:ext>
            </a:extLst>
          </p:cNvPr>
          <p:cNvSpPr txBox="1">
            <a:spLocks/>
          </p:cNvSpPr>
          <p:nvPr/>
        </p:nvSpPr>
        <p:spPr bwMode="gray">
          <a:xfrm>
            <a:off x="48673" y="85627"/>
            <a:ext cx="12185065" cy="753532"/>
          </a:xfrm>
          <a:prstGeom prst="rect">
            <a:avLst/>
          </a:prstGeom>
        </p:spPr>
        <p:txBody>
          <a:bodyPr vert="horz" lIns="0" tIns="0" rIns="0" bIns="0" rtlCol="0" anchor="b" anchorCtr="0">
            <a:normAutofit fontScale="97500" lnSpcReduction="10000"/>
          </a:bodyPr>
          <a:lstStyle>
            <a:lvl1pPr algn="l" defTabSz="914341" rtl="0" eaLnBrk="1" latinLnBrk="0" hangingPunct="1">
              <a:lnSpc>
                <a:spcPct val="90000"/>
              </a:lnSpc>
              <a:spcBef>
                <a:spcPts val="0"/>
              </a:spcBef>
              <a:spcAft>
                <a:spcPts val="0"/>
              </a:spcAft>
              <a:buNone/>
              <a:defRPr sz="3733" b="1" kern="1200" cap="none" baseline="0">
                <a:solidFill>
                  <a:srgbClr val="009597"/>
                </a:solidFill>
                <a:latin typeface="+mj-lt"/>
                <a:ea typeface="+mj-ea"/>
                <a:cs typeface="+mj-cs"/>
              </a:defRPr>
            </a:lvl1pPr>
          </a:lstStyle>
          <a:p>
            <a:pPr marL="0" marR="0" lvl="0" indent="0" algn="l" defTabSz="914341" rtl="0" eaLnBrk="1" fontAlgn="auto" latinLnBrk="0" hangingPunct="1">
              <a:lnSpc>
                <a:spcPct val="90000"/>
              </a:lnSpc>
              <a:spcBef>
                <a:spcPts val="0"/>
              </a:spcBef>
              <a:spcAft>
                <a:spcPts val="0"/>
              </a:spcAft>
              <a:buClrTx/>
              <a:buSzTx/>
              <a:buFontTx/>
              <a:buNone/>
              <a:tabLst/>
              <a:defRPr/>
            </a:pPr>
            <a:r>
              <a:rPr kumimoji="0" lang="pl-PL" sz="3733" b="1" i="0" u="none" strike="noStrike" kern="1200" cap="none" spc="0" normalizeH="0" baseline="0" noProof="0" dirty="0">
                <a:ln>
                  <a:noFill/>
                </a:ln>
                <a:solidFill>
                  <a:srgbClr val="009597"/>
                </a:solidFill>
                <a:effectLst/>
                <a:uLnTx/>
                <a:uFillTx/>
                <a:latin typeface="Arial"/>
                <a:ea typeface="+mj-ea"/>
                <a:cs typeface="+mj-cs"/>
              </a:rPr>
              <a:t>Remote </a:t>
            </a:r>
            <a:r>
              <a:rPr kumimoji="0" lang="pl-PL" sz="3733" b="1" i="0" u="none" strike="noStrike" kern="1200" cap="none" spc="0" normalizeH="0" baseline="0" noProof="0" dirty="0" err="1">
                <a:ln>
                  <a:noFill/>
                </a:ln>
                <a:solidFill>
                  <a:srgbClr val="009597"/>
                </a:solidFill>
                <a:effectLst/>
                <a:uLnTx/>
                <a:uFillTx/>
                <a:latin typeface="Arial"/>
                <a:ea typeface="+mj-ea"/>
                <a:cs typeface="+mj-cs"/>
              </a:rPr>
              <a:t>Advisors</a:t>
            </a:r>
            <a:r>
              <a:rPr kumimoji="0" lang="pl-PL" sz="3733" b="1" i="0" u="none" strike="noStrike" kern="1200" cap="none" spc="0" normalizeH="0" baseline="0" noProof="0" dirty="0">
                <a:ln>
                  <a:noFill/>
                </a:ln>
                <a:solidFill>
                  <a:srgbClr val="009597"/>
                </a:solidFill>
                <a:effectLst/>
                <a:uLnTx/>
                <a:uFillTx/>
                <a:latin typeface="Arial"/>
                <a:ea typeface="+mj-ea"/>
                <a:cs typeface="+mj-cs"/>
              </a:rPr>
              <a:t>: </a:t>
            </a:r>
            <a:r>
              <a:rPr kumimoji="0" lang="pl-PL" sz="3733" b="1" i="0" u="none" strike="noStrike" kern="1200" cap="none" spc="0" normalizeH="0" baseline="0" noProof="0" dirty="0" err="1">
                <a:ln>
                  <a:noFill/>
                </a:ln>
                <a:solidFill>
                  <a:srgbClr val="009597"/>
                </a:solidFill>
                <a:effectLst/>
                <a:uLnTx/>
                <a:uFillTx/>
                <a:latin typeface="Arial"/>
                <a:ea typeface="+mj-ea"/>
                <a:cs typeface="+mj-cs"/>
              </a:rPr>
              <a:t>Loans</a:t>
            </a:r>
            <a:br>
              <a:rPr kumimoji="0" lang="pl-PL" sz="3733" b="1" i="0" u="none" strike="noStrike" kern="1200" cap="none" spc="0" normalizeH="0" baseline="0" noProof="0" dirty="0">
                <a:ln>
                  <a:noFill/>
                </a:ln>
                <a:solidFill>
                  <a:srgbClr val="009597"/>
                </a:solidFill>
                <a:effectLst/>
                <a:uLnTx/>
                <a:uFillTx/>
                <a:latin typeface="Arial"/>
                <a:ea typeface="+mj-ea"/>
                <a:cs typeface="+mj-cs"/>
              </a:rPr>
            </a:br>
            <a:endParaRPr kumimoji="0" lang="pl-PL" sz="2200" b="1" i="0" u="none" strike="noStrike" kern="1200" cap="none" spc="0" normalizeH="0" baseline="0" noProof="0" dirty="0">
              <a:ln>
                <a:noFill/>
              </a:ln>
              <a:solidFill>
                <a:srgbClr val="92D050"/>
              </a:solidFill>
              <a:effectLst/>
              <a:uLnTx/>
              <a:uFillTx/>
              <a:latin typeface="Arial"/>
              <a:ea typeface="+mj-ea"/>
              <a:cs typeface="+mj-cs"/>
            </a:endParaRPr>
          </a:p>
        </p:txBody>
      </p:sp>
      <p:graphicFrame>
        <p:nvGraphicFramePr>
          <p:cNvPr id="8" name="Tabela 7">
            <a:extLst>
              <a:ext uri="{FF2B5EF4-FFF2-40B4-BE49-F238E27FC236}">
                <a16:creationId xmlns:a16="http://schemas.microsoft.com/office/drawing/2014/main" id="{A5D57B72-CAA1-4130-9B46-4727D71C16DC}"/>
              </a:ext>
            </a:extLst>
          </p:cNvPr>
          <p:cNvGraphicFramePr>
            <a:graphicFrameLocks noGrp="1"/>
          </p:cNvGraphicFramePr>
          <p:nvPr/>
        </p:nvGraphicFramePr>
        <p:xfrm>
          <a:off x="720524" y="718344"/>
          <a:ext cx="8918770" cy="1977392"/>
        </p:xfrm>
        <a:graphic>
          <a:graphicData uri="http://schemas.openxmlformats.org/drawingml/2006/table">
            <a:tbl>
              <a:tblPr/>
              <a:tblGrid>
                <a:gridCol w="565523">
                  <a:extLst>
                    <a:ext uri="{9D8B030D-6E8A-4147-A177-3AD203B41FA5}">
                      <a16:colId xmlns:a16="http://schemas.microsoft.com/office/drawing/2014/main" val="2915114819"/>
                    </a:ext>
                  </a:extLst>
                </a:gridCol>
                <a:gridCol w="1001448">
                  <a:extLst>
                    <a:ext uri="{9D8B030D-6E8A-4147-A177-3AD203B41FA5}">
                      <a16:colId xmlns:a16="http://schemas.microsoft.com/office/drawing/2014/main" val="2725788465"/>
                    </a:ext>
                  </a:extLst>
                </a:gridCol>
                <a:gridCol w="565523">
                  <a:extLst>
                    <a:ext uri="{9D8B030D-6E8A-4147-A177-3AD203B41FA5}">
                      <a16:colId xmlns:a16="http://schemas.microsoft.com/office/drawing/2014/main" val="2645522884"/>
                    </a:ext>
                  </a:extLst>
                </a:gridCol>
                <a:gridCol w="565523">
                  <a:extLst>
                    <a:ext uri="{9D8B030D-6E8A-4147-A177-3AD203B41FA5}">
                      <a16:colId xmlns:a16="http://schemas.microsoft.com/office/drawing/2014/main" val="4067721725"/>
                    </a:ext>
                  </a:extLst>
                </a:gridCol>
                <a:gridCol w="565523">
                  <a:extLst>
                    <a:ext uri="{9D8B030D-6E8A-4147-A177-3AD203B41FA5}">
                      <a16:colId xmlns:a16="http://schemas.microsoft.com/office/drawing/2014/main" val="1510631952"/>
                    </a:ext>
                  </a:extLst>
                </a:gridCol>
                <a:gridCol w="565523">
                  <a:extLst>
                    <a:ext uri="{9D8B030D-6E8A-4147-A177-3AD203B41FA5}">
                      <a16:colId xmlns:a16="http://schemas.microsoft.com/office/drawing/2014/main" val="3952681021"/>
                    </a:ext>
                  </a:extLst>
                </a:gridCol>
                <a:gridCol w="565523">
                  <a:extLst>
                    <a:ext uri="{9D8B030D-6E8A-4147-A177-3AD203B41FA5}">
                      <a16:colId xmlns:a16="http://schemas.microsoft.com/office/drawing/2014/main" val="2741665072"/>
                    </a:ext>
                  </a:extLst>
                </a:gridCol>
                <a:gridCol w="565523">
                  <a:extLst>
                    <a:ext uri="{9D8B030D-6E8A-4147-A177-3AD203B41FA5}">
                      <a16:colId xmlns:a16="http://schemas.microsoft.com/office/drawing/2014/main" val="4219542109"/>
                    </a:ext>
                  </a:extLst>
                </a:gridCol>
                <a:gridCol w="565523">
                  <a:extLst>
                    <a:ext uri="{9D8B030D-6E8A-4147-A177-3AD203B41FA5}">
                      <a16:colId xmlns:a16="http://schemas.microsoft.com/office/drawing/2014/main" val="1931619879"/>
                    </a:ext>
                  </a:extLst>
                </a:gridCol>
                <a:gridCol w="565523">
                  <a:extLst>
                    <a:ext uri="{9D8B030D-6E8A-4147-A177-3AD203B41FA5}">
                      <a16:colId xmlns:a16="http://schemas.microsoft.com/office/drawing/2014/main" val="1611687421"/>
                    </a:ext>
                  </a:extLst>
                </a:gridCol>
                <a:gridCol w="565523">
                  <a:extLst>
                    <a:ext uri="{9D8B030D-6E8A-4147-A177-3AD203B41FA5}">
                      <a16:colId xmlns:a16="http://schemas.microsoft.com/office/drawing/2014/main" val="3217272058"/>
                    </a:ext>
                  </a:extLst>
                </a:gridCol>
                <a:gridCol w="565523">
                  <a:extLst>
                    <a:ext uri="{9D8B030D-6E8A-4147-A177-3AD203B41FA5}">
                      <a16:colId xmlns:a16="http://schemas.microsoft.com/office/drawing/2014/main" val="3095561383"/>
                    </a:ext>
                  </a:extLst>
                </a:gridCol>
                <a:gridCol w="565523">
                  <a:extLst>
                    <a:ext uri="{9D8B030D-6E8A-4147-A177-3AD203B41FA5}">
                      <a16:colId xmlns:a16="http://schemas.microsoft.com/office/drawing/2014/main" val="1723119175"/>
                    </a:ext>
                  </a:extLst>
                </a:gridCol>
                <a:gridCol w="565523">
                  <a:extLst>
                    <a:ext uri="{9D8B030D-6E8A-4147-A177-3AD203B41FA5}">
                      <a16:colId xmlns:a16="http://schemas.microsoft.com/office/drawing/2014/main" val="207511784"/>
                    </a:ext>
                  </a:extLst>
                </a:gridCol>
                <a:gridCol w="565523">
                  <a:extLst>
                    <a:ext uri="{9D8B030D-6E8A-4147-A177-3AD203B41FA5}">
                      <a16:colId xmlns:a16="http://schemas.microsoft.com/office/drawing/2014/main" val="1390990405"/>
                    </a:ext>
                  </a:extLst>
                </a:gridCol>
              </a:tblGrid>
              <a:tr h="168565">
                <a:tc>
                  <a:txBody>
                    <a:bodyPr/>
                    <a:lstStyle/>
                    <a:p>
                      <a:pPr algn="l" fontAlgn="b"/>
                      <a:endParaRPr lang="pl-PL" sz="1100" b="0" i="0" u="none" strike="noStrike">
                        <a:solidFill>
                          <a:srgbClr val="000000"/>
                        </a:solidFill>
                        <a:effectLst/>
                        <a:latin typeface="Calibri" panose="020F0502020204030204" pitchFamily="34" charset="0"/>
                      </a:endParaRPr>
                    </a:p>
                  </a:txBody>
                  <a:tcPr marL="9352" marR="9352" marT="9352" marB="0" anchor="b">
                    <a:lnL>
                      <a:noFill/>
                    </a:lnL>
                    <a:lnR>
                      <a:noFill/>
                    </a:lnR>
                    <a:lnT>
                      <a:noFill/>
                    </a:lnT>
                    <a:lnB>
                      <a:noFill/>
                    </a:lnB>
                  </a:tcPr>
                </a:tc>
                <a:tc>
                  <a:txBody>
                    <a:bodyPr/>
                    <a:lstStyle/>
                    <a:p>
                      <a:pPr algn="l" fontAlgn="b"/>
                      <a:endParaRPr lang="pl-PL" sz="1100" b="0" i="0" u="none" strike="noStrike">
                        <a:solidFill>
                          <a:srgbClr val="000000"/>
                        </a:solidFill>
                        <a:effectLst/>
                        <a:latin typeface="Calibri" panose="020F0502020204030204" pitchFamily="34" charset="0"/>
                      </a:endParaRPr>
                    </a:p>
                  </a:txBody>
                  <a:tcPr marL="9352" marR="9352" marT="9352"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gridSpan="13">
                  <a:txBody>
                    <a:bodyPr/>
                    <a:lstStyle/>
                    <a:p>
                      <a:pPr algn="ctr" fontAlgn="b"/>
                      <a:r>
                        <a:rPr lang="pl-PL" sz="1200" b="1" i="0" u="none" strike="noStrike">
                          <a:solidFill>
                            <a:srgbClr val="FFFFFF"/>
                          </a:solidFill>
                          <a:effectLst/>
                          <a:latin typeface="Calibri" panose="020F0502020204030204" pitchFamily="34" charset="0"/>
                        </a:rPr>
                        <a:t>2025</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9999"/>
                    </a:solidFill>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extLst>
                  <a:ext uri="{0D108BD9-81ED-4DB2-BD59-A6C34878D82A}">
                    <a16:rowId xmlns:a16="http://schemas.microsoft.com/office/drawing/2014/main" val="587148751"/>
                  </a:ext>
                </a:extLst>
              </a:tr>
              <a:tr h="160538">
                <a:tc>
                  <a:txBody>
                    <a:bodyPr/>
                    <a:lstStyle/>
                    <a:p>
                      <a:pPr algn="l" fontAlgn="b"/>
                      <a:endParaRPr lang="pl-PL" sz="1100" b="0" i="0" u="none" strike="noStrike">
                        <a:solidFill>
                          <a:srgbClr val="000000"/>
                        </a:solidFill>
                        <a:effectLst/>
                        <a:latin typeface="Calibri" panose="020F0502020204030204" pitchFamily="34" charset="0"/>
                      </a:endParaRPr>
                    </a:p>
                  </a:txBody>
                  <a:tcPr marL="9352" marR="9352" marT="9352"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pl-PL" sz="1100" b="0" i="0" u="none" strike="noStrike">
                          <a:solidFill>
                            <a:srgbClr val="000000"/>
                          </a:solidFill>
                          <a:effectLst/>
                          <a:latin typeface="Calibri" panose="020F0502020204030204" pitchFamily="34" charset="0"/>
                        </a:rPr>
                        <a:t> </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jan'25</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feb'25</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mar'25</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apr'25</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may'25</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jun'25</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jul'25</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aug'25</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sep'25</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oct'25</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nov'25</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dec'25</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1" i="0" u="none" strike="noStrike">
                          <a:solidFill>
                            <a:srgbClr val="000000"/>
                          </a:solidFill>
                          <a:effectLst/>
                          <a:latin typeface="Calibri" panose="020F0502020204030204" pitchFamily="34" charset="0"/>
                        </a:rPr>
                        <a:t>TOTAL</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58956745"/>
                  </a:ext>
                </a:extLst>
              </a:tr>
              <a:tr h="160538">
                <a:tc>
                  <a:txBody>
                    <a:bodyPr/>
                    <a:lstStyle/>
                    <a:p>
                      <a:pPr algn="l" fontAlgn="b"/>
                      <a:endParaRPr lang="pl-PL" sz="1100" b="0" i="0" u="none" strike="noStrike">
                        <a:solidFill>
                          <a:srgbClr val="000000"/>
                        </a:solidFill>
                        <a:effectLst/>
                        <a:latin typeface="Calibri" panose="020F0502020204030204" pitchFamily="34" charset="0"/>
                      </a:endParaRPr>
                    </a:p>
                  </a:txBody>
                  <a:tcPr marL="9352" marR="9352" marT="9352"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b"/>
                      <a:r>
                        <a:rPr lang="pl-PL" sz="1100" b="0" i="0" u="none" strike="noStrike">
                          <a:solidFill>
                            <a:srgbClr val="000000"/>
                          </a:solidFill>
                          <a:effectLst/>
                          <a:latin typeface="Calibri" panose="020F0502020204030204" pitchFamily="34" charset="0"/>
                        </a:rPr>
                        <a:t># Loans</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1" i="0" u="none" strike="noStrike">
                          <a:solidFill>
                            <a:srgbClr val="000000"/>
                          </a:solidFill>
                          <a:effectLst/>
                          <a:latin typeface="Calibri" panose="020F0502020204030204" pitchFamily="34" charset="0"/>
                        </a:rPr>
                        <a:t>1</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1" i="0" u="none" strike="noStrike">
                          <a:solidFill>
                            <a:srgbClr val="000000"/>
                          </a:solidFill>
                          <a:effectLst/>
                          <a:latin typeface="Calibri" panose="020F0502020204030204" pitchFamily="34" charset="0"/>
                        </a:rPr>
                        <a:t>10</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1" i="0" u="none" strike="noStrike">
                          <a:solidFill>
                            <a:srgbClr val="000000"/>
                          </a:solidFill>
                          <a:effectLst/>
                          <a:latin typeface="Calibri" panose="020F0502020204030204" pitchFamily="34" charset="0"/>
                        </a:rPr>
                        <a:t>9</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1" i="0" u="none" strike="noStrike">
                          <a:solidFill>
                            <a:srgbClr val="000000"/>
                          </a:solidFill>
                          <a:effectLst/>
                          <a:latin typeface="Calibri" panose="020F0502020204030204" pitchFamily="34" charset="0"/>
                        </a:rPr>
                        <a:t>3</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1" i="0" u="none" strike="noStrike">
                          <a:solidFill>
                            <a:srgbClr val="000000"/>
                          </a:solidFill>
                          <a:effectLst/>
                          <a:latin typeface="Calibri" panose="020F0502020204030204" pitchFamily="34" charset="0"/>
                        </a:rPr>
                        <a:t>5</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1" i="0" u="none" strike="noStrike">
                          <a:solidFill>
                            <a:srgbClr val="000000"/>
                          </a:solidFill>
                          <a:effectLst/>
                          <a:latin typeface="Calibri" panose="020F0502020204030204" pitchFamily="34" charset="0"/>
                        </a:rPr>
                        <a:t>7</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1" i="0" u="none" strike="noStrike">
                          <a:solidFill>
                            <a:srgbClr val="000000"/>
                          </a:solidFill>
                          <a:effectLst/>
                          <a:latin typeface="Calibri" panose="020F0502020204030204" pitchFamily="34" charset="0"/>
                        </a:rPr>
                        <a:t>6</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1" i="0" u="none" strike="noStrike">
                          <a:solidFill>
                            <a:srgbClr val="000000"/>
                          </a:solidFill>
                          <a:effectLst/>
                          <a:latin typeface="Calibri" panose="020F0502020204030204" pitchFamily="34" charset="0"/>
                        </a:rPr>
                        <a:t>9</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1" i="0" u="none" strike="noStrike">
                          <a:solidFill>
                            <a:srgbClr val="000000"/>
                          </a:solidFill>
                          <a:effectLst/>
                          <a:latin typeface="Calibri" panose="020F0502020204030204" pitchFamily="34" charset="0"/>
                        </a:rPr>
                        <a:t>7</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1" i="0" u="none" strike="noStrike">
                          <a:solidFill>
                            <a:srgbClr val="000000"/>
                          </a:solidFill>
                          <a:effectLst/>
                          <a:latin typeface="Calibri" panose="020F0502020204030204" pitchFamily="34" charset="0"/>
                        </a:rPr>
                        <a:t>6</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1" i="0" u="none" strike="noStrike">
                          <a:solidFill>
                            <a:srgbClr val="000000"/>
                          </a:solidFill>
                          <a:effectLst/>
                          <a:latin typeface="Calibri" panose="020F0502020204030204" pitchFamily="34" charset="0"/>
                        </a:rPr>
                        <a:t>14</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1" i="0" u="none" strike="noStrike">
                          <a:solidFill>
                            <a:srgbClr val="000000"/>
                          </a:solidFill>
                          <a:effectLst/>
                          <a:latin typeface="Calibri" panose="020F0502020204030204" pitchFamily="34" charset="0"/>
                        </a:rPr>
                        <a:t>5</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1" i="0" u="none" strike="noStrike">
                          <a:solidFill>
                            <a:srgbClr val="000000"/>
                          </a:solidFill>
                          <a:effectLst/>
                          <a:latin typeface="Calibri" panose="020F0502020204030204" pitchFamily="34" charset="0"/>
                        </a:rPr>
                        <a:t>82</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28182237"/>
                  </a:ext>
                </a:extLst>
              </a:tr>
              <a:tr h="160538">
                <a:tc>
                  <a:txBody>
                    <a:bodyPr/>
                    <a:lstStyle/>
                    <a:p>
                      <a:pPr algn="l" fontAlgn="b"/>
                      <a:r>
                        <a:rPr lang="pl-PL" sz="1100" b="0" i="1" u="none" strike="noStrike">
                          <a:solidFill>
                            <a:srgbClr val="000000"/>
                          </a:solidFill>
                          <a:effectLst/>
                          <a:latin typeface="Calibri" panose="020F0502020204030204" pitchFamily="34" charset="0"/>
                        </a:rPr>
                        <a:t>8 FTE</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1" u="none" strike="noStrike">
                          <a:solidFill>
                            <a:srgbClr val="000000"/>
                          </a:solidFill>
                          <a:effectLst/>
                          <a:latin typeface="Calibri" panose="020F0502020204030204" pitchFamily="34" charset="0"/>
                        </a:rPr>
                        <a:t>Avr per 1 FTE</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0,1</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1,2</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1,1</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0,3</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0,6</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0,8</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0,7</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1,1</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0,8</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0,7</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1,7</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0,6</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pl-PL" sz="1100" b="0" i="0" u="none" strike="noStrike">
                        <a:solidFill>
                          <a:srgbClr val="000000"/>
                        </a:solidFill>
                        <a:effectLst/>
                        <a:latin typeface="Calibri" panose="020F0502020204030204" pitchFamily="34" charset="0"/>
                      </a:endParaRPr>
                    </a:p>
                  </a:txBody>
                  <a:tcPr marL="9352" marR="9352" marT="9352"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115815522"/>
                  </a:ext>
                </a:extLst>
              </a:tr>
              <a:tr h="160538">
                <a:tc>
                  <a:txBody>
                    <a:bodyPr/>
                    <a:lstStyle/>
                    <a:p>
                      <a:pPr algn="l" fontAlgn="b"/>
                      <a:endParaRPr lang="pl-PL" sz="1100" b="0" i="0" u="none" strike="noStrike">
                        <a:solidFill>
                          <a:srgbClr val="000000"/>
                        </a:solidFill>
                        <a:effectLst/>
                        <a:latin typeface="Calibri" panose="020F0502020204030204" pitchFamily="34" charset="0"/>
                      </a:endParaRPr>
                    </a:p>
                  </a:txBody>
                  <a:tcPr marL="9352" marR="9352" marT="9352"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pl-PL" sz="1100" b="0" i="1" u="none" strike="noStrike">
                          <a:solidFill>
                            <a:srgbClr val="000000"/>
                          </a:solidFill>
                          <a:effectLst/>
                          <a:latin typeface="Calibri" panose="020F0502020204030204" pitchFamily="34" charset="0"/>
                        </a:rPr>
                        <a:t>cumulative</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1</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11</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20</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23</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28</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35</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41</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50</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57</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63</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77</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82</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pl-PL" sz="1100" b="0" i="0" u="none" strike="noStrike">
                        <a:solidFill>
                          <a:srgbClr val="000000"/>
                        </a:solidFill>
                        <a:effectLst/>
                        <a:latin typeface="Calibri" panose="020F0502020204030204" pitchFamily="34" charset="0"/>
                      </a:endParaRPr>
                    </a:p>
                  </a:txBody>
                  <a:tcPr marL="9352" marR="9352" marT="9352"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126394471"/>
                  </a:ext>
                </a:extLst>
              </a:tr>
              <a:tr h="160538">
                <a:tc>
                  <a:txBody>
                    <a:bodyPr/>
                    <a:lstStyle/>
                    <a:p>
                      <a:pPr algn="l" fontAlgn="b"/>
                      <a:endParaRPr lang="pl-PL" sz="1100" b="0" i="0" u="none" strike="noStrike">
                        <a:solidFill>
                          <a:srgbClr val="000000"/>
                        </a:solidFill>
                        <a:effectLst/>
                        <a:latin typeface="Calibri" panose="020F0502020204030204" pitchFamily="34" charset="0"/>
                      </a:endParaRPr>
                    </a:p>
                  </a:txBody>
                  <a:tcPr marL="9352" marR="9352" marT="9352" marB="0" anchor="b">
                    <a:lnL>
                      <a:noFill/>
                    </a:lnL>
                    <a:lnR>
                      <a:noFill/>
                    </a:lnR>
                    <a:lnT>
                      <a:noFill/>
                    </a:lnT>
                    <a:lnB>
                      <a:noFill/>
                    </a:lnB>
                  </a:tcPr>
                </a:tc>
                <a:tc>
                  <a:txBody>
                    <a:bodyPr/>
                    <a:lstStyle/>
                    <a:p>
                      <a:pPr algn="l" fontAlgn="b"/>
                      <a:endParaRPr lang="pl-PL" sz="1100" b="0" i="1" u="none" strike="noStrike">
                        <a:solidFill>
                          <a:srgbClr val="000000"/>
                        </a:solidFill>
                        <a:effectLst/>
                        <a:latin typeface="Calibri" panose="020F0502020204030204" pitchFamily="34" charset="0"/>
                      </a:endParaRPr>
                    </a:p>
                  </a:txBody>
                  <a:tcPr marL="9352" marR="9352" marT="9352"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endParaRPr lang="pl-PL" sz="1100" b="0" i="0" u="none" strike="noStrike">
                        <a:solidFill>
                          <a:srgbClr val="000000"/>
                        </a:solidFill>
                        <a:effectLst/>
                        <a:latin typeface="Calibri" panose="020F0502020204030204" pitchFamily="34" charset="0"/>
                      </a:endParaRPr>
                    </a:p>
                  </a:txBody>
                  <a:tcPr marL="9352" marR="9352" marT="9352"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endParaRPr lang="pl-PL" sz="1100" b="0" i="0" u="none" strike="noStrike">
                        <a:solidFill>
                          <a:srgbClr val="000000"/>
                        </a:solidFill>
                        <a:effectLst/>
                        <a:latin typeface="Calibri" panose="020F0502020204030204" pitchFamily="34" charset="0"/>
                      </a:endParaRPr>
                    </a:p>
                  </a:txBody>
                  <a:tcPr marL="9352" marR="9352" marT="9352"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endParaRPr lang="pl-PL" sz="1100" b="0" i="0" u="none" strike="noStrike">
                        <a:solidFill>
                          <a:srgbClr val="000000"/>
                        </a:solidFill>
                        <a:effectLst/>
                        <a:latin typeface="Calibri" panose="020F0502020204030204" pitchFamily="34" charset="0"/>
                      </a:endParaRPr>
                    </a:p>
                  </a:txBody>
                  <a:tcPr marL="9352" marR="9352" marT="9352"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endParaRPr lang="pl-PL" sz="1100" b="0" i="0" u="none" strike="noStrike">
                        <a:solidFill>
                          <a:srgbClr val="000000"/>
                        </a:solidFill>
                        <a:effectLst/>
                        <a:latin typeface="Calibri" panose="020F0502020204030204" pitchFamily="34" charset="0"/>
                      </a:endParaRPr>
                    </a:p>
                  </a:txBody>
                  <a:tcPr marL="9352" marR="9352" marT="9352"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endParaRPr lang="pl-PL" sz="1100" b="0" i="0" u="none" strike="noStrike">
                        <a:solidFill>
                          <a:srgbClr val="000000"/>
                        </a:solidFill>
                        <a:effectLst/>
                        <a:latin typeface="Calibri" panose="020F0502020204030204" pitchFamily="34" charset="0"/>
                      </a:endParaRPr>
                    </a:p>
                  </a:txBody>
                  <a:tcPr marL="9352" marR="9352" marT="9352"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endParaRPr lang="pl-PL" sz="1100" b="0" i="0" u="none" strike="noStrike">
                        <a:solidFill>
                          <a:srgbClr val="000000"/>
                        </a:solidFill>
                        <a:effectLst/>
                        <a:latin typeface="Calibri" panose="020F0502020204030204" pitchFamily="34" charset="0"/>
                      </a:endParaRPr>
                    </a:p>
                  </a:txBody>
                  <a:tcPr marL="9352" marR="9352" marT="9352"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endParaRPr lang="pl-PL" sz="1100" b="0" i="0" u="none" strike="noStrike">
                        <a:solidFill>
                          <a:srgbClr val="000000"/>
                        </a:solidFill>
                        <a:effectLst/>
                        <a:latin typeface="Calibri" panose="020F0502020204030204" pitchFamily="34" charset="0"/>
                      </a:endParaRPr>
                    </a:p>
                  </a:txBody>
                  <a:tcPr marL="9352" marR="9352" marT="9352"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endParaRPr lang="pl-PL" sz="1100" b="0" i="0" u="none" strike="noStrike">
                        <a:solidFill>
                          <a:srgbClr val="000000"/>
                        </a:solidFill>
                        <a:effectLst/>
                        <a:latin typeface="Calibri" panose="020F0502020204030204" pitchFamily="34" charset="0"/>
                      </a:endParaRPr>
                    </a:p>
                  </a:txBody>
                  <a:tcPr marL="9352" marR="9352" marT="9352"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endParaRPr lang="pl-PL" sz="1100" b="0" i="0" u="none" strike="noStrike">
                        <a:solidFill>
                          <a:srgbClr val="000000"/>
                        </a:solidFill>
                        <a:effectLst/>
                        <a:latin typeface="Calibri" panose="020F0502020204030204" pitchFamily="34" charset="0"/>
                      </a:endParaRPr>
                    </a:p>
                  </a:txBody>
                  <a:tcPr marL="9352" marR="9352" marT="9352"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endParaRPr lang="pl-PL" sz="1100" b="0" i="0" u="none" strike="noStrike">
                        <a:solidFill>
                          <a:srgbClr val="000000"/>
                        </a:solidFill>
                        <a:effectLst/>
                        <a:latin typeface="Calibri" panose="020F0502020204030204" pitchFamily="34" charset="0"/>
                      </a:endParaRPr>
                    </a:p>
                  </a:txBody>
                  <a:tcPr marL="9352" marR="9352" marT="9352"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endParaRPr lang="pl-PL" sz="1100" b="0" i="0" u="none" strike="noStrike">
                        <a:solidFill>
                          <a:srgbClr val="000000"/>
                        </a:solidFill>
                        <a:effectLst/>
                        <a:latin typeface="Calibri" panose="020F0502020204030204" pitchFamily="34" charset="0"/>
                      </a:endParaRPr>
                    </a:p>
                  </a:txBody>
                  <a:tcPr marL="9352" marR="9352" marT="9352"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endParaRPr lang="pl-PL" sz="1100" b="0" i="0" u="none" strike="noStrike">
                        <a:solidFill>
                          <a:srgbClr val="000000"/>
                        </a:solidFill>
                        <a:effectLst/>
                        <a:latin typeface="Calibri" panose="020F0502020204030204" pitchFamily="34" charset="0"/>
                      </a:endParaRPr>
                    </a:p>
                  </a:txBody>
                  <a:tcPr marL="9352" marR="9352" marT="9352"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pl-PL" sz="1100" b="0" i="0" u="none" strike="noStrike">
                        <a:solidFill>
                          <a:srgbClr val="000000"/>
                        </a:solidFill>
                        <a:effectLst/>
                        <a:latin typeface="Calibri" panose="020F0502020204030204" pitchFamily="34" charset="0"/>
                      </a:endParaRPr>
                    </a:p>
                  </a:txBody>
                  <a:tcPr marL="9352" marR="9352" marT="9352" marB="0" anchor="b">
                    <a:lnL>
                      <a:noFill/>
                    </a:lnL>
                    <a:lnR>
                      <a:noFill/>
                    </a:lnR>
                    <a:lnT>
                      <a:noFill/>
                    </a:lnT>
                    <a:lnB>
                      <a:noFill/>
                    </a:lnB>
                  </a:tcPr>
                </a:tc>
                <a:extLst>
                  <a:ext uri="{0D108BD9-81ED-4DB2-BD59-A6C34878D82A}">
                    <a16:rowId xmlns:a16="http://schemas.microsoft.com/office/drawing/2014/main" val="3941827520"/>
                  </a:ext>
                </a:extLst>
              </a:tr>
              <a:tr h="168565">
                <a:tc>
                  <a:txBody>
                    <a:bodyPr/>
                    <a:lstStyle/>
                    <a:p>
                      <a:pPr algn="l" fontAlgn="b"/>
                      <a:endParaRPr lang="pl-PL" sz="1100" b="0" i="0" u="none" strike="noStrike">
                        <a:solidFill>
                          <a:srgbClr val="000000"/>
                        </a:solidFill>
                        <a:effectLst/>
                        <a:latin typeface="Calibri" panose="020F0502020204030204" pitchFamily="34" charset="0"/>
                      </a:endParaRPr>
                    </a:p>
                  </a:txBody>
                  <a:tcPr marL="9352" marR="9352" marT="9352" marB="0" anchor="b">
                    <a:lnL>
                      <a:noFill/>
                    </a:lnL>
                    <a:lnR>
                      <a:noFill/>
                    </a:lnR>
                    <a:lnT>
                      <a:noFill/>
                    </a:lnT>
                    <a:lnB>
                      <a:noFill/>
                    </a:lnB>
                  </a:tcPr>
                </a:tc>
                <a:tc>
                  <a:txBody>
                    <a:bodyPr/>
                    <a:lstStyle/>
                    <a:p>
                      <a:pPr algn="l" fontAlgn="b"/>
                      <a:endParaRPr lang="pl-PL" sz="1100" b="0" i="1" u="none" strike="noStrike">
                        <a:solidFill>
                          <a:srgbClr val="000000"/>
                        </a:solidFill>
                        <a:effectLst/>
                        <a:latin typeface="Calibri" panose="020F0502020204030204" pitchFamily="34" charset="0"/>
                      </a:endParaRPr>
                    </a:p>
                  </a:txBody>
                  <a:tcPr marL="9352" marR="9352" marT="9352" marB="0" anchor="b">
                    <a:lnL>
                      <a:noFill/>
                    </a:lnL>
                    <a:lnR>
                      <a:noFill/>
                    </a:lnR>
                    <a:lnT>
                      <a:noFill/>
                    </a:lnT>
                    <a:lnB w="6350" cap="flat" cmpd="sng" algn="ctr">
                      <a:solidFill>
                        <a:srgbClr val="000000"/>
                      </a:solidFill>
                      <a:prstDash val="solid"/>
                      <a:round/>
                      <a:headEnd type="none" w="med" len="med"/>
                      <a:tailEnd type="none" w="med" len="med"/>
                    </a:lnB>
                  </a:tcPr>
                </a:tc>
                <a:tc gridSpan="13">
                  <a:txBody>
                    <a:bodyPr/>
                    <a:lstStyle/>
                    <a:p>
                      <a:pPr algn="ctr" fontAlgn="b"/>
                      <a:r>
                        <a:rPr lang="pl-PL" sz="1200" b="1" i="0" u="none" strike="noStrike">
                          <a:solidFill>
                            <a:srgbClr val="FFFFFF"/>
                          </a:solidFill>
                          <a:effectLst/>
                          <a:latin typeface="Calibri" panose="020F0502020204030204" pitchFamily="34" charset="0"/>
                        </a:rPr>
                        <a:t>2026</a:t>
                      </a:r>
                    </a:p>
                  </a:txBody>
                  <a:tcPr marL="9352" marR="9352" marT="9352" marB="0" anchor="b">
                    <a:lnL>
                      <a:noFill/>
                    </a:lnL>
                    <a:lnR>
                      <a:noFill/>
                    </a:lnR>
                    <a:lnT>
                      <a:noFill/>
                    </a:lnT>
                    <a:lnB w="6350" cap="flat" cmpd="sng" algn="ctr">
                      <a:solidFill>
                        <a:srgbClr val="000000"/>
                      </a:solidFill>
                      <a:prstDash val="solid"/>
                      <a:round/>
                      <a:headEnd type="none" w="med" len="med"/>
                      <a:tailEnd type="none" w="med" len="med"/>
                    </a:lnB>
                    <a:solidFill>
                      <a:srgbClr val="009999"/>
                    </a:solidFill>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extLst>
                  <a:ext uri="{0D108BD9-81ED-4DB2-BD59-A6C34878D82A}">
                    <a16:rowId xmlns:a16="http://schemas.microsoft.com/office/drawing/2014/main" val="868836333"/>
                  </a:ext>
                </a:extLst>
              </a:tr>
              <a:tr h="160538">
                <a:tc>
                  <a:txBody>
                    <a:bodyPr/>
                    <a:lstStyle/>
                    <a:p>
                      <a:pPr algn="l" fontAlgn="b"/>
                      <a:endParaRPr lang="pl-PL" sz="1100" b="0" i="0" u="none" strike="noStrike">
                        <a:solidFill>
                          <a:srgbClr val="000000"/>
                        </a:solidFill>
                        <a:effectLst/>
                        <a:latin typeface="Calibri" panose="020F0502020204030204" pitchFamily="34" charset="0"/>
                      </a:endParaRPr>
                    </a:p>
                  </a:txBody>
                  <a:tcPr marL="9352" marR="9352" marT="9352"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jan'26</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feb'26</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mar'26</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apr'26</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may'26</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jun'26</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jul'26</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aug'26</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sep'26</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oct'26</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nov'26</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dec'26</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1" i="0" u="none" strike="noStrike">
                          <a:solidFill>
                            <a:srgbClr val="000000"/>
                          </a:solidFill>
                          <a:effectLst/>
                          <a:latin typeface="Calibri" panose="020F0502020204030204" pitchFamily="34" charset="0"/>
                        </a:rPr>
                        <a:t>TOTAL</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96660376"/>
                  </a:ext>
                </a:extLst>
              </a:tr>
              <a:tr h="160538">
                <a:tc>
                  <a:txBody>
                    <a:bodyPr/>
                    <a:lstStyle/>
                    <a:p>
                      <a:pPr algn="l" fontAlgn="b"/>
                      <a:endParaRPr lang="pl-PL" sz="1100" b="0" i="0" u="none" strike="noStrike">
                        <a:solidFill>
                          <a:srgbClr val="000000"/>
                        </a:solidFill>
                        <a:effectLst/>
                        <a:latin typeface="Calibri" panose="020F0502020204030204" pitchFamily="34" charset="0"/>
                      </a:endParaRPr>
                    </a:p>
                  </a:txBody>
                  <a:tcPr marL="9352" marR="9352" marT="9352"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b"/>
                      <a:r>
                        <a:rPr lang="pl-PL" sz="1100" b="0" i="0" u="none" strike="noStrike">
                          <a:solidFill>
                            <a:srgbClr val="000000"/>
                          </a:solidFill>
                          <a:effectLst/>
                          <a:latin typeface="Calibri" panose="020F0502020204030204" pitchFamily="34" charset="0"/>
                        </a:rPr>
                        <a:t># Loans</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1" i="0" u="none" strike="noStrike">
                          <a:solidFill>
                            <a:srgbClr val="000000"/>
                          </a:solidFill>
                          <a:effectLst/>
                          <a:latin typeface="Calibri" panose="020F0502020204030204" pitchFamily="34" charset="0"/>
                        </a:rPr>
                        <a:t>4</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1" i="0" u="none" strike="noStrike">
                          <a:solidFill>
                            <a:srgbClr val="000000"/>
                          </a:solidFill>
                          <a:effectLst/>
                          <a:latin typeface="Calibri" panose="020F0502020204030204" pitchFamily="34" charset="0"/>
                        </a:rPr>
                        <a:t>15</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1" i="0" u="none" strike="noStrike">
                          <a:solidFill>
                            <a:srgbClr val="000000"/>
                          </a:solidFill>
                          <a:effectLst/>
                          <a:latin typeface="Calibri" panose="020F0502020204030204" pitchFamily="34" charset="0"/>
                        </a:rPr>
                        <a:t>19</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32058878"/>
                  </a:ext>
                </a:extLst>
              </a:tr>
              <a:tr h="160538">
                <a:tc>
                  <a:txBody>
                    <a:bodyPr/>
                    <a:lstStyle/>
                    <a:p>
                      <a:pPr algn="l" fontAlgn="b"/>
                      <a:r>
                        <a:rPr lang="pl-PL" sz="1100" b="0" i="1" u="none" strike="noStrike">
                          <a:solidFill>
                            <a:srgbClr val="000000"/>
                          </a:solidFill>
                          <a:effectLst/>
                          <a:latin typeface="Calibri" panose="020F0502020204030204" pitchFamily="34" charset="0"/>
                        </a:rPr>
                        <a:t>8 FTE</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1" u="none" strike="noStrike">
                          <a:solidFill>
                            <a:srgbClr val="000000"/>
                          </a:solidFill>
                          <a:effectLst/>
                          <a:latin typeface="Calibri" panose="020F0502020204030204" pitchFamily="34" charset="0"/>
                        </a:rPr>
                        <a:t>Avr per 1 FTE</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0,5</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1,8</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pl-PL" sz="1100" b="0" i="0" u="none" strike="noStrike">
                        <a:solidFill>
                          <a:srgbClr val="000000"/>
                        </a:solidFill>
                        <a:effectLst/>
                        <a:latin typeface="Calibri" panose="020F0502020204030204" pitchFamily="34" charset="0"/>
                      </a:endParaRPr>
                    </a:p>
                  </a:txBody>
                  <a:tcPr marL="9352" marR="9352" marT="9352"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078041063"/>
                  </a:ext>
                </a:extLst>
              </a:tr>
              <a:tr h="160538">
                <a:tc>
                  <a:txBody>
                    <a:bodyPr/>
                    <a:lstStyle/>
                    <a:p>
                      <a:pPr algn="l" fontAlgn="b"/>
                      <a:endParaRPr lang="pl-PL" sz="1100" b="0" i="0" u="none" strike="noStrike">
                        <a:solidFill>
                          <a:srgbClr val="000000"/>
                        </a:solidFill>
                        <a:effectLst/>
                        <a:latin typeface="Calibri" panose="020F0502020204030204" pitchFamily="34" charset="0"/>
                      </a:endParaRPr>
                    </a:p>
                  </a:txBody>
                  <a:tcPr marL="9352" marR="9352" marT="9352"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pl-PL" sz="1100" b="0" i="1" u="none" strike="noStrike">
                          <a:solidFill>
                            <a:srgbClr val="000000"/>
                          </a:solidFill>
                          <a:effectLst/>
                          <a:latin typeface="Calibri" panose="020F0502020204030204" pitchFamily="34" charset="0"/>
                        </a:rPr>
                        <a:t>cumulative</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4</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19</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pl-PL" sz="1100" b="0" i="0" u="none" strike="noStrike" dirty="0">
                        <a:solidFill>
                          <a:srgbClr val="000000"/>
                        </a:solidFill>
                        <a:effectLst/>
                        <a:latin typeface="Calibri" panose="020F0502020204030204" pitchFamily="34" charset="0"/>
                      </a:endParaRPr>
                    </a:p>
                  </a:txBody>
                  <a:tcPr marL="9352" marR="9352" marT="9352"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893378023"/>
                  </a:ext>
                </a:extLst>
              </a:tr>
            </a:tbl>
          </a:graphicData>
        </a:graphic>
      </p:graphicFrame>
      <p:graphicFrame>
        <p:nvGraphicFramePr>
          <p:cNvPr id="20" name="Wykres 19">
            <a:extLst>
              <a:ext uri="{FF2B5EF4-FFF2-40B4-BE49-F238E27FC236}">
                <a16:creationId xmlns:a16="http://schemas.microsoft.com/office/drawing/2014/main" id="{2E86FE0D-1102-4938-B44B-A206653FE991}"/>
              </a:ext>
            </a:extLst>
          </p:cNvPr>
          <p:cNvGraphicFramePr>
            <a:graphicFrameLocks/>
          </p:cNvGraphicFramePr>
          <p:nvPr/>
        </p:nvGraphicFramePr>
        <p:xfrm>
          <a:off x="3573566" y="3168585"/>
          <a:ext cx="3503509" cy="244128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3" name="Wykres 22">
            <a:extLst>
              <a:ext uri="{FF2B5EF4-FFF2-40B4-BE49-F238E27FC236}">
                <a16:creationId xmlns:a16="http://schemas.microsoft.com/office/drawing/2014/main" id="{F59C846F-8189-4750-97E7-F10362D314FD}"/>
              </a:ext>
            </a:extLst>
          </p:cNvPr>
          <p:cNvGraphicFramePr>
            <a:graphicFrameLocks/>
          </p:cNvGraphicFramePr>
          <p:nvPr/>
        </p:nvGraphicFramePr>
        <p:xfrm>
          <a:off x="7482840" y="3168585"/>
          <a:ext cx="3764280" cy="244128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646957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ymbol zastępczy numeru slajdu 2">
            <a:extLst>
              <a:ext uri="{FF2B5EF4-FFF2-40B4-BE49-F238E27FC236}">
                <a16:creationId xmlns:a16="http://schemas.microsoft.com/office/drawing/2014/main" id="{F5737D7C-6392-4586-A096-659E3F84A5B3}"/>
              </a:ext>
            </a:extLst>
          </p:cNvPr>
          <p:cNvSpPr>
            <a:spLocks noGrp="1"/>
          </p:cNvSpPr>
          <p:nvPr>
            <p:ph type="sldNum" sz="quarter" idx="10"/>
          </p:nvPr>
        </p:nvSpPr>
        <p:spPr/>
        <p:txBody>
          <a:bodyPr>
            <a:normAutofit/>
          </a:bodyPr>
          <a:lstStyle/>
          <a:p>
            <a:pPr marL="0" marR="0" lvl="0" indent="0" algn="l" defTabSz="467539" rtl="0" eaLnBrk="1" fontAlgn="auto" latinLnBrk="0" hangingPunct="1">
              <a:lnSpc>
                <a:spcPct val="100000"/>
              </a:lnSpc>
              <a:spcBef>
                <a:spcPts val="0"/>
              </a:spcBef>
              <a:spcAft>
                <a:spcPts val="0"/>
              </a:spcAft>
              <a:buClrTx/>
              <a:buSzTx/>
              <a:buFontTx/>
              <a:buNone/>
              <a:tabLst/>
              <a:defRPr/>
            </a:pPr>
            <a:fld id="{332DF002-2E43-485C-89F8-8DCEF59D6C4F}" type="slidenum">
              <a:rPr kumimoji="0" lang="pl-PL" sz="1067" b="0" i="0" u="none" strike="noStrike" kern="1200" cap="none" spc="0" normalizeH="0" baseline="0" noProof="0">
                <a:ln>
                  <a:noFill/>
                </a:ln>
                <a:solidFill>
                  <a:srgbClr val="7E93A5"/>
                </a:solidFill>
                <a:effectLst/>
                <a:uLnTx/>
                <a:uFillTx/>
                <a:latin typeface="Arial"/>
                <a:ea typeface="+mn-ea"/>
                <a:cs typeface="+mn-cs"/>
              </a:rPr>
              <a:pPr marL="0" marR="0" lvl="0" indent="0" algn="l" defTabSz="467539" rtl="0" eaLnBrk="1" fontAlgn="auto" latinLnBrk="0" hangingPunct="1">
                <a:lnSpc>
                  <a:spcPct val="100000"/>
                </a:lnSpc>
                <a:spcBef>
                  <a:spcPts val="0"/>
                </a:spcBef>
                <a:spcAft>
                  <a:spcPts val="0"/>
                </a:spcAft>
                <a:buClrTx/>
                <a:buSzTx/>
                <a:buFontTx/>
                <a:buNone/>
                <a:tabLst/>
                <a:defRPr/>
              </a:pPr>
              <a:t>25</a:t>
            </a:fld>
            <a:endParaRPr kumimoji="0" lang="pl-PL" sz="1067" b="0" i="0" u="none" strike="noStrike" kern="1200" cap="none" spc="0" normalizeH="0" baseline="0" noProof="0" dirty="0">
              <a:ln>
                <a:noFill/>
              </a:ln>
              <a:solidFill>
                <a:srgbClr val="7E93A5"/>
              </a:solidFill>
              <a:effectLst/>
              <a:uLnTx/>
              <a:uFillTx/>
              <a:latin typeface="Arial"/>
              <a:ea typeface="+mn-ea"/>
              <a:cs typeface="+mn-cs"/>
            </a:endParaRPr>
          </a:p>
        </p:txBody>
      </p:sp>
      <p:sp>
        <p:nvSpPr>
          <p:cNvPr id="7" name="Strzałka: w dół 6">
            <a:extLst>
              <a:ext uri="{FF2B5EF4-FFF2-40B4-BE49-F238E27FC236}">
                <a16:creationId xmlns:a16="http://schemas.microsoft.com/office/drawing/2014/main" id="{28D72E7F-F7AA-42FF-9A86-921A60AE6263}"/>
              </a:ext>
            </a:extLst>
          </p:cNvPr>
          <p:cNvSpPr/>
          <p:nvPr/>
        </p:nvSpPr>
        <p:spPr>
          <a:xfrm>
            <a:off x="1059180" y="3138183"/>
            <a:ext cx="1529715" cy="391949"/>
          </a:xfrm>
          <a:prstGeom prst="downArrow">
            <a:avLst/>
          </a:prstGeom>
          <a:solidFill>
            <a:srgbClr val="FF66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200" b="1" i="0" u="none" strike="noStrike" kern="1200" cap="none" spc="0" normalizeH="0" baseline="0" noProof="0" dirty="0">
                <a:ln>
                  <a:noFill/>
                </a:ln>
                <a:solidFill>
                  <a:srgbClr val="FFFFFF"/>
                </a:solidFill>
                <a:effectLst/>
                <a:uLnTx/>
                <a:uFillTx/>
                <a:latin typeface="Arial"/>
                <a:ea typeface="+mn-ea"/>
                <a:cs typeface="+mn-cs"/>
              </a:rPr>
              <a:t>+ 111%</a:t>
            </a:r>
          </a:p>
        </p:txBody>
      </p:sp>
      <p:sp>
        <p:nvSpPr>
          <p:cNvPr id="9" name="pole tekstowe 8">
            <a:extLst>
              <a:ext uri="{FF2B5EF4-FFF2-40B4-BE49-F238E27FC236}">
                <a16:creationId xmlns:a16="http://schemas.microsoft.com/office/drawing/2014/main" id="{82BF7EFC-AB90-4AC9-BFD0-4DB3952092DD}"/>
              </a:ext>
            </a:extLst>
          </p:cNvPr>
          <p:cNvSpPr txBox="1"/>
          <p:nvPr/>
        </p:nvSpPr>
        <p:spPr>
          <a:xfrm>
            <a:off x="647699" y="5693342"/>
            <a:ext cx="8862500" cy="900246"/>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1" u="none" strike="noStrike" kern="1200" cap="none" spc="0" normalizeH="0" baseline="0" noProof="0" dirty="0">
                <a:ln>
                  <a:noFill/>
                </a:ln>
                <a:solidFill>
                  <a:srgbClr val="707173"/>
                </a:solidFill>
                <a:effectLst/>
                <a:uLnTx/>
                <a:uFillTx/>
                <a:latin typeface="Calibri" panose="020F0502020204030204" pitchFamily="34" charset="0"/>
                <a:ea typeface="Calibri" panose="020F0502020204030204" pitchFamily="34" charset="0"/>
                <a:cs typeface="Calibri" panose="020F0502020204030204" pitchFamily="34" charset="0"/>
              </a:rPr>
              <a:t>we still lack systematic sales</a:t>
            </a:r>
            <a:endParaRPr kumimoji="0" lang="pl-PL" sz="1050" b="0" i="1" u="none" strike="noStrike" kern="1200" cap="none" spc="0" normalizeH="0" baseline="0" noProof="0" dirty="0">
              <a:ln>
                <a:noFill/>
              </a:ln>
              <a:solidFill>
                <a:srgbClr val="707173"/>
              </a:solidFill>
              <a:effectLst/>
              <a:uLnTx/>
              <a:uFillTx/>
              <a:latin typeface="Calibri" panose="020F0502020204030204" pitchFamily="34" charset="0"/>
              <a:ea typeface="Calibri" panose="020F0502020204030204" pitchFamily="34" charset="0"/>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pl-PL" sz="1050" b="0" i="1" u="none" strike="noStrike" kern="1200" cap="none" spc="0" normalizeH="0" baseline="0" noProof="0" dirty="0">
                <a:ln>
                  <a:noFill/>
                </a:ln>
                <a:solidFill>
                  <a:srgbClr val="707173"/>
                </a:solidFill>
                <a:effectLst/>
                <a:uLnTx/>
                <a:uFillTx/>
                <a:latin typeface="Calibri" panose="020F0502020204030204" pitchFamily="34" charset="0"/>
                <a:ea typeface="Calibri" panose="020F0502020204030204" pitchFamily="34" charset="0"/>
                <a:cs typeface="Calibri" panose="020F0502020204030204" pitchFamily="34" charset="0"/>
              </a:rPr>
              <a:t>w</a:t>
            </a:r>
            <a:r>
              <a:rPr kumimoji="0" lang="en-US" sz="1050" b="0" i="1" u="none" strike="noStrike" kern="1200" cap="none" spc="0" normalizeH="0" baseline="0" noProof="0" dirty="0">
                <a:ln>
                  <a:noFill/>
                </a:ln>
                <a:solidFill>
                  <a:srgbClr val="707173"/>
                </a:solidFill>
                <a:effectLst/>
                <a:uLnTx/>
                <a:uFillTx/>
                <a:latin typeface="Calibri" panose="020F0502020204030204" pitchFamily="34" charset="0"/>
                <a:ea typeface="Calibri" panose="020F0502020204030204" pitchFamily="34" charset="0"/>
                <a:cs typeface="Calibri" panose="020F0502020204030204" pitchFamily="34" charset="0"/>
              </a:rPr>
              <a:t>e plan to support this through dedicated campaigns per segment, e.g. physiotherapists using direct communication to clients via SMS and push</a:t>
            </a:r>
            <a:endParaRPr kumimoji="0" lang="pl-PL" sz="1050" b="0" i="1" u="none" strike="noStrike" kern="1200" cap="none" spc="0" normalizeH="0" baseline="0" noProof="0" dirty="0">
              <a:ln>
                <a:noFill/>
              </a:ln>
              <a:solidFill>
                <a:srgbClr val="707173"/>
              </a:solidFill>
              <a:effectLst/>
              <a:uLnTx/>
              <a:uFillTx/>
              <a:latin typeface="Calibri" panose="020F0502020204030204" pitchFamily="34" charset="0"/>
              <a:ea typeface="Calibri" panose="020F0502020204030204" pitchFamily="34" charset="0"/>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1" u="none" strike="noStrike" kern="1200" cap="none" spc="0" normalizeH="0" baseline="0" noProof="0" dirty="0">
                <a:ln>
                  <a:noFill/>
                </a:ln>
                <a:solidFill>
                  <a:srgbClr val="707173"/>
                </a:solidFill>
                <a:effectLst/>
                <a:uLnTx/>
                <a:uFillTx/>
                <a:latin typeface="Calibri" panose="020F0502020204030204" pitchFamily="34" charset="0"/>
                <a:ea typeface="Calibri" panose="020F0502020204030204" pitchFamily="34" charset="0"/>
                <a:cs typeface="Calibri" panose="020F0502020204030204" pitchFamily="34" charset="0"/>
              </a:rPr>
              <a:t>working on the effectiveness of remote advisors' conversations</a:t>
            </a:r>
            <a:endParaRPr kumimoji="0" lang="pl-PL" sz="1050" b="0" i="1" u="none" strike="noStrike" kern="1200" cap="none" spc="0" normalizeH="0" baseline="0" noProof="0" dirty="0">
              <a:ln>
                <a:noFill/>
              </a:ln>
              <a:solidFill>
                <a:srgbClr val="707173"/>
              </a:solidFill>
              <a:effectLst/>
              <a:uLnTx/>
              <a:uFillTx/>
              <a:latin typeface="Calibri" panose="020F0502020204030204" pitchFamily="34" charset="0"/>
              <a:ea typeface="Calibri" panose="020F0502020204030204" pitchFamily="34" charset="0"/>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pl-PL" sz="1050" b="0" i="1" u="none" strike="noStrike" kern="1200" cap="none" spc="0" normalizeH="0" baseline="0" noProof="0" dirty="0">
                <a:ln>
                  <a:noFill/>
                </a:ln>
                <a:solidFill>
                  <a:srgbClr val="707173"/>
                </a:solidFill>
                <a:effectLst/>
                <a:uLnTx/>
                <a:uFillTx/>
                <a:latin typeface="Calibri" panose="020F0502020204030204" pitchFamily="34" charset="0"/>
                <a:ea typeface="Calibri" panose="020F0502020204030204" pitchFamily="34" charset="0"/>
                <a:cs typeface="Calibri" panose="020F0502020204030204" pitchFamily="34" charset="0"/>
              </a:rPr>
              <a:t>8% </a:t>
            </a:r>
            <a:r>
              <a:rPr kumimoji="0" lang="pl-PL" sz="1050" b="0" i="1" u="none" strike="noStrike" kern="1200" cap="none" spc="0" normalizeH="0" baseline="0" noProof="0" dirty="0" err="1">
                <a:ln>
                  <a:noFill/>
                </a:ln>
                <a:solidFill>
                  <a:srgbClr val="707173"/>
                </a:solidFill>
                <a:effectLst/>
                <a:uLnTx/>
                <a:uFillTx/>
                <a:latin typeface="Calibri" panose="020F0502020204030204" pitchFamily="34" charset="0"/>
                <a:ea typeface="Calibri" panose="020F0502020204030204" pitchFamily="34" charset="0"/>
                <a:cs typeface="Calibri" panose="020F0502020204030204" pitchFamily="34" charset="0"/>
              </a:rPr>
              <a:t>share</a:t>
            </a:r>
            <a:r>
              <a:rPr kumimoji="0" lang="pl-PL" sz="1050" b="0" i="1" u="none" strike="noStrike" kern="1200" cap="none" spc="0" normalizeH="0" baseline="0" noProof="0" dirty="0">
                <a:ln>
                  <a:noFill/>
                </a:ln>
                <a:solidFill>
                  <a:srgbClr val="707173"/>
                </a:solidFill>
                <a:effectLst/>
                <a:uLnTx/>
                <a:uFillTx/>
                <a:latin typeface="Calibri" panose="020F0502020204030204" pitchFamily="34" charset="0"/>
                <a:ea typeface="Calibri" panose="020F0502020204030204" pitchFamily="34" charset="0"/>
                <a:cs typeface="Calibri" panose="020F0502020204030204" pitchFamily="34" charset="0"/>
              </a:rPr>
              <a:t> of </a:t>
            </a:r>
            <a:r>
              <a:rPr kumimoji="0" lang="pl-PL" sz="1050" b="0" i="1" u="none" strike="noStrike" kern="1200" cap="none" spc="0" normalizeH="0" baseline="0" noProof="0" dirty="0" err="1">
                <a:ln>
                  <a:noFill/>
                </a:ln>
                <a:solidFill>
                  <a:srgbClr val="707173"/>
                </a:solidFill>
                <a:effectLst/>
                <a:uLnTx/>
                <a:uFillTx/>
                <a:latin typeface="Calibri" panose="020F0502020204030204" pitchFamily="34" charset="0"/>
                <a:ea typeface="Calibri" panose="020F0502020204030204" pitchFamily="34" charset="0"/>
                <a:cs typeface="Calibri" panose="020F0502020204030204" pitchFamily="34" charset="0"/>
              </a:rPr>
              <a:t>sales</a:t>
            </a:r>
            <a:r>
              <a:rPr kumimoji="0" lang="pl-PL" sz="1050" b="0" i="1" u="none" strike="noStrike" kern="1200" cap="none" spc="0" normalizeH="0" baseline="0" noProof="0" dirty="0">
                <a:ln>
                  <a:noFill/>
                </a:ln>
                <a:solidFill>
                  <a:srgbClr val="707173"/>
                </a:solidFill>
                <a:effectLst/>
                <a:uLnTx/>
                <a:uFillTx/>
                <a:latin typeface="Calibri" panose="020F0502020204030204" pitchFamily="34" charset="0"/>
                <a:ea typeface="Calibri" panose="020F0502020204030204" pitchFamily="34" charset="0"/>
                <a:cs typeface="Calibri" panose="020F0502020204030204" pitchFamily="34" charset="0"/>
              </a:rPr>
              <a:t> vs 2% </a:t>
            </a:r>
            <a:r>
              <a:rPr kumimoji="0" lang="pl-PL" sz="1050" b="0" i="1" u="none" strike="noStrike" kern="1200" cap="none" spc="0" normalizeH="0" baseline="0" noProof="0" dirty="0" err="1">
                <a:ln>
                  <a:noFill/>
                </a:ln>
                <a:solidFill>
                  <a:srgbClr val="707173"/>
                </a:solidFill>
                <a:effectLst/>
                <a:uLnTx/>
                <a:uFillTx/>
                <a:latin typeface="Calibri" panose="020F0502020204030204" pitchFamily="34" charset="0"/>
                <a:ea typeface="Calibri" panose="020F0502020204030204" pitchFamily="34" charset="0"/>
                <a:cs typeface="Calibri" panose="020F0502020204030204" pitchFamily="34" charset="0"/>
              </a:rPr>
              <a:t>share</a:t>
            </a:r>
            <a:r>
              <a:rPr kumimoji="0" lang="pl-PL" sz="1050" b="0" i="1" u="none" strike="noStrike" kern="1200" cap="none" spc="0" normalizeH="0" baseline="0" noProof="0" dirty="0">
                <a:ln>
                  <a:noFill/>
                </a:ln>
                <a:solidFill>
                  <a:srgbClr val="707173"/>
                </a:solidFill>
                <a:effectLst/>
                <a:uLnTx/>
                <a:uFillTx/>
                <a:latin typeface="Calibri" panose="020F0502020204030204" pitchFamily="34" charset="0"/>
                <a:ea typeface="Calibri" panose="020F0502020204030204" pitchFamily="34" charset="0"/>
                <a:cs typeface="Calibri" panose="020F0502020204030204" pitchFamily="34" charset="0"/>
              </a:rPr>
              <a:t> of  </a:t>
            </a:r>
            <a:r>
              <a:rPr kumimoji="0" lang="pl-PL" sz="1050" b="0" i="1" u="none" strike="noStrike" kern="1200" cap="none" spc="0" normalizeH="0" baseline="0" noProof="0" dirty="0" err="1">
                <a:ln>
                  <a:noFill/>
                </a:ln>
                <a:solidFill>
                  <a:srgbClr val="707173"/>
                </a:solidFill>
                <a:effectLst/>
                <a:uLnTx/>
                <a:uFillTx/>
                <a:latin typeface="Calibri" panose="020F0502020204030204" pitchFamily="34" charset="0"/>
                <a:ea typeface="Calibri" panose="020F0502020204030204" pitchFamily="34" charset="0"/>
                <a:cs typeface="Calibri" panose="020F0502020204030204" pitchFamily="34" charset="0"/>
              </a:rPr>
              <a:t>sales</a:t>
            </a:r>
            <a:r>
              <a:rPr kumimoji="0" lang="pl-PL" sz="1050" b="0" i="1" u="none" strike="noStrike" kern="1200" cap="none" spc="0" normalizeH="0" baseline="0" noProof="0" dirty="0">
                <a:ln>
                  <a:noFill/>
                </a:ln>
                <a:solidFill>
                  <a:srgbClr val="707173"/>
                </a:solidFill>
                <a:effectLst/>
                <a:uLnTx/>
                <a:uFillTx/>
                <a:latin typeface="Calibri" panose="020F0502020204030204" pitchFamily="34" charset="0"/>
                <a:ea typeface="Calibri" panose="020F0502020204030204" pitchFamily="34" charset="0"/>
                <a:cs typeface="Calibri" panose="020F0502020204030204" pitchFamily="34" charset="0"/>
              </a:rPr>
              <a:t> channel „</a:t>
            </a:r>
            <a:r>
              <a:rPr kumimoji="0" lang="pl-PL" sz="1050" b="0" i="1" u="none" strike="noStrike" kern="1200" cap="none" spc="0" normalizeH="0" baseline="0" noProof="0" dirty="0" err="1">
                <a:ln>
                  <a:noFill/>
                </a:ln>
                <a:solidFill>
                  <a:srgbClr val="707173"/>
                </a:solidFill>
                <a:effectLst/>
                <a:uLnTx/>
                <a:uFillTx/>
                <a:latin typeface="Calibri" panose="020F0502020204030204" pitchFamily="34" charset="0"/>
                <a:ea typeface="Calibri" panose="020F0502020204030204" pitchFamily="34" charset="0"/>
                <a:cs typeface="Calibri" panose="020F0502020204030204" pitchFamily="34" charset="0"/>
              </a:rPr>
              <a:t>size</a:t>
            </a:r>
            <a:r>
              <a:rPr kumimoji="0" lang="pl-PL" sz="1050" b="0" i="1" u="none" strike="noStrike" kern="1200" cap="none" spc="0" normalizeH="0" baseline="0" noProof="0" dirty="0">
                <a:ln>
                  <a:noFill/>
                </a:ln>
                <a:solidFill>
                  <a:srgbClr val="707173"/>
                </a:solidFill>
                <a:effectLst/>
                <a:uLnTx/>
                <a:uFillTx/>
                <a:latin typeface="Calibri" panose="020F0502020204030204" pitchFamily="34" charset="0"/>
                <a:ea typeface="Calibri" panose="020F0502020204030204" pitchFamily="34" charset="0"/>
                <a:cs typeface="Calibri" panose="020F0502020204030204" pitchFamily="34" charset="0"/>
              </a:rPr>
              <a:t>” – </a:t>
            </a:r>
            <a:r>
              <a:rPr kumimoji="0" lang="pl-PL" sz="1050" b="0" i="1" u="none" strike="noStrike" kern="1200" cap="none" spc="0" normalizeH="0" baseline="0" noProof="0" dirty="0" err="1">
                <a:ln>
                  <a:noFill/>
                </a:ln>
                <a:solidFill>
                  <a:srgbClr val="707173"/>
                </a:solidFill>
                <a:effectLst/>
                <a:uLnTx/>
                <a:uFillTx/>
                <a:latin typeface="Calibri" panose="020F0502020204030204" pitchFamily="34" charset="0"/>
                <a:ea typeface="Calibri" panose="020F0502020204030204" pitchFamily="34" charset="0"/>
                <a:cs typeface="Calibri" panose="020F0502020204030204" pitchFamily="34" charset="0"/>
              </a:rPr>
              <a:t>good</a:t>
            </a:r>
            <a:r>
              <a:rPr kumimoji="0" lang="pl-PL" sz="1050" b="0" i="1" u="none" strike="noStrike" kern="1200" cap="none" spc="0" normalizeH="0" baseline="0" noProof="0" dirty="0">
                <a:ln>
                  <a:noFill/>
                </a:ln>
                <a:solidFill>
                  <a:srgbClr val="707173"/>
                </a:solidFill>
                <a:effectLst/>
                <a:uLnTx/>
                <a:uFillTx/>
                <a:latin typeface="Calibri" panose="020F0502020204030204" pitchFamily="34" charset="0"/>
                <a:ea typeface="Calibri" panose="020F0502020204030204" pitchFamily="34" charset="0"/>
                <a:cs typeface="Calibri" panose="020F0502020204030204" pitchFamily="34" charset="0"/>
              </a:rPr>
              <a:t> channel </a:t>
            </a:r>
            <a:r>
              <a:rPr kumimoji="0" lang="pl-PL" sz="1050" b="0" i="1" u="none" strike="noStrike" kern="1200" cap="none" spc="0" normalizeH="0" baseline="0" noProof="0" dirty="0" err="1">
                <a:ln>
                  <a:noFill/>
                </a:ln>
                <a:solidFill>
                  <a:srgbClr val="707173"/>
                </a:solidFill>
                <a:effectLst/>
                <a:uLnTx/>
                <a:uFillTx/>
                <a:latin typeface="Calibri" panose="020F0502020204030204" pitchFamily="34" charset="0"/>
                <a:ea typeface="Calibri" panose="020F0502020204030204" pitchFamily="34" charset="0"/>
                <a:cs typeface="Calibri" panose="020F0502020204030204" pitchFamily="34" charset="0"/>
              </a:rPr>
              <a:t>efficiency</a:t>
            </a:r>
            <a:r>
              <a:rPr kumimoji="0" lang="pl-PL" sz="1050" b="0" i="1" u="none" strike="noStrike" kern="1200" cap="none" spc="0" normalizeH="0" baseline="0" noProof="0" dirty="0">
                <a:ln>
                  <a:noFill/>
                </a:ln>
                <a:solidFill>
                  <a:srgbClr val="707173"/>
                </a:solidFill>
                <a:effectLst/>
                <a:uLnTx/>
                <a:uFillTx/>
                <a:latin typeface="Calibri" panose="020F0502020204030204" pitchFamily="34" charset="0"/>
                <a:ea typeface="Calibri" panose="020F0502020204030204" pitchFamily="34" charset="0"/>
                <a:cs typeface="Calibri" panose="020F0502020204030204" pitchFamily="34" charset="0"/>
              </a:rPr>
              <a:t> vs </a:t>
            </a:r>
            <a:r>
              <a:rPr kumimoji="0" lang="pl-PL" sz="1050" b="0" i="1" u="none" strike="noStrike" kern="1200" cap="none" spc="0" normalizeH="0" baseline="0" noProof="0" dirty="0" err="1">
                <a:ln>
                  <a:noFill/>
                </a:ln>
                <a:solidFill>
                  <a:srgbClr val="707173"/>
                </a:solidFill>
                <a:effectLst/>
                <a:uLnTx/>
                <a:uFillTx/>
                <a:latin typeface="Calibri" panose="020F0502020204030204" pitchFamily="34" charset="0"/>
                <a:ea typeface="Calibri" panose="020F0502020204030204" pitchFamily="34" charset="0"/>
                <a:cs typeface="Calibri" panose="020F0502020204030204" pitchFamily="34" charset="0"/>
              </a:rPr>
              <a:t>other</a:t>
            </a:r>
            <a:r>
              <a:rPr kumimoji="0" lang="pl-PL" sz="1050" b="0" i="1" u="none" strike="noStrike" kern="1200" cap="none" spc="0" normalizeH="0" baseline="0" noProof="0" dirty="0">
                <a:ln>
                  <a:noFill/>
                </a:ln>
                <a:solidFill>
                  <a:srgbClr val="707173"/>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pl-PL" sz="1050" b="0" i="1" u="none" strike="noStrike" kern="1200" cap="none" spc="0" normalizeH="0" baseline="0" noProof="0" dirty="0" err="1">
                <a:ln>
                  <a:noFill/>
                </a:ln>
                <a:solidFill>
                  <a:srgbClr val="707173"/>
                </a:solidFill>
                <a:effectLst/>
                <a:uLnTx/>
                <a:uFillTx/>
                <a:latin typeface="Calibri" panose="020F0502020204030204" pitchFamily="34" charset="0"/>
                <a:ea typeface="Calibri" panose="020F0502020204030204" pitchFamily="34" charset="0"/>
                <a:cs typeface="Calibri" panose="020F0502020204030204" pitchFamily="34" charset="0"/>
              </a:rPr>
              <a:t>channels</a:t>
            </a:r>
            <a:endParaRPr kumimoji="0" lang="pl-PL" sz="1050" b="0" i="1" u="none" strike="noStrike" kern="1200" cap="none" spc="0" normalizeH="0" baseline="0" noProof="0" dirty="0">
              <a:ln>
                <a:noFill/>
              </a:ln>
              <a:solidFill>
                <a:srgbClr val="707173"/>
              </a:solidFill>
              <a:effectLst/>
              <a:uLnTx/>
              <a:uFillTx/>
              <a:latin typeface="Calibri" panose="020F0502020204030204" pitchFamily="34" charset="0"/>
              <a:ea typeface="Calibri" panose="020F0502020204030204" pitchFamily="34" charset="0"/>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pl-PL" sz="1050" b="0" i="1" u="none" strike="noStrike" kern="1200" cap="none" spc="0" normalizeH="0" baseline="0" noProof="0" dirty="0">
              <a:ln>
                <a:noFill/>
              </a:ln>
              <a:solidFill>
                <a:srgbClr val="707173"/>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10" name="Prostokąt 9">
            <a:extLst>
              <a:ext uri="{FF2B5EF4-FFF2-40B4-BE49-F238E27FC236}">
                <a16:creationId xmlns:a16="http://schemas.microsoft.com/office/drawing/2014/main" id="{8925494E-318F-4E7C-83B1-3FA9BCF5AE71}"/>
              </a:ext>
            </a:extLst>
          </p:cNvPr>
          <p:cNvSpPr/>
          <p:nvPr/>
        </p:nvSpPr>
        <p:spPr>
          <a:xfrm>
            <a:off x="777240" y="4572000"/>
            <a:ext cx="563880" cy="701040"/>
          </a:xfrm>
          <a:prstGeom prst="rect">
            <a:avLst/>
          </a:prstGeom>
          <a:solidFill>
            <a:srgbClr val="FF66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050" b="0" i="0" u="none" strike="noStrike" kern="1200" cap="none" spc="0" normalizeH="0" baseline="0" noProof="0" dirty="0">
                <a:ln>
                  <a:noFill/>
                </a:ln>
                <a:solidFill>
                  <a:srgbClr val="FFFFFF"/>
                </a:solidFill>
                <a:effectLst/>
                <a:uLnTx/>
                <a:uFillTx/>
                <a:latin typeface="Arial"/>
                <a:ea typeface="+mn-ea"/>
                <a:cs typeface="+mn-cs"/>
              </a:rPr>
              <a:t>52</a:t>
            </a:r>
          </a:p>
        </p:txBody>
      </p:sp>
      <p:sp>
        <p:nvSpPr>
          <p:cNvPr id="12" name="Prostokąt 11">
            <a:extLst>
              <a:ext uri="{FF2B5EF4-FFF2-40B4-BE49-F238E27FC236}">
                <a16:creationId xmlns:a16="http://schemas.microsoft.com/office/drawing/2014/main" id="{E5E84958-A9A1-4F81-8171-8C7760188871}"/>
              </a:ext>
            </a:extLst>
          </p:cNvPr>
          <p:cNvSpPr/>
          <p:nvPr/>
        </p:nvSpPr>
        <p:spPr>
          <a:xfrm>
            <a:off x="1493520" y="3611880"/>
            <a:ext cx="563880" cy="1661160"/>
          </a:xfrm>
          <a:prstGeom prst="rect">
            <a:avLst/>
          </a:prstGeom>
          <a:solidFill>
            <a:srgbClr val="FF66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400" b="0" i="0" u="none" strike="noStrike" kern="1200" cap="none" spc="0" normalizeH="0" baseline="0" noProof="0" dirty="0">
                <a:ln>
                  <a:noFill/>
                </a:ln>
                <a:solidFill>
                  <a:srgbClr val="FFFFFF"/>
                </a:solidFill>
                <a:effectLst/>
                <a:uLnTx/>
                <a:uFillTx/>
                <a:latin typeface="Arial"/>
                <a:ea typeface="+mn-ea"/>
                <a:cs typeface="+mn-cs"/>
              </a:rPr>
              <a:t>110</a:t>
            </a:r>
          </a:p>
        </p:txBody>
      </p:sp>
      <p:sp>
        <p:nvSpPr>
          <p:cNvPr id="13" name="pole tekstowe 12">
            <a:extLst>
              <a:ext uri="{FF2B5EF4-FFF2-40B4-BE49-F238E27FC236}">
                <a16:creationId xmlns:a16="http://schemas.microsoft.com/office/drawing/2014/main" id="{8633575F-D36A-4B36-84C8-8F8746FD704A}"/>
              </a:ext>
            </a:extLst>
          </p:cNvPr>
          <p:cNvSpPr txBox="1"/>
          <p:nvPr/>
        </p:nvSpPr>
        <p:spPr>
          <a:xfrm>
            <a:off x="754380" y="5273040"/>
            <a:ext cx="64008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600" b="0" i="0" u="none" strike="noStrike" kern="1200" cap="none" spc="0" normalizeH="0" baseline="0" noProof="0" dirty="0">
                <a:ln>
                  <a:noFill/>
                </a:ln>
                <a:solidFill>
                  <a:srgbClr val="000000"/>
                </a:solidFill>
                <a:effectLst/>
                <a:uLnTx/>
                <a:uFillTx/>
                <a:latin typeface="Arial"/>
                <a:ea typeface="+mn-ea"/>
                <a:cs typeface="+mn-cs"/>
              </a:rPr>
              <a:t>2024</a:t>
            </a:r>
          </a:p>
        </p:txBody>
      </p:sp>
      <p:sp>
        <p:nvSpPr>
          <p:cNvPr id="15" name="pole tekstowe 14">
            <a:extLst>
              <a:ext uri="{FF2B5EF4-FFF2-40B4-BE49-F238E27FC236}">
                <a16:creationId xmlns:a16="http://schemas.microsoft.com/office/drawing/2014/main" id="{7E998DFE-18F3-4CAE-9217-3E5CD0A3ED5B}"/>
              </a:ext>
            </a:extLst>
          </p:cNvPr>
          <p:cNvSpPr txBox="1"/>
          <p:nvPr/>
        </p:nvSpPr>
        <p:spPr>
          <a:xfrm>
            <a:off x="1455420" y="5273040"/>
            <a:ext cx="64008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600" b="0" i="0" u="none" strike="noStrike" kern="1200" cap="none" spc="0" normalizeH="0" baseline="0" noProof="0" dirty="0">
                <a:ln>
                  <a:noFill/>
                </a:ln>
                <a:solidFill>
                  <a:srgbClr val="000000"/>
                </a:solidFill>
                <a:effectLst/>
                <a:uLnTx/>
                <a:uFillTx/>
                <a:latin typeface="Arial"/>
                <a:ea typeface="+mn-ea"/>
                <a:cs typeface="+mn-cs"/>
              </a:rPr>
              <a:t>2025</a:t>
            </a:r>
          </a:p>
        </p:txBody>
      </p:sp>
      <p:sp>
        <p:nvSpPr>
          <p:cNvPr id="16" name="Prostokąt 15">
            <a:extLst>
              <a:ext uri="{FF2B5EF4-FFF2-40B4-BE49-F238E27FC236}">
                <a16:creationId xmlns:a16="http://schemas.microsoft.com/office/drawing/2014/main" id="{4EAAA03C-E2E3-49DE-A4B4-6AAC7C6B2E1D}"/>
              </a:ext>
            </a:extLst>
          </p:cNvPr>
          <p:cNvSpPr/>
          <p:nvPr/>
        </p:nvSpPr>
        <p:spPr>
          <a:xfrm>
            <a:off x="2306955" y="5021580"/>
            <a:ext cx="563880" cy="251459"/>
          </a:xfrm>
          <a:prstGeom prst="rect">
            <a:avLst/>
          </a:prstGeom>
          <a:gradFill flip="none" rotWithShape="1">
            <a:gsLst>
              <a:gs pos="0">
                <a:srgbClr val="FF6600">
                  <a:tint val="66000"/>
                  <a:satMod val="160000"/>
                </a:srgbClr>
              </a:gs>
              <a:gs pos="50000">
                <a:srgbClr val="FF6600">
                  <a:tint val="44500"/>
                  <a:satMod val="160000"/>
                </a:srgbClr>
              </a:gs>
              <a:gs pos="100000">
                <a:srgbClr val="FF6600">
                  <a:tint val="23500"/>
                  <a:satMod val="160000"/>
                </a:srgbClr>
              </a:gs>
            </a:gsLst>
            <a:lin ang="10800000" scaled="1"/>
            <a:tileRect/>
          </a:gra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100" b="0" i="0" u="none" strike="noStrike" kern="1200" cap="none" spc="0" normalizeH="0" baseline="0" noProof="0" dirty="0">
                <a:ln>
                  <a:noFill/>
                </a:ln>
                <a:solidFill>
                  <a:srgbClr val="FFFFFF"/>
                </a:solidFill>
                <a:effectLst/>
                <a:uLnTx/>
                <a:uFillTx/>
                <a:latin typeface="Arial"/>
                <a:ea typeface="+mn-ea"/>
                <a:cs typeface="+mn-cs"/>
              </a:rPr>
              <a:t>17</a:t>
            </a:r>
          </a:p>
        </p:txBody>
      </p:sp>
      <p:sp>
        <p:nvSpPr>
          <p:cNvPr id="17" name="pole tekstowe 16">
            <a:extLst>
              <a:ext uri="{FF2B5EF4-FFF2-40B4-BE49-F238E27FC236}">
                <a16:creationId xmlns:a16="http://schemas.microsoft.com/office/drawing/2014/main" id="{BAE32EAC-C573-4C75-BE94-BAD094349B57}"/>
              </a:ext>
            </a:extLst>
          </p:cNvPr>
          <p:cNvSpPr txBox="1"/>
          <p:nvPr/>
        </p:nvSpPr>
        <p:spPr>
          <a:xfrm>
            <a:off x="2264832" y="5273040"/>
            <a:ext cx="101176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600" b="0" i="0" u="none" strike="noStrike" kern="1200" cap="none" spc="0" normalizeH="0" baseline="0" noProof="0" dirty="0">
                <a:ln>
                  <a:noFill/>
                </a:ln>
                <a:solidFill>
                  <a:srgbClr val="000000"/>
                </a:solidFill>
                <a:effectLst/>
                <a:uLnTx/>
                <a:uFillTx/>
                <a:latin typeface="Arial"/>
                <a:ea typeface="+mn-ea"/>
                <a:cs typeface="+mn-cs"/>
              </a:rPr>
              <a:t>02.2026</a:t>
            </a:r>
          </a:p>
        </p:txBody>
      </p:sp>
      <p:graphicFrame>
        <p:nvGraphicFramePr>
          <p:cNvPr id="22" name="Wykres 21">
            <a:extLst>
              <a:ext uri="{FF2B5EF4-FFF2-40B4-BE49-F238E27FC236}">
                <a16:creationId xmlns:a16="http://schemas.microsoft.com/office/drawing/2014/main" id="{71A5F332-EBED-41F0-94DB-999901D08D2D}"/>
              </a:ext>
            </a:extLst>
          </p:cNvPr>
          <p:cNvGraphicFramePr>
            <a:graphicFrameLocks/>
          </p:cNvGraphicFramePr>
          <p:nvPr/>
        </p:nvGraphicFramePr>
        <p:xfrm>
          <a:off x="7740015" y="3170306"/>
          <a:ext cx="3956685" cy="2441288"/>
        </p:xfrm>
        <a:graphic>
          <a:graphicData uri="http://schemas.openxmlformats.org/drawingml/2006/chart">
            <c:chart xmlns:c="http://schemas.openxmlformats.org/drawingml/2006/chart" xmlns:r="http://schemas.openxmlformats.org/officeDocument/2006/relationships" r:id="rId3"/>
          </a:graphicData>
        </a:graphic>
      </p:graphicFrame>
      <p:sp>
        <p:nvSpPr>
          <p:cNvPr id="18" name="Tytuł 4">
            <a:extLst>
              <a:ext uri="{FF2B5EF4-FFF2-40B4-BE49-F238E27FC236}">
                <a16:creationId xmlns:a16="http://schemas.microsoft.com/office/drawing/2014/main" id="{80F7ABAD-DBDE-422B-B544-5C816AED4E9A}"/>
              </a:ext>
            </a:extLst>
          </p:cNvPr>
          <p:cNvSpPr txBox="1">
            <a:spLocks/>
          </p:cNvSpPr>
          <p:nvPr/>
        </p:nvSpPr>
        <p:spPr bwMode="gray">
          <a:xfrm>
            <a:off x="48673" y="85627"/>
            <a:ext cx="12185065" cy="753532"/>
          </a:xfrm>
          <a:prstGeom prst="rect">
            <a:avLst/>
          </a:prstGeom>
        </p:spPr>
        <p:txBody>
          <a:bodyPr vert="horz" lIns="0" tIns="0" rIns="0" bIns="0" rtlCol="0" anchor="b" anchorCtr="0">
            <a:normAutofit fontScale="97500" lnSpcReduction="10000"/>
          </a:bodyPr>
          <a:lstStyle>
            <a:lvl1pPr algn="l" defTabSz="914341" rtl="0" eaLnBrk="1" latinLnBrk="0" hangingPunct="1">
              <a:lnSpc>
                <a:spcPct val="90000"/>
              </a:lnSpc>
              <a:spcBef>
                <a:spcPts val="0"/>
              </a:spcBef>
              <a:spcAft>
                <a:spcPts val="0"/>
              </a:spcAft>
              <a:buNone/>
              <a:defRPr sz="3733" b="1" kern="1200" cap="none" baseline="0">
                <a:solidFill>
                  <a:srgbClr val="009597"/>
                </a:solidFill>
                <a:latin typeface="+mj-lt"/>
                <a:ea typeface="+mj-ea"/>
                <a:cs typeface="+mj-cs"/>
              </a:defRPr>
            </a:lvl1pPr>
          </a:lstStyle>
          <a:p>
            <a:pPr marL="0" marR="0" lvl="0" indent="0" algn="l" defTabSz="914341" rtl="0" eaLnBrk="1" fontAlgn="auto" latinLnBrk="0" hangingPunct="1">
              <a:lnSpc>
                <a:spcPct val="90000"/>
              </a:lnSpc>
              <a:spcBef>
                <a:spcPts val="0"/>
              </a:spcBef>
              <a:spcAft>
                <a:spcPts val="0"/>
              </a:spcAft>
              <a:buClrTx/>
              <a:buSzTx/>
              <a:buFontTx/>
              <a:buNone/>
              <a:tabLst/>
              <a:defRPr/>
            </a:pPr>
            <a:r>
              <a:rPr kumimoji="0" lang="pl-PL" sz="3733" b="1" i="0" u="none" strike="noStrike" kern="1200" cap="none" spc="0" normalizeH="0" baseline="0" noProof="0" dirty="0">
                <a:ln>
                  <a:noFill/>
                </a:ln>
                <a:solidFill>
                  <a:srgbClr val="009597"/>
                </a:solidFill>
                <a:effectLst/>
                <a:uLnTx/>
                <a:uFillTx/>
                <a:latin typeface="Arial"/>
                <a:ea typeface="+mj-ea"/>
                <a:cs typeface="+mj-cs"/>
              </a:rPr>
              <a:t>Remote </a:t>
            </a:r>
            <a:r>
              <a:rPr kumimoji="0" lang="pl-PL" sz="3733" b="1" i="0" u="none" strike="noStrike" kern="1200" cap="none" spc="0" normalizeH="0" baseline="0" noProof="0" dirty="0" err="1">
                <a:ln>
                  <a:noFill/>
                </a:ln>
                <a:solidFill>
                  <a:srgbClr val="009597"/>
                </a:solidFill>
                <a:effectLst/>
                <a:uLnTx/>
                <a:uFillTx/>
                <a:latin typeface="Arial"/>
                <a:ea typeface="+mj-ea"/>
                <a:cs typeface="+mj-cs"/>
              </a:rPr>
              <a:t>Advisors</a:t>
            </a:r>
            <a:r>
              <a:rPr kumimoji="0" lang="pl-PL" sz="3733" b="1" i="0" u="none" strike="noStrike" kern="1200" cap="none" spc="0" normalizeH="0" baseline="0" noProof="0" dirty="0">
                <a:ln>
                  <a:noFill/>
                </a:ln>
                <a:solidFill>
                  <a:srgbClr val="009597"/>
                </a:solidFill>
                <a:effectLst/>
                <a:uLnTx/>
                <a:uFillTx/>
                <a:latin typeface="Arial"/>
                <a:ea typeface="+mj-ea"/>
                <a:cs typeface="+mj-cs"/>
              </a:rPr>
              <a:t>: POS </a:t>
            </a:r>
            <a:r>
              <a:rPr kumimoji="0" lang="pl-PL" sz="3733" b="1" i="0" u="none" strike="noStrike" kern="1200" cap="none" spc="0" normalizeH="0" baseline="0" noProof="0" dirty="0" err="1">
                <a:ln>
                  <a:noFill/>
                </a:ln>
                <a:solidFill>
                  <a:srgbClr val="009597"/>
                </a:solidFill>
                <a:effectLst/>
                <a:uLnTx/>
                <a:uFillTx/>
                <a:latin typeface="Arial"/>
                <a:ea typeface="+mj-ea"/>
                <a:cs typeface="+mj-cs"/>
              </a:rPr>
              <a:t>Terminals</a:t>
            </a:r>
            <a:br>
              <a:rPr kumimoji="0" lang="pl-PL" sz="3733" b="1" i="0" u="none" strike="noStrike" kern="1200" cap="none" spc="0" normalizeH="0" baseline="0" noProof="0" dirty="0">
                <a:ln>
                  <a:noFill/>
                </a:ln>
                <a:solidFill>
                  <a:srgbClr val="009597"/>
                </a:solidFill>
                <a:effectLst/>
                <a:uLnTx/>
                <a:uFillTx/>
                <a:latin typeface="Arial"/>
                <a:ea typeface="+mj-ea"/>
                <a:cs typeface="+mj-cs"/>
              </a:rPr>
            </a:br>
            <a:endParaRPr kumimoji="0" lang="pl-PL" sz="2200" b="1" i="0" u="none" strike="noStrike" kern="1200" cap="none" spc="0" normalizeH="0" baseline="0" noProof="0" dirty="0">
              <a:ln>
                <a:noFill/>
              </a:ln>
              <a:solidFill>
                <a:srgbClr val="92D050"/>
              </a:solidFill>
              <a:effectLst/>
              <a:uLnTx/>
              <a:uFillTx/>
              <a:latin typeface="Arial"/>
              <a:ea typeface="+mj-ea"/>
              <a:cs typeface="+mj-cs"/>
            </a:endParaRPr>
          </a:p>
        </p:txBody>
      </p:sp>
      <p:graphicFrame>
        <p:nvGraphicFramePr>
          <p:cNvPr id="4" name="Tabela 3">
            <a:extLst>
              <a:ext uri="{FF2B5EF4-FFF2-40B4-BE49-F238E27FC236}">
                <a16:creationId xmlns:a16="http://schemas.microsoft.com/office/drawing/2014/main" id="{5CC79DB1-672A-4214-89E5-93D046F35ADD}"/>
              </a:ext>
            </a:extLst>
          </p:cNvPr>
          <p:cNvGraphicFramePr>
            <a:graphicFrameLocks noGrp="1"/>
          </p:cNvGraphicFramePr>
          <p:nvPr/>
        </p:nvGraphicFramePr>
        <p:xfrm>
          <a:off x="777240" y="774811"/>
          <a:ext cx="8930644" cy="1977392"/>
        </p:xfrm>
        <a:graphic>
          <a:graphicData uri="http://schemas.openxmlformats.org/drawingml/2006/table">
            <a:tbl>
              <a:tblPr/>
              <a:tblGrid>
                <a:gridCol w="566276">
                  <a:extLst>
                    <a:ext uri="{9D8B030D-6E8A-4147-A177-3AD203B41FA5}">
                      <a16:colId xmlns:a16="http://schemas.microsoft.com/office/drawing/2014/main" val="3657599459"/>
                    </a:ext>
                  </a:extLst>
                </a:gridCol>
                <a:gridCol w="1002780">
                  <a:extLst>
                    <a:ext uri="{9D8B030D-6E8A-4147-A177-3AD203B41FA5}">
                      <a16:colId xmlns:a16="http://schemas.microsoft.com/office/drawing/2014/main" val="1908811412"/>
                    </a:ext>
                  </a:extLst>
                </a:gridCol>
                <a:gridCol w="566276">
                  <a:extLst>
                    <a:ext uri="{9D8B030D-6E8A-4147-A177-3AD203B41FA5}">
                      <a16:colId xmlns:a16="http://schemas.microsoft.com/office/drawing/2014/main" val="2322052236"/>
                    </a:ext>
                  </a:extLst>
                </a:gridCol>
                <a:gridCol w="566276">
                  <a:extLst>
                    <a:ext uri="{9D8B030D-6E8A-4147-A177-3AD203B41FA5}">
                      <a16:colId xmlns:a16="http://schemas.microsoft.com/office/drawing/2014/main" val="625712122"/>
                    </a:ext>
                  </a:extLst>
                </a:gridCol>
                <a:gridCol w="566276">
                  <a:extLst>
                    <a:ext uri="{9D8B030D-6E8A-4147-A177-3AD203B41FA5}">
                      <a16:colId xmlns:a16="http://schemas.microsoft.com/office/drawing/2014/main" val="1902476530"/>
                    </a:ext>
                  </a:extLst>
                </a:gridCol>
                <a:gridCol w="566276">
                  <a:extLst>
                    <a:ext uri="{9D8B030D-6E8A-4147-A177-3AD203B41FA5}">
                      <a16:colId xmlns:a16="http://schemas.microsoft.com/office/drawing/2014/main" val="1137852641"/>
                    </a:ext>
                  </a:extLst>
                </a:gridCol>
                <a:gridCol w="566276">
                  <a:extLst>
                    <a:ext uri="{9D8B030D-6E8A-4147-A177-3AD203B41FA5}">
                      <a16:colId xmlns:a16="http://schemas.microsoft.com/office/drawing/2014/main" val="2208323011"/>
                    </a:ext>
                  </a:extLst>
                </a:gridCol>
                <a:gridCol w="566276">
                  <a:extLst>
                    <a:ext uri="{9D8B030D-6E8A-4147-A177-3AD203B41FA5}">
                      <a16:colId xmlns:a16="http://schemas.microsoft.com/office/drawing/2014/main" val="2161205248"/>
                    </a:ext>
                  </a:extLst>
                </a:gridCol>
                <a:gridCol w="566276">
                  <a:extLst>
                    <a:ext uri="{9D8B030D-6E8A-4147-A177-3AD203B41FA5}">
                      <a16:colId xmlns:a16="http://schemas.microsoft.com/office/drawing/2014/main" val="2660857315"/>
                    </a:ext>
                  </a:extLst>
                </a:gridCol>
                <a:gridCol w="566276">
                  <a:extLst>
                    <a:ext uri="{9D8B030D-6E8A-4147-A177-3AD203B41FA5}">
                      <a16:colId xmlns:a16="http://schemas.microsoft.com/office/drawing/2014/main" val="4284435775"/>
                    </a:ext>
                  </a:extLst>
                </a:gridCol>
                <a:gridCol w="566276">
                  <a:extLst>
                    <a:ext uri="{9D8B030D-6E8A-4147-A177-3AD203B41FA5}">
                      <a16:colId xmlns:a16="http://schemas.microsoft.com/office/drawing/2014/main" val="3659336155"/>
                    </a:ext>
                  </a:extLst>
                </a:gridCol>
                <a:gridCol w="566276">
                  <a:extLst>
                    <a:ext uri="{9D8B030D-6E8A-4147-A177-3AD203B41FA5}">
                      <a16:colId xmlns:a16="http://schemas.microsoft.com/office/drawing/2014/main" val="2161285862"/>
                    </a:ext>
                  </a:extLst>
                </a:gridCol>
                <a:gridCol w="566276">
                  <a:extLst>
                    <a:ext uri="{9D8B030D-6E8A-4147-A177-3AD203B41FA5}">
                      <a16:colId xmlns:a16="http://schemas.microsoft.com/office/drawing/2014/main" val="1146392537"/>
                    </a:ext>
                  </a:extLst>
                </a:gridCol>
                <a:gridCol w="566276">
                  <a:extLst>
                    <a:ext uri="{9D8B030D-6E8A-4147-A177-3AD203B41FA5}">
                      <a16:colId xmlns:a16="http://schemas.microsoft.com/office/drawing/2014/main" val="723731164"/>
                    </a:ext>
                  </a:extLst>
                </a:gridCol>
                <a:gridCol w="566276">
                  <a:extLst>
                    <a:ext uri="{9D8B030D-6E8A-4147-A177-3AD203B41FA5}">
                      <a16:colId xmlns:a16="http://schemas.microsoft.com/office/drawing/2014/main" val="576184221"/>
                    </a:ext>
                  </a:extLst>
                </a:gridCol>
              </a:tblGrid>
              <a:tr h="170957">
                <a:tc>
                  <a:txBody>
                    <a:bodyPr/>
                    <a:lstStyle/>
                    <a:p>
                      <a:pPr algn="l" fontAlgn="b"/>
                      <a:endParaRPr lang="pl-PL" sz="1100" b="0" i="0" u="none" strike="noStrike">
                        <a:solidFill>
                          <a:srgbClr val="000000"/>
                        </a:solidFill>
                        <a:effectLst/>
                        <a:latin typeface="Calibri" panose="020F0502020204030204" pitchFamily="34" charset="0"/>
                      </a:endParaRPr>
                    </a:p>
                  </a:txBody>
                  <a:tcPr marL="9352" marR="9352" marT="9352" marB="0" anchor="b">
                    <a:lnL>
                      <a:noFill/>
                    </a:lnL>
                    <a:lnR>
                      <a:noFill/>
                    </a:lnR>
                    <a:lnT>
                      <a:noFill/>
                    </a:lnT>
                    <a:lnB>
                      <a:noFill/>
                    </a:lnB>
                  </a:tcPr>
                </a:tc>
                <a:tc>
                  <a:txBody>
                    <a:bodyPr/>
                    <a:lstStyle/>
                    <a:p>
                      <a:pPr algn="l" fontAlgn="b"/>
                      <a:endParaRPr lang="pl-PL" sz="1100" b="0" i="0" u="none" strike="noStrike">
                        <a:solidFill>
                          <a:srgbClr val="000000"/>
                        </a:solidFill>
                        <a:effectLst/>
                        <a:latin typeface="Calibri" panose="020F0502020204030204" pitchFamily="34" charset="0"/>
                      </a:endParaRPr>
                    </a:p>
                  </a:txBody>
                  <a:tcPr marL="9352" marR="9352" marT="9352"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gridSpan="13">
                  <a:txBody>
                    <a:bodyPr/>
                    <a:lstStyle/>
                    <a:p>
                      <a:pPr algn="ctr" fontAlgn="b"/>
                      <a:r>
                        <a:rPr lang="pl-PL" sz="1200" b="1" i="0" u="none" strike="noStrike">
                          <a:solidFill>
                            <a:srgbClr val="FFFFFF"/>
                          </a:solidFill>
                          <a:effectLst/>
                          <a:latin typeface="Calibri" panose="020F0502020204030204" pitchFamily="34" charset="0"/>
                        </a:rPr>
                        <a:t>2025</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9999"/>
                    </a:solidFill>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extLst>
                  <a:ext uri="{0D108BD9-81ED-4DB2-BD59-A6C34878D82A}">
                    <a16:rowId xmlns:a16="http://schemas.microsoft.com/office/drawing/2014/main" val="1054072626"/>
                  </a:ext>
                </a:extLst>
              </a:tr>
              <a:tr h="162816">
                <a:tc>
                  <a:txBody>
                    <a:bodyPr/>
                    <a:lstStyle/>
                    <a:p>
                      <a:pPr algn="l" fontAlgn="b"/>
                      <a:endParaRPr lang="pl-PL" sz="1100" b="0" i="0" u="none" strike="noStrike">
                        <a:solidFill>
                          <a:srgbClr val="000000"/>
                        </a:solidFill>
                        <a:effectLst/>
                        <a:latin typeface="Calibri" panose="020F0502020204030204" pitchFamily="34" charset="0"/>
                      </a:endParaRPr>
                    </a:p>
                  </a:txBody>
                  <a:tcPr marL="9352" marR="9352" marT="9352"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pl-PL" sz="1100" b="0" i="0" u="none" strike="noStrike">
                          <a:solidFill>
                            <a:srgbClr val="000000"/>
                          </a:solidFill>
                          <a:effectLst/>
                          <a:latin typeface="Calibri" panose="020F0502020204030204" pitchFamily="34" charset="0"/>
                        </a:rPr>
                        <a:t> </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jan'25</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feb'25</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mar'25</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apr'25</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may'25</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jun'25</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jul'25</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aug'25</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sep'25</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oct'25</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nov'25</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dec'25</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1" i="0" u="none" strike="noStrike">
                          <a:solidFill>
                            <a:srgbClr val="000000"/>
                          </a:solidFill>
                          <a:effectLst/>
                          <a:latin typeface="Calibri" panose="020F0502020204030204" pitchFamily="34" charset="0"/>
                        </a:rPr>
                        <a:t>TOTAL</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38856877"/>
                  </a:ext>
                </a:extLst>
              </a:tr>
              <a:tr h="162816">
                <a:tc>
                  <a:txBody>
                    <a:bodyPr/>
                    <a:lstStyle/>
                    <a:p>
                      <a:pPr algn="l" fontAlgn="b"/>
                      <a:endParaRPr lang="pl-PL" sz="1100" b="0" i="0" u="none" strike="noStrike">
                        <a:solidFill>
                          <a:srgbClr val="000000"/>
                        </a:solidFill>
                        <a:effectLst/>
                        <a:latin typeface="Calibri" panose="020F0502020204030204" pitchFamily="34" charset="0"/>
                      </a:endParaRPr>
                    </a:p>
                  </a:txBody>
                  <a:tcPr marL="9352" marR="9352" marT="9352"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b"/>
                      <a:r>
                        <a:rPr lang="pl-PL" sz="1100" b="0" i="0" u="none" strike="noStrike">
                          <a:solidFill>
                            <a:srgbClr val="000000"/>
                          </a:solidFill>
                          <a:effectLst/>
                          <a:latin typeface="Calibri" panose="020F0502020204030204" pitchFamily="34" charset="0"/>
                        </a:rPr>
                        <a:t># POS Terminals</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1" i="0" u="none" strike="noStrike">
                          <a:solidFill>
                            <a:srgbClr val="000000"/>
                          </a:solidFill>
                          <a:effectLst/>
                          <a:latin typeface="Calibri" panose="020F0502020204030204" pitchFamily="34" charset="0"/>
                        </a:rPr>
                        <a:t>4</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1" i="0" u="none" strike="noStrike">
                          <a:solidFill>
                            <a:srgbClr val="000000"/>
                          </a:solidFill>
                          <a:effectLst/>
                          <a:latin typeface="Calibri" panose="020F0502020204030204" pitchFamily="34" charset="0"/>
                        </a:rPr>
                        <a:t>4</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1" i="0" u="none" strike="noStrike">
                          <a:solidFill>
                            <a:srgbClr val="000000"/>
                          </a:solidFill>
                          <a:effectLst/>
                          <a:latin typeface="Calibri" panose="020F0502020204030204" pitchFamily="34" charset="0"/>
                        </a:rPr>
                        <a:t>10</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1" i="0" u="none" strike="noStrike">
                          <a:solidFill>
                            <a:srgbClr val="000000"/>
                          </a:solidFill>
                          <a:effectLst/>
                          <a:latin typeface="Calibri" panose="020F0502020204030204" pitchFamily="34" charset="0"/>
                        </a:rPr>
                        <a:t>15</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1" i="0" u="none" strike="noStrike">
                          <a:solidFill>
                            <a:srgbClr val="000000"/>
                          </a:solidFill>
                          <a:effectLst/>
                          <a:latin typeface="Calibri" panose="020F0502020204030204" pitchFamily="34" charset="0"/>
                        </a:rPr>
                        <a:t>13</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1" i="0" u="none" strike="noStrike">
                          <a:solidFill>
                            <a:srgbClr val="000000"/>
                          </a:solidFill>
                          <a:effectLst/>
                          <a:latin typeface="Calibri" panose="020F0502020204030204" pitchFamily="34" charset="0"/>
                        </a:rPr>
                        <a:t>14</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1" i="0" u="none" strike="noStrike">
                          <a:solidFill>
                            <a:srgbClr val="000000"/>
                          </a:solidFill>
                          <a:effectLst/>
                          <a:latin typeface="Calibri" panose="020F0502020204030204" pitchFamily="34" charset="0"/>
                        </a:rPr>
                        <a:t>10</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1" i="0" u="none" strike="noStrike">
                          <a:solidFill>
                            <a:srgbClr val="000000"/>
                          </a:solidFill>
                          <a:effectLst/>
                          <a:latin typeface="Calibri" panose="020F0502020204030204" pitchFamily="34" charset="0"/>
                        </a:rPr>
                        <a:t>7</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1" i="0" u="none" strike="noStrike">
                          <a:solidFill>
                            <a:srgbClr val="000000"/>
                          </a:solidFill>
                          <a:effectLst/>
                          <a:latin typeface="Calibri" panose="020F0502020204030204" pitchFamily="34" charset="0"/>
                        </a:rPr>
                        <a:t>6</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1" i="0" u="none" strike="noStrike">
                          <a:solidFill>
                            <a:srgbClr val="000000"/>
                          </a:solidFill>
                          <a:effectLst/>
                          <a:latin typeface="Calibri" panose="020F0502020204030204" pitchFamily="34" charset="0"/>
                        </a:rPr>
                        <a:t>12</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1" i="0" u="none" strike="noStrike">
                          <a:solidFill>
                            <a:srgbClr val="000000"/>
                          </a:solidFill>
                          <a:effectLst/>
                          <a:latin typeface="Calibri" panose="020F0502020204030204" pitchFamily="34" charset="0"/>
                        </a:rPr>
                        <a:t>9</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1" i="0" u="none" strike="noStrike">
                          <a:solidFill>
                            <a:srgbClr val="000000"/>
                          </a:solidFill>
                          <a:effectLst/>
                          <a:latin typeface="Calibri" panose="020F0502020204030204" pitchFamily="34" charset="0"/>
                        </a:rPr>
                        <a:t>6</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1" i="0" u="none" strike="noStrike">
                          <a:solidFill>
                            <a:srgbClr val="000000"/>
                          </a:solidFill>
                          <a:effectLst/>
                          <a:latin typeface="Calibri" panose="020F0502020204030204" pitchFamily="34" charset="0"/>
                        </a:rPr>
                        <a:t>110</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38518993"/>
                  </a:ext>
                </a:extLst>
              </a:tr>
              <a:tr h="162816">
                <a:tc>
                  <a:txBody>
                    <a:bodyPr/>
                    <a:lstStyle/>
                    <a:p>
                      <a:pPr algn="l" fontAlgn="b"/>
                      <a:r>
                        <a:rPr lang="pl-PL" sz="1100" b="0" i="1" u="none" strike="noStrike">
                          <a:solidFill>
                            <a:srgbClr val="000000"/>
                          </a:solidFill>
                          <a:effectLst/>
                          <a:latin typeface="Calibri" panose="020F0502020204030204" pitchFamily="34" charset="0"/>
                        </a:rPr>
                        <a:t>8 FTE</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1" u="none" strike="noStrike">
                          <a:solidFill>
                            <a:srgbClr val="000000"/>
                          </a:solidFill>
                          <a:effectLst/>
                          <a:latin typeface="Calibri" panose="020F0502020204030204" pitchFamily="34" charset="0"/>
                        </a:rPr>
                        <a:t>Avr per 1 FTE</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0,5</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0,5</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1,2</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1,8</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1,6</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1,7</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1,2</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0,8</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0,7</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1,5</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1,1</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0,7</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pl-PL" sz="1100" b="0" i="0" u="none" strike="noStrike">
                        <a:solidFill>
                          <a:srgbClr val="000000"/>
                        </a:solidFill>
                        <a:effectLst/>
                        <a:latin typeface="Calibri" panose="020F0502020204030204" pitchFamily="34" charset="0"/>
                      </a:endParaRPr>
                    </a:p>
                  </a:txBody>
                  <a:tcPr marL="9352" marR="9352" marT="9352"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4206912299"/>
                  </a:ext>
                </a:extLst>
              </a:tr>
              <a:tr h="162816">
                <a:tc>
                  <a:txBody>
                    <a:bodyPr/>
                    <a:lstStyle/>
                    <a:p>
                      <a:pPr algn="l" fontAlgn="b"/>
                      <a:endParaRPr lang="pl-PL" sz="1100" b="0" i="0" u="none" strike="noStrike">
                        <a:solidFill>
                          <a:srgbClr val="000000"/>
                        </a:solidFill>
                        <a:effectLst/>
                        <a:latin typeface="Calibri" panose="020F0502020204030204" pitchFamily="34" charset="0"/>
                      </a:endParaRPr>
                    </a:p>
                  </a:txBody>
                  <a:tcPr marL="9352" marR="9352" marT="9352"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pl-PL" sz="1100" b="0" i="1" u="none" strike="noStrike">
                          <a:solidFill>
                            <a:srgbClr val="000000"/>
                          </a:solidFill>
                          <a:effectLst/>
                          <a:latin typeface="Calibri" panose="020F0502020204030204" pitchFamily="34" charset="0"/>
                        </a:rPr>
                        <a:t>cumulative</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4</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8</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18</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33</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46</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60</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70</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77</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83</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95</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104</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110</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pl-PL" sz="1100" b="0" i="0" u="none" strike="noStrike">
                        <a:solidFill>
                          <a:srgbClr val="000000"/>
                        </a:solidFill>
                        <a:effectLst/>
                        <a:latin typeface="Calibri" panose="020F0502020204030204" pitchFamily="34" charset="0"/>
                      </a:endParaRPr>
                    </a:p>
                  </a:txBody>
                  <a:tcPr marL="9352" marR="9352" marT="9352"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34968460"/>
                  </a:ext>
                </a:extLst>
              </a:tr>
              <a:tr h="162816">
                <a:tc>
                  <a:txBody>
                    <a:bodyPr/>
                    <a:lstStyle/>
                    <a:p>
                      <a:pPr algn="l" fontAlgn="b"/>
                      <a:endParaRPr lang="pl-PL" sz="1100" b="0" i="0" u="none" strike="noStrike">
                        <a:solidFill>
                          <a:srgbClr val="000000"/>
                        </a:solidFill>
                        <a:effectLst/>
                        <a:latin typeface="Calibri" panose="020F0502020204030204" pitchFamily="34" charset="0"/>
                      </a:endParaRPr>
                    </a:p>
                  </a:txBody>
                  <a:tcPr marL="9352" marR="9352" marT="9352" marB="0" anchor="b">
                    <a:lnL>
                      <a:noFill/>
                    </a:lnL>
                    <a:lnR>
                      <a:noFill/>
                    </a:lnR>
                    <a:lnT>
                      <a:noFill/>
                    </a:lnT>
                    <a:lnB>
                      <a:noFill/>
                    </a:lnB>
                  </a:tcPr>
                </a:tc>
                <a:tc>
                  <a:txBody>
                    <a:bodyPr/>
                    <a:lstStyle/>
                    <a:p>
                      <a:pPr algn="l" fontAlgn="b"/>
                      <a:endParaRPr lang="pl-PL" sz="1100" b="0" i="1" u="none" strike="noStrike">
                        <a:solidFill>
                          <a:srgbClr val="000000"/>
                        </a:solidFill>
                        <a:effectLst/>
                        <a:latin typeface="Calibri" panose="020F0502020204030204" pitchFamily="34" charset="0"/>
                      </a:endParaRPr>
                    </a:p>
                  </a:txBody>
                  <a:tcPr marL="9352" marR="9352" marT="9352"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endParaRPr lang="pl-PL" sz="1100" b="0" i="0" u="none" strike="noStrike">
                        <a:solidFill>
                          <a:srgbClr val="000000"/>
                        </a:solidFill>
                        <a:effectLst/>
                        <a:latin typeface="Calibri" panose="020F0502020204030204" pitchFamily="34" charset="0"/>
                      </a:endParaRPr>
                    </a:p>
                  </a:txBody>
                  <a:tcPr marL="9352" marR="9352" marT="9352"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endParaRPr lang="pl-PL" sz="1100" b="0" i="0" u="none" strike="noStrike">
                        <a:solidFill>
                          <a:srgbClr val="000000"/>
                        </a:solidFill>
                        <a:effectLst/>
                        <a:latin typeface="Calibri" panose="020F0502020204030204" pitchFamily="34" charset="0"/>
                      </a:endParaRPr>
                    </a:p>
                  </a:txBody>
                  <a:tcPr marL="9352" marR="9352" marT="9352"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endParaRPr lang="pl-PL" sz="1100" b="0" i="0" u="none" strike="noStrike">
                        <a:solidFill>
                          <a:srgbClr val="000000"/>
                        </a:solidFill>
                        <a:effectLst/>
                        <a:latin typeface="Calibri" panose="020F0502020204030204" pitchFamily="34" charset="0"/>
                      </a:endParaRPr>
                    </a:p>
                  </a:txBody>
                  <a:tcPr marL="9352" marR="9352" marT="9352"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endParaRPr lang="pl-PL" sz="1100" b="0" i="0" u="none" strike="noStrike">
                        <a:solidFill>
                          <a:srgbClr val="000000"/>
                        </a:solidFill>
                        <a:effectLst/>
                        <a:latin typeface="Calibri" panose="020F0502020204030204" pitchFamily="34" charset="0"/>
                      </a:endParaRPr>
                    </a:p>
                  </a:txBody>
                  <a:tcPr marL="9352" marR="9352" marT="9352"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endParaRPr lang="pl-PL" sz="1100" b="0" i="0" u="none" strike="noStrike">
                        <a:solidFill>
                          <a:srgbClr val="000000"/>
                        </a:solidFill>
                        <a:effectLst/>
                        <a:latin typeface="Calibri" panose="020F0502020204030204" pitchFamily="34" charset="0"/>
                      </a:endParaRPr>
                    </a:p>
                  </a:txBody>
                  <a:tcPr marL="9352" marR="9352" marT="9352"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endParaRPr lang="pl-PL" sz="1100" b="0" i="0" u="none" strike="noStrike">
                        <a:solidFill>
                          <a:srgbClr val="000000"/>
                        </a:solidFill>
                        <a:effectLst/>
                        <a:latin typeface="Calibri" panose="020F0502020204030204" pitchFamily="34" charset="0"/>
                      </a:endParaRPr>
                    </a:p>
                  </a:txBody>
                  <a:tcPr marL="9352" marR="9352" marT="9352"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endParaRPr lang="pl-PL" sz="1100" b="0" i="0" u="none" strike="noStrike">
                        <a:solidFill>
                          <a:srgbClr val="000000"/>
                        </a:solidFill>
                        <a:effectLst/>
                        <a:latin typeface="Calibri" panose="020F0502020204030204" pitchFamily="34" charset="0"/>
                      </a:endParaRPr>
                    </a:p>
                  </a:txBody>
                  <a:tcPr marL="9352" marR="9352" marT="9352"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endParaRPr lang="pl-PL" sz="1100" b="0" i="0" u="none" strike="noStrike">
                        <a:solidFill>
                          <a:srgbClr val="000000"/>
                        </a:solidFill>
                        <a:effectLst/>
                        <a:latin typeface="Calibri" panose="020F0502020204030204" pitchFamily="34" charset="0"/>
                      </a:endParaRPr>
                    </a:p>
                  </a:txBody>
                  <a:tcPr marL="9352" marR="9352" marT="9352"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endParaRPr lang="pl-PL" sz="1100" b="0" i="0" u="none" strike="noStrike">
                        <a:solidFill>
                          <a:srgbClr val="000000"/>
                        </a:solidFill>
                        <a:effectLst/>
                        <a:latin typeface="Calibri" panose="020F0502020204030204" pitchFamily="34" charset="0"/>
                      </a:endParaRPr>
                    </a:p>
                  </a:txBody>
                  <a:tcPr marL="9352" marR="9352" marT="9352"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endParaRPr lang="pl-PL" sz="1100" b="0" i="0" u="none" strike="noStrike">
                        <a:solidFill>
                          <a:srgbClr val="000000"/>
                        </a:solidFill>
                        <a:effectLst/>
                        <a:latin typeface="Calibri" panose="020F0502020204030204" pitchFamily="34" charset="0"/>
                      </a:endParaRPr>
                    </a:p>
                  </a:txBody>
                  <a:tcPr marL="9352" marR="9352" marT="9352"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endParaRPr lang="pl-PL" sz="1100" b="0" i="0" u="none" strike="noStrike">
                        <a:solidFill>
                          <a:srgbClr val="000000"/>
                        </a:solidFill>
                        <a:effectLst/>
                        <a:latin typeface="Calibri" panose="020F0502020204030204" pitchFamily="34" charset="0"/>
                      </a:endParaRPr>
                    </a:p>
                  </a:txBody>
                  <a:tcPr marL="9352" marR="9352" marT="9352"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endParaRPr lang="pl-PL" sz="1100" b="0" i="0" u="none" strike="noStrike">
                        <a:solidFill>
                          <a:srgbClr val="000000"/>
                        </a:solidFill>
                        <a:effectLst/>
                        <a:latin typeface="Calibri" panose="020F0502020204030204" pitchFamily="34" charset="0"/>
                      </a:endParaRPr>
                    </a:p>
                  </a:txBody>
                  <a:tcPr marL="9352" marR="9352" marT="9352"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pl-PL" sz="1100" b="0" i="0" u="none" strike="noStrike">
                        <a:solidFill>
                          <a:srgbClr val="000000"/>
                        </a:solidFill>
                        <a:effectLst/>
                        <a:latin typeface="Calibri" panose="020F0502020204030204" pitchFamily="34" charset="0"/>
                      </a:endParaRPr>
                    </a:p>
                  </a:txBody>
                  <a:tcPr marL="9352" marR="9352" marT="9352" marB="0" anchor="b">
                    <a:lnL>
                      <a:noFill/>
                    </a:lnL>
                    <a:lnR>
                      <a:noFill/>
                    </a:lnR>
                    <a:lnT>
                      <a:noFill/>
                    </a:lnT>
                    <a:lnB>
                      <a:noFill/>
                    </a:lnB>
                  </a:tcPr>
                </a:tc>
                <a:extLst>
                  <a:ext uri="{0D108BD9-81ED-4DB2-BD59-A6C34878D82A}">
                    <a16:rowId xmlns:a16="http://schemas.microsoft.com/office/drawing/2014/main" val="2487592786"/>
                  </a:ext>
                </a:extLst>
              </a:tr>
              <a:tr h="170957">
                <a:tc>
                  <a:txBody>
                    <a:bodyPr/>
                    <a:lstStyle/>
                    <a:p>
                      <a:pPr algn="l" fontAlgn="b"/>
                      <a:endParaRPr lang="pl-PL" sz="1100" b="0" i="0" u="none" strike="noStrike">
                        <a:solidFill>
                          <a:srgbClr val="000000"/>
                        </a:solidFill>
                        <a:effectLst/>
                        <a:latin typeface="Calibri" panose="020F0502020204030204" pitchFamily="34" charset="0"/>
                      </a:endParaRPr>
                    </a:p>
                  </a:txBody>
                  <a:tcPr marL="9352" marR="9352" marT="9352" marB="0" anchor="b">
                    <a:lnL>
                      <a:noFill/>
                    </a:lnL>
                    <a:lnR>
                      <a:noFill/>
                    </a:lnR>
                    <a:lnT>
                      <a:noFill/>
                    </a:lnT>
                    <a:lnB>
                      <a:noFill/>
                    </a:lnB>
                  </a:tcPr>
                </a:tc>
                <a:tc>
                  <a:txBody>
                    <a:bodyPr/>
                    <a:lstStyle/>
                    <a:p>
                      <a:pPr algn="l" fontAlgn="b"/>
                      <a:endParaRPr lang="pl-PL" sz="1100" b="0" i="1" u="none" strike="noStrike">
                        <a:solidFill>
                          <a:srgbClr val="000000"/>
                        </a:solidFill>
                        <a:effectLst/>
                        <a:latin typeface="Calibri" panose="020F0502020204030204" pitchFamily="34" charset="0"/>
                      </a:endParaRPr>
                    </a:p>
                  </a:txBody>
                  <a:tcPr marL="9352" marR="9352" marT="9352" marB="0" anchor="b">
                    <a:lnL>
                      <a:noFill/>
                    </a:lnL>
                    <a:lnR>
                      <a:noFill/>
                    </a:lnR>
                    <a:lnT>
                      <a:noFill/>
                    </a:lnT>
                    <a:lnB w="6350" cap="flat" cmpd="sng" algn="ctr">
                      <a:solidFill>
                        <a:srgbClr val="000000"/>
                      </a:solidFill>
                      <a:prstDash val="solid"/>
                      <a:round/>
                      <a:headEnd type="none" w="med" len="med"/>
                      <a:tailEnd type="none" w="med" len="med"/>
                    </a:lnB>
                  </a:tcPr>
                </a:tc>
                <a:tc gridSpan="13">
                  <a:txBody>
                    <a:bodyPr/>
                    <a:lstStyle/>
                    <a:p>
                      <a:pPr algn="ctr" fontAlgn="b"/>
                      <a:r>
                        <a:rPr lang="pl-PL" sz="1200" b="1" i="0" u="none" strike="noStrike">
                          <a:solidFill>
                            <a:srgbClr val="FFFFFF"/>
                          </a:solidFill>
                          <a:effectLst/>
                          <a:latin typeface="Calibri" panose="020F0502020204030204" pitchFamily="34" charset="0"/>
                        </a:rPr>
                        <a:t>2026</a:t>
                      </a:r>
                    </a:p>
                  </a:txBody>
                  <a:tcPr marL="9352" marR="9352" marT="9352" marB="0" anchor="b">
                    <a:lnL>
                      <a:noFill/>
                    </a:lnL>
                    <a:lnR>
                      <a:noFill/>
                    </a:lnR>
                    <a:lnT>
                      <a:noFill/>
                    </a:lnT>
                    <a:lnB w="6350" cap="flat" cmpd="sng" algn="ctr">
                      <a:solidFill>
                        <a:srgbClr val="000000"/>
                      </a:solidFill>
                      <a:prstDash val="solid"/>
                      <a:round/>
                      <a:headEnd type="none" w="med" len="med"/>
                      <a:tailEnd type="none" w="med" len="med"/>
                    </a:lnB>
                    <a:solidFill>
                      <a:srgbClr val="009999"/>
                    </a:solidFill>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extLst>
                  <a:ext uri="{0D108BD9-81ED-4DB2-BD59-A6C34878D82A}">
                    <a16:rowId xmlns:a16="http://schemas.microsoft.com/office/drawing/2014/main" val="1080222545"/>
                  </a:ext>
                </a:extLst>
              </a:tr>
              <a:tr h="162816">
                <a:tc>
                  <a:txBody>
                    <a:bodyPr/>
                    <a:lstStyle/>
                    <a:p>
                      <a:pPr algn="l" fontAlgn="b"/>
                      <a:endParaRPr lang="pl-PL" sz="1100" b="0" i="0" u="none" strike="noStrike">
                        <a:solidFill>
                          <a:srgbClr val="000000"/>
                        </a:solidFill>
                        <a:effectLst/>
                        <a:latin typeface="Calibri" panose="020F0502020204030204" pitchFamily="34" charset="0"/>
                      </a:endParaRPr>
                    </a:p>
                  </a:txBody>
                  <a:tcPr marL="9352" marR="9352" marT="9352"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jan'26</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feb'26</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mar'26</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apr'26</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may'26</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jun'26</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jul'26</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aug'26</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sep'26</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oct'26</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nov'26</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dec'26</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1" i="0" u="none" strike="noStrike">
                          <a:solidFill>
                            <a:srgbClr val="000000"/>
                          </a:solidFill>
                          <a:effectLst/>
                          <a:latin typeface="Calibri" panose="020F0502020204030204" pitchFamily="34" charset="0"/>
                        </a:rPr>
                        <a:t>TOTAL</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91553372"/>
                  </a:ext>
                </a:extLst>
              </a:tr>
              <a:tr h="162816">
                <a:tc>
                  <a:txBody>
                    <a:bodyPr/>
                    <a:lstStyle/>
                    <a:p>
                      <a:pPr algn="l" fontAlgn="b"/>
                      <a:endParaRPr lang="pl-PL" sz="1100" b="0" i="0" u="none" strike="noStrike">
                        <a:solidFill>
                          <a:srgbClr val="000000"/>
                        </a:solidFill>
                        <a:effectLst/>
                        <a:latin typeface="Calibri" panose="020F0502020204030204" pitchFamily="34" charset="0"/>
                      </a:endParaRPr>
                    </a:p>
                  </a:txBody>
                  <a:tcPr marL="9352" marR="9352" marT="9352"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b"/>
                      <a:r>
                        <a:rPr lang="pl-PL" sz="1100" b="0" i="0" u="none" strike="noStrike">
                          <a:solidFill>
                            <a:srgbClr val="000000"/>
                          </a:solidFill>
                          <a:effectLst/>
                          <a:latin typeface="Calibri" panose="020F0502020204030204" pitchFamily="34" charset="0"/>
                        </a:rPr>
                        <a:t># POS Terminals</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1" i="0" u="none" strike="noStrike">
                          <a:solidFill>
                            <a:srgbClr val="000000"/>
                          </a:solidFill>
                          <a:effectLst/>
                          <a:latin typeface="Calibri" panose="020F0502020204030204" pitchFamily="34" charset="0"/>
                        </a:rPr>
                        <a:t>10</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1" i="0" u="none" strike="noStrike">
                          <a:solidFill>
                            <a:srgbClr val="000000"/>
                          </a:solidFill>
                          <a:effectLst/>
                          <a:latin typeface="Calibri" panose="020F0502020204030204" pitchFamily="34" charset="0"/>
                        </a:rPr>
                        <a:t>7</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1" i="0" u="none" strike="noStrike">
                          <a:solidFill>
                            <a:srgbClr val="000000"/>
                          </a:solidFill>
                          <a:effectLst/>
                          <a:latin typeface="Calibri" panose="020F0502020204030204" pitchFamily="34" charset="0"/>
                        </a:rPr>
                        <a:t>17</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85896282"/>
                  </a:ext>
                </a:extLst>
              </a:tr>
              <a:tr h="162816">
                <a:tc>
                  <a:txBody>
                    <a:bodyPr/>
                    <a:lstStyle/>
                    <a:p>
                      <a:pPr algn="l" fontAlgn="b"/>
                      <a:r>
                        <a:rPr lang="pl-PL" sz="1100" b="0" i="1" u="none" strike="noStrike">
                          <a:solidFill>
                            <a:srgbClr val="000000"/>
                          </a:solidFill>
                          <a:effectLst/>
                          <a:latin typeface="Calibri" panose="020F0502020204030204" pitchFamily="34" charset="0"/>
                        </a:rPr>
                        <a:t>8 FTE</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1" u="none" strike="noStrike">
                          <a:solidFill>
                            <a:srgbClr val="000000"/>
                          </a:solidFill>
                          <a:effectLst/>
                          <a:latin typeface="Calibri" panose="020F0502020204030204" pitchFamily="34" charset="0"/>
                        </a:rPr>
                        <a:t>Avr per 1 FTE</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1,2</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0,8</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pl-PL" sz="1100" b="0" i="0" u="none" strike="noStrike">
                        <a:solidFill>
                          <a:srgbClr val="000000"/>
                        </a:solidFill>
                        <a:effectLst/>
                        <a:latin typeface="Calibri" panose="020F0502020204030204" pitchFamily="34" charset="0"/>
                      </a:endParaRPr>
                    </a:p>
                  </a:txBody>
                  <a:tcPr marL="9352" marR="9352" marT="9352"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244397879"/>
                  </a:ext>
                </a:extLst>
              </a:tr>
              <a:tr h="162816">
                <a:tc>
                  <a:txBody>
                    <a:bodyPr/>
                    <a:lstStyle/>
                    <a:p>
                      <a:pPr algn="l" fontAlgn="b"/>
                      <a:endParaRPr lang="pl-PL" sz="1100" b="0" i="0" u="none" strike="noStrike">
                        <a:solidFill>
                          <a:srgbClr val="000000"/>
                        </a:solidFill>
                        <a:effectLst/>
                        <a:latin typeface="Calibri" panose="020F0502020204030204" pitchFamily="34" charset="0"/>
                      </a:endParaRPr>
                    </a:p>
                  </a:txBody>
                  <a:tcPr marL="9352" marR="9352" marT="9352"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pl-PL" sz="1100" b="0" i="1" u="none" strike="noStrike">
                          <a:solidFill>
                            <a:srgbClr val="000000"/>
                          </a:solidFill>
                          <a:effectLst/>
                          <a:latin typeface="Calibri" panose="020F0502020204030204" pitchFamily="34" charset="0"/>
                        </a:rPr>
                        <a:t>cumulative</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10</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l-PL" sz="1100" b="0" i="1" u="none" strike="noStrike">
                          <a:solidFill>
                            <a:srgbClr val="000000"/>
                          </a:solidFill>
                          <a:effectLst/>
                          <a:latin typeface="Calibri" panose="020F0502020204030204" pitchFamily="34" charset="0"/>
                        </a:rPr>
                        <a:t>17</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100" b="0" i="0" u="none" strike="noStrike">
                          <a:solidFill>
                            <a:srgbClr val="000000"/>
                          </a:solidFill>
                          <a:effectLst/>
                          <a:latin typeface="Calibri" panose="020F0502020204030204" pitchFamily="34" charset="0"/>
                        </a:rPr>
                        <a:t> </a:t>
                      </a:r>
                    </a:p>
                  </a:txBody>
                  <a:tcPr marL="9352" marR="9352" marT="93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pl-PL" sz="1100" b="0" i="0" u="none" strike="noStrike" dirty="0">
                        <a:solidFill>
                          <a:srgbClr val="000000"/>
                        </a:solidFill>
                        <a:effectLst/>
                        <a:latin typeface="Calibri" panose="020F0502020204030204" pitchFamily="34" charset="0"/>
                      </a:endParaRPr>
                    </a:p>
                  </a:txBody>
                  <a:tcPr marL="9352" marR="9352" marT="9352"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297093658"/>
                  </a:ext>
                </a:extLst>
              </a:tr>
            </a:tbl>
          </a:graphicData>
        </a:graphic>
      </p:graphicFrame>
      <p:graphicFrame>
        <p:nvGraphicFramePr>
          <p:cNvPr id="20" name="Wykres 19">
            <a:extLst>
              <a:ext uri="{FF2B5EF4-FFF2-40B4-BE49-F238E27FC236}">
                <a16:creationId xmlns:a16="http://schemas.microsoft.com/office/drawing/2014/main" id="{40D58C47-C612-4411-9BC5-A12B7E38F8B6}"/>
              </a:ext>
            </a:extLst>
          </p:cNvPr>
          <p:cNvGraphicFramePr>
            <a:graphicFrameLocks/>
          </p:cNvGraphicFramePr>
          <p:nvPr/>
        </p:nvGraphicFramePr>
        <p:xfrm>
          <a:off x="3354707" y="3170306"/>
          <a:ext cx="3775709" cy="244128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77809468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AB32C0-D9BA-6D5A-9514-2C5CBF609BFD}"/>
            </a:ext>
          </a:extLst>
        </p:cNvPr>
        <p:cNvGrpSpPr/>
        <p:nvPr/>
      </p:nvGrpSpPr>
      <p:grpSpPr>
        <a:xfrm>
          <a:off x="0" y="0"/>
          <a:ext cx="0" cy="0"/>
          <a:chOff x="0" y="0"/>
          <a:chExt cx="0" cy="0"/>
        </a:xfrm>
      </p:grpSpPr>
      <p:sp>
        <p:nvSpPr>
          <p:cNvPr id="2" name="Tytuł 1">
            <a:extLst>
              <a:ext uri="{FF2B5EF4-FFF2-40B4-BE49-F238E27FC236}">
                <a16:creationId xmlns:a16="http://schemas.microsoft.com/office/drawing/2014/main" id="{D16AFE80-DFF4-4A54-9D3C-172E61D159D6}"/>
              </a:ext>
            </a:extLst>
          </p:cNvPr>
          <p:cNvSpPr>
            <a:spLocks noGrp="1"/>
          </p:cNvSpPr>
          <p:nvPr>
            <p:ph type="title"/>
          </p:nvPr>
        </p:nvSpPr>
        <p:spPr>
          <a:xfrm>
            <a:off x="1054686" y="2015248"/>
            <a:ext cx="7816499" cy="2395896"/>
          </a:xfrm>
        </p:spPr>
        <p:txBody>
          <a:bodyPr/>
          <a:lstStyle/>
          <a:p>
            <a:r>
              <a:rPr lang="pl-PL" dirty="0"/>
              <a:t>CRM </a:t>
            </a:r>
            <a:br>
              <a:rPr lang="pl-PL" dirty="0"/>
            </a:br>
            <a:endParaRPr lang="pl-PL" dirty="0">
              <a:latin typeface="Bradley Hand ITC" panose="03070402050302030203" pitchFamily="66" charset="0"/>
            </a:endParaRPr>
          </a:p>
        </p:txBody>
      </p:sp>
      <p:sp>
        <p:nvSpPr>
          <p:cNvPr id="3" name="Owal 2">
            <a:extLst>
              <a:ext uri="{FF2B5EF4-FFF2-40B4-BE49-F238E27FC236}">
                <a16:creationId xmlns:a16="http://schemas.microsoft.com/office/drawing/2014/main" id="{907F597A-59ED-2CD5-8333-893D33ED8B6C}"/>
              </a:ext>
            </a:extLst>
          </p:cNvPr>
          <p:cNvSpPr/>
          <p:nvPr/>
        </p:nvSpPr>
        <p:spPr>
          <a:xfrm>
            <a:off x="6656941" y="3571253"/>
            <a:ext cx="2674465" cy="2674465"/>
          </a:xfrm>
          <a:prstGeom prst="ellipse">
            <a:avLst/>
          </a:prstGeom>
          <a:blipFill dpi="0" rotWithShape="1">
            <a:blip r:embed="rId2">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rcRect/>
            <a:stretch>
              <a:fillRect/>
            </a:stretch>
          </a:blipFill>
          <a:ln w="28575" cap="rnd" cmpd="sng" algn="ctr">
            <a:solidFill>
              <a:schemeClr val="bg1">
                <a:lumMod val="85000"/>
              </a:schemeClr>
            </a:solidFill>
            <a:prstDash val="solid"/>
            <a:round/>
            <a:headEnd type="none" w="med" len="med"/>
            <a:tailEnd type="none" w="med" len="med"/>
          </a:ln>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4" name="Owal 3">
            <a:extLst>
              <a:ext uri="{FF2B5EF4-FFF2-40B4-BE49-F238E27FC236}">
                <a16:creationId xmlns:a16="http://schemas.microsoft.com/office/drawing/2014/main" id="{58EB799C-B1C0-99EB-D996-83C414C288C9}"/>
              </a:ext>
            </a:extLst>
          </p:cNvPr>
          <p:cNvSpPr/>
          <p:nvPr/>
        </p:nvSpPr>
        <p:spPr>
          <a:xfrm>
            <a:off x="8291632" y="2015248"/>
            <a:ext cx="2674465" cy="2674465"/>
          </a:xfrm>
          <a:prstGeom prst="ellipse">
            <a:avLst/>
          </a:prstGeom>
          <a:blipFill dpi="0" rotWithShape="1">
            <a:blip r:embed="rId4"/>
            <a:srcRect/>
            <a:stretch>
              <a:fillRect l="-28000" r="-26000"/>
            </a:stretch>
          </a:blipFill>
          <a:ln w="28575" cap="rnd" cmpd="sng" algn="ctr">
            <a:solidFill>
              <a:schemeClr val="bg1">
                <a:lumMod val="85000"/>
              </a:schemeClr>
            </a:solidFill>
            <a:prstDash val="solid"/>
            <a:round/>
            <a:headEnd type="none" w="med" len="med"/>
            <a:tailEnd type="none" w="med" len="med"/>
          </a:ln>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5" name="pole tekstowe 4">
            <a:extLst>
              <a:ext uri="{FF2B5EF4-FFF2-40B4-BE49-F238E27FC236}">
                <a16:creationId xmlns:a16="http://schemas.microsoft.com/office/drawing/2014/main" id="{13AC6918-65A2-1D39-C06C-501A3AC68E02}"/>
              </a:ext>
            </a:extLst>
          </p:cNvPr>
          <p:cNvSpPr txBox="1"/>
          <p:nvPr/>
        </p:nvSpPr>
        <p:spPr>
          <a:xfrm>
            <a:off x="1003249" y="3473211"/>
            <a:ext cx="6097002" cy="800219"/>
          </a:xfrm>
          <a:prstGeom prst="rect">
            <a:avLst/>
          </a:prstGeom>
          <a:noFill/>
        </p:spPr>
        <p:txBody>
          <a:bodyPr wrap="square">
            <a:spAutoFit/>
          </a:bodyPr>
          <a:lstStyle/>
          <a:p>
            <a:br>
              <a:rPr lang="pl-PL" sz="2800" b="0" dirty="0"/>
            </a:br>
            <a:r>
              <a:rPr lang="pl-PL" dirty="0">
                <a:solidFill>
                  <a:schemeClr val="bg1"/>
                </a:solidFill>
              </a:rPr>
              <a:t>CLV </a:t>
            </a:r>
            <a:r>
              <a:rPr lang="pl-PL" sz="1800" b="0" dirty="0" err="1">
                <a:solidFill>
                  <a:schemeClr val="bg1"/>
                </a:solidFill>
              </a:rPr>
              <a:t>Tribe</a:t>
            </a:r>
            <a:r>
              <a:rPr lang="pl-PL" sz="1800" b="0" dirty="0">
                <a:solidFill>
                  <a:schemeClr val="bg1"/>
                </a:solidFill>
              </a:rPr>
              <a:t>, March 2026</a:t>
            </a:r>
            <a:endParaRPr lang="pl-PL" dirty="0">
              <a:solidFill>
                <a:schemeClr val="bg1"/>
              </a:solidFill>
            </a:endParaRPr>
          </a:p>
        </p:txBody>
      </p:sp>
    </p:spTree>
    <p:extLst>
      <p:ext uri="{BB962C8B-B14F-4D97-AF65-F5344CB8AC3E}">
        <p14:creationId xmlns:p14="http://schemas.microsoft.com/office/powerpoint/2010/main" val="333218841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 name="Chevron 10">
            <a:extLst>
              <a:ext uri="{FF2B5EF4-FFF2-40B4-BE49-F238E27FC236}">
                <a16:creationId xmlns:a16="http://schemas.microsoft.com/office/drawing/2014/main" id="{7A41A37C-08FB-47C7-B307-DFC9031A0842}"/>
              </a:ext>
            </a:extLst>
          </p:cNvPr>
          <p:cNvSpPr/>
          <p:nvPr/>
        </p:nvSpPr>
        <p:spPr>
          <a:xfrm>
            <a:off x="2419430" y="5155133"/>
            <a:ext cx="4919418" cy="291550"/>
          </a:xfrm>
          <a:prstGeom prst="chevron">
            <a:avLst>
              <a:gd name="adj" fmla="val 32323"/>
            </a:avLst>
          </a:prstGeom>
          <a:solidFill>
            <a:schemeClr val="accent2">
              <a:lumMod val="20000"/>
              <a:lumOff val="80000"/>
            </a:schemeClr>
          </a:solidFill>
          <a:ln w="381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7E93A5">
                  <a:lumMod val="75000"/>
                </a:srgbClr>
              </a:solidFill>
              <a:effectLst/>
              <a:uLnTx/>
              <a:uFillTx/>
              <a:latin typeface="Open Sans Light"/>
              <a:ea typeface="+mn-ea"/>
              <a:cs typeface="+mn-cs"/>
            </a:endParaRPr>
          </a:p>
        </p:txBody>
      </p:sp>
      <p:grpSp>
        <p:nvGrpSpPr>
          <p:cNvPr id="3" name="Grupa 2">
            <a:extLst>
              <a:ext uri="{FF2B5EF4-FFF2-40B4-BE49-F238E27FC236}">
                <a16:creationId xmlns:a16="http://schemas.microsoft.com/office/drawing/2014/main" id="{3B5B781B-8894-6915-13FD-C73A5A1E4F5C}"/>
              </a:ext>
            </a:extLst>
          </p:cNvPr>
          <p:cNvGrpSpPr/>
          <p:nvPr/>
        </p:nvGrpSpPr>
        <p:grpSpPr>
          <a:xfrm>
            <a:off x="520263" y="1635321"/>
            <a:ext cx="10671329" cy="1965454"/>
            <a:chOff x="1385349" y="1711034"/>
            <a:chExt cx="6614461" cy="1218257"/>
          </a:xfrm>
        </p:grpSpPr>
        <p:sp>
          <p:nvSpPr>
            <p:cNvPr id="18" name="Oval 17"/>
            <p:cNvSpPr>
              <a:spLocks noChangeArrowheads="1"/>
            </p:cNvSpPr>
            <p:nvPr/>
          </p:nvSpPr>
          <p:spPr bwMode="auto">
            <a:xfrm>
              <a:off x="3750220" y="2329648"/>
              <a:ext cx="596489" cy="599643"/>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351" b="0" i="0" u="none" strike="noStrike" kern="1200" cap="none" spc="0" normalizeH="0" baseline="0" noProof="0" dirty="0">
                <a:ln>
                  <a:noFill/>
                </a:ln>
                <a:solidFill>
                  <a:srgbClr val="000000"/>
                </a:solidFill>
                <a:effectLst/>
                <a:uLnTx/>
                <a:uFillTx/>
                <a:latin typeface="Arial"/>
                <a:ea typeface="+mn-ea"/>
                <a:cs typeface="+mn-cs"/>
              </a:endParaRPr>
            </a:p>
          </p:txBody>
        </p:sp>
        <p:sp>
          <p:nvSpPr>
            <p:cNvPr id="16" name="Oval 15"/>
            <p:cNvSpPr>
              <a:spLocks noChangeArrowheads="1"/>
            </p:cNvSpPr>
            <p:nvPr/>
          </p:nvSpPr>
          <p:spPr bwMode="auto">
            <a:xfrm>
              <a:off x="6881517" y="2331225"/>
              <a:ext cx="599643" cy="596489"/>
            </a:xfrm>
            <a:prstGeom prst="ellipse">
              <a:avLst/>
            </a:pr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351" b="0" i="0" u="none" strike="noStrike" kern="1200" cap="none" spc="0" normalizeH="0" baseline="0" noProof="0" dirty="0">
                <a:ln>
                  <a:noFill/>
                </a:ln>
                <a:solidFill>
                  <a:srgbClr val="000000"/>
                </a:solidFill>
                <a:effectLst/>
                <a:uLnTx/>
                <a:uFillTx/>
                <a:latin typeface="Arial"/>
                <a:ea typeface="+mn-ea"/>
                <a:cs typeface="+mn-cs"/>
              </a:endParaRPr>
            </a:p>
          </p:txBody>
        </p:sp>
        <p:sp>
          <p:nvSpPr>
            <p:cNvPr id="19" name="Oval 18"/>
            <p:cNvSpPr>
              <a:spLocks noChangeArrowheads="1"/>
            </p:cNvSpPr>
            <p:nvPr/>
          </p:nvSpPr>
          <p:spPr bwMode="auto">
            <a:xfrm>
              <a:off x="2706723" y="2330437"/>
              <a:ext cx="596489" cy="598067"/>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351" b="0" i="0" u="none" strike="noStrike" kern="1200" cap="none" spc="0" normalizeH="0" baseline="0" noProof="0" dirty="0">
                <a:ln>
                  <a:noFill/>
                </a:ln>
                <a:solidFill>
                  <a:srgbClr val="000000"/>
                </a:solidFill>
                <a:effectLst/>
                <a:uLnTx/>
                <a:uFillTx/>
                <a:latin typeface="Arial"/>
                <a:ea typeface="+mn-ea"/>
                <a:cs typeface="+mn-cs"/>
              </a:endParaRPr>
            </a:p>
          </p:txBody>
        </p:sp>
        <p:sp>
          <p:nvSpPr>
            <p:cNvPr id="17" name="Oval 16"/>
            <p:cNvSpPr>
              <a:spLocks noChangeArrowheads="1"/>
            </p:cNvSpPr>
            <p:nvPr/>
          </p:nvSpPr>
          <p:spPr bwMode="auto">
            <a:xfrm>
              <a:off x="4793525" y="2330437"/>
              <a:ext cx="598067" cy="598067"/>
            </a:xfrm>
            <a:prstGeom prst="ellipse">
              <a:avLst/>
            </a:pr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351" b="0" i="0" u="none" strike="noStrike" kern="1200" cap="none" spc="0" normalizeH="0" baseline="0" noProof="0" dirty="0">
                <a:ln>
                  <a:noFill/>
                </a:ln>
                <a:solidFill>
                  <a:srgbClr val="000000"/>
                </a:solidFill>
                <a:effectLst/>
                <a:uLnTx/>
                <a:uFillTx/>
                <a:latin typeface="Arial"/>
                <a:ea typeface="+mn-ea"/>
                <a:cs typeface="+mn-cs"/>
              </a:endParaRPr>
            </a:p>
          </p:txBody>
        </p:sp>
        <p:sp>
          <p:nvSpPr>
            <p:cNvPr id="15" name="Oval 14"/>
            <p:cNvSpPr>
              <a:spLocks noChangeArrowheads="1"/>
            </p:cNvSpPr>
            <p:nvPr/>
          </p:nvSpPr>
          <p:spPr bwMode="auto">
            <a:xfrm>
              <a:off x="1663225" y="2330437"/>
              <a:ext cx="596489" cy="598067"/>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351"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Oval 10"/>
            <p:cNvSpPr>
              <a:spLocks noChangeArrowheads="1"/>
            </p:cNvSpPr>
            <p:nvPr/>
          </p:nvSpPr>
          <p:spPr bwMode="auto">
            <a:xfrm>
              <a:off x="5838406" y="2329648"/>
              <a:ext cx="596489" cy="599643"/>
            </a:xfrm>
            <a:prstGeom prst="ellipse">
              <a:avLst/>
            </a:pr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351"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75" name="Straight Connector 74"/>
            <p:cNvCxnSpPr/>
            <p:nvPr/>
          </p:nvCxnSpPr>
          <p:spPr>
            <a:xfrm>
              <a:off x="2259714" y="2629469"/>
              <a:ext cx="447009" cy="0"/>
            </a:xfrm>
            <a:prstGeom prst="line">
              <a:avLst/>
            </a:prstGeom>
            <a:ln w="22225"/>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3303212" y="2629469"/>
              <a:ext cx="447009" cy="0"/>
            </a:xfrm>
            <a:prstGeom prst="line">
              <a:avLst/>
            </a:prstGeom>
            <a:ln w="222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4346710" y="2629469"/>
              <a:ext cx="446816" cy="0"/>
            </a:xfrm>
            <a:prstGeom prst="line">
              <a:avLst/>
            </a:prstGeom>
            <a:ln w="222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5391592" y="2629469"/>
              <a:ext cx="446816" cy="0"/>
            </a:xfrm>
            <a:prstGeom prst="line">
              <a:avLst/>
            </a:prstGeom>
            <a:ln w="2222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6434895" y="2629469"/>
              <a:ext cx="446622" cy="0"/>
            </a:xfrm>
            <a:prstGeom prst="line">
              <a:avLst/>
            </a:prstGeom>
            <a:ln w="222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flipV="1">
              <a:off x="7481162" y="2627779"/>
              <a:ext cx="518648" cy="3380"/>
            </a:xfrm>
            <a:prstGeom prst="line">
              <a:avLst/>
            </a:prstGeom>
            <a:ln w="22225">
              <a:solidFill>
                <a:schemeClr val="accent5"/>
              </a:solidFill>
            </a:ln>
          </p:spPr>
          <p:style>
            <a:lnRef idx="1">
              <a:schemeClr val="accent1"/>
            </a:lnRef>
            <a:fillRef idx="0">
              <a:schemeClr val="accent1"/>
            </a:fillRef>
            <a:effectRef idx="0">
              <a:schemeClr val="accent1"/>
            </a:effectRef>
            <a:fontRef idx="minor">
              <a:schemeClr val="tx1"/>
            </a:fontRef>
          </p:style>
        </p:cxnSp>
        <p:sp>
          <p:nvSpPr>
            <p:cNvPr id="104" name="Rectangle 103"/>
            <p:cNvSpPr/>
            <p:nvPr/>
          </p:nvSpPr>
          <p:spPr>
            <a:xfrm>
              <a:off x="1385349" y="1731656"/>
              <a:ext cx="1177170" cy="449265"/>
            </a:xfrm>
            <a:prstGeom prst="rect">
              <a:avLst/>
            </a:prstGeom>
          </p:spPr>
          <p:txBody>
            <a:bodyPr wrap="square">
              <a:spAutoFit/>
            </a:bodyPr>
            <a:lstStyle/>
            <a:p>
              <a:pPr marL="0" marR="0" lvl="0" indent="0" algn="ctr" defTabSz="914400" rtl="0" eaLnBrk="1" fontAlgn="auto" latinLnBrk="0" hangingPunct="1">
                <a:lnSpc>
                  <a:spcPct val="95000"/>
                </a:lnSpc>
                <a:spcBef>
                  <a:spcPts val="300"/>
                </a:spcBef>
                <a:spcAft>
                  <a:spcPts val="300"/>
                </a:spcAft>
                <a:buClrTx/>
                <a:buSzTx/>
                <a:buFontTx/>
                <a:buNone/>
                <a:tabLst/>
                <a:defRPr/>
              </a:pPr>
              <a:r>
                <a:rPr kumimoji="0" lang="pl-PL" sz="1200" b="0" i="0" u="none" strike="noStrike" kern="1200" cap="none" spc="0" normalizeH="0" baseline="0" noProof="0" dirty="0">
                  <a:ln>
                    <a:noFill/>
                  </a:ln>
                  <a:solidFill>
                    <a:srgbClr val="7E93A5"/>
                  </a:solidFill>
                  <a:effectLst/>
                  <a:uLnTx/>
                  <a:uFillTx/>
                  <a:latin typeface="Arial"/>
                  <a:ea typeface="+mn-ea"/>
                  <a:cs typeface="+mn-cs"/>
                </a:rPr>
                <a:t>INTERNAL AND EXTERNAL</a:t>
              </a:r>
            </a:p>
            <a:p>
              <a:pPr marL="0" marR="0" lvl="0" indent="0" algn="ctr" defTabSz="914400" rtl="0" eaLnBrk="1" fontAlgn="auto" latinLnBrk="0" hangingPunct="1">
                <a:lnSpc>
                  <a:spcPct val="95000"/>
                </a:lnSpc>
                <a:spcBef>
                  <a:spcPts val="300"/>
                </a:spcBef>
                <a:spcAft>
                  <a:spcPts val="300"/>
                </a:spcAft>
                <a:buClrTx/>
                <a:buSzTx/>
                <a:buFontTx/>
                <a:buNone/>
                <a:tabLst/>
                <a:defRPr/>
              </a:pPr>
              <a:r>
                <a:rPr kumimoji="0" lang="pl-PL" sz="1400" b="1" i="0" u="none" strike="noStrike" kern="1200" cap="none" spc="0" normalizeH="0" baseline="0" noProof="0" dirty="0">
                  <a:ln>
                    <a:noFill/>
                  </a:ln>
                  <a:solidFill>
                    <a:srgbClr val="7E93A5"/>
                  </a:solidFill>
                  <a:effectLst/>
                  <a:uLnTx/>
                  <a:uFillTx/>
                  <a:latin typeface="Arial"/>
                  <a:ea typeface="+mn-ea"/>
                  <a:cs typeface="+mn-cs"/>
                </a:rPr>
                <a:t>CONTACT CENTRE</a:t>
              </a:r>
              <a:endParaRPr kumimoji="0" lang="pl-PL" sz="1400" b="0" i="0" u="none" strike="noStrike" kern="1200" cap="none" spc="0" normalizeH="0" baseline="0" noProof="0" dirty="0">
                <a:ln>
                  <a:noFill/>
                </a:ln>
                <a:solidFill>
                  <a:srgbClr val="7E93A5"/>
                </a:solidFill>
                <a:effectLst/>
                <a:uLnTx/>
                <a:uFillTx/>
                <a:latin typeface="Arial"/>
                <a:ea typeface="+mn-ea"/>
                <a:cs typeface="+mn-cs"/>
              </a:endParaRPr>
            </a:p>
          </p:txBody>
        </p:sp>
        <p:sp>
          <p:nvSpPr>
            <p:cNvPr id="107" name="Rectangle 106"/>
            <p:cNvSpPr/>
            <p:nvPr/>
          </p:nvSpPr>
          <p:spPr>
            <a:xfrm>
              <a:off x="2416382" y="1975033"/>
              <a:ext cx="1177170" cy="184093"/>
            </a:xfrm>
            <a:prstGeom prst="rect">
              <a:avLst/>
            </a:prstGeom>
          </p:spPr>
          <p:txBody>
            <a:bodyPr wrap="square">
              <a:spAutoFit/>
            </a:bodyPr>
            <a:lstStyle/>
            <a:p>
              <a:pPr marL="0" marR="0" lvl="0" indent="0" algn="ctr" defTabSz="914400" rtl="0" eaLnBrk="1" fontAlgn="auto" latinLnBrk="0" hangingPunct="1">
                <a:lnSpc>
                  <a:spcPct val="95000"/>
                </a:lnSpc>
                <a:spcBef>
                  <a:spcPts val="300"/>
                </a:spcBef>
                <a:spcAft>
                  <a:spcPts val="300"/>
                </a:spcAft>
                <a:buClrTx/>
                <a:buSzTx/>
                <a:buFontTx/>
                <a:buNone/>
                <a:tabLst/>
                <a:defRPr/>
              </a:pPr>
              <a:r>
                <a:rPr kumimoji="0" lang="pl-PL" sz="1400" b="1" i="0" u="none" strike="noStrike" kern="1200" cap="none" spc="0" normalizeH="0" baseline="0" noProof="0" dirty="0">
                  <a:ln>
                    <a:noFill/>
                  </a:ln>
                  <a:solidFill>
                    <a:srgbClr val="7E93A5"/>
                  </a:solidFill>
                  <a:effectLst/>
                  <a:uLnTx/>
                  <a:uFillTx/>
                  <a:latin typeface="Arial"/>
                  <a:ea typeface="+mn-ea"/>
                  <a:cs typeface="+mn-cs"/>
                </a:rPr>
                <a:t>SMS</a:t>
              </a:r>
              <a:endParaRPr kumimoji="0" lang="en-US" sz="1200" b="1" i="0" u="none" strike="noStrike" kern="1200" cap="none" spc="0" normalizeH="0" baseline="0" noProof="0" dirty="0">
                <a:ln>
                  <a:noFill/>
                </a:ln>
                <a:solidFill>
                  <a:srgbClr val="7E93A5"/>
                </a:solidFill>
                <a:effectLst/>
                <a:uLnTx/>
                <a:uFillTx/>
                <a:latin typeface="Arial"/>
                <a:ea typeface="+mn-ea"/>
                <a:cs typeface="+mn-cs"/>
              </a:endParaRPr>
            </a:p>
          </p:txBody>
        </p:sp>
        <p:sp>
          <p:nvSpPr>
            <p:cNvPr id="108" name="Rectangle 107"/>
            <p:cNvSpPr/>
            <p:nvPr/>
          </p:nvSpPr>
          <p:spPr>
            <a:xfrm>
              <a:off x="3471981" y="1711034"/>
              <a:ext cx="1177170" cy="503635"/>
            </a:xfrm>
            <a:prstGeom prst="rect">
              <a:avLst/>
            </a:prstGeom>
          </p:spPr>
          <p:txBody>
            <a:bodyPr wrap="square">
              <a:spAutoFit/>
            </a:bodyPr>
            <a:lstStyle/>
            <a:p>
              <a:pPr marL="0" marR="0" lvl="0" indent="0" algn="ctr" defTabSz="914400" rtl="0" eaLnBrk="1" fontAlgn="auto" latinLnBrk="0" hangingPunct="1">
                <a:lnSpc>
                  <a:spcPct val="95000"/>
                </a:lnSpc>
                <a:spcBef>
                  <a:spcPts val="300"/>
                </a:spcBef>
                <a:spcAft>
                  <a:spcPts val="300"/>
                </a:spcAft>
                <a:buClrTx/>
                <a:buSzTx/>
                <a:buFontTx/>
                <a:buNone/>
                <a:tabLst/>
                <a:defRPr/>
              </a:pPr>
              <a:r>
                <a:rPr kumimoji="0" lang="pl-PL" sz="1400" b="1" i="0" u="none" strike="noStrike" kern="1200" cap="none" spc="0" normalizeH="0" baseline="0" noProof="0" dirty="0">
                  <a:ln>
                    <a:noFill/>
                  </a:ln>
                  <a:solidFill>
                    <a:srgbClr val="7E93A5"/>
                  </a:solidFill>
                  <a:effectLst/>
                  <a:uLnTx/>
                  <a:uFillTx/>
                  <a:latin typeface="Arial"/>
                  <a:ea typeface="+mn-ea"/>
                  <a:cs typeface="+mn-cs"/>
                </a:rPr>
                <a:t>PUSH</a:t>
              </a:r>
            </a:p>
            <a:p>
              <a:pPr marL="0" marR="0" lvl="0" indent="0" algn="ctr" defTabSz="914400" rtl="0" eaLnBrk="1" fontAlgn="auto" latinLnBrk="0" hangingPunct="1">
                <a:lnSpc>
                  <a:spcPct val="95000"/>
                </a:lnSpc>
                <a:spcBef>
                  <a:spcPts val="300"/>
                </a:spcBef>
                <a:spcAft>
                  <a:spcPts val="300"/>
                </a:spcAft>
                <a:buClrTx/>
                <a:buSzTx/>
                <a:buFontTx/>
                <a:buNone/>
                <a:tabLst/>
                <a:defRPr/>
              </a:pPr>
              <a:r>
                <a:rPr kumimoji="0" lang="pl-PL" sz="1000" b="0" i="0" u="none" strike="noStrike" kern="1200" cap="none" spc="0" normalizeH="0" baseline="0" noProof="0" dirty="0">
                  <a:ln>
                    <a:noFill/>
                  </a:ln>
                  <a:solidFill>
                    <a:srgbClr val="7E93A5"/>
                  </a:solidFill>
                  <a:effectLst/>
                  <a:uLnTx/>
                  <a:uFillTx/>
                  <a:latin typeface="Arial"/>
                  <a:ea typeface="+mn-ea"/>
                  <a:cs typeface="+mn-cs"/>
                </a:rPr>
                <a:t>(PUSH NOTIFICATION &amp; MESSAGE IN THE MOBILE APPLICATION)</a:t>
              </a:r>
              <a:endParaRPr kumimoji="0" lang="en-US" sz="1000" b="0" i="0" u="none" strike="noStrike" kern="1200" cap="none" spc="0" normalizeH="0" baseline="0" noProof="0" dirty="0">
                <a:ln>
                  <a:noFill/>
                </a:ln>
                <a:solidFill>
                  <a:srgbClr val="7E93A5"/>
                </a:solidFill>
                <a:effectLst/>
                <a:uLnTx/>
                <a:uFillTx/>
                <a:latin typeface="Arial"/>
                <a:ea typeface="+mn-ea"/>
                <a:cs typeface="+mn-cs"/>
              </a:endParaRPr>
            </a:p>
          </p:txBody>
        </p:sp>
        <p:sp>
          <p:nvSpPr>
            <p:cNvPr id="109" name="Rectangle 108"/>
            <p:cNvSpPr/>
            <p:nvPr/>
          </p:nvSpPr>
          <p:spPr>
            <a:xfrm>
              <a:off x="4527580" y="1962817"/>
              <a:ext cx="1177170" cy="184093"/>
            </a:xfrm>
            <a:prstGeom prst="rect">
              <a:avLst/>
            </a:prstGeom>
          </p:spPr>
          <p:txBody>
            <a:bodyPr wrap="square">
              <a:spAutoFit/>
            </a:bodyPr>
            <a:lstStyle/>
            <a:p>
              <a:pPr marL="0" marR="0" lvl="0" indent="0" algn="ctr" defTabSz="914400" rtl="0" eaLnBrk="1" fontAlgn="auto" latinLnBrk="0" hangingPunct="1">
                <a:lnSpc>
                  <a:spcPct val="95000"/>
                </a:lnSpc>
                <a:spcBef>
                  <a:spcPts val="300"/>
                </a:spcBef>
                <a:spcAft>
                  <a:spcPts val="300"/>
                </a:spcAft>
                <a:buClrTx/>
                <a:buSzTx/>
                <a:buFontTx/>
                <a:buNone/>
                <a:tabLst/>
                <a:defRPr/>
              </a:pPr>
              <a:r>
                <a:rPr kumimoji="0" lang="pl-PL" sz="1400" b="1" i="0" u="none" strike="noStrike" kern="1200" cap="none" spc="0" normalizeH="0" baseline="0" noProof="0" dirty="0">
                  <a:ln>
                    <a:noFill/>
                  </a:ln>
                  <a:solidFill>
                    <a:srgbClr val="7E93A5"/>
                  </a:solidFill>
                  <a:effectLst/>
                  <a:uLnTx/>
                  <a:uFillTx/>
                  <a:latin typeface="Arial"/>
                  <a:ea typeface="+mn-ea"/>
                  <a:cs typeface="+mn-cs"/>
                </a:rPr>
                <a:t>EMAIL</a:t>
              </a:r>
              <a:endParaRPr kumimoji="0" lang="en-US" sz="1400" b="1" i="0" u="none" strike="noStrike" kern="1200" cap="none" spc="0" normalizeH="0" baseline="0" noProof="0" dirty="0">
                <a:ln>
                  <a:noFill/>
                </a:ln>
                <a:solidFill>
                  <a:srgbClr val="7E93A5"/>
                </a:solidFill>
                <a:effectLst/>
                <a:uLnTx/>
                <a:uFillTx/>
                <a:latin typeface="Arial"/>
                <a:ea typeface="+mn-ea"/>
                <a:cs typeface="+mn-cs"/>
              </a:endParaRPr>
            </a:p>
          </p:txBody>
        </p:sp>
        <p:sp>
          <p:nvSpPr>
            <p:cNvPr id="110" name="Rectangle 109"/>
            <p:cNvSpPr/>
            <p:nvPr/>
          </p:nvSpPr>
          <p:spPr>
            <a:xfrm>
              <a:off x="5548065" y="1904234"/>
              <a:ext cx="1177170" cy="292833"/>
            </a:xfrm>
            <a:prstGeom prst="rect">
              <a:avLst/>
            </a:prstGeom>
          </p:spPr>
          <p:txBody>
            <a:bodyPr wrap="square">
              <a:spAutoFit/>
            </a:bodyPr>
            <a:lstStyle/>
            <a:p>
              <a:pPr marL="0" marR="0" lvl="0" indent="0" algn="ctr" defTabSz="914400" rtl="0" eaLnBrk="1" fontAlgn="auto" latinLnBrk="0" hangingPunct="1">
                <a:lnSpc>
                  <a:spcPct val="95000"/>
                </a:lnSpc>
                <a:spcBef>
                  <a:spcPts val="300"/>
                </a:spcBef>
                <a:spcAft>
                  <a:spcPts val="300"/>
                </a:spcAft>
                <a:buClrTx/>
                <a:buSzTx/>
                <a:buFontTx/>
                <a:buNone/>
                <a:tabLst/>
                <a:defRPr/>
              </a:pPr>
              <a:r>
                <a:rPr kumimoji="0" lang="en-US" sz="1200" b="0" i="0" u="none" strike="noStrike" kern="1200" cap="none" spc="0" normalizeH="0" baseline="0" noProof="0" dirty="0">
                  <a:ln>
                    <a:noFill/>
                  </a:ln>
                  <a:solidFill>
                    <a:srgbClr val="7E93A5"/>
                  </a:solidFill>
                  <a:effectLst/>
                  <a:uLnTx/>
                  <a:uFillTx/>
                  <a:latin typeface="Arial"/>
                  <a:ea typeface="+mn-ea"/>
                  <a:cs typeface="+mn-cs"/>
                </a:rPr>
                <a:t>NOTIFICATIONS IN </a:t>
              </a:r>
              <a:r>
                <a:rPr kumimoji="0" lang="en-US" sz="1400" b="1" i="0" u="none" strike="noStrike" kern="1200" cap="none" spc="0" normalizeH="0" baseline="0" noProof="0" dirty="0">
                  <a:ln>
                    <a:noFill/>
                  </a:ln>
                  <a:solidFill>
                    <a:srgbClr val="7E93A5"/>
                  </a:solidFill>
                  <a:effectLst/>
                  <a:uLnTx/>
                  <a:uFillTx/>
                  <a:latin typeface="Arial"/>
                  <a:ea typeface="+mn-ea"/>
                  <a:cs typeface="+mn-cs"/>
                </a:rPr>
                <a:t>EBANK</a:t>
              </a:r>
            </a:p>
          </p:txBody>
        </p:sp>
      </p:grpSp>
      <p:pic>
        <p:nvPicPr>
          <p:cNvPr id="54" name="Obraz 53" descr="Obraz zawierający jasne&#10;&#10;Opis wygenerowany automatycznie">
            <a:extLst>
              <a:ext uri="{FF2B5EF4-FFF2-40B4-BE49-F238E27FC236}">
                <a16:creationId xmlns:a16="http://schemas.microsoft.com/office/drawing/2014/main" id="{FBB6AB33-AEF5-0C67-A98B-584A2EF35457}"/>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1138432" y="2857653"/>
            <a:ext cx="635276" cy="635276"/>
          </a:xfrm>
          <a:prstGeom prst="rect">
            <a:avLst/>
          </a:prstGeom>
        </p:spPr>
      </p:pic>
      <p:pic>
        <p:nvPicPr>
          <p:cNvPr id="56" name="Obraz 55" descr="Obraz zawierający jasne, rysunek&#10;&#10;Opis wygenerowany automatycznie">
            <a:extLst>
              <a:ext uri="{FF2B5EF4-FFF2-40B4-BE49-F238E27FC236}">
                <a16:creationId xmlns:a16="http://schemas.microsoft.com/office/drawing/2014/main" id="{7E839536-1E90-8061-403D-1AF410B0E253}"/>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2762804" y="2733924"/>
            <a:ext cx="782333" cy="782333"/>
          </a:xfrm>
          <a:prstGeom prst="rect">
            <a:avLst/>
          </a:prstGeom>
        </p:spPr>
      </p:pic>
      <p:sp>
        <p:nvSpPr>
          <p:cNvPr id="4" name="Symbol zastępczy numeru slajdu 3">
            <a:extLst>
              <a:ext uri="{FF2B5EF4-FFF2-40B4-BE49-F238E27FC236}">
                <a16:creationId xmlns:a16="http://schemas.microsoft.com/office/drawing/2014/main" id="{C28E9C54-AB66-FAEC-4E4E-284FF6D8AE32}"/>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32DF002-2E43-485C-89F8-8DCEF59D6C4F}" type="slidenum">
              <a:rPr kumimoji="0" lang="pl-PL" sz="1067" b="0" i="0" u="none" strike="noStrike" kern="1200" cap="none" spc="0" normalizeH="0" baseline="0" noProof="0" smtClean="0">
                <a:ln>
                  <a:noFill/>
                </a:ln>
                <a:solidFill>
                  <a:srgbClr val="7E93A5"/>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pl-PL" sz="1067" b="0" i="0" u="none" strike="noStrike" kern="1200" cap="none" spc="0" normalizeH="0" baseline="0" noProof="0" dirty="0">
              <a:ln>
                <a:noFill/>
              </a:ln>
              <a:solidFill>
                <a:srgbClr val="7E93A5"/>
              </a:solidFill>
              <a:effectLst/>
              <a:uLnTx/>
              <a:uFillTx/>
              <a:latin typeface="Arial"/>
              <a:ea typeface="+mn-ea"/>
              <a:cs typeface="+mn-cs"/>
            </a:endParaRPr>
          </a:p>
        </p:txBody>
      </p:sp>
      <p:sp>
        <p:nvSpPr>
          <p:cNvPr id="29" name="Rectangle 109">
            <a:extLst>
              <a:ext uri="{FF2B5EF4-FFF2-40B4-BE49-F238E27FC236}">
                <a16:creationId xmlns:a16="http://schemas.microsoft.com/office/drawing/2014/main" id="{F0301D3B-2F9C-4FA0-B929-FAF68152DED0}"/>
              </a:ext>
            </a:extLst>
          </p:cNvPr>
          <p:cNvSpPr/>
          <p:nvPr/>
        </p:nvSpPr>
        <p:spPr>
          <a:xfrm>
            <a:off x="8995793" y="1947015"/>
            <a:ext cx="1899167" cy="472437"/>
          </a:xfrm>
          <a:prstGeom prst="rect">
            <a:avLst/>
          </a:prstGeom>
        </p:spPr>
        <p:txBody>
          <a:bodyPr wrap="square">
            <a:spAutoFit/>
          </a:bodyPr>
          <a:lstStyle/>
          <a:p>
            <a:pPr marL="0" marR="0" lvl="0" indent="0" algn="ctr" defTabSz="914400" rtl="0" eaLnBrk="1" fontAlgn="auto" latinLnBrk="0" hangingPunct="1">
              <a:lnSpc>
                <a:spcPct val="95000"/>
              </a:lnSpc>
              <a:spcBef>
                <a:spcPts val="300"/>
              </a:spcBef>
              <a:spcAft>
                <a:spcPts val="300"/>
              </a:spcAft>
              <a:buClrTx/>
              <a:buSzTx/>
              <a:buFontTx/>
              <a:buNone/>
              <a:tabLst/>
              <a:defRPr/>
            </a:pPr>
            <a:r>
              <a:rPr kumimoji="0" lang="en-US" sz="1200" b="0" i="0" u="none" strike="noStrike" kern="1200" cap="none" spc="0" normalizeH="0" baseline="0" noProof="0" dirty="0">
                <a:ln>
                  <a:noFill/>
                </a:ln>
                <a:solidFill>
                  <a:srgbClr val="7E93A5"/>
                </a:solidFill>
                <a:effectLst/>
                <a:uLnTx/>
                <a:uFillTx/>
                <a:latin typeface="Arial"/>
                <a:ea typeface="+mn-ea"/>
                <a:cs typeface="+mn-cs"/>
              </a:rPr>
              <a:t>NOTIFICATIONS IN </a:t>
            </a:r>
            <a:r>
              <a:rPr kumimoji="0" lang="pl-PL" sz="1400" b="1" i="0" u="none" strike="noStrike" kern="1200" cap="none" spc="0" normalizeH="0" baseline="0" noProof="0" dirty="0">
                <a:ln>
                  <a:noFill/>
                </a:ln>
                <a:solidFill>
                  <a:srgbClr val="7E93A5"/>
                </a:solidFill>
                <a:effectLst/>
                <a:uLnTx/>
                <a:uFillTx/>
                <a:latin typeface="Arial"/>
                <a:ea typeface="+mn-ea"/>
                <a:cs typeface="+mn-cs"/>
              </a:rPr>
              <a:t>STREFA BIZNESU</a:t>
            </a:r>
            <a:endParaRPr kumimoji="0" lang="en-US" sz="1400" b="1" i="0" u="none" strike="noStrike" kern="1200" cap="none" spc="0" normalizeH="0" baseline="0" noProof="0" dirty="0">
              <a:ln>
                <a:noFill/>
              </a:ln>
              <a:solidFill>
                <a:srgbClr val="7E93A5"/>
              </a:solidFill>
              <a:effectLst/>
              <a:uLnTx/>
              <a:uFillTx/>
              <a:latin typeface="Arial"/>
              <a:ea typeface="+mn-ea"/>
              <a:cs typeface="+mn-cs"/>
            </a:endParaRPr>
          </a:p>
        </p:txBody>
      </p:sp>
      <p:sp>
        <p:nvSpPr>
          <p:cNvPr id="32" name="Tytuł 1">
            <a:extLst>
              <a:ext uri="{FF2B5EF4-FFF2-40B4-BE49-F238E27FC236}">
                <a16:creationId xmlns:a16="http://schemas.microsoft.com/office/drawing/2014/main" id="{08E7A589-39DC-4B15-B1DD-F0E3ACA0B1C9}"/>
              </a:ext>
            </a:extLst>
          </p:cNvPr>
          <p:cNvSpPr txBox="1">
            <a:spLocks/>
          </p:cNvSpPr>
          <p:nvPr/>
        </p:nvSpPr>
        <p:spPr bwMode="gray">
          <a:xfrm>
            <a:off x="592668" y="129898"/>
            <a:ext cx="10824633" cy="753533"/>
          </a:xfrm>
          <a:prstGeom prst="rect">
            <a:avLst/>
          </a:prstGeom>
        </p:spPr>
        <p:txBody>
          <a:bodyPr vert="horz" lIns="0" tIns="0" rIns="0" bIns="0" rtlCol="0" anchor="b" anchorCtr="0">
            <a:noAutofit/>
          </a:bodyPr>
          <a:lstStyle>
            <a:lvl1pPr algn="l" defTabSz="914341" rtl="0" eaLnBrk="1" latinLnBrk="0" hangingPunct="1">
              <a:lnSpc>
                <a:spcPct val="90000"/>
              </a:lnSpc>
              <a:spcBef>
                <a:spcPts val="0"/>
              </a:spcBef>
              <a:spcAft>
                <a:spcPts val="0"/>
              </a:spcAft>
              <a:buNone/>
              <a:defRPr sz="3733" b="1" kern="1200" cap="none" baseline="0">
                <a:solidFill>
                  <a:srgbClr val="009597"/>
                </a:solidFill>
                <a:latin typeface="+mj-lt"/>
                <a:ea typeface="+mj-ea"/>
                <a:cs typeface="+mj-cs"/>
              </a:defRPr>
            </a:lvl1pPr>
          </a:lstStyle>
          <a:p>
            <a:pPr marL="0" marR="0" lvl="0" indent="0" fontAlgn="auto">
              <a:buClrTx/>
              <a:buSzTx/>
              <a:tabLst/>
              <a:defRPr/>
            </a:pPr>
            <a:r>
              <a:rPr lang="pl-PL" sz="3200" dirty="0" err="1">
                <a:latin typeface="Arial Black" panose="020B0A04020102020204" pitchFamily="34" charset="0"/>
                <a:ea typeface="Calibri" panose="020F0502020204030204" pitchFamily="34" charset="0"/>
                <a:cs typeface="Calibri" panose="020F0502020204030204" pitchFamily="34" charset="0"/>
              </a:rPr>
              <a:t>Communication</a:t>
            </a:r>
            <a:r>
              <a:rPr lang="pl-PL" sz="3200" dirty="0">
                <a:latin typeface="Arial Black" panose="020B0A04020102020204" pitchFamily="34" charset="0"/>
                <a:ea typeface="Calibri" panose="020F0502020204030204" pitchFamily="34" charset="0"/>
                <a:cs typeface="Calibri" panose="020F0502020204030204" pitchFamily="34" charset="0"/>
              </a:rPr>
              <a:t> </a:t>
            </a:r>
            <a:r>
              <a:rPr lang="pl-PL" sz="3200" dirty="0" err="1">
                <a:latin typeface="Arial Black" panose="020B0A04020102020204" pitchFamily="34" charset="0"/>
                <a:ea typeface="Calibri" panose="020F0502020204030204" pitchFamily="34" charset="0"/>
                <a:cs typeface="Calibri" panose="020F0502020204030204" pitchFamily="34" charset="0"/>
              </a:rPr>
              <a:t>channels</a:t>
            </a:r>
            <a:r>
              <a:rPr lang="pl-PL" sz="3200" dirty="0">
                <a:latin typeface="Arial Black" panose="020B0A04020102020204" pitchFamily="34" charset="0"/>
                <a:ea typeface="Calibri" panose="020F0502020204030204" pitchFamily="34" charset="0"/>
                <a:cs typeface="Calibri" panose="020F0502020204030204" pitchFamily="34" charset="0"/>
              </a:rPr>
              <a:t> with </a:t>
            </a:r>
            <a:r>
              <a:rPr lang="pl-PL" sz="3200" dirty="0" err="1">
                <a:latin typeface="Arial Black" panose="020B0A04020102020204" pitchFamily="34" charset="0"/>
                <a:ea typeface="Calibri" panose="020F0502020204030204" pitchFamily="34" charset="0"/>
                <a:cs typeface="Calibri" panose="020F0502020204030204" pitchFamily="34" charset="0"/>
              </a:rPr>
              <a:t>clients</a:t>
            </a:r>
            <a:r>
              <a:rPr lang="pl-PL" sz="3200" dirty="0">
                <a:latin typeface="Arial Black" panose="020B0A04020102020204" pitchFamily="34" charset="0"/>
                <a:ea typeface="Calibri" panose="020F0502020204030204" pitchFamily="34" charset="0"/>
                <a:cs typeface="Calibri" panose="020F0502020204030204" pitchFamily="34" charset="0"/>
              </a:rPr>
              <a:t> </a:t>
            </a:r>
          </a:p>
        </p:txBody>
      </p:sp>
      <p:pic>
        <p:nvPicPr>
          <p:cNvPr id="33" name="Grafika 32">
            <a:extLst>
              <a:ext uri="{FF2B5EF4-FFF2-40B4-BE49-F238E27FC236}">
                <a16:creationId xmlns:a16="http://schemas.microsoft.com/office/drawing/2014/main" id="{859816D6-ACDE-4245-8849-B6983225655D}"/>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4285679" y="2633350"/>
            <a:ext cx="946482" cy="946482"/>
          </a:xfrm>
          <a:prstGeom prst="rect">
            <a:avLst/>
          </a:prstGeom>
        </p:spPr>
      </p:pic>
      <p:pic>
        <p:nvPicPr>
          <p:cNvPr id="34" name="Grafika 33">
            <a:extLst>
              <a:ext uri="{FF2B5EF4-FFF2-40B4-BE49-F238E27FC236}">
                <a16:creationId xmlns:a16="http://schemas.microsoft.com/office/drawing/2014/main" id="{12A08540-265B-4C90-80A5-3BB6B131D08B}"/>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6094960" y="2733924"/>
            <a:ext cx="888705" cy="888705"/>
          </a:xfrm>
          <a:prstGeom prst="rect">
            <a:avLst/>
          </a:prstGeom>
        </p:spPr>
      </p:pic>
      <p:sp>
        <p:nvSpPr>
          <p:cNvPr id="35" name="Chevron 10">
            <a:extLst>
              <a:ext uri="{FF2B5EF4-FFF2-40B4-BE49-F238E27FC236}">
                <a16:creationId xmlns:a16="http://schemas.microsoft.com/office/drawing/2014/main" id="{00F10119-FCC3-4731-B642-D67D482A563E}"/>
              </a:ext>
            </a:extLst>
          </p:cNvPr>
          <p:cNvSpPr/>
          <p:nvPr/>
        </p:nvSpPr>
        <p:spPr>
          <a:xfrm>
            <a:off x="520263" y="1069490"/>
            <a:ext cx="11001737" cy="291550"/>
          </a:xfrm>
          <a:prstGeom prst="chevron">
            <a:avLst>
              <a:gd name="adj" fmla="val 32323"/>
            </a:avLst>
          </a:prstGeom>
          <a:solidFill>
            <a:schemeClr val="accent2">
              <a:lumMod val="20000"/>
              <a:lumOff val="80000"/>
            </a:schemeClr>
          </a:solidFill>
          <a:ln w="381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pl-PL" sz="1200" b="1" i="0" u="none" strike="noStrike" kern="1200" cap="none" spc="0" normalizeH="0" baseline="0" noProof="0" dirty="0">
                <a:ln>
                  <a:noFill/>
                </a:ln>
                <a:solidFill>
                  <a:srgbClr val="7E93A5">
                    <a:lumMod val="75000"/>
                  </a:srgbClr>
                </a:solidFill>
                <a:effectLst/>
                <a:uLnTx/>
                <a:uFillTx/>
                <a:latin typeface="Open Sans Light"/>
                <a:ea typeface="+mn-ea"/>
                <a:cs typeface="+mn-cs"/>
              </a:rPr>
              <a:t>DIRECT TO THE CUSTOMER</a:t>
            </a:r>
            <a:endParaRPr kumimoji="0" lang="en-US" sz="1200" b="1" i="0" u="none" strike="noStrike" kern="1200" cap="none" spc="0" normalizeH="0" baseline="0" noProof="0" dirty="0">
              <a:ln>
                <a:noFill/>
              </a:ln>
              <a:solidFill>
                <a:srgbClr val="7E93A5">
                  <a:lumMod val="75000"/>
                </a:srgbClr>
              </a:solidFill>
              <a:effectLst/>
              <a:uLnTx/>
              <a:uFillTx/>
              <a:latin typeface="Open Sans Light"/>
              <a:ea typeface="+mn-ea"/>
              <a:cs typeface="+mn-cs"/>
            </a:endParaRPr>
          </a:p>
        </p:txBody>
      </p:sp>
      <p:sp>
        <p:nvSpPr>
          <p:cNvPr id="61" name="Chevron 10">
            <a:extLst>
              <a:ext uri="{FF2B5EF4-FFF2-40B4-BE49-F238E27FC236}">
                <a16:creationId xmlns:a16="http://schemas.microsoft.com/office/drawing/2014/main" id="{423CBB51-E774-4E74-A395-7DA7070B710B}"/>
              </a:ext>
            </a:extLst>
          </p:cNvPr>
          <p:cNvSpPr/>
          <p:nvPr/>
        </p:nvSpPr>
        <p:spPr>
          <a:xfrm>
            <a:off x="2419430" y="3820816"/>
            <a:ext cx="4919418" cy="291550"/>
          </a:xfrm>
          <a:prstGeom prst="chevron">
            <a:avLst>
              <a:gd name="adj" fmla="val 32323"/>
            </a:avLst>
          </a:prstGeom>
          <a:solidFill>
            <a:schemeClr val="accent2">
              <a:lumMod val="20000"/>
              <a:lumOff val="80000"/>
            </a:schemeClr>
          </a:solidFill>
          <a:ln w="381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pl-PL" sz="1200" b="1" i="0" u="none" strike="noStrike" kern="1200" cap="none" spc="0" normalizeH="0" baseline="0" noProof="0" dirty="0">
                <a:ln>
                  <a:noFill/>
                </a:ln>
                <a:solidFill>
                  <a:srgbClr val="7E93A5">
                    <a:lumMod val="75000"/>
                  </a:srgbClr>
                </a:solidFill>
                <a:effectLst/>
                <a:uLnTx/>
                <a:uFillTx/>
                <a:latin typeface="Open Sans Light"/>
                <a:ea typeface="+mn-ea"/>
                <a:cs typeface="+mn-cs"/>
              </a:rPr>
              <a:t>PASSIVE CHANNELS</a:t>
            </a:r>
            <a:endParaRPr kumimoji="0" lang="en-US" sz="1200" b="1" i="0" u="none" strike="noStrike" kern="1200" cap="none" spc="0" normalizeH="0" baseline="0" noProof="0" dirty="0">
              <a:ln>
                <a:noFill/>
              </a:ln>
              <a:solidFill>
                <a:srgbClr val="7E93A5">
                  <a:lumMod val="75000"/>
                </a:srgbClr>
              </a:solidFill>
              <a:effectLst/>
              <a:uLnTx/>
              <a:uFillTx/>
              <a:latin typeface="Open Sans Light"/>
              <a:ea typeface="+mn-ea"/>
              <a:cs typeface="+mn-cs"/>
            </a:endParaRPr>
          </a:p>
        </p:txBody>
      </p:sp>
      <p:sp>
        <p:nvSpPr>
          <p:cNvPr id="64" name="Rectangle 103">
            <a:extLst>
              <a:ext uri="{FF2B5EF4-FFF2-40B4-BE49-F238E27FC236}">
                <a16:creationId xmlns:a16="http://schemas.microsoft.com/office/drawing/2014/main" id="{62BAC104-E85E-472C-8FD4-8CC306FF5D6C}"/>
              </a:ext>
            </a:extLst>
          </p:cNvPr>
          <p:cNvSpPr/>
          <p:nvPr/>
        </p:nvSpPr>
        <p:spPr>
          <a:xfrm>
            <a:off x="592668" y="3927783"/>
            <a:ext cx="1673831" cy="724814"/>
          </a:xfrm>
          <a:prstGeom prst="rect">
            <a:avLst/>
          </a:prstGeom>
        </p:spPr>
        <p:txBody>
          <a:bodyPr wrap="square">
            <a:spAutoFit/>
          </a:bodyPr>
          <a:lstStyle/>
          <a:p>
            <a:pPr marL="0" marR="0" lvl="0" indent="0" algn="ctr" defTabSz="914400" rtl="0" eaLnBrk="1" fontAlgn="auto" latinLnBrk="0" hangingPunct="1">
              <a:lnSpc>
                <a:spcPct val="95000"/>
              </a:lnSpc>
              <a:spcBef>
                <a:spcPts val="300"/>
              </a:spcBef>
              <a:spcAft>
                <a:spcPts val="300"/>
              </a:spcAft>
              <a:buClrTx/>
              <a:buSzTx/>
              <a:buFontTx/>
              <a:buNone/>
              <a:tabLst/>
              <a:defRPr/>
            </a:pPr>
            <a:r>
              <a:rPr kumimoji="0" lang="en-US" sz="1400" b="1" i="0" u="none" strike="noStrike" kern="1200" cap="none" spc="0" normalizeH="0" baseline="0" noProof="0" dirty="0">
                <a:ln>
                  <a:noFill/>
                </a:ln>
                <a:solidFill>
                  <a:srgbClr val="7E93A5"/>
                </a:solidFill>
                <a:effectLst/>
                <a:uLnTx/>
                <a:uFillTx/>
                <a:latin typeface="Arial"/>
                <a:ea typeface="+mn-ea"/>
                <a:cs typeface="+mn-cs"/>
              </a:rPr>
              <a:t>ADVISOR</a:t>
            </a:r>
            <a:r>
              <a:rPr kumimoji="0" lang="en-US" sz="1200" b="0" i="0" u="none" strike="noStrike" kern="1200" cap="none" spc="0" normalizeH="0" baseline="0" noProof="0" dirty="0">
                <a:ln>
                  <a:noFill/>
                </a:ln>
                <a:solidFill>
                  <a:srgbClr val="7E93A5"/>
                </a:solidFill>
                <a:effectLst/>
                <a:uLnTx/>
                <a:uFillTx/>
                <a:latin typeface="Arial"/>
                <a:ea typeface="+mn-ea"/>
                <a:cs typeface="+mn-cs"/>
              </a:rPr>
              <a:t> </a:t>
            </a:r>
            <a:endParaRPr kumimoji="0" lang="pl-PL" sz="1200" b="0" i="0" u="none" strike="noStrike" kern="1200" cap="none" spc="0" normalizeH="0" baseline="0" noProof="0" dirty="0">
              <a:ln>
                <a:noFill/>
              </a:ln>
              <a:solidFill>
                <a:srgbClr val="7E93A5"/>
              </a:solidFill>
              <a:effectLst/>
              <a:uLnTx/>
              <a:uFillTx/>
              <a:latin typeface="Arial"/>
              <a:ea typeface="+mn-ea"/>
              <a:cs typeface="+mn-cs"/>
            </a:endParaRPr>
          </a:p>
          <a:p>
            <a:pPr marL="0" marR="0" lvl="0" indent="0" algn="ctr" defTabSz="914400" rtl="0" eaLnBrk="1" fontAlgn="auto" latinLnBrk="0" hangingPunct="1">
              <a:lnSpc>
                <a:spcPct val="95000"/>
              </a:lnSpc>
              <a:spcBef>
                <a:spcPts val="300"/>
              </a:spcBef>
              <a:spcAft>
                <a:spcPts val="300"/>
              </a:spcAft>
              <a:buClrTx/>
              <a:buSzTx/>
              <a:buFontTx/>
              <a:buNone/>
              <a:tabLst/>
              <a:defRPr/>
            </a:pPr>
            <a:r>
              <a:rPr kumimoji="0" lang="en-US" sz="1200" b="0" i="0" u="none" strike="noStrike" kern="1200" cap="none" spc="0" normalizeH="0" baseline="0" noProof="0" dirty="0">
                <a:ln>
                  <a:noFill/>
                </a:ln>
                <a:solidFill>
                  <a:srgbClr val="7E93A5"/>
                </a:solidFill>
                <a:effectLst/>
                <a:uLnTx/>
                <a:uFillTx/>
                <a:latin typeface="Arial"/>
                <a:ea typeface="+mn-ea"/>
                <a:cs typeface="+mn-cs"/>
              </a:rPr>
              <a:t>FROM A BANK BRANCH</a:t>
            </a:r>
            <a:endParaRPr kumimoji="0" lang="pl-PL" sz="1400" b="0" i="0" u="none" strike="noStrike" kern="1200" cap="none" spc="0" normalizeH="0" baseline="0" noProof="0" dirty="0">
              <a:ln>
                <a:noFill/>
              </a:ln>
              <a:solidFill>
                <a:srgbClr val="7E93A5"/>
              </a:solidFill>
              <a:effectLst/>
              <a:uLnTx/>
              <a:uFillTx/>
              <a:latin typeface="Arial"/>
              <a:ea typeface="+mn-ea"/>
              <a:cs typeface="+mn-cs"/>
            </a:endParaRPr>
          </a:p>
        </p:txBody>
      </p:sp>
      <p:grpSp>
        <p:nvGrpSpPr>
          <p:cNvPr id="65" name="Grupa 64">
            <a:extLst>
              <a:ext uri="{FF2B5EF4-FFF2-40B4-BE49-F238E27FC236}">
                <a16:creationId xmlns:a16="http://schemas.microsoft.com/office/drawing/2014/main" id="{04995516-C040-4489-A11E-44EAEE55F5AB}"/>
              </a:ext>
            </a:extLst>
          </p:cNvPr>
          <p:cNvGrpSpPr/>
          <p:nvPr/>
        </p:nvGrpSpPr>
        <p:grpSpPr>
          <a:xfrm>
            <a:off x="931480" y="4252531"/>
            <a:ext cx="6015098" cy="1539536"/>
            <a:chOff x="1663225" y="1975033"/>
            <a:chExt cx="3728367" cy="954258"/>
          </a:xfrm>
        </p:grpSpPr>
        <p:sp>
          <p:nvSpPr>
            <p:cNvPr id="66" name="Oval 17">
              <a:extLst>
                <a:ext uri="{FF2B5EF4-FFF2-40B4-BE49-F238E27FC236}">
                  <a16:creationId xmlns:a16="http://schemas.microsoft.com/office/drawing/2014/main" id="{A8D31F3B-BC59-487B-A193-904599F5598C}"/>
                </a:ext>
              </a:extLst>
            </p:cNvPr>
            <p:cNvSpPr>
              <a:spLocks noChangeArrowheads="1"/>
            </p:cNvSpPr>
            <p:nvPr/>
          </p:nvSpPr>
          <p:spPr bwMode="auto">
            <a:xfrm>
              <a:off x="3750220" y="2329648"/>
              <a:ext cx="596489" cy="599643"/>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351" b="0" i="0" u="none" strike="noStrike" kern="1200" cap="none" spc="0" normalizeH="0" baseline="0" noProof="0" dirty="0">
                <a:ln>
                  <a:noFill/>
                </a:ln>
                <a:solidFill>
                  <a:srgbClr val="000000"/>
                </a:solidFill>
                <a:effectLst/>
                <a:uLnTx/>
                <a:uFillTx/>
                <a:latin typeface="Arial"/>
                <a:ea typeface="+mn-ea"/>
                <a:cs typeface="+mn-cs"/>
              </a:endParaRPr>
            </a:p>
          </p:txBody>
        </p:sp>
        <p:sp>
          <p:nvSpPr>
            <p:cNvPr id="68" name="Oval 18">
              <a:extLst>
                <a:ext uri="{FF2B5EF4-FFF2-40B4-BE49-F238E27FC236}">
                  <a16:creationId xmlns:a16="http://schemas.microsoft.com/office/drawing/2014/main" id="{3298624B-B563-4B51-BC7C-777E7AD6493D}"/>
                </a:ext>
              </a:extLst>
            </p:cNvPr>
            <p:cNvSpPr>
              <a:spLocks noChangeArrowheads="1"/>
            </p:cNvSpPr>
            <p:nvPr/>
          </p:nvSpPr>
          <p:spPr bwMode="auto">
            <a:xfrm>
              <a:off x="2706723" y="2330437"/>
              <a:ext cx="596489" cy="598067"/>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351" b="0" i="0" u="none" strike="noStrike" kern="1200" cap="none" spc="0" normalizeH="0" baseline="0" noProof="0" dirty="0">
                <a:ln>
                  <a:noFill/>
                </a:ln>
                <a:solidFill>
                  <a:srgbClr val="000000"/>
                </a:solidFill>
                <a:effectLst/>
                <a:uLnTx/>
                <a:uFillTx/>
                <a:latin typeface="Arial"/>
                <a:ea typeface="+mn-ea"/>
                <a:cs typeface="+mn-cs"/>
              </a:endParaRPr>
            </a:p>
          </p:txBody>
        </p:sp>
        <p:sp>
          <p:nvSpPr>
            <p:cNvPr id="69" name="Oval 16">
              <a:extLst>
                <a:ext uri="{FF2B5EF4-FFF2-40B4-BE49-F238E27FC236}">
                  <a16:creationId xmlns:a16="http://schemas.microsoft.com/office/drawing/2014/main" id="{C61ED93A-03E3-433B-8B39-1F8C0184CF5A}"/>
                </a:ext>
              </a:extLst>
            </p:cNvPr>
            <p:cNvSpPr>
              <a:spLocks noChangeArrowheads="1"/>
            </p:cNvSpPr>
            <p:nvPr/>
          </p:nvSpPr>
          <p:spPr bwMode="auto">
            <a:xfrm>
              <a:off x="4793525" y="2330437"/>
              <a:ext cx="598067" cy="598067"/>
            </a:xfrm>
            <a:prstGeom prst="ellipse">
              <a:avLst/>
            </a:pr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351" b="0" i="0" u="none" strike="noStrike" kern="1200" cap="none" spc="0" normalizeH="0" baseline="0" noProof="0" dirty="0">
                <a:ln>
                  <a:noFill/>
                </a:ln>
                <a:solidFill>
                  <a:srgbClr val="000000"/>
                </a:solidFill>
                <a:effectLst/>
                <a:uLnTx/>
                <a:uFillTx/>
                <a:latin typeface="Arial"/>
                <a:ea typeface="+mn-ea"/>
                <a:cs typeface="+mn-cs"/>
              </a:endParaRPr>
            </a:p>
          </p:txBody>
        </p:sp>
        <p:sp>
          <p:nvSpPr>
            <p:cNvPr id="70" name="Oval 14">
              <a:extLst>
                <a:ext uri="{FF2B5EF4-FFF2-40B4-BE49-F238E27FC236}">
                  <a16:creationId xmlns:a16="http://schemas.microsoft.com/office/drawing/2014/main" id="{A657AAB6-6610-450A-85B0-6234C1946AF1}"/>
                </a:ext>
              </a:extLst>
            </p:cNvPr>
            <p:cNvSpPr>
              <a:spLocks noChangeArrowheads="1"/>
            </p:cNvSpPr>
            <p:nvPr/>
          </p:nvSpPr>
          <p:spPr bwMode="auto">
            <a:xfrm>
              <a:off x="1663225" y="2330437"/>
              <a:ext cx="596489" cy="598067"/>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351"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72" name="Straight Connector 74">
              <a:extLst>
                <a:ext uri="{FF2B5EF4-FFF2-40B4-BE49-F238E27FC236}">
                  <a16:creationId xmlns:a16="http://schemas.microsoft.com/office/drawing/2014/main" id="{B37AC8F8-56F7-440A-8D43-02E284186EF1}"/>
                </a:ext>
              </a:extLst>
            </p:cNvPr>
            <p:cNvCxnSpPr/>
            <p:nvPr/>
          </p:nvCxnSpPr>
          <p:spPr>
            <a:xfrm>
              <a:off x="2259714" y="2629469"/>
              <a:ext cx="447009" cy="0"/>
            </a:xfrm>
            <a:prstGeom prst="line">
              <a:avLst/>
            </a:prstGeom>
            <a:ln w="22225"/>
          </p:spPr>
          <p:style>
            <a:lnRef idx="1">
              <a:schemeClr val="accent1"/>
            </a:lnRef>
            <a:fillRef idx="0">
              <a:schemeClr val="accent1"/>
            </a:fillRef>
            <a:effectRef idx="0">
              <a:schemeClr val="accent1"/>
            </a:effectRef>
            <a:fontRef idx="minor">
              <a:schemeClr val="tx1"/>
            </a:fontRef>
          </p:style>
        </p:cxnSp>
        <p:cxnSp>
          <p:nvCxnSpPr>
            <p:cNvPr id="73" name="Straight Connector 89">
              <a:extLst>
                <a:ext uri="{FF2B5EF4-FFF2-40B4-BE49-F238E27FC236}">
                  <a16:creationId xmlns:a16="http://schemas.microsoft.com/office/drawing/2014/main" id="{2B918184-4E34-485C-9E7E-0D8E7A894355}"/>
                </a:ext>
              </a:extLst>
            </p:cNvPr>
            <p:cNvCxnSpPr/>
            <p:nvPr/>
          </p:nvCxnSpPr>
          <p:spPr>
            <a:xfrm>
              <a:off x="3303212" y="2629469"/>
              <a:ext cx="447009" cy="0"/>
            </a:xfrm>
            <a:prstGeom prst="line">
              <a:avLst/>
            </a:prstGeom>
            <a:ln w="222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4" name="Straight Connector 92">
              <a:extLst>
                <a:ext uri="{FF2B5EF4-FFF2-40B4-BE49-F238E27FC236}">
                  <a16:creationId xmlns:a16="http://schemas.microsoft.com/office/drawing/2014/main" id="{1636FDC3-25F5-41B8-809A-7B765CC68ED1}"/>
                </a:ext>
              </a:extLst>
            </p:cNvPr>
            <p:cNvCxnSpPr/>
            <p:nvPr/>
          </p:nvCxnSpPr>
          <p:spPr>
            <a:xfrm>
              <a:off x="4346710" y="2629469"/>
              <a:ext cx="446816" cy="0"/>
            </a:xfrm>
            <a:prstGeom prst="line">
              <a:avLst/>
            </a:prstGeom>
            <a:ln w="22225">
              <a:solidFill>
                <a:schemeClr val="accent3"/>
              </a:solidFill>
            </a:ln>
          </p:spPr>
          <p:style>
            <a:lnRef idx="1">
              <a:schemeClr val="accent1"/>
            </a:lnRef>
            <a:fillRef idx="0">
              <a:schemeClr val="accent1"/>
            </a:fillRef>
            <a:effectRef idx="0">
              <a:schemeClr val="accent1"/>
            </a:effectRef>
            <a:fontRef idx="minor">
              <a:schemeClr val="tx1"/>
            </a:fontRef>
          </p:style>
        </p:cxnSp>
        <p:sp>
          <p:nvSpPr>
            <p:cNvPr id="80" name="Rectangle 106">
              <a:extLst>
                <a:ext uri="{FF2B5EF4-FFF2-40B4-BE49-F238E27FC236}">
                  <a16:creationId xmlns:a16="http://schemas.microsoft.com/office/drawing/2014/main" id="{9FF2A9B0-9F7D-4FE6-9BC1-05D999022413}"/>
                </a:ext>
              </a:extLst>
            </p:cNvPr>
            <p:cNvSpPr/>
            <p:nvPr/>
          </p:nvSpPr>
          <p:spPr>
            <a:xfrm>
              <a:off x="2416382" y="1975033"/>
              <a:ext cx="1177170" cy="165971"/>
            </a:xfrm>
            <a:prstGeom prst="rect">
              <a:avLst/>
            </a:prstGeom>
          </p:spPr>
          <p:txBody>
            <a:bodyPr wrap="square">
              <a:spAutoFit/>
            </a:bodyPr>
            <a:lstStyle/>
            <a:p>
              <a:pPr marL="0" marR="0" lvl="0" indent="0" algn="ctr" defTabSz="914400" rtl="0" eaLnBrk="1" fontAlgn="auto" latinLnBrk="0" hangingPunct="1">
                <a:lnSpc>
                  <a:spcPct val="95000"/>
                </a:lnSpc>
                <a:spcBef>
                  <a:spcPts val="300"/>
                </a:spcBef>
                <a:spcAft>
                  <a:spcPts val="300"/>
                </a:spcAft>
                <a:buClrTx/>
                <a:buSzTx/>
                <a:buFontTx/>
                <a:buNone/>
                <a:tabLst/>
                <a:defRPr/>
              </a:pPr>
              <a:r>
                <a:rPr kumimoji="0" lang="pl-PL" sz="1200" b="1" i="0" u="none" strike="noStrike" kern="1200" cap="none" spc="0" normalizeH="0" baseline="0" noProof="0" dirty="0">
                  <a:ln>
                    <a:noFill/>
                  </a:ln>
                  <a:solidFill>
                    <a:srgbClr val="7E93A5"/>
                  </a:solidFill>
                  <a:effectLst/>
                  <a:uLnTx/>
                  <a:uFillTx/>
                  <a:latin typeface="Arial"/>
                  <a:ea typeface="+mn-ea"/>
                  <a:cs typeface="+mn-cs"/>
                </a:rPr>
                <a:t>TASKS</a:t>
              </a:r>
              <a:endParaRPr kumimoji="0" lang="en-US" sz="1200" b="1" i="0" u="none" strike="noStrike" kern="1200" cap="none" spc="0" normalizeH="0" baseline="0" noProof="0" dirty="0">
                <a:ln>
                  <a:noFill/>
                </a:ln>
                <a:solidFill>
                  <a:srgbClr val="7E93A5"/>
                </a:solidFill>
                <a:effectLst/>
                <a:uLnTx/>
                <a:uFillTx/>
                <a:latin typeface="Arial"/>
                <a:ea typeface="+mn-ea"/>
                <a:cs typeface="+mn-cs"/>
              </a:endParaRPr>
            </a:p>
          </p:txBody>
        </p:sp>
      </p:grpSp>
      <p:sp>
        <p:nvSpPr>
          <p:cNvPr id="88" name="Rectangle 106">
            <a:extLst>
              <a:ext uri="{FF2B5EF4-FFF2-40B4-BE49-F238E27FC236}">
                <a16:creationId xmlns:a16="http://schemas.microsoft.com/office/drawing/2014/main" id="{5CE6CF27-1260-40EF-834C-5B3835DF72EC}"/>
              </a:ext>
            </a:extLst>
          </p:cNvPr>
          <p:cNvSpPr/>
          <p:nvPr/>
        </p:nvSpPr>
        <p:spPr>
          <a:xfrm>
            <a:off x="4154196" y="4258770"/>
            <a:ext cx="1256622" cy="443198"/>
          </a:xfrm>
          <a:prstGeom prst="rect">
            <a:avLst/>
          </a:prstGeom>
        </p:spPr>
        <p:txBody>
          <a:bodyPr wrap="square">
            <a:spAutoFit/>
          </a:bodyPr>
          <a:lstStyle/>
          <a:p>
            <a:pPr marL="0" marR="0" lvl="0" indent="0" algn="ctr" defTabSz="914400" rtl="0" eaLnBrk="1" fontAlgn="auto" latinLnBrk="0" hangingPunct="1">
              <a:lnSpc>
                <a:spcPct val="95000"/>
              </a:lnSpc>
              <a:spcBef>
                <a:spcPts val="300"/>
              </a:spcBef>
              <a:spcAft>
                <a:spcPts val="300"/>
              </a:spcAft>
              <a:buClrTx/>
              <a:buSzTx/>
              <a:buFontTx/>
              <a:buNone/>
              <a:tabLst/>
              <a:defRPr/>
            </a:pPr>
            <a:r>
              <a:rPr kumimoji="0" lang="pl-PL" sz="1200" b="1" i="0" u="none" strike="noStrike" kern="1200" cap="none" spc="0" normalizeH="0" baseline="0" noProof="0" dirty="0">
                <a:ln>
                  <a:noFill/>
                </a:ln>
                <a:solidFill>
                  <a:srgbClr val="7E93A5"/>
                </a:solidFill>
                <a:effectLst/>
                <a:uLnTx/>
                <a:uFillTx/>
                <a:latin typeface="Arial"/>
                <a:ea typeface="+mn-ea"/>
                <a:cs typeface="+mn-cs"/>
              </a:rPr>
              <a:t>SALES PRETEXT </a:t>
            </a:r>
          </a:p>
        </p:txBody>
      </p:sp>
      <p:sp>
        <p:nvSpPr>
          <p:cNvPr id="89" name="Rectangle 106">
            <a:extLst>
              <a:ext uri="{FF2B5EF4-FFF2-40B4-BE49-F238E27FC236}">
                <a16:creationId xmlns:a16="http://schemas.microsoft.com/office/drawing/2014/main" id="{3FAF5EDD-5B1C-4F9A-93A6-A3BF218FA1DB}"/>
              </a:ext>
            </a:extLst>
          </p:cNvPr>
          <p:cNvSpPr/>
          <p:nvPr/>
        </p:nvSpPr>
        <p:spPr>
          <a:xfrm>
            <a:off x="5876754" y="4252531"/>
            <a:ext cx="1325111" cy="443198"/>
          </a:xfrm>
          <a:prstGeom prst="rect">
            <a:avLst/>
          </a:prstGeom>
        </p:spPr>
        <p:txBody>
          <a:bodyPr wrap="square">
            <a:spAutoFit/>
          </a:bodyPr>
          <a:lstStyle/>
          <a:p>
            <a:pPr marL="0" marR="0" lvl="0" indent="0" algn="ctr" defTabSz="914400" rtl="0" eaLnBrk="1" fontAlgn="auto" latinLnBrk="0" hangingPunct="1">
              <a:lnSpc>
                <a:spcPct val="95000"/>
              </a:lnSpc>
              <a:spcBef>
                <a:spcPts val="300"/>
              </a:spcBef>
              <a:spcAft>
                <a:spcPts val="300"/>
              </a:spcAft>
              <a:buClrTx/>
              <a:buSzTx/>
              <a:buFontTx/>
              <a:buNone/>
              <a:tabLst/>
              <a:defRPr/>
            </a:pPr>
            <a:r>
              <a:rPr kumimoji="0" lang="pl-PL" sz="1200" b="1" i="0" u="none" strike="noStrike" kern="1200" cap="none" spc="0" normalizeH="0" baseline="0" noProof="0" dirty="0">
                <a:ln>
                  <a:noFill/>
                </a:ln>
                <a:solidFill>
                  <a:srgbClr val="7E93A5"/>
                </a:solidFill>
                <a:effectLst/>
                <a:uLnTx/>
                <a:uFillTx/>
                <a:latin typeface="Arial"/>
                <a:ea typeface="+mn-ea"/>
                <a:cs typeface="+mn-cs"/>
              </a:rPr>
              <a:t>ADDITIONAL DATA</a:t>
            </a:r>
          </a:p>
        </p:txBody>
      </p:sp>
      <p:sp>
        <p:nvSpPr>
          <p:cNvPr id="91" name="Rectangle 106">
            <a:extLst>
              <a:ext uri="{FF2B5EF4-FFF2-40B4-BE49-F238E27FC236}">
                <a16:creationId xmlns:a16="http://schemas.microsoft.com/office/drawing/2014/main" id="{1ED22EEA-DBBC-4DD2-9A1C-DB841FF02F66}"/>
              </a:ext>
            </a:extLst>
          </p:cNvPr>
          <p:cNvSpPr/>
          <p:nvPr/>
        </p:nvSpPr>
        <p:spPr>
          <a:xfrm>
            <a:off x="3835972" y="5882532"/>
            <a:ext cx="1876518" cy="823302"/>
          </a:xfrm>
          <a:prstGeom prst="rect">
            <a:avLst/>
          </a:prstGeom>
        </p:spPr>
        <p:txBody>
          <a:bodyPr wrap="square">
            <a:spAutoFit/>
          </a:bodyPr>
          <a:lstStyle/>
          <a:p>
            <a:pPr marL="0" marR="0" lvl="0" indent="0" algn="ctr" defTabSz="914400" rtl="0" eaLnBrk="1" fontAlgn="auto" latinLnBrk="0" hangingPunct="1">
              <a:lnSpc>
                <a:spcPct val="95000"/>
              </a:lnSpc>
              <a:spcBef>
                <a:spcPts val="300"/>
              </a:spcBef>
              <a:spcAft>
                <a:spcPts val="300"/>
              </a:spcAft>
              <a:buClrTx/>
              <a:buSzTx/>
              <a:buFontTx/>
              <a:buNone/>
              <a:tabLst/>
              <a:defRPr/>
            </a:pPr>
            <a:r>
              <a:rPr kumimoji="0" lang="en-US" sz="1000" b="0" i="0" u="none" strike="noStrike" kern="1200" cap="none" spc="0" normalizeH="0" baseline="0" noProof="0" dirty="0">
                <a:ln>
                  <a:noFill/>
                </a:ln>
                <a:solidFill>
                  <a:srgbClr val="7E93A5"/>
                </a:solidFill>
                <a:effectLst/>
                <a:uLnTx/>
                <a:uFillTx/>
                <a:latin typeface="Arial"/>
                <a:ea typeface="+mn-ea"/>
                <a:cs typeface="+mn-cs"/>
              </a:rPr>
              <a:t>HIGHLY PERSONALIZED SALES HINT REFERRING TOCUSTOMER PROFILE OR EVENT THAT HAS OCCURED</a:t>
            </a:r>
          </a:p>
        </p:txBody>
      </p:sp>
      <p:sp>
        <p:nvSpPr>
          <p:cNvPr id="92" name="Rectangle 106">
            <a:extLst>
              <a:ext uri="{FF2B5EF4-FFF2-40B4-BE49-F238E27FC236}">
                <a16:creationId xmlns:a16="http://schemas.microsoft.com/office/drawing/2014/main" id="{06B628B0-1B9A-4DAF-B763-22D1F1FA647D}"/>
              </a:ext>
            </a:extLst>
          </p:cNvPr>
          <p:cNvSpPr/>
          <p:nvPr/>
        </p:nvSpPr>
        <p:spPr>
          <a:xfrm>
            <a:off x="5624346" y="5888504"/>
            <a:ext cx="1753756" cy="969496"/>
          </a:xfrm>
          <a:prstGeom prst="rect">
            <a:avLst/>
          </a:prstGeom>
        </p:spPr>
        <p:txBody>
          <a:bodyPr wrap="square">
            <a:spAutoFit/>
          </a:bodyPr>
          <a:lstStyle/>
          <a:p>
            <a:pPr marL="0" marR="0" lvl="0" indent="0" algn="ctr" defTabSz="914400" rtl="0" eaLnBrk="1" fontAlgn="auto" latinLnBrk="0" hangingPunct="1">
              <a:lnSpc>
                <a:spcPct val="95000"/>
              </a:lnSpc>
              <a:spcBef>
                <a:spcPts val="300"/>
              </a:spcBef>
              <a:spcAft>
                <a:spcPts val="300"/>
              </a:spcAft>
              <a:buClrTx/>
              <a:buSzTx/>
              <a:buFontTx/>
              <a:buNone/>
              <a:tabLst/>
              <a:defRPr/>
            </a:pPr>
            <a:r>
              <a:rPr kumimoji="0" lang="en-US" sz="1000" b="0" i="0" u="none" strike="noStrike" kern="1200" cap="none" spc="0" normalizeH="0" baseline="0" noProof="0" dirty="0">
                <a:ln>
                  <a:noFill/>
                </a:ln>
                <a:solidFill>
                  <a:srgbClr val="7E93A5"/>
                </a:solidFill>
                <a:effectLst/>
                <a:uLnTx/>
                <a:uFillTx/>
                <a:latin typeface="Arial"/>
                <a:ea typeface="+mn-ea"/>
                <a:cs typeface="+mn-cs"/>
              </a:rPr>
              <a:t>USEFUL INFORMATION / INDICATORS ABOUT CUSTOMERS OR HIS PRODUCTS (PROMO OFFERS, PRCE LEVEL, MAIN BANK)</a:t>
            </a:r>
            <a:endParaRPr kumimoji="0" lang="pl-PL" sz="1000" b="0" i="0" u="none" strike="noStrike" kern="1200" cap="none" spc="0" normalizeH="0" baseline="0" noProof="0" dirty="0">
              <a:ln>
                <a:noFill/>
              </a:ln>
              <a:solidFill>
                <a:srgbClr val="7E93A5"/>
              </a:solidFill>
              <a:effectLst/>
              <a:uLnTx/>
              <a:uFillTx/>
              <a:latin typeface="Arial"/>
              <a:ea typeface="+mn-ea"/>
              <a:cs typeface="+mn-cs"/>
            </a:endParaRPr>
          </a:p>
        </p:txBody>
      </p:sp>
      <p:pic>
        <p:nvPicPr>
          <p:cNvPr id="94" name="Grafika 93">
            <a:extLst>
              <a:ext uri="{FF2B5EF4-FFF2-40B4-BE49-F238E27FC236}">
                <a16:creationId xmlns:a16="http://schemas.microsoft.com/office/drawing/2014/main" id="{6F3B508B-1778-417F-9BE4-AAE021DF6B27}"/>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2661284" y="4824643"/>
            <a:ext cx="907795" cy="907795"/>
          </a:xfrm>
          <a:prstGeom prst="rect">
            <a:avLst/>
          </a:prstGeom>
        </p:spPr>
      </p:pic>
      <p:pic>
        <p:nvPicPr>
          <p:cNvPr id="95" name="Grafika 94">
            <a:extLst>
              <a:ext uri="{FF2B5EF4-FFF2-40B4-BE49-F238E27FC236}">
                <a16:creationId xmlns:a16="http://schemas.microsoft.com/office/drawing/2014/main" id="{B61D8DA3-4F84-4C6C-A766-89F07C891B8E}"/>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4408524" y="4874064"/>
            <a:ext cx="823637" cy="823637"/>
          </a:xfrm>
          <a:prstGeom prst="rect">
            <a:avLst/>
          </a:prstGeom>
        </p:spPr>
      </p:pic>
      <p:pic>
        <p:nvPicPr>
          <p:cNvPr id="98" name="Grafika 97">
            <a:extLst>
              <a:ext uri="{FF2B5EF4-FFF2-40B4-BE49-F238E27FC236}">
                <a16:creationId xmlns:a16="http://schemas.microsoft.com/office/drawing/2014/main" id="{26187097-FB56-4117-8BA1-E3A8B720D459}"/>
              </a:ext>
            </a:extLst>
          </p:cNvPr>
          <p:cNvPicPr>
            <a:picLocks noChangeAspect="1"/>
          </p:cNvPicPr>
          <p:nvPr/>
        </p:nvPicPr>
        <p:blipFill>
          <a:blip r:embed="rId12">
            <a:extLst>
              <a:ext uri="{96DAC541-7B7A-43D3-8B79-37D633B846F1}">
                <asvg:svgBlip xmlns:asvg="http://schemas.microsoft.com/office/drawing/2016/SVG/main" r:embed="rId13"/>
              </a:ext>
            </a:extLst>
          </a:blip>
          <a:srcRect/>
          <a:stretch/>
        </p:blipFill>
        <p:spPr>
          <a:xfrm>
            <a:off x="7702606" y="2646316"/>
            <a:ext cx="972067" cy="972067"/>
          </a:xfrm>
          <a:prstGeom prst="rect">
            <a:avLst/>
          </a:prstGeom>
        </p:spPr>
      </p:pic>
      <p:pic>
        <p:nvPicPr>
          <p:cNvPr id="101" name="Grafika 100">
            <a:extLst>
              <a:ext uri="{FF2B5EF4-FFF2-40B4-BE49-F238E27FC236}">
                <a16:creationId xmlns:a16="http://schemas.microsoft.com/office/drawing/2014/main" id="{3E3C62DF-D90E-4EB5-B286-8CFEDC24D458}"/>
              </a:ext>
            </a:extLst>
          </p:cNvPr>
          <p:cNvPicPr>
            <a:picLocks noChangeAspect="1"/>
          </p:cNvPicPr>
          <p:nvPr/>
        </p:nvPicPr>
        <p:blipFill>
          <a:blip r:embed="rId14">
            <a:extLst>
              <a:ext uri="{96DAC541-7B7A-43D3-8B79-37D633B846F1}">
                <asvg:svgBlip xmlns:asvg="http://schemas.microsoft.com/office/drawing/2016/SVG/main" r:embed="rId15"/>
              </a:ext>
            </a:extLst>
          </a:blip>
          <a:srcRect/>
          <a:stretch/>
        </p:blipFill>
        <p:spPr>
          <a:xfrm>
            <a:off x="9430642" y="2650844"/>
            <a:ext cx="880966" cy="880966"/>
          </a:xfrm>
          <a:prstGeom prst="rect">
            <a:avLst/>
          </a:prstGeom>
        </p:spPr>
      </p:pic>
      <p:pic>
        <p:nvPicPr>
          <p:cNvPr id="103" name="Grafika 102">
            <a:extLst>
              <a:ext uri="{FF2B5EF4-FFF2-40B4-BE49-F238E27FC236}">
                <a16:creationId xmlns:a16="http://schemas.microsoft.com/office/drawing/2014/main" id="{5F1420F4-F4F3-4973-9111-DD8E69A0A515}"/>
              </a:ext>
            </a:extLst>
          </p:cNvPr>
          <p:cNvPicPr>
            <a:picLocks noChangeAspect="1"/>
          </p:cNvPicPr>
          <p:nvPr/>
        </p:nvPicPr>
        <p:blipFill>
          <a:blip r:embed="rId16">
            <a:extLst>
              <a:ext uri="{96DAC541-7B7A-43D3-8B79-37D633B846F1}">
                <asvg:svgBlip xmlns:asvg="http://schemas.microsoft.com/office/drawing/2016/SVG/main" r:embed="rId17"/>
              </a:ext>
            </a:extLst>
          </a:blip>
          <a:srcRect/>
          <a:stretch/>
        </p:blipFill>
        <p:spPr>
          <a:xfrm>
            <a:off x="6018786" y="4858637"/>
            <a:ext cx="873910" cy="854490"/>
          </a:xfrm>
          <a:prstGeom prst="rect">
            <a:avLst/>
          </a:prstGeom>
        </p:spPr>
      </p:pic>
      <p:pic>
        <p:nvPicPr>
          <p:cNvPr id="105" name="Grafika 104">
            <a:extLst>
              <a:ext uri="{FF2B5EF4-FFF2-40B4-BE49-F238E27FC236}">
                <a16:creationId xmlns:a16="http://schemas.microsoft.com/office/drawing/2014/main" id="{DA4F54F6-85B3-40A9-8CEF-48857B6B0096}"/>
              </a:ext>
            </a:extLst>
          </p:cNvPr>
          <p:cNvPicPr>
            <a:picLocks noChangeAspect="1"/>
          </p:cNvPicPr>
          <p:nvPr/>
        </p:nvPicPr>
        <p:blipFill>
          <a:blip r:embed="rId18">
            <a:extLst>
              <a:ext uri="{96DAC541-7B7A-43D3-8B79-37D633B846F1}">
                <asvg:svgBlip xmlns:asvg="http://schemas.microsoft.com/office/drawing/2016/SVG/main" r:embed="rId19"/>
              </a:ext>
            </a:extLst>
          </a:blip>
          <a:srcRect/>
          <a:stretch/>
        </p:blipFill>
        <p:spPr>
          <a:xfrm>
            <a:off x="1015628" y="4889280"/>
            <a:ext cx="768162" cy="768162"/>
          </a:xfrm>
          <a:prstGeom prst="rect">
            <a:avLst/>
          </a:prstGeom>
        </p:spPr>
      </p:pic>
    </p:spTree>
    <p:extLst>
      <p:ext uri="{BB962C8B-B14F-4D97-AF65-F5344CB8AC3E}">
        <p14:creationId xmlns:p14="http://schemas.microsoft.com/office/powerpoint/2010/main" val="24167154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17D1B3-5635-7D3C-B139-EC9DE6A2BC43}"/>
            </a:ext>
          </a:extLst>
        </p:cNvPr>
        <p:cNvGrpSpPr/>
        <p:nvPr/>
      </p:nvGrpSpPr>
      <p:grpSpPr>
        <a:xfrm>
          <a:off x="0" y="0"/>
          <a:ext cx="0" cy="0"/>
          <a:chOff x="0" y="0"/>
          <a:chExt cx="0" cy="0"/>
        </a:xfrm>
      </p:grpSpPr>
      <p:sp>
        <p:nvSpPr>
          <p:cNvPr id="3" name="Symbol zastępczy stopki 2">
            <a:extLst>
              <a:ext uri="{FF2B5EF4-FFF2-40B4-BE49-F238E27FC236}">
                <a16:creationId xmlns:a16="http://schemas.microsoft.com/office/drawing/2014/main" id="{557E4A24-A3CC-235E-EA37-7F3D44E28ED3}"/>
              </a:ext>
            </a:extLst>
          </p:cNvPr>
          <p:cNvSpPr>
            <a:spLocks noGrp="1"/>
          </p:cNvSpPr>
          <p:nvPr>
            <p:ph type="ftr" sz="quarter" idx="11"/>
          </p:nvPr>
        </p:nvSpPr>
        <p:spPr bwMode="gray">
          <a:xfrm>
            <a:off x="-79487" y="5376200"/>
            <a:ext cx="180000" cy="135000"/>
          </a:xfrm>
          <a:prstGeom prst="rect">
            <a:avLst/>
          </a:prstGeom>
          <a:ln>
            <a:solidFill>
              <a:schemeClr val="tx1">
                <a:alpha val="0"/>
              </a:schemeClr>
            </a:solidFill>
          </a:ln>
        </p:spPr>
        <p:txBody>
          <a:bodyPr vert="horz" lIns="0" tIns="0" rIns="0" bIns="0" rtlCol="0" anchor="t" anchorCtr="0">
            <a:noAutofit/>
          </a:bodyPr>
          <a:lstStyle>
            <a:defPPr>
              <a:defRPr lang="pl-PL"/>
            </a:defPPr>
            <a:lvl1pPr marL="0" algn="l" defTabSz="350646" rtl="0" eaLnBrk="1" latinLnBrk="0" hangingPunct="1">
              <a:defRPr sz="600" kern="1200" cap="all" baseline="0">
                <a:solidFill>
                  <a:schemeClr val="tx1">
                    <a:alpha val="0"/>
                  </a:schemeClr>
                </a:solidFill>
                <a:latin typeface="+mn-lt"/>
                <a:ea typeface="+mn-ea"/>
                <a:cs typeface="+mn-cs"/>
              </a:defRPr>
            </a:lvl1pPr>
            <a:lvl2pPr marL="350646" algn="l" defTabSz="350646" rtl="0" eaLnBrk="1" latinLnBrk="0" hangingPunct="1">
              <a:defRPr sz="1351" kern="1200">
                <a:solidFill>
                  <a:schemeClr val="tx1"/>
                </a:solidFill>
                <a:latin typeface="+mn-lt"/>
                <a:ea typeface="+mn-ea"/>
                <a:cs typeface="+mn-cs"/>
              </a:defRPr>
            </a:lvl2pPr>
            <a:lvl3pPr marL="701292" algn="l" defTabSz="350646" rtl="0" eaLnBrk="1" latinLnBrk="0" hangingPunct="1">
              <a:defRPr sz="1351" kern="1200">
                <a:solidFill>
                  <a:schemeClr val="tx1"/>
                </a:solidFill>
                <a:latin typeface="+mn-lt"/>
                <a:ea typeface="+mn-ea"/>
                <a:cs typeface="+mn-cs"/>
              </a:defRPr>
            </a:lvl3pPr>
            <a:lvl4pPr marL="1051938" algn="l" defTabSz="350646" rtl="0" eaLnBrk="1" latinLnBrk="0" hangingPunct="1">
              <a:defRPr sz="1351" kern="1200">
                <a:solidFill>
                  <a:schemeClr val="tx1"/>
                </a:solidFill>
                <a:latin typeface="+mn-lt"/>
                <a:ea typeface="+mn-ea"/>
                <a:cs typeface="+mn-cs"/>
              </a:defRPr>
            </a:lvl4pPr>
            <a:lvl5pPr marL="1402584" algn="l" defTabSz="350646" rtl="0" eaLnBrk="1" latinLnBrk="0" hangingPunct="1">
              <a:defRPr sz="1351" kern="1200">
                <a:solidFill>
                  <a:schemeClr val="tx1"/>
                </a:solidFill>
                <a:latin typeface="+mn-lt"/>
                <a:ea typeface="+mn-ea"/>
                <a:cs typeface="+mn-cs"/>
              </a:defRPr>
            </a:lvl5pPr>
            <a:lvl6pPr marL="1753228" algn="l" defTabSz="350646" rtl="0" eaLnBrk="1" latinLnBrk="0" hangingPunct="1">
              <a:defRPr sz="1351" kern="1200">
                <a:solidFill>
                  <a:schemeClr val="tx1"/>
                </a:solidFill>
                <a:latin typeface="+mn-lt"/>
                <a:ea typeface="+mn-ea"/>
                <a:cs typeface="+mn-cs"/>
              </a:defRPr>
            </a:lvl6pPr>
            <a:lvl7pPr marL="2103874" algn="l" defTabSz="350646" rtl="0" eaLnBrk="1" latinLnBrk="0" hangingPunct="1">
              <a:defRPr sz="1351" kern="1200">
                <a:solidFill>
                  <a:schemeClr val="tx1"/>
                </a:solidFill>
                <a:latin typeface="+mn-lt"/>
                <a:ea typeface="+mn-ea"/>
                <a:cs typeface="+mn-cs"/>
              </a:defRPr>
            </a:lvl7pPr>
            <a:lvl8pPr marL="2454520" algn="l" defTabSz="350646" rtl="0" eaLnBrk="1" latinLnBrk="0" hangingPunct="1">
              <a:defRPr sz="1351" kern="1200">
                <a:solidFill>
                  <a:schemeClr val="tx1"/>
                </a:solidFill>
                <a:latin typeface="+mn-lt"/>
                <a:ea typeface="+mn-ea"/>
                <a:cs typeface="+mn-cs"/>
              </a:defRPr>
            </a:lvl8pPr>
            <a:lvl9pPr marL="2805167" algn="l" defTabSz="350646" rtl="0" eaLnBrk="1" latinLnBrk="0" hangingPunct="1">
              <a:defRPr sz="1351" kern="1200">
                <a:solidFill>
                  <a:schemeClr val="tx1"/>
                </a:solidFill>
                <a:latin typeface="+mn-lt"/>
                <a:ea typeface="+mn-ea"/>
                <a:cs typeface="+mn-cs"/>
              </a:defRPr>
            </a:lvl9pPr>
          </a:lstStyle>
          <a:p>
            <a:pPr marL="0" marR="0" lvl="0" indent="0" algn="l" defTabSz="350646" rtl="0" eaLnBrk="1" fontAlgn="auto" latinLnBrk="0" hangingPunct="1">
              <a:lnSpc>
                <a:spcPct val="100000"/>
              </a:lnSpc>
              <a:spcBef>
                <a:spcPts val="0"/>
              </a:spcBef>
              <a:spcAft>
                <a:spcPts val="0"/>
              </a:spcAft>
              <a:buClrTx/>
              <a:buSzTx/>
              <a:buFontTx/>
              <a:buNone/>
              <a:tabLst/>
              <a:defRPr/>
            </a:pPr>
            <a:endParaRPr kumimoji="0" lang="en-US" sz="667" b="0" i="0" u="none" strike="noStrike" kern="1200" cap="all" spc="0" normalizeH="0" baseline="0" noProof="0" dirty="0">
              <a:ln>
                <a:noFill/>
              </a:ln>
              <a:solidFill>
                <a:srgbClr val="000000">
                  <a:alpha val="0"/>
                </a:srgbClr>
              </a:solidFill>
              <a:effectLst/>
              <a:uLnTx/>
              <a:uFillTx/>
              <a:latin typeface="Arial"/>
              <a:ea typeface="+mn-ea"/>
              <a:cs typeface="+mn-cs"/>
            </a:endParaRPr>
          </a:p>
        </p:txBody>
      </p:sp>
      <p:sp>
        <p:nvSpPr>
          <p:cNvPr id="90" name="pole tekstowe 89">
            <a:extLst>
              <a:ext uri="{FF2B5EF4-FFF2-40B4-BE49-F238E27FC236}">
                <a16:creationId xmlns:a16="http://schemas.microsoft.com/office/drawing/2014/main" id="{25947D7C-D25F-7693-7850-657C803148EB}"/>
              </a:ext>
            </a:extLst>
          </p:cNvPr>
          <p:cNvSpPr txBox="1"/>
          <p:nvPr/>
        </p:nvSpPr>
        <p:spPr>
          <a:xfrm>
            <a:off x="2923628" y="1537573"/>
            <a:ext cx="938695" cy="379463"/>
          </a:xfrm>
          <a:prstGeom prst="rect">
            <a:avLst/>
          </a:prstGeom>
          <a:noFill/>
        </p:spPr>
        <p:txBody>
          <a:bodyPr wrap="square" rtlCol="0">
            <a:spAutoFit/>
          </a:bodyPr>
          <a:lstStyle/>
          <a:p>
            <a:pPr marL="0" marR="0" lvl="0" indent="0" algn="ctr" defTabSz="467539"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EXPORT </a:t>
            </a:r>
          </a:p>
          <a:p>
            <a:pPr marL="0" marR="0" lvl="0" indent="0" algn="ctr" defTabSz="467539"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TYPE</a:t>
            </a:r>
          </a:p>
        </p:txBody>
      </p:sp>
      <p:sp>
        <p:nvSpPr>
          <p:cNvPr id="91" name="pole tekstowe 90">
            <a:extLst>
              <a:ext uri="{FF2B5EF4-FFF2-40B4-BE49-F238E27FC236}">
                <a16:creationId xmlns:a16="http://schemas.microsoft.com/office/drawing/2014/main" id="{931A1453-AD65-F2CA-F104-42D65AE25366}"/>
              </a:ext>
            </a:extLst>
          </p:cNvPr>
          <p:cNvSpPr txBox="1"/>
          <p:nvPr/>
        </p:nvSpPr>
        <p:spPr>
          <a:xfrm>
            <a:off x="1960572" y="1545229"/>
            <a:ext cx="1056520" cy="379463"/>
          </a:xfrm>
          <a:prstGeom prst="rect">
            <a:avLst/>
          </a:prstGeom>
          <a:noFill/>
        </p:spPr>
        <p:txBody>
          <a:bodyPr wrap="square" rtlCol="0">
            <a:spAutoFit/>
          </a:bodyPr>
          <a:lstStyle/>
          <a:p>
            <a:pPr marL="0" marR="0" lvl="0" indent="0" algn="ctr" defTabSz="467539"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VG MONTHLY VOLUME</a:t>
            </a:r>
          </a:p>
        </p:txBody>
      </p:sp>
      <p:sp>
        <p:nvSpPr>
          <p:cNvPr id="92" name="pole tekstowe 91">
            <a:extLst>
              <a:ext uri="{FF2B5EF4-FFF2-40B4-BE49-F238E27FC236}">
                <a16:creationId xmlns:a16="http://schemas.microsoft.com/office/drawing/2014/main" id="{2822EAA3-2C65-6461-CCC5-7F8181DB92DC}"/>
              </a:ext>
            </a:extLst>
          </p:cNvPr>
          <p:cNvSpPr txBox="1"/>
          <p:nvPr/>
        </p:nvSpPr>
        <p:spPr>
          <a:xfrm>
            <a:off x="3801943" y="1536834"/>
            <a:ext cx="829703" cy="379463"/>
          </a:xfrm>
          <a:prstGeom prst="rect">
            <a:avLst/>
          </a:prstGeom>
          <a:noFill/>
        </p:spPr>
        <p:txBody>
          <a:bodyPr wrap="square" rtlCol="0">
            <a:spAutoFit/>
          </a:bodyPr>
          <a:lstStyle/>
          <a:p>
            <a:pPr marL="0" marR="0" lvl="0" indent="0" algn="ctr" defTabSz="467539"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ERSONA-LIZATION</a:t>
            </a:r>
          </a:p>
        </p:txBody>
      </p:sp>
      <p:sp>
        <p:nvSpPr>
          <p:cNvPr id="93" name="pole tekstowe 92">
            <a:extLst>
              <a:ext uri="{FF2B5EF4-FFF2-40B4-BE49-F238E27FC236}">
                <a16:creationId xmlns:a16="http://schemas.microsoft.com/office/drawing/2014/main" id="{D313C7AF-4E4E-B24A-8DD5-750905C01CBA}"/>
              </a:ext>
            </a:extLst>
          </p:cNvPr>
          <p:cNvSpPr txBox="1"/>
          <p:nvPr/>
        </p:nvSpPr>
        <p:spPr>
          <a:xfrm>
            <a:off x="4415525" y="1540251"/>
            <a:ext cx="1000981" cy="379463"/>
          </a:xfrm>
          <a:prstGeom prst="rect">
            <a:avLst/>
          </a:prstGeom>
          <a:noFill/>
        </p:spPr>
        <p:txBody>
          <a:bodyPr wrap="square" rtlCol="0">
            <a:spAutoFit/>
          </a:bodyPr>
          <a:lstStyle/>
          <a:p>
            <a:pPr marL="0" marR="0" lvl="0" indent="0" algn="ctr" defTabSz="467539"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UPDATE OF CONTENT</a:t>
            </a:r>
          </a:p>
        </p:txBody>
      </p:sp>
      <p:sp>
        <p:nvSpPr>
          <p:cNvPr id="94" name="pole tekstowe 93">
            <a:extLst>
              <a:ext uri="{FF2B5EF4-FFF2-40B4-BE49-F238E27FC236}">
                <a16:creationId xmlns:a16="http://schemas.microsoft.com/office/drawing/2014/main" id="{5C392450-8000-62E5-3B19-44DBA6160C30}"/>
              </a:ext>
            </a:extLst>
          </p:cNvPr>
          <p:cNvSpPr txBox="1"/>
          <p:nvPr/>
        </p:nvSpPr>
        <p:spPr>
          <a:xfrm>
            <a:off x="5135533" y="1584357"/>
            <a:ext cx="1000981" cy="235898"/>
          </a:xfrm>
          <a:prstGeom prst="rect">
            <a:avLst/>
          </a:prstGeom>
          <a:noFill/>
        </p:spPr>
        <p:txBody>
          <a:bodyPr wrap="square" rtlCol="0">
            <a:spAutoFit/>
          </a:bodyPr>
          <a:lstStyle/>
          <a:p>
            <a:pPr marL="0" marR="0" lvl="0" indent="0" algn="ctr" defTabSz="467539"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UDIENCE</a:t>
            </a:r>
          </a:p>
        </p:txBody>
      </p:sp>
      <p:grpSp>
        <p:nvGrpSpPr>
          <p:cNvPr id="112" name="Grupa 111">
            <a:extLst>
              <a:ext uri="{FF2B5EF4-FFF2-40B4-BE49-F238E27FC236}">
                <a16:creationId xmlns:a16="http://schemas.microsoft.com/office/drawing/2014/main" id="{F0C5DB8B-E93F-662B-E9CD-B1799DAF078D}"/>
              </a:ext>
            </a:extLst>
          </p:cNvPr>
          <p:cNvGrpSpPr/>
          <p:nvPr/>
        </p:nvGrpSpPr>
        <p:grpSpPr>
          <a:xfrm>
            <a:off x="376454" y="2640133"/>
            <a:ext cx="5640063" cy="696721"/>
            <a:chOff x="341953" y="969197"/>
            <a:chExt cx="4230047" cy="522541"/>
          </a:xfrm>
        </p:grpSpPr>
        <p:grpSp>
          <p:nvGrpSpPr>
            <p:cNvPr id="113" name="Grupa 112">
              <a:extLst>
                <a:ext uri="{FF2B5EF4-FFF2-40B4-BE49-F238E27FC236}">
                  <a16:creationId xmlns:a16="http://schemas.microsoft.com/office/drawing/2014/main" id="{69D0E33C-518E-D0E6-2A97-5A0B0F4AAA61}"/>
                </a:ext>
              </a:extLst>
            </p:cNvPr>
            <p:cNvGrpSpPr/>
            <p:nvPr/>
          </p:nvGrpSpPr>
          <p:grpSpPr>
            <a:xfrm>
              <a:off x="341953" y="969197"/>
              <a:ext cx="4230047" cy="522541"/>
              <a:chOff x="5292008" y="1971909"/>
              <a:chExt cx="7381979" cy="881139"/>
            </a:xfrm>
          </p:grpSpPr>
          <p:grpSp>
            <p:nvGrpSpPr>
              <p:cNvPr id="120" name="Group 66">
                <a:extLst>
                  <a:ext uri="{FF2B5EF4-FFF2-40B4-BE49-F238E27FC236}">
                    <a16:creationId xmlns:a16="http://schemas.microsoft.com/office/drawing/2014/main" id="{59514911-8F58-6754-CB57-766CEAFE9368}"/>
                  </a:ext>
                </a:extLst>
              </p:cNvPr>
              <p:cNvGrpSpPr/>
              <p:nvPr/>
            </p:nvGrpSpPr>
            <p:grpSpPr>
              <a:xfrm flipH="1">
                <a:off x="5292008" y="1971909"/>
                <a:ext cx="7381979" cy="881139"/>
                <a:chOff x="-357157" y="4543393"/>
                <a:chExt cx="8806928" cy="1051226"/>
              </a:xfrm>
            </p:grpSpPr>
            <p:sp>
              <p:nvSpPr>
                <p:cNvPr id="125" name="Rectangle 143">
                  <a:extLst>
                    <a:ext uri="{FF2B5EF4-FFF2-40B4-BE49-F238E27FC236}">
                      <a16:creationId xmlns:a16="http://schemas.microsoft.com/office/drawing/2014/main" id="{72931EC9-A42B-3E2F-EF8F-104E43A3863A}"/>
                    </a:ext>
                  </a:extLst>
                </p:cNvPr>
                <p:cNvSpPr/>
                <p:nvPr/>
              </p:nvSpPr>
              <p:spPr>
                <a:xfrm>
                  <a:off x="-357157" y="4725399"/>
                  <a:ext cx="8443381" cy="687217"/>
                </a:xfrm>
                <a:custGeom>
                  <a:avLst/>
                  <a:gdLst>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 name="connsiteX0" fmla="*/ 0 w 2263070"/>
                    <a:gd name="connsiteY0" fmla="*/ 0 h 687216"/>
                    <a:gd name="connsiteX1" fmla="*/ 2263070 w 2263070"/>
                    <a:gd name="connsiteY1" fmla="*/ 0 h 687216"/>
                    <a:gd name="connsiteX2" fmla="*/ 2084172 w 2263070"/>
                    <a:gd name="connsiteY2" fmla="*/ 362830 h 687216"/>
                    <a:gd name="connsiteX3" fmla="*/ 2263070 w 2263070"/>
                    <a:gd name="connsiteY3" fmla="*/ 687216 h 687216"/>
                    <a:gd name="connsiteX4" fmla="*/ 0 w 2263070"/>
                    <a:gd name="connsiteY4" fmla="*/ 687216 h 687216"/>
                    <a:gd name="connsiteX5" fmla="*/ 0 w 2263070"/>
                    <a:gd name="connsiteY5" fmla="*/ 0 h 687216"/>
                    <a:gd name="connsiteX0" fmla="*/ 0 w 2545953"/>
                    <a:gd name="connsiteY0" fmla="*/ 0 h 687216"/>
                    <a:gd name="connsiteX1" fmla="*/ 2263070 w 2545953"/>
                    <a:gd name="connsiteY1" fmla="*/ 0 h 687216"/>
                    <a:gd name="connsiteX2" fmla="*/ 2263070 w 2545953"/>
                    <a:gd name="connsiteY2" fmla="*/ 687216 h 687216"/>
                    <a:gd name="connsiteX3" fmla="*/ 0 w 2545953"/>
                    <a:gd name="connsiteY3" fmla="*/ 687216 h 687216"/>
                    <a:gd name="connsiteX4" fmla="*/ 0 w 2545953"/>
                    <a:gd name="connsiteY4" fmla="*/ 0 h 687216"/>
                    <a:gd name="connsiteX0" fmla="*/ 0 w 2406114"/>
                    <a:gd name="connsiteY0" fmla="*/ 0 h 687216"/>
                    <a:gd name="connsiteX1" fmla="*/ 2263070 w 2406114"/>
                    <a:gd name="connsiteY1" fmla="*/ 0 h 687216"/>
                    <a:gd name="connsiteX2" fmla="*/ 2263070 w 2406114"/>
                    <a:gd name="connsiteY2" fmla="*/ 687216 h 687216"/>
                    <a:gd name="connsiteX3" fmla="*/ 0 w 2406114"/>
                    <a:gd name="connsiteY3" fmla="*/ 687216 h 687216"/>
                    <a:gd name="connsiteX4" fmla="*/ 0 w 2406114"/>
                    <a:gd name="connsiteY4" fmla="*/ 0 h 687216"/>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3070" h="687216">
                      <a:moveTo>
                        <a:pt x="0" y="0"/>
                      </a:moveTo>
                      <a:lnTo>
                        <a:pt x="2263070" y="0"/>
                      </a:lnTo>
                      <a:cubicBezTo>
                        <a:pt x="2090180" y="109772"/>
                        <a:pt x="1973498" y="458379"/>
                        <a:pt x="2263070" y="687216"/>
                      </a:cubicBezTo>
                      <a:lnTo>
                        <a:pt x="0" y="687216"/>
                      </a:lnTo>
                      <a:lnTo>
                        <a:pt x="0" y="0"/>
                      </a:lnTo>
                      <a:close/>
                    </a:path>
                  </a:pathLst>
                </a:custGeom>
                <a:gradFill flip="none" rotWithShape="1">
                  <a:gsLst>
                    <a:gs pos="94200">
                      <a:schemeClr val="bg1"/>
                    </a:gs>
                    <a:gs pos="0">
                      <a:schemeClr val="bg1">
                        <a:lumMod val="65000"/>
                      </a:schemeClr>
                    </a:gs>
                    <a:gs pos="100000">
                      <a:schemeClr val="bg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27" name="Group 76">
                  <a:extLst>
                    <a:ext uri="{FF2B5EF4-FFF2-40B4-BE49-F238E27FC236}">
                      <a16:creationId xmlns:a16="http://schemas.microsoft.com/office/drawing/2014/main" id="{05F3E633-B256-CC05-3394-FB465C62EC81}"/>
                    </a:ext>
                  </a:extLst>
                </p:cNvPr>
                <p:cNvGrpSpPr/>
                <p:nvPr/>
              </p:nvGrpSpPr>
              <p:grpSpPr>
                <a:xfrm flipH="1">
                  <a:off x="7398543" y="4543393"/>
                  <a:ext cx="1051228" cy="1051226"/>
                  <a:chOff x="4396042" y="1286485"/>
                  <a:chExt cx="989390" cy="989390"/>
                </a:xfrm>
              </p:grpSpPr>
              <p:sp>
                <p:nvSpPr>
                  <p:cNvPr id="128" name="Donut 77">
                    <a:extLst>
                      <a:ext uri="{FF2B5EF4-FFF2-40B4-BE49-F238E27FC236}">
                        <a16:creationId xmlns:a16="http://schemas.microsoft.com/office/drawing/2014/main" id="{F703E724-7859-E6E1-B029-580AA15928E2}"/>
                      </a:ext>
                    </a:extLst>
                  </p:cNvPr>
                  <p:cNvSpPr/>
                  <p:nvPr/>
                </p:nvSpPr>
                <p:spPr>
                  <a:xfrm flipH="1">
                    <a:off x="4396042" y="1286485"/>
                    <a:ext cx="989390" cy="989390"/>
                  </a:xfrm>
                  <a:prstGeom prst="donut">
                    <a:avLst>
                      <a:gd name="adj" fmla="val 10135"/>
                    </a:avLst>
                  </a:prstGeom>
                  <a:solidFill>
                    <a:srgbClr val="00878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9" name="Oval 78">
                    <a:extLst>
                      <a:ext uri="{FF2B5EF4-FFF2-40B4-BE49-F238E27FC236}">
                        <a16:creationId xmlns:a16="http://schemas.microsoft.com/office/drawing/2014/main" id="{C2FAC4CE-2D31-D726-594A-2D6763F43512}"/>
                      </a:ext>
                    </a:extLst>
                  </p:cNvPr>
                  <p:cNvSpPr/>
                  <p:nvPr/>
                </p:nvSpPr>
                <p:spPr>
                  <a:xfrm flipH="1">
                    <a:off x="4550930" y="1432173"/>
                    <a:ext cx="679614" cy="679614"/>
                  </a:xfrm>
                  <a:prstGeom prst="ellipse">
                    <a:avLst/>
                  </a:prstGeom>
                  <a:solidFill>
                    <a:schemeClr val="bg1"/>
                  </a:solidFill>
                  <a:ln>
                    <a:solidFill>
                      <a:schemeClr val="bg1">
                        <a:lumMod val="95000"/>
                      </a:schemeClr>
                    </a:solidFill>
                  </a:ln>
                  <a:effectLst>
                    <a:outerShdw blurRad="508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sp>
            <p:nvSpPr>
              <p:cNvPr id="122" name="TextBox 39">
                <a:extLst>
                  <a:ext uri="{FF2B5EF4-FFF2-40B4-BE49-F238E27FC236}">
                    <a16:creationId xmlns:a16="http://schemas.microsoft.com/office/drawing/2014/main" id="{6EF5AD4F-DD78-C1E4-C50E-E851BA3A3790}"/>
                  </a:ext>
                </a:extLst>
              </p:cNvPr>
              <p:cNvSpPr txBox="1"/>
              <p:nvPr/>
            </p:nvSpPr>
            <p:spPr>
              <a:xfrm flipH="1">
                <a:off x="6053820" y="2250254"/>
                <a:ext cx="1417308" cy="324451"/>
              </a:xfrm>
              <a:prstGeom prst="rect">
                <a:avLst/>
              </a:prstGeom>
              <a:noFill/>
            </p:spPr>
            <p:txBody>
              <a:bodyPr wrap="square" rtlCol="0" anchor="ctr">
                <a:sp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eMail</a:t>
                </a:r>
                <a:endParaRPr kumimoji="0" lang="en-US" sz="1067"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grpSp>
          <p:nvGrpSpPr>
            <p:cNvPr id="114" name="Grupa 113">
              <a:extLst>
                <a:ext uri="{FF2B5EF4-FFF2-40B4-BE49-F238E27FC236}">
                  <a16:creationId xmlns:a16="http://schemas.microsoft.com/office/drawing/2014/main" id="{E3A4623F-1BDA-2E93-9BC7-52D75BFB4A15}"/>
                </a:ext>
              </a:extLst>
            </p:cNvPr>
            <p:cNvGrpSpPr/>
            <p:nvPr/>
          </p:nvGrpSpPr>
          <p:grpSpPr>
            <a:xfrm>
              <a:off x="1511966" y="1063183"/>
              <a:ext cx="1449362" cy="315567"/>
              <a:chOff x="7952504" y="1404209"/>
              <a:chExt cx="1954469" cy="300835"/>
            </a:xfrm>
          </p:grpSpPr>
          <p:sp>
            <p:nvSpPr>
              <p:cNvPr id="118" name="pole tekstowe 117">
                <a:extLst>
                  <a:ext uri="{FF2B5EF4-FFF2-40B4-BE49-F238E27FC236}">
                    <a16:creationId xmlns:a16="http://schemas.microsoft.com/office/drawing/2014/main" id="{BE9E493D-77EF-A09D-FE51-D96FC936507B}"/>
                  </a:ext>
                </a:extLst>
              </p:cNvPr>
              <p:cNvSpPr txBox="1"/>
              <p:nvPr/>
            </p:nvSpPr>
            <p:spPr>
              <a:xfrm>
                <a:off x="8959322" y="1404209"/>
                <a:ext cx="947651" cy="300835"/>
              </a:xfrm>
              <a:prstGeom prst="rect">
                <a:avLst/>
              </a:prstGeom>
              <a:noFill/>
            </p:spPr>
            <p:txBody>
              <a:bodyPr wrap="square" rtlCol="0">
                <a:spAutoFit/>
              </a:bodyPr>
              <a:lstStyle/>
              <a:p>
                <a:pPr marL="0" marR="0" lvl="0" indent="0" algn="ctr" defTabSz="467539"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NEAR</a:t>
                </a:r>
                <a:br>
                  <a:rPr kumimoji="0" lang="en-US" sz="1067"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br>
                <a:r>
                  <a:rPr kumimoji="0" lang="en-US" sz="1067"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REAL TIME</a:t>
                </a:r>
              </a:p>
            </p:txBody>
          </p:sp>
          <p:sp>
            <p:nvSpPr>
              <p:cNvPr id="119" name="pole tekstowe 118">
                <a:extLst>
                  <a:ext uri="{FF2B5EF4-FFF2-40B4-BE49-F238E27FC236}">
                    <a16:creationId xmlns:a16="http://schemas.microsoft.com/office/drawing/2014/main" id="{250ED8C7-20E5-1B3A-525B-8661972D83CD}"/>
                  </a:ext>
                </a:extLst>
              </p:cNvPr>
              <p:cNvSpPr txBox="1"/>
              <p:nvPr/>
            </p:nvSpPr>
            <p:spPr>
              <a:xfrm>
                <a:off x="7952504" y="1460535"/>
                <a:ext cx="1053745" cy="183427"/>
              </a:xfrm>
              <a:prstGeom prst="rect">
                <a:avLst/>
              </a:prstGeom>
              <a:noFill/>
            </p:spPr>
            <p:txBody>
              <a:bodyPr wrap="square" rtlCol="0">
                <a:spAutoFit/>
              </a:bodyPr>
              <a:lstStyle/>
              <a:p>
                <a:pPr marL="0" marR="0" lvl="0" indent="0" algn="ctr" defTabSz="467539" rtl="0" eaLnBrk="1" fontAlgn="auto" latinLnBrk="0" hangingPunct="1">
                  <a:lnSpc>
                    <a:spcPct val="100000"/>
                  </a:lnSpc>
                  <a:spcBef>
                    <a:spcPts val="0"/>
                  </a:spcBef>
                  <a:spcAft>
                    <a:spcPts val="0"/>
                  </a:spcAft>
                  <a:buClrTx/>
                  <a:buSzTx/>
                  <a:buFontTx/>
                  <a:buNone/>
                  <a:tabLst/>
                  <a:defRPr/>
                </a:pPr>
                <a:r>
                  <a:rPr kumimoji="0" lang="pl-PL" sz="1067"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37 779</a:t>
                </a:r>
              </a:p>
            </p:txBody>
          </p:sp>
        </p:grpSp>
        <p:sp>
          <p:nvSpPr>
            <p:cNvPr id="115" name="Owal 114">
              <a:extLst>
                <a:ext uri="{FF2B5EF4-FFF2-40B4-BE49-F238E27FC236}">
                  <a16:creationId xmlns:a16="http://schemas.microsoft.com/office/drawing/2014/main" id="{D7ECAAD4-68E1-088C-183A-CD9BEA2C90C0}"/>
                </a:ext>
              </a:extLst>
            </p:cNvPr>
            <p:cNvSpPr/>
            <p:nvPr/>
          </p:nvSpPr>
          <p:spPr>
            <a:xfrm>
              <a:off x="3133774" y="1171702"/>
              <a:ext cx="133481" cy="135000"/>
            </a:xfrm>
            <a:prstGeom prst="ellipse">
              <a:avLst/>
            </a:prstGeom>
            <a:solidFill>
              <a:srgbClr val="92D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467539"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FFFFFF"/>
                </a:solidFill>
                <a:effectLst/>
                <a:uLnTx/>
                <a:uFillTx/>
                <a:latin typeface="Arial"/>
                <a:ea typeface="+mn-ea"/>
                <a:cs typeface="+mn-cs"/>
              </a:endParaRPr>
            </a:p>
          </p:txBody>
        </p:sp>
        <p:sp>
          <p:nvSpPr>
            <p:cNvPr id="116" name="Owal 115">
              <a:extLst>
                <a:ext uri="{FF2B5EF4-FFF2-40B4-BE49-F238E27FC236}">
                  <a16:creationId xmlns:a16="http://schemas.microsoft.com/office/drawing/2014/main" id="{E15A5931-2098-1464-2CDE-0F7CA00BF61E}"/>
                </a:ext>
              </a:extLst>
            </p:cNvPr>
            <p:cNvSpPr/>
            <p:nvPr/>
          </p:nvSpPr>
          <p:spPr>
            <a:xfrm>
              <a:off x="3663180" y="1169283"/>
              <a:ext cx="133481" cy="135000"/>
            </a:xfrm>
            <a:prstGeom prst="ellipse">
              <a:avLst/>
            </a:prstGeom>
            <a:solidFill>
              <a:srgbClr val="FF00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467539"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156" name="Grupa 155">
            <a:extLst>
              <a:ext uri="{FF2B5EF4-FFF2-40B4-BE49-F238E27FC236}">
                <a16:creationId xmlns:a16="http://schemas.microsoft.com/office/drawing/2014/main" id="{755D4D7C-ACF3-1AD0-6F26-D04D9FE98EC3}"/>
              </a:ext>
            </a:extLst>
          </p:cNvPr>
          <p:cNvGrpSpPr/>
          <p:nvPr/>
        </p:nvGrpSpPr>
        <p:grpSpPr>
          <a:xfrm>
            <a:off x="376454" y="3360141"/>
            <a:ext cx="5640063" cy="696722"/>
            <a:chOff x="341953" y="969197"/>
            <a:chExt cx="4230047" cy="522541"/>
          </a:xfrm>
        </p:grpSpPr>
        <p:grpSp>
          <p:nvGrpSpPr>
            <p:cNvPr id="157" name="Grupa 156">
              <a:extLst>
                <a:ext uri="{FF2B5EF4-FFF2-40B4-BE49-F238E27FC236}">
                  <a16:creationId xmlns:a16="http://schemas.microsoft.com/office/drawing/2014/main" id="{7EEE0999-BEA4-B869-777C-FBE8A3C2555F}"/>
                </a:ext>
              </a:extLst>
            </p:cNvPr>
            <p:cNvGrpSpPr/>
            <p:nvPr/>
          </p:nvGrpSpPr>
          <p:grpSpPr>
            <a:xfrm>
              <a:off x="341953" y="969197"/>
              <a:ext cx="4230047" cy="522541"/>
              <a:chOff x="5292008" y="1971909"/>
              <a:chExt cx="7381979" cy="881139"/>
            </a:xfrm>
          </p:grpSpPr>
          <p:grpSp>
            <p:nvGrpSpPr>
              <p:cNvPr id="174" name="Group 66">
                <a:extLst>
                  <a:ext uri="{FF2B5EF4-FFF2-40B4-BE49-F238E27FC236}">
                    <a16:creationId xmlns:a16="http://schemas.microsoft.com/office/drawing/2014/main" id="{CCFB21DA-D260-5CC7-D636-D5D351DEF111}"/>
                  </a:ext>
                </a:extLst>
              </p:cNvPr>
              <p:cNvGrpSpPr/>
              <p:nvPr/>
            </p:nvGrpSpPr>
            <p:grpSpPr>
              <a:xfrm flipH="1">
                <a:off x="5292008" y="1971909"/>
                <a:ext cx="7381979" cy="881139"/>
                <a:chOff x="-357157" y="4543393"/>
                <a:chExt cx="8806928" cy="1051226"/>
              </a:xfrm>
            </p:grpSpPr>
            <p:sp>
              <p:nvSpPr>
                <p:cNvPr id="178" name="Rectangle 143">
                  <a:extLst>
                    <a:ext uri="{FF2B5EF4-FFF2-40B4-BE49-F238E27FC236}">
                      <a16:creationId xmlns:a16="http://schemas.microsoft.com/office/drawing/2014/main" id="{4D1E0FA8-CF9A-E326-3141-A833958A4FF2}"/>
                    </a:ext>
                  </a:extLst>
                </p:cNvPr>
                <p:cNvSpPr/>
                <p:nvPr/>
              </p:nvSpPr>
              <p:spPr>
                <a:xfrm>
                  <a:off x="-357157" y="4725399"/>
                  <a:ext cx="8443381" cy="687217"/>
                </a:xfrm>
                <a:custGeom>
                  <a:avLst/>
                  <a:gdLst>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 name="connsiteX0" fmla="*/ 0 w 2263070"/>
                    <a:gd name="connsiteY0" fmla="*/ 0 h 687216"/>
                    <a:gd name="connsiteX1" fmla="*/ 2263070 w 2263070"/>
                    <a:gd name="connsiteY1" fmla="*/ 0 h 687216"/>
                    <a:gd name="connsiteX2" fmla="*/ 2084172 w 2263070"/>
                    <a:gd name="connsiteY2" fmla="*/ 362830 h 687216"/>
                    <a:gd name="connsiteX3" fmla="*/ 2263070 w 2263070"/>
                    <a:gd name="connsiteY3" fmla="*/ 687216 h 687216"/>
                    <a:gd name="connsiteX4" fmla="*/ 0 w 2263070"/>
                    <a:gd name="connsiteY4" fmla="*/ 687216 h 687216"/>
                    <a:gd name="connsiteX5" fmla="*/ 0 w 2263070"/>
                    <a:gd name="connsiteY5" fmla="*/ 0 h 687216"/>
                    <a:gd name="connsiteX0" fmla="*/ 0 w 2545953"/>
                    <a:gd name="connsiteY0" fmla="*/ 0 h 687216"/>
                    <a:gd name="connsiteX1" fmla="*/ 2263070 w 2545953"/>
                    <a:gd name="connsiteY1" fmla="*/ 0 h 687216"/>
                    <a:gd name="connsiteX2" fmla="*/ 2263070 w 2545953"/>
                    <a:gd name="connsiteY2" fmla="*/ 687216 h 687216"/>
                    <a:gd name="connsiteX3" fmla="*/ 0 w 2545953"/>
                    <a:gd name="connsiteY3" fmla="*/ 687216 h 687216"/>
                    <a:gd name="connsiteX4" fmla="*/ 0 w 2545953"/>
                    <a:gd name="connsiteY4" fmla="*/ 0 h 687216"/>
                    <a:gd name="connsiteX0" fmla="*/ 0 w 2406114"/>
                    <a:gd name="connsiteY0" fmla="*/ 0 h 687216"/>
                    <a:gd name="connsiteX1" fmla="*/ 2263070 w 2406114"/>
                    <a:gd name="connsiteY1" fmla="*/ 0 h 687216"/>
                    <a:gd name="connsiteX2" fmla="*/ 2263070 w 2406114"/>
                    <a:gd name="connsiteY2" fmla="*/ 687216 h 687216"/>
                    <a:gd name="connsiteX3" fmla="*/ 0 w 2406114"/>
                    <a:gd name="connsiteY3" fmla="*/ 687216 h 687216"/>
                    <a:gd name="connsiteX4" fmla="*/ 0 w 2406114"/>
                    <a:gd name="connsiteY4" fmla="*/ 0 h 687216"/>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3070" h="687216">
                      <a:moveTo>
                        <a:pt x="0" y="0"/>
                      </a:moveTo>
                      <a:lnTo>
                        <a:pt x="2263070" y="0"/>
                      </a:lnTo>
                      <a:cubicBezTo>
                        <a:pt x="2090180" y="109772"/>
                        <a:pt x="1973498" y="458379"/>
                        <a:pt x="2263070" y="687216"/>
                      </a:cubicBezTo>
                      <a:lnTo>
                        <a:pt x="0" y="687216"/>
                      </a:lnTo>
                      <a:lnTo>
                        <a:pt x="0" y="0"/>
                      </a:lnTo>
                      <a:close/>
                    </a:path>
                  </a:pathLst>
                </a:custGeom>
                <a:gradFill flip="none" rotWithShape="1">
                  <a:gsLst>
                    <a:gs pos="94200">
                      <a:schemeClr val="bg1"/>
                    </a:gs>
                    <a:gs pos="0">
                      <a:schemeClr val="bg1">
                        <a:lumMod val="65000"/>
                      </a:schemeClr>
                    </a:gs>
                    <a:gs pos="100000">
                      <a:schemeClr val="bg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79" name="Group 76">
                  <a:extLst>
                    <a:ext uri="{FF2B5EF4-FFF2-40B4-BE49-F238E27FC236}">
                      <a16:creationId xmlns:a16="http://schemas.microsoft.com/office/drawing/2014/main" id="{B6883337-3684-E602-AAA4-A50234F14A01}"/>
                    </a:ext>
                  </a:extLst>
                </p:cNvPr>
                <p:cNvGrpSpPr/>
                <p:nvPr/>
              </p:nvGrpSpPr>
              <p:grpSpPr>
                <a:xfrm flipH="1">
                  <a:off x="7398543" y="4543393"/>
                  <a:ext cx="1051228" cy="1051226"/>
                  <a:chOff x="4396042" y="1286485"/>
                  <a:chExt cx="989390" cy="989390"/>
                </a:xfrm>
              </p:grpSpPr>
              <p:sp>
                <p:nvSpPr>
                  <p:cNvPr id="181" name="Donut 77">
                    <a:extLst>
                      <a:ext uri="{FF2B5EF4-FFF2-40B4-BE49-F238E27FC236}">
                        <a16:creationId xmlns:a16="http://schemas.microsoft.com/office/drawing/2014/main" id="{01192702-8E7F-4190-D232-2CFE5BB88994}"/>
                      </a:ext>
                    </a:extLst>
                  </p:cNvPr>
                  <p:cNvSpPr/>
                  <p:nvPr/>
                </p:nvSpPr>
                <p:spPr>
                  <a:xfrm flipH="1">
                    <a:off x="4396042" y="1286485"/>
                    <a:ext cx="989390" cy="989390"/>
                  </a:xfrm>
                  <a:prstGeom prst="donut">
                    <a:avLst>
                      <a:gd name="adj" fmla="val 10135"/>
                    </a:avLst>
                  </a:prstGeom>
                  <a:solidFill>
                    <a:srgbClr val="00878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4" name="Oval 78">
                    <a:extLst>
                      <a:ext uri="{FF2B5EF4-FFF2-40B4-BE49-F238E27FC236}">
                        <a16:creationId xmlns:a16="http://schemas.microsoft.com/office/drawing/2014/main" id="{15D3D8BE-8CE2-FCF8-DE3C-DD79A668D8CA}"/>
                      </a:ext>
                    </a:extLst>
                  </p:cNvPr>
                  <p:cNvSpPr/>
                  <p:nvPr/>
                </p:nvSpPr>
                <p:spPr>
                  <a:xfrm flipH="1">
                    <a:off x="4550930" y="1432173"/>
                    <a:ext cx="679614" cy="679614"/>
                  </a:xfrm>
                  <a:prstGeom prst="ellipse">
                    <a:avLst/>
                  </a:prstGeom>
                  <a:solidFill>
                    <a:schemeClr val="bg1"/>
                  </a:solidFill>
                  <a:ln>
                    <a:solidFill>
                      <a:schemeClr val="bg1">
                        <a:lumMod val="95000"/>
                      </a:schemeClr>
                    </a:solidFill>
                  </a:ln>
                  <a:effectLst>
                    <a:outerShdw blurRad="508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sp>
            <p:nvSpPr>
              <p:cNvPr id="177" name="TextBox 39">
                <a:extLst>
                  <a:ext uri="{FF2B5EF4-FFF2-40B4-BE49-F238E27FC236}">
                    <a16:creationId xmlns:a16="http://schemas.microsoft.com/office/drawing/2014/main" id="{3A1C65EF-862F-2B1C-4C1A-7B57A45CE4F6}"/>
                  </a:ext>
                </a:extLst>
              </p:cNvPr>
              <p:cNvSpPr txBox="1"/>
              <p:nvPr/>
            </p:nvSpPr>
            <p:spPr>
              <a:xfrm flipH="1">
                <a:off x="6053824" y="2250254"/>
                <a:ext cx="1367523" cy="324451"/>
              </a:xfrm>
              <a:prstGeom prst="rect">
                <a:avLst/>
              </a:prstGeom>
              <a:noFill/>
            </p:spPr>
            <p:txBody>
              <a:bodyPr wrap="square" rtlCol="0" anchor="ctr">
                <a:sp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C </a:t>
                </a:r>
                <a:r>
                  <a:rPr kumimoji="0" lang="pl-PL" sz="1067" b="1"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Genesys</a:t>
                </a:r>
                <a:endParaRPr kumimoji="0" lang="en-US" sz="1067"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grpSp>
          <p:nvGrpSpPr>
            <p:cNvPr id="158" name="Grupa 157">
              <a:extLst>
                <a:ext uri="{FF2B5EF4-FFF2-40B4-BE49-F238E27FC236}">
                  <a16:creationId xmlns:a16="http://schemas.microsoft.com/office/drawing/2014/main" id="{58B92D7F-AE01-1AD4-07B3-6F457D30B610}"/>
                </a:ext>
              </a:extLst>
            </p:cNvPr>
            <p:cNvGrpSpPr/>
            <p:nvPr/>
          </p:nvGrpSpPr>
          <p:grpSpPr>
            <a:xfrm>
              <a:off x="1511966" y="1072954"/>
              <a:ext cx="1449362" cy="315567"/>
              <a:chOff x="7952504" y="1413515"/>
              <a:chExt cx="1954469" cy="300833"/>
            </a:xfrm>
          </p:grpSpPr>
          <p:sp>
            <p:nvSpPr>
              <p:cNvPr id="170" name="pole tekstowe 169">
                <a:extLst>
                  <a:ext uri="{FF2B5EF4-FFF2-40B4-BE49-F238E27FC236}">
                    <a16:creationId xmlns:a16="http://schemas.microsoft.com/office/drawing/2014/main" id="{DA92D5F2-76FB-DD16-2AC3-3A7218FB116C}"/>
                  </a:ext>
                </a:extLst>
              </p:cNvPr>
              <p:cNvSpPr txBox="1"/>
              <p:nvPr/>
            </p:nvSpPr>
            <p:spPr>
              <a:xfrm>
                <a:off x="8959322" y="1413515"/>
                <a:ext cx="947651" cy="300833"/>
              </a:xfrm>
              <a:prstGeom prst="rect">
                <a:avLst/>
              </a:prstGeom>
              <a:noFill/>
            </p:spPr>
            <p:txBody>
              <a:bodyPr wrap="square" rtlCol="0">
                <a:spAutoFit/>
              </a:bodyPr>
              <a:lstStyle/>
              <a:p>
                <a:pPr marL="0" marR="0" lvl="0" indent="0" algn="ctr" defTabSz="467539" rtl="0" eaLnBrk="1" fontAlgn="auto" latinLnBrk="0" hangingPunct="1">
                  <a:lnSpc>
                    <a:spcPct val="100000"/>
                  </a:lnSpc>
                  <a:spcBef>
                    <a:spcPts val="0"/>
                  </a:spcBef>
                  <a:spcAft>
                    <a:spcPts val="0"/>
                  </a:spcAft>
                  <a:buClrTx/>
                  <a:buSzTx/>
                  <a:buFontTx/>
                  <a:buNone/>
                  <a:tabLst/>
                  <a:defRPr/>
                </a:pPr>
                <a:r>
                  <a:rPr kumimoji="0" lang="pl-PL" sz="1067"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NEAR</a:t>
                </a:r>
              </a:p>
              <a:p>
                <a:pPr marL="0" marR="0" lvl="0" indent="0" algn="ctr" defTabSz="467539" rtl="0" eaLnBrk="1" fontAlgn="auto" latinLnBrk="0" hangingPunct="1">
                  <a:lnSpc>
                    <a:spcPct val="100000"/>
                  </a:lnSpc>
                  <a:spcBef>
                    <a:spcPts val="0"/>
                  </a:spcBef>
                  <a:spcAft>
                    <a:spcPts val="0"/>
                  </a:spcAft>
                  <a:buClrTx/>
                  <a:buSzTx/>
                  <a:buFontTx/>
                  <a:buNone/>
                  <a:tabLst/>
                  <a:defRPr/>
                </a:pPr>
                <a:r>
                  <a:rPr kumimoji="0" lang="pl-PL" sz="1067"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REAL TIME</a:t>
                </a:r>
                <a:endParaRPr kumimoji="0" lang="en-US" sz="1067"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73" name="pole tekstowe 172">
                <a:extLst>
                  <a:ext uri="{FF2B5EF4-FFF2-40B4-BE49-F238E27FC236}">
                    <a16:creationId xmlns:a16="http://schemas.microsoft.com/office/drawing/2014/main" id="{B69F7AEC-6DA6-CBA2-CB30-FD0104D6C938}"/>
                  </a:ext>
                </a:extLst>
              </p:cNvPr>
              <p:cNvSpPr txBox="1"/>
              <p:nvPr/>
            </p:nvSpPr>
            <p:spPr>
              <a:xfrm>
                <a:off x="7952504" y="1460535"/>
                <a:ext cx="1053745" cy="183425"/>
              </a:xfrm>
              <a:prstGeom prst="rect">
                <a:avLst/>
              </a:prstGeom>
              <a:noFill/>
            </p:spPr>
            <p:txBody>
              <a:bodyPr wrap="square" rtlCol="0">
                <a:spAutoFit/>
              </a:bodyPr>
              <a:lstStyle/>
              <a:p>
                <a:pPr marL="0" marR="0" lvl="0" indent="0" algn="ctr" defTabSz="467539" rtl="0" eaLnBrk="1" fontAlgn="auto" latinLnBrk="0" hangingPunct="1">
                  <a:lnSpc>
                    <a:spcPct val="100000"/>
                  </a:lnSpc>
                  <a:spcBef>
                    <a:spcPts val="0"/>
                  </a:spcBef>
                  <a:spcAft>
                    <a:spcPts val="0"/>
                  </a:spcAft>
                  <a:buClrTx/>
                  <a:buSzTx/>
                  <a:buFontTx/>
                  <a:buNone/>
                  <a:tabLst/>
                  <a:defRPr/>
                </a:pPr>
                <a:r>
                  <a:rPr kumimoji="0" lang="pl-PL" sz="1067"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529</a:t>
                </a:r>
              </a:p>
            </p:txBody>
          </p:sp>
        </p:grpSp>
        <p:sp>
          <p:nvSpPr>
            <p:cNvPr id="159" name="Owal 158">
              <a:extLst>
                <a:ext uri="{FF2B5EF4-FFF2-40B4-BE49-F238E27FC236}">
                  <a16:creationId xmlns:a16="http://schemas.microsoft.com/office/drawing/2014/main" id="{974A18C3-1138-EA56-7EB4-64E563E9F5BB}"/>
                </a:ext>
              </a:extLst>
            </p:cNvPr>
            <p:cNvSpPr/>
            <p:nvPr/>
          </p:nvSpPr>
          <p:spPr>
            <a:xfrm>
              <a:off x="3133774" y="1171702"/>
              <a:ext cx="133481" cy="135000"/>
            </a:xfrm>
            <a:prstGeom prst="ellipse">
              <a:avLst/>
            </a:prstGeom>
            <a:solidFill>
              <a:srgbClr val="92D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467539"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FFFFFF"/>
                </a:solidFill>
                <a:effectLst/>
                <a:uLnTx/>
                <a:uFillTx/>
                <a:latin typeface="Arial"/>
                <a:ea typeface="+mn-ea"/>
                <a:cs typeface="+mn-cs"/>
              </a:endParaRPr>
            </a:p>
          </p:txBody>
        </p:sp>
        <p:sp>
          <p:nvSpPr>
            <p:cNvPr id="160" name="Owal 159">
              <a:extLst>
                <a:ext uri="{FF2B5EF4-FFF2-40B4-BE49-F238E27FC236}">
                  <a16:creationId xmlns:a16="http://schemas.microsoft.com/office/drawing/2014/main" id="{A5B81C15-F3B8-ED8C-E383-F7D358652D9E}"/>
                </a:ext>
              </a:extLst>
            </p:cNvPr>
            <p:cNvSpPr/>
            <p:nvPr/>
          </p:nvSpPr>
          <p:spPr>
            <a:xfrm>
              <a:off x="3663180" y="1169283"/>
              <a:ext cx="133481" cy="135000"/>
            </a:xfrm>
            <a:prstGeom prst="ellipse">
              <a:avLst/>
            </a:prstGeom>
            <a:solidFill>
              <a:srgbClr val="92D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467539"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185" name="Grupa 184">
            <a:extLst>
              <a:ext uri="{FF2B5EF4-FFF2-40B4-BE49-F238E27FC236}">
                <a16:creationId xmlns:a16="http://schemas.microsoft.com/office/drawing/2014/main" id="{611E346C-414B-D6F1-49AB-0F43D75C07BB}"/>
              </a:ext>
            </a:extLst>
          </p:cNvPr>
          <p:cNvGrpSpPr/>
          <p:nvPr/>
        </p:nvGrpSpPr>
        <p:grpSpPr>
          <a:xfrm>
            <a:off x="376454" y="4080152"/>
            <a:ext cx="5640063" cy="696721"/>
            <a:chOff x="341953" y="969197"/>
            <a:chExt cx="4230047" cy="522541"/>
          </a:xfrm>
        </p:grpSpPr>
        <p:grpSp>
          <p:nvGrpSpPr>
            <p:cNvPr id="188" name="Grupa 187">
              <a:extLst>
                <a:ext uri="{FF2B5EF4-FFF2-40B4-BE49-F238E27FC236}">
                  <a16:creationId xmlns:a16="http://schemas.microsoft.com/office/drawing/2014/main" id="{D85470CD-B3A1-1511-3DB2-DEE273BF1984}"/>
                </a:ext>
              </a:extLst>
            </p:cNvPr>
            <p:cNvGrpSpPr/>
            <p:nvPr/>
          </p:nvGrpSpPr>
          <p:grpSpPr>
            <a:xfrm>
              <a:off x="341953" y="969197"/>
              <a:ext cx="4230047" cy="522541"/>
              <a:chOff x="5292008" y="1971909"/>
              <a:chExt cx="7381979" cy="881139"/>
            </a:xfrm>
          </p:grpSpPr>
          <p:grpSp>
            <p:nvGrpSpPr>
              <p:cNvPr id="199" name="Group 66">
                <a:extLst>
                  <a:ext uri="{FF2B5EF4-FFF2-40B4-BE49-F238E27FC236}">
                    <a16:creationId xmlns:a16="http://schemas.microsoft.com/office/drawing/2014/main" id="{AC6470C1-9C3B-F471-ED0C-B69588CC9DB5}"/>
                  </a:ext>
                </a:extLst>
              </p:cNvPr>
              <p:cNvGrpSpPr/>
              <p:nvPr/>
            </p:nvGrpSpPr>
            <p:grpSpPr>
              <a:xfrm flipH="1">
                <a:off x="5292008" y="1971909"/>
                <a:ext cx="7381979" cy="881139"/>
                <a:chOff x="-357157" y="4543393"/>
                <a:chExt cx="8806928" cy="1051226"/>
              </a:xfrm>
            </p:grpSpPr>
            <p:sp>
              <p:nvSpPr>
                <p:cNvPr id="201" name="Rectangle 143">
                  <a:extLst>
                    <a:ext uri="{FF2B5EF4-FFF2-40B4-BE49-F238E27FC236}">
                      <a16:creationId xmlns:a16="http://schemas.microsoft.com/office/drawing/2014/main" id="{4F6DF5A2-E5C0-2BF3-C244-667057211DA2}"/>
                    </a:ext>
                  </a:extLst>
                </p:cNvPr>
                <p:cNvSpPr/>
                <p:nvPr/>
              </p:nvSpPr>
              <p:spPr>
                <a:xfrm>
                  <a:off x="-357157" y="4725399"/>
                  <a:ext cx="8443381" cy="687217"/>
                </a:xfrm>
                <a:custGeom>
                  <a:avLst/>
                  <a:gdLst>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 name="connsiteX0" fmla="*/ 0 w 2263070"/>
                    <a:gd name="connsiteY0" fmla="*/ 0 h 687216"/>
                    <a:gd name="connsiteX1" fmla="*/ 2263070 w 2263070"/>
                    <a:gd name="connsiteY1" fmla="*/ 0 h 687216"/>
                    <a:gd name="connsiteX2" fmla="*/ 2084172 w 2263070"/>
                    <a:gd name="connsiteY2" fmla="*/ 362830 h 687216"/>
                    <a:gd name="connsiteX3" fmla="*/ 2263070 w 2263070"/>
                    <a:gd name="connsiteY3" fmla="*/ 687216 h 687216"/>
                    <a:gd name="connsiteX4" fmla="*/ 0 w 2263070"/>
                    <a:gd name="connsiteY4" fmla="*/ 687216 h 687216"/>
                    <a:gd name="connsiteX5" fmla="*/ 0 w 2263070"/>
                    <a:gd name="connsiteY5" fmla="*/ 0 h 687216"/>
                    <a:gd name="connsiteX0" fmla="*/ 0 w 2545953"/>
                    <a:gd name="connsiteY0" fmla="*/ 0 h 687216"/>
                    <a:gd name="connsiteX1" fmla="*/ 2263070 w 2545953"/>
                    <a:gd name="connsiteY1" fmla="*/ 0 h 687216"/>
                    <a:gd name="connsiteX2" fmla="*/ 2263070 w 2545953"/>
                    <a:gd name="connsiteY2" fmla="*/ 687216 h 687216"/>
                    <a:gd name="connsiteX3" fmla="*/ 0 w 2545953"/>
                    <a:gd name="connsiteY3" fmla="*/ 687216 h 687216"/>
                    <a:gd name="connsiteX4" fmla="*/ 0 w 2545953"/>
                    <a:gd name="connsiteY4" fmla="*/ 0 h 687216"/>
                    <a:gd name="connsiteX0" fmla="*/ 0 w 2406114"/>
                    <a:gd name="connsiteY0" fmla="*/ 0 h 687216"/>
                    <a:gd name="connsiteX1" fmla="*/ 2263070 w 2406114"/>
                    <a:gd name="connsiteY1" fmla="*/ 0 h 687216"/>
                    <a:gd name="connsiteX2" fmla="*/ 2263070 w 2406114"/>
                    <a:gd name="connsiteY2" fmla="*/ 687216 h 687216"/>
                    <a:gd name="connsiteX3" fmla="*/ 0 w 2406114"/>
                    <a:gd name="connsiteY3" fmla="*/ 687216 h 687216"/>
                    <a:gd name="connsiteX4" fmla="*/ 0 w 2406114"/>
                    <a:gd name="connsiteY4" fmla="*/ 0 h 687216"/>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3070" h="687216">
                      <a:moveTo>
                        <a:pt x="0" y="0"/>
                      </a:moveTo>
                      <a:lnTo>
                        <a:pt x="2263070" y="0"/>
                      </a:lnTo>
                      <a:cubicBezTo>
                        <a:pt x="2090180" y="109772"/>
                        <a:pt x="1973498" y="458379"/>
                        <a:pt x="2263070" y="687216"/>
                      </a:cubicBezTo>
                      <a:lnTo>
                        <a:pt x="0" y="687216"/>
                      </a:lnTo>
                      <a:lnTo>
                        <a:pt x="0" y="0"/>
                      </a:lnTo>
                      <a:close/>
                    </a:path>
                  </a:pathLst>
                </a:custGeom>
                <a:gradFill flip="none" rotWithShape="1">
                  <a:gsLst>
                    <a:gs pos="94200">
                      <a:schemeClr val="bg1"/>
                    </a:gs>
                    <a:gs pos="0">
                      <a:schemeClr val="bg1">
                        <a:lumMod val="65000"/>
                      </a:schemeClr>
                    </a:gs>
                    <a:gs pos="100000">
                      <a:schemeClr val="bg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203" name="Group 76">
                  <a:extLst>
                    <a:ext uri="{FF2B5EF4-FFF2-40B4-BE49-F238E27FC236}">
                      <a16:creationId xmlns:a16="http://schemas.microsoft.com/office/drawing/2014/main" id="{E8080A42-7BCB-A0AB-7FC2-A5E99A410CD3}"/>
                    </a:ext>
                  </a:extLst>
                </p:cNvPr>
                <p:cNvGrpSpPr/>
                <p:nvPr/>
              </p:nvGrpSpPr>
              <p:grpSpPr>
                <a:xfrm flipH="1">
                  <a:off x="7398543" y="4543393"/>
                  <a:ext cx="1051228" cy="1051226"/>
                  <a:chOff x="4396042" y="1286485"/>
                  <a:chExt cx="989390" cy="989390"/>
                </a:xfrm>
              </p:grpSpPr>
              <p:sp>
                <p:nvSpPr>
                  <p:cNvPr id="207" name="Donut 77">
                    <a:extLst>
                      <a:ext uri="{FF2B5EF4-FFF2-40B4-BE49-F238E27FC236}">
                        <a16:creationId xmlns:a16="http://schemas.microsoft.com/office/drawing/2014/main" id="{2566CE19-BCAA-727D-690F-2FBF7CC200E6}"/>
                      </a:ext>
                    </a:extLst>
                  </p:cNvPr>
                  <p:cNvSpPr/>
                  <p:nvPr/>
                </p:nvSpPr>
                <p:spPr>
                  <a:xfrm flipH="1">
                    <a:off x="4396042" y="1286485"/>
                    <a:ext cx="989390" cy="989390"/>
                  </a:xfrm>
                  <a:prstGeom prst="donut">
                    <a:avLst>
                      <a:gd name="adj" fmla="val 10135"/>
                    </a:avLst>
                  </a:prstGeom>
                  <a:solidFill>
                    <a:srgbClr val="00878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7" name="Oval 78">
                    <a:extLst>
                      <a:ext uri="{FF2B5EF4-FFF2-40B4-BE49-F238E27FC236}">
                        <a16:creationId xmlns:a16="http://schemas.microsoft.com/office/drawing/2014/main" id="{95ECD25F-95A6-54F9-044E-D7FAE492CC97}"/>
                      </a:ext>
                    </a:extLst>
                  </p:cNvPr>
                  <p:cNvSpPr/>
                  <p:nvPr/>
                </p:nvSpPr>
                <p:spPr>
                  <a:xfrm flipH="1">
                    <a:off x="4550930" y="1432173"/>
                    <a:ext cx="679614" cy="679614"/>
                  </a:xfrm>
                  <a:prstGeom prst="ellipse">
                    <a:avLst/>
                  </a:prstGeom>
                  <a:solidFill>
                    <a:schemeClr val="bg1"/>
                  </a:solidFill>
                  <a:ln>
                    <a:solidFill>
                      <a:schemeClr val="bg1">
                        <a:lumMod val="95000"/>
                      </a:schemeClr>
                    </a:solidFill>
                  </a:ln>
                  <a:effectLst>
                    <a:outerShdw blurRad="508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sp>
            <p:nvSpPr>
              <p:cNvPr id="200" name="TextBox 39">
                <a:extLst>
                  <a:ext uri="{FF2B5EF4-FFF2-40B4-BE49-F238E27FC236}">
                    <a16:creationId xmlns:a16="http://schemas.microsoft.com/office/drawing/2014/main" id="{79BBF7BD-6E24-939D-3F3E-D58B49CBB089}"/>
                  </a:ext>
                </a:extLst>
              </p:cNvPr>
              <p:cNvSpPr txBox="1"/>
              <p:nvPr/>
            </p:nvSpPr>
            <p:spPr>
              <a:xfrm flipH="1">
                <a:off x="6053822" y="2250254"/>
                <a:ext cx="1518414" cy="324451"/>
              </a:xfrm>
              <a:prstGeom prst="rect">
                <a:avLst/>
              </a:prstGeom>
              <a:noFill/>
            </p:spPr>
            <p:txBody>
              <a:bodyPr wrap="square" rtlCol="0" anchor="ctr">
                <a:sp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C external</a:t>
                </a:r>
              </a:p>
            </p:txBody>
          </p:sp>
        </p:grpSp>
        <p:grpSp>
          <p:nvGrpSpPr>
            <p:cNvPr id="189" name="Grupa 188">
              <a:extLst>
                <a:ext uri="{FF2B5EF4-FFF2-40B4-BE49-F238E27FC236}">
                  <a16:creationId xmlns:a16="http://schemas.microsoft.com/office/drawing/2014/main" id="{2F402CAA-748A-E5FA-5AFF-A6BC5C7ADF79}"/>
                </a:ext>
              </a:extLst>
            </p:cNvPr>
            <p:cNvGrpSpPr/>
            <p:nvPr/>
          </p:nvGrpSpPr>
          <p:grpSpPr>
            <a:xfrm>
              <a:off x="1511966" y="1122273"/>
              <a:ext cx="1449362" cy="201873"/>
              <a:chOff x="7952504" y="1460535"/>
              <a:chExt cx="1954469" cy="192448"/>
            </a:xfrm>
          </p:grpSpPr>
          <p:sp>
            <p:nvSpPr>
              <p:cNvPr id="195" name="pole tekstowe 194">
                <a:extLst>
                  <a:ext uri="{FF2B5EF4-FFF2-40B4-BE49-F238E27FC236}">
                    <a16:creationId xmlns:a16="http://schemas.microsoft.com/office/drawing/2014/main" id="{6B685BBF-23D6-029C-D176-59529E261234}"/>
                  </a:ext>
                </a:extLst>
              </p:cNvPr>
              <p:cNvSpPr txBox="1"/>
              <p:nvPr/>
            </p:nvSpPr>
            <p:spPr>
              <a:xfrm>
                <a:off x="8959322" y="1469558"/>
                <a:ext cx="947651" cy="183425"/>
              </a:xfrm>
              <a:prstGeom prst="rect">
                <a:avLst/>
              </a:prstGeom>
              <a:noFill/>
            </p:spPr>
            <p:txBody>
              <a:bodyPr wrap="square" rtlCol="0">
                <a:spAutoFit/>
              </a:bodyPr>
              <a:lstStyle/>
              <a:p>
                <a:pPr marL="0" marR="0" lvl="0" indent="0" algn="ctr" defTabSz="467539"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BATCH</a:t>
                </a:r>
              </a:p>
            </p:txBody>
          </p:sp>
          <p:sp>
            <p:nvSpPr>
              <p:cNvPr id="196" name="pole tekstowe 195">
                <a:extLst>
                  <a:ext uri="{FF2B5EF4-FFF2-40B4-BE49-F238E27FC236}">
                    <a16:creationId xmlns:a16="http://schemas.microsoft.com/office/drawing/2014/main" id="{D4F60935-F8F6-08CF-E421-1B4BCD6D315B}"/>
                  </a:ext>
                </a:extLst>
              </p:cNvPr>
              <p:cNvSpPr txBox="1"/>
              <p:nvPr/>
            </p:nvSpPr>
            <p:spPr>
              <a:xfrm>
                <a:off x="7952504" y="1460535"/>
                <a:ext cx="1053745" cy="183425"/>
              </a:xfrm>
              <a:prstGeom prst="rect">
                <a:avLst/>
              </a:prstGeom>
              <a:noFill/>
            </p:spPr>
            <p:txBody>
              <a:bodyPr wrap="square" rtlCol="0">
                <a:spAutoFit/>
              </a:bodyPr>
              <a:lstStyle/>
              <a:p>
                <a:pPr marL="0" marR="0" lvl="0" indent="0" algn="ctr" defTabSz="467539" rtl="0" eaLnBrk="1" fontAlgn="auto" latinLnBrk="0" hangingPunct="1">
                  <a:lnSpc>
                    <a:spcPct val="100000"/>
                  </a:lnSpc>
                  <a:spcBef>
                    <a:spcPts val="0"/>
                  </a:spcBef>
                  <a:spcAft>
                    <a:spcPts val="0"/>
                  </a:spcAft>
                  <a:buClrTx/>
                  <a:buSzTx/>
                  <a:buFontTx/>
                  <a:buNone/>
                  <a:tabLst/>
                  <a:defRPr/>
                </a:pPr>
                <a:r>
                  <a:rPr kumimoji="0" lang="pl-PL" sz="1067"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2 591 </a:t>
                </a:r>
              </a:p>
            </p:txBody>
          </p:sp>
        </p:grpSp>
        <p:sp>
          <p:nvSpPr>
            <p:cNvPr id="190" name="Owal 189">
              <a:extLst>
                <a:ext uri="{FF2B5EF4-FFF2-40B4-BE49-F238E27FC236}">
                  <a16:creationId xmlns:a16="http://schemas.microsoft.com/office/drawing/2014/main" id="{E38C651D-42CE-57E9-8D3C-9BE71E3F4036}"/>
                </a:ext>
              </a:extLst>
            </p:cNvPr>
            <p:cNvSpPr/>
            <p:nvPr/>
          </p:nvSpPr>
          <p:spPr>
            <a:xfrm>
              <a:off x="3133774" y="1171702"/>
              <a:ext cx="133481" cy="135000"/>
            </a:xfrm>
            <a:prstGeom prst="ellipse">
              <a:avLst/>
            </a:prstGeom>
            <a:solidFill>
              <a:srgbClr val="92D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467539"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FFFFFF"/>
                </a:solidFill>
                <a:effectLst/>
                <a:uLnTx/>
                <a:uFillTx/>
                <a:latin typeface="Arial"/>
                <a:ea typeface="+mn-ea"/>
                <a:cs typeface="+mn-cs"/>
              </a:endParaRPr>
            </a:p>
          </p:txBody>
        </p:sp>
        <p:sp>
          <p:nvSpPr>
            <p:cNvPr id="191" name="Owal 190">
              <a:extLst>
                <a:ext uri="{FF2B5EF4-FFF2-40B4-BE49-F238E27FC236}">
                  <a16:creationId xmlns:a16="http://schemas.microsoft.com/office/drawing/2014/main" id="{8A648713-91EB-7579-0DFB-98167A48ECAC}"/>
                </a:ext>
              </a:extLst>
            </p:cNvPr>
            <p:cNvSpPr/>
            <p:nvPr/>
          </p:nvSpPr>
          <p:spPr>
            <a:xfrm>
              <a:off x="3663180" y="1169283"/>
              <a:ext cx="133481" cy="135000"/>
            </a:xfrm>
            <a:prstGeom prst="ellipse">
              <a:avLst/>
            </a:prstGeom>
            <a:solidFill>
              <a:srgbClr val="FF00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467539"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218" name="Grupa 217">
            <a:extLst>
              <a:ext uri="{FF2B5EF4-FFF2-40B4-BE49-F238E27FC236}">
                <a16:creationId xmlns:a16="http://schemas.microsoft.com/office/drawing/2014/main" id="{3034B536-1DB2-6F9A-726D-EDA351B78AC5}"/>
              </a:ext>
            </a:extLst>
          </p:cNvPr>
          <p:cNvGrpSpPr/>
          <p:nvPr/>
        </p:nvGrpSpPr>
        <p:grpSpPr>
          <a:xfrm>
            <a:off x="376454" y="4800160"/>
            <a:ext cx="5640063" cy="696721"/>
            <a:chOff x="341953" y="969197"/>
            <a:chExt cx="4230047" cy="522541"/>
          </a:xfrm>
        </p:grpSpPr>
        <p:grpSp>
          <p:nvGrpSpPr>
            <p:cNvPr id="219" name="Grupa 218">
              <a:extLst>
                <a:ext uri="{FF2B5EF4-FFF2-40B4-BE49-F238E27FC236}">
                  <a16:creationId xmlns:a16="http://schemas.microsoft.com/office/drawing/2014/main" id="{42398CFE-B80B-DCE6-96FD-9F958986E861}"/>
                </a:ext>
              </a:extLst>
            </p:cNvPr>
            <p:cNvGrpSpPr/>
            <p:nvPr/>
          </p:nvGrpSpPr>
          <p:grpSpPr>
            <a:xfrm>
              <a:off x="341953" y="969197"/>
              <a:ext cx="4230047" cy="522541"/>
              <a:chOff x="5292008" y="1971909"/>
              <a:chExt cx="7381979" cy="881139"/>
            </a:xfrm>
          </p:grpSpPr>
          <p:grpSp>
            <p:nvGrpSpPr>
              <p:cNvPr id="226" name="Group 66">
                <a:extLst>
                  <a:ext uri="{FF2B5EF4-FFF2-40B4-BE49-F238E27FC236}">
                    <a16:creationId xmlns:a16="http://schemas.microsoft.com/office/drawing/2014/main" id="{7848129C-7A24-F94A-EB04-4B00F54E4429}"/>
                  </a:ext>
                </a:extLst>
              </p:cNvPr>
              <p:cNvGrpSpPr/>
              <p:nvPr/>
            </p:nvGrpSpPr>
            <p:grpSpPr>
              <a:xfrm flipH="1">
                <a:off x="5292008" y="1971909"/>
                <a:ext cx="7381979" cy="881139"/>
                <a:chOff x="-357157" y="4543393"/>
                <a:chExt cx="8806928" cy="1051226"/>
              </a:xfrm>
            </p:grpSpPr>
            <p:sp>
              <p:nvSpPr>
                <p:cNvPr id="228" name="Rectangle 143">
                  <a:extLst>
                    <a:ext uri="{FF2B5EF4-FFF2-40B4-BE49-F238E27FC236}">
                      <a16:creationId xmlns:a16="http://schemas.microsoft.com/office/drawing/2014/main" id="{F1FD11B5-660F-935A-9C90-DCD6AA4C3BBD}"/>
                    </a:ext>
                  </a:extLst>
                </p:cNvPr>
                <p:cNvSpPr/>
                <p:nvPr/>
              </p:nvSpPr>
              <p:spPr>
                <a:xfrm>
                  <a:off x="-357157" y="4725399"/>
                  <a:ext cx="8443381" cy="687217"/>
                </a:xfrm>
                <a:custGeom>
                  <a:avLst/>
                  <a:gdLst>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 name="connsiteX0" fmla="*/ 0 w 2263070"/>
                    <a:gd name="connsiteY0" fmla="*/ 0 h 687216"/>
                    <a:gd name="connsiteX1" fmla="*/ 2263070 w 2263070"/>
                    <a:gd name="connsiteY1" fmla="*/ 0 h 687216"/>
                    <a:gd name="connsiteX2" fmla="*/ 2084172 w 2263070"/>
                    <a:gd name="connsiteY2" fmla="*/ 362830 h 687216"/>
                    <a:gd name="connsiteX3" fmla="*/ 2263070 w 2263070"/>
                    <a:gd name="connsiteY3" fmla="*/ 687216 h 687216"/>
                    <a:gd name="connsiteX4" fmla="*/ 0 w 2263070"/>
                    <a:gd name="connsiteY4" fmla="*/ 687216 h 687216"/>
                    <a:gd name="connsiteX5" fmla="*/ 0 w 2263070"/>
                    <a:gd name="connsiteY5" fmla="*/ 0 h 687216"/>
                    <a:gd name="connsiteX0" fmla="*/ 0 w 2545953"/>
                    <a:gd name="connsiteY0" fmla="*/ 0 h 687216"/>
                    <a:gd name="connsiteX1" fmla="*/ 2263070 w 2545953"/>
                    <a:gd name="connsiteY1" fmla="*/ 0 h 687216"/>
                    <a:gd name="connsiteX2" fmla="*/ 2263070 w 2545953"/>
                    <a:gd name="connsiteY2" fmla="*/ 687216 h 687216"/>
                    <a:gd name="connsiteX3" fmla="*/ 0 w 2545953"/>
                    <a:gd name="connsiteY3" fmla="*/ 687216 h 687216"/>
                    <a:gd name="connsiteX4" fmla="*/ 0 w 2545953"/>
                    <a:gd name="connsiteY4" fmla="*/ 0 h 687216"/>
                    <a:gd name="connsiteX0" fmla="*/ 0 w 2406114"/>
                    <a:gd name="connsiteY0" fmla="*/ 0 h 687216"/>
                    <a:gd name="connsiteX1" fmla="*/ 2263070 w 2406114"/>
                    <a:gd name="connsiteY1" fmla="*/ 0 h 687216"/>
                    <a:gd name="connsiteX2" fmla="*/ 2263070 w 2406114"/>
                    <a:gd name="connsiteY2" fmla="*/ 687216 h 687216"/>
                    <a:gd name="connsiteX3" fmla="*/ 0 w 2406114"/>
                    <a:gd name="connsiteY3" fmla="*/ 687216 h 687216"/>
                    <a:gd name="connsiteX4" fmla="*/ 0 w 2406114"/>
                    <a:gd name="connsiteY4" fmla="*/ 0 h 687216"/>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3070" h="687216">
                      <a:moveTo>
                        <a:pt x="0" y="0"/>
                      </a:moveTo>
                      <a:lnTo>
                        <a:pt x="2263070" y="0"/>
                      </a:lnTo>
                      <a:cubicBezTo>
                        <a:pt x="2090180" y="109772"/>
                        <a:pt x="1973498" y="458379"/>
                        <a:pt x="2263070" y="687216"/>
                      </a:cubicBezTo>
                      <a:lnTo>
                        <a:pt x="0" y="687216"/>
                      </a:lnTo>
                      <a:lnTo>
                        <a:pt x="0" y="0"/>
                      </a:lnTo>
                      <a:close/>
                    </a:path>
                  </a:pathLst>
                </a:custGeom>
                <a:gradFill flip="none" rotWithShape="1">
                  <a:gsLst>
                    <a:gs pos="94200">
                      <a:schemeClr val="bg1"/>
                    </a:gs>
                    <a:gs pos="0">
                      <a:schemeClr val="bg1">
                        <a:lumMod val="65000"/>
                      </a:schemeClr>
                    </a:gs>
                    <a:gs pos="100000">
                      <a:schemeClr val="bg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229" name="Group 76">
                  <a:extLst>
                    <a:ext uri="{FF2B5EF4-FFF2-40B4-BE49-F238E27FC236}">
                      <a16:creationId xmlns:a16="http://schemas.microsoft.com/office/drawing/2014/main" id="{C24B96A6-669F-039E-2A2B-2C0333BF4ECB}"/>
                    </a:ext>
                  </a:extLst>
                </p:cNvPr>
                <p:cNvGrpSpPr/>
                <p:nvPr/>
              </p:nvGrpSpPr>
              <p:grpSpPr>
                <a:xfrm flipH="1">
                  <a:off x="7398543" y="4543393"/>
                  <a:ext cx="1051228" cy="1051226"/>
                  <a:chOff x="4396042" y="1286485"/>
                  <a:chExt cx="989390" cy="989390"/>
                </a:xfrm>
              </p:grpSpPr>
              <p:sp>
                <p:nvSpPr>
                  <p:cNvPr id="230" name="Donut 77">
                    <a:extLst>
                      <a:ext uri="{FF2B5EF4-FFF2-40B4-BE49-F238E27FC236}">
                        <a16:creationId xmlns:a16="http://schemas.microsoft.com/office/drawing/2014/main" id="{25B38BAD-0865-A0E7-0D7D-3284BFF0C52F}"/>
                      </a:ext>
                    </a:extLst>
                  </p:cNvPr>
                  <p:cNvSpPr/>
                  <p:nvPr/>
                </p:nvSpPr>
                <p:spPr>
                  <a:xfrm flipH="1">
                    <a:off x="4396042" y="1286485"/>
                    <a:ext cx="989390" cy="989390"/>
                  </a:xfrm>
                  <a:prstGeom prst="donut">
                    <a:avLst>
                      <a:gd name="adj" fmla="val 10135"/>
                    </a:avLst>
                  </a:prstGeom>
                  <a:solidFill>
                    <a:srgbClr val="00878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31" name="Oval 78">
                    <a:extLst>
                      <a:ext uri="{FF2B5EF4-FFF2-40B4-BE49-F238E27FC236}">
                        <a16:creationId xmlns:a16="http://schemas.microsoft.com/office/drawing/2014/main" id="{8296ED2F-2C3B-6B99-DA53-058EFF35E1F1}"/>
                      </a:ext>
                    </a:extLst>
                  </p:cNvPr>
                  <p:cNvSpPr/>
                  <p:nvPr/>
                </p:nvSpPr>
                <p:spPr>
                  <a:xfrm flipH="1">
                    <a:off x="4550930" y="1432173"/>
                    <a:ext cx="679614" cy="679614"/>
                  </a:xfrm>
                  <a:prstGeom prst="ellipse">
                    <a:avLst/>
                  </a:prstGeom>
                  <a:solidFill>
                    <a:schemeClr val="bg1"/>
                  </a:solidFill>
                  <a:ln>
                    <a:solidFill>
                      <a:schemeClr val="bg1">
                        <a:lumMod val="95000"/>
                      </a:schemeClr>
                    </a:solidFill>
                  </a:ln>
                  <a:effectLst>
                    <a:outerShdw blurRad="508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sp>
            <p:nvSpPr>
              <p:cNvPr id="227" name="TextBox 39">
                <a:extLst>
                  <a:ext uri="{FF2B5EF4-FFF2-40B4-BE49-F238E27FC236}">
                    <a16:creationId xmlns:a16="http://schemas.microsoft.com/office/drawing/2014/main" id="{D04BCE39-10DE-D9C2-A610-66D02DFAD5BC}"/>
                  </a:ext>
                </a:extLst>
              </p:cNvPr>
              <p:cNvSpPr txBox="1"/>
              <p:nvPr/>
            </p:nvSpPr>
            <p:spPr>
              <a:xfrm flipH="1">
                <a:off x="6053824" y="2250254"/>
                <a:ext cx="1367523" cy="324451"/>
              </a:xfrm>
              <a:prstGeom prst="rect">
                <a:avLst/>
              </a:prstGeom>
              <a:noFill/>
            </p:spPr>
            <p:txBody>
              <a:bodyPr wrap="square" rtlCol="0" anchor="ctr">
                <a:sp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USH</a:t>
                </a:r>
              </a:p>
            </p:txBody>
          </p:sp>
        </p:grpSp>
        <p:grpSp>
          <p:nvGrpSpPr>
            <p:cNvPr id="220" name="Grupa 219">
              <a:extLst>
                <a:ext uri="{FF2B5EF4-FFF2-40B4-BE49-F238E27FC236}">
                  <a16:creationId xmlns:a16="http://schemas.microsoft.com/office/drawing/2014/main" id="{3B72AB97-8FD5-835A-588A-A0C0A13C2437}"/>
                </a:ext>
              </a:extLst>
            </p:cNvPr>
            <p:cNvGrpSpPr/>
            <p:nvPr/>
          </p:nvGrpSpPr>
          <p:grpSpPr>
            <a:xfrm>
              <a:off x="1511966" y="1063183"/>
              <a:ext cx="1449362" cy="315567"/>
              <a:chOff x="7952504" y="1404209"/>
              <a:chExt cx="1954469" cy="300835"/>
            </a:xfrm>
          </p:grpSpPr>
          <p:sp>
            <p:nvSpPr>
              <p:cNvPr id="224" name="pole tekstowe 223">
                <a:extLst>
                  <a:ext uri="{FF2B5EF4-FFF2-40B4-BE49-F238E27FC236}">
                    <a16:creationId xmlns:a16="http://schemas.microsoft.com/office/drawing/2014/main" id="{A819A4C1-2FDB-BD29-4736-BC52C6884FA8}"/>
                  </a:ext>
                </a:extLst>
              </p:cNvPr>
              <p:cNvSpPr txBox="1"/>
              <p:nvPr/>
            </p:nvSpPr>
            <p:spPr>
              <a:xfrm>
                <a:off x="8959322" y="1404209"/>
                <a:ext cx="947651" cy="300835"/>
              </a:xfrm>
              <a:prstGeom prst="rect">
                <a:avLst/>
              </a:prstGeom>
              <a:noFill/>
            </p:spPr>
            <p:txBody>
              <a:bodyPr wrap="square" rtlCol="0">
                <a:spAutoFit/>
              </a:bodyPr>
              <a:lstStyle/>
              <a:p>
                <a:pPr marL="0" marR="0" lvl="0" indent="0" algn="ctr" defTabSz="467539"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NEAR</a:t>
                </a:r>
                <a:br>
                  <a:rPr kumimoji="0" lang="en-US" sz="1067"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br>
                <a:r>
                  <a:rPr kumimoji="0" lang="en-US" sz="1067"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REAL TIME</a:t>
                </a:r>
              </a:p>
            </p:txBody>
          </p:sp>
          <p:sp>
            <p:nvSpPr>
              <p:cNvPr id="225" name="pole tekstowe 224">
                <a:extLst>
                  <a:ext uri="{FF2B5EF4-FFF2-40B4-BE49-F238E27FC236}">
                    <a16:creationId xmlns:a16="http://schemas.microsoft.com/office/drawing/2014/main" id="{1AC18357-0B59-A36B-937A-1A9C0E1F8648}"/>
                  </a:ext>
                </a:extLst>
              </p:cNvPr>
              <p:cNvSpPr txBox="1"/>
              <p:nvPr/>
            </p:nvSpPr>
            <p:spPr>
              <a:xfrm>
                <a:off x="7952504" y="1460535"/>
                <a:ext cx="1053745" cy="183427"/>
              </a:xfrm>
              <a:prstGeom prst="rect">
                <a:avLst/>
              </a:prstGeom>
              <a:noFill/>
            </p:spPr>
            <p:txBody>
              <a:bodyPr wrap="square" rtlCol="0">
                <a:spAutoFit/>
              </a:bodyPr>
              <a:lstStyle/>
              <a:p>
                <a:pPr marL="0" marR="0" lvl="0" indent="0" algn="ctr" defTabSz="467539" rtl="0" eaLnBrk="1" fontAlgn="auto" latinLnBrk="0" hangingPunct="1">
                  <a:lnSpc>
                    <a:spcPct val="100000"/>
                  </a:lnSpc>
                  <a:spcBef>
                    <a:spcPts val="0"/>
                  </a:spcBef>
                  <a:spcAft>
                    <a:spcPts val="0"/>
                  </a:spcAft>
                  <a:buClrTx/>
                  <a:buSzTx/>
                  <a:buFontTx/>
                  <a:buNone/>
                  <a:tabLst/>
                  <a:defRPr/>
                </a:pPr>
                <a:r>
                  <a:rPr kumimoji="0" lang="pl-PL" sz="1067"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51 255</a:t>
                </a:r>
              </a:p>
            </p:txBody>
          </p:sp>
        </p:grpSp>
        <p:sp>
          <p:nvSpPr>
            <p:cNvPr id="221" name="Owal 220">
              <a:extLst>
                <a:ext uri="{FF2B5EF4-FFF2-40B4-BE49-F238E27FC236}">
                  <a16:creationId xmlns:a16="http://schemas.microsoft.com/office/drawing/2014/main" id="{33639EB5-7A35-283B-4ADA-9586C3AFB98F}"/>
                </a:ext>
              </a:extLst>
            </p:cNvPr>
            <p:cNvSpPr/>
            <p:nvPr/>
          </p:nvSpPr>
          <p:spPr>
            <a:xfrm>
              <a:off x="3133774" y="1177807"/>
              <a:ext cx="133481" cy="135000"/>
            </a:xfrm>
            <a:prstGeom prst="ellipse">
              <a:avLst/>
            </a:prstGeom>
            <a:solidFill>
              <a:srgbClr val="92D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467539"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FFFFFF"/>
                </a:solidFill>
                <a:effectLst/>
                <a:uLnTx/>
                <a:uFillTx/>
                <a:latin typeface="Arial"/>
                <a:ea typeface="+mn-ea"/>
                <a:cs typeface="+mn-cs"/>
              </a:endParaRPr>
            </a:p>
          </p:txBody>
        </p:sp>
        <p:sp>
          <p:nvSpPr>
            <p:cNvPr id="222" name="Owal 221">
              <a:extLst>
                <a:ext uri="{FF2B5EF4-FFF2-40B4-BE49-F238E27FC236}">
                  <a16:creationId xmlns:a16="http://schemas.microsoft.com/office/drawing/2014/main" id="{2ADC4E6D-3CC8-D8BE-0436-7C6D405C21E4}"/>
                </a:ext>
              </a:extLst>
            </p:cNvPr>
            <p:cNvSpPr/>
            <p:nvPr/>
          </p:nvSpPr>
          <p:spPr>
            <a:xfrm>
              <a:off x="3657800" y="1169283"/>
              <a:ext cx="133481" cy="135000"/>
            </a:xfrm>
            <a:prstGeom prst="ellipse">
              <a:avLst/>
            </a:prstGeom>
            <a:solidFill>
              <a:srgbClr val="96CA1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467539"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232" name="Grupa 231">
            <a:extLst>
              <a:ext uri="{FF2B5EF4-FFF2-40B4-BE49-F238E27FC236}">
                <a16:creationId xmlns:a16="http://schemas.microsoft.com/office/drawing/2014/main" id="{E1415871-9B8A-5FF7-660A-C64F9735E509}"/>
              </a:ext>
            </a:extLst>
          </p:cNvPr>
          <p:cNvGrpSpPr/>
          <p:nvPr/>
        </p:nvGrpSpPr>
        <p:grpSpPr>
          <a:xfrm>
            <a:off x="376454" y="5520168"/>
            <a:ext cx="5640063" cy="696721"/>
            <a:chOff x="341953" y="969197"/>
            <a:chExt cx="4230047" cy="522541"/>
          </a:xfrm>
        </p:grpSpPr>
        <p:grpSp>
          <p:nvGrpSpPr>
            <p:cNvPr id="233" name="Grupa 232">
              <a:extLst>
                <a:ext uri="{FF2B5EF4-FFF2-40B4-BE49-F238E27FC236}">
                  <a16:creationId xmlns:a16="http://schemas.microsoft.com/office/drawing/2014/main" id="{ECCC324C-3489-B954-D1AA-075623EE95B5}"/>
                </a:ext>
              </a:extLst>
            </p:cNvPr>
            <p:cNvGrpSpPr/>
            <p:nvPr/>
          </p:nvGrpSpPr>
          <p:grpSpPr>
            <a:xfrm>
              <a:off x="341953" y="969197"/>
              <a:ext cx="4230047" cy="522541"/>
              <a:chOff x="5292008" y="1971909"/>
              <a:chExt cx="7381979" cy="881139"/>
            </a:xfrm>
          </p:grpSpPr>
          <p:grpSp>
            <p:nvGrpSpPr>
              <p:cNvPr id="255" name="Group 66">
                <a:extLst>
                  <a:ext uri="{FF2B5EF4-FFF2-40B4-BE49-F238E27FC236}">
                    <a16:creationId xmlns:a16="http://schemas.microsoft.com/office/drawing/2014/main" id="{083CCB8B-E7CA-1CB1-C68A-7C9187A85375}"/>
                  </a:ext>
                </a:extLst>
              </p:cNvPr>
              <p:cNvGrpSpPr/>
              <p:nvPr/>
            </p:nvGrpSpPr>
            <p:grpSpPr>
              <a:xfrm flipH="1">
                <a:off x="5292008" y="1971909"/>
                <a:ext cx="7381979" cy="881139"/>
                <a:chOff x="-357157" y="4543393"/>
                <a:chExt cx="8806928" cy="1051226"/>
              </a:xfrm>
            </p:grpSpPr>
            <p:sp>
              <p:nvSpPr>
                <p:cNvPr id="257" name="Rectangle 143">
                  <a:extLst>
                    <a:ext uri="{FF2B5EF4-FFF2-40B4-BE49-F238E27FC236}">
                      <a16:creationId xmlns:a16="http://schemas.microsoft.com/office/drawing/2014/main" id="{F64F6B02-F06C-F08F-AF3D-47438518AA60}"/>
                    </a:ext>
                  </a:extLst>
                </p:cNvPr>
                <p:cNvSpPr/>
                <p:nvPr/>
              </p:nvSpPr>
              <p:spPr>
                <a:xfrm>
                  <a:off x="-357157" y="4725399"/>
                  <a:ext cx="8443381" cy="687217"/>
                </a:xfrm>
                <a:custGeom>
                  <a:avLst/>
                  <a:gdLst>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 name="connsiteX0" fmla="*/ 0 w 2263070"/>
                    <a:gd name="connsiteY0" fmla="*/ 0 h 687216"/>
                    <a:gd name="connsiteX1" fmla="*/ 2263070 w 2263070"/>
                    <a:gd name="connsiteY1" fmla="*/ 0 h 687216"/>
                    <a:gd name="connsiteX2" fmla="*/ 2084172 w 2263070"/>
                    <a:gd name="connsiteY2" fmla="*/ 362830 h 687216"/>
                    <a:gd name="connsiteX3" fmla="*/ 2263070 w 2263070"/>
                    <a:gd name="connsiteY3" fmla="*/ 687216 h 687216"/>
                    <a:gd name="connsiteX4" fmla="*/ 0 w 2263070"/>
                    <a:gd name="connsiteY4" fmla="*/ 687216 h 687216"/>
                    <a:gd name="connsiteX5" fmla="*/ 0 w 2263070"/>
                    <a:gd name="connsiteY5" fmla="*/ 0 h 687216"/>
                    <a:gd name="connsiteX0" fmla="*/ 0 w 2545953"/>
                    <a:gd name="connsiteY0" fmla="*/ 0 h 687216"/>
                    <a:gd name="connsiteX1" fmla="*/ 2263070 w 2545953"/>
                    <a:gd name="connsiteY1" fmla="*/ 0 h 687216"/>
                    <a:gd name="connsiteX2" fmla="*/ 2263070 w 2545953"/>
                    <a:gd name="connsiteY2" fmla="*/ 687216 h 687216"/>
                    <a:gd name="connsiteX3" fmla="*/ 0 w 2545953"/>
                    <a:gd name="connsiteY3" fmla="*/ 687216 h 687216"/>
                    <a:gd name="connsiteX4" fmla="*/ 0 w 2545953"/>
                    <a:gd name="connsiteY4" fmla="*/ 0 h 687216"/>
                    <a:gd name="connsiteX0" fmla="*/ 0 w 2406114"/>
                    <a:gd name="connsiteY0" fmla="*/ 0 h 687216"/>
                    <a:gd name="connsiteX1" fmla="*/ 2263070 w 2406114"/>
                    <a:gd name="connsiteY1" fmla="*/ 0 h 687216"/>
                    <a:gd name="connsiteX2" fmla="*/ 2263070 w 2406114"/>
                    <a:gd name="connsiteY2" fmla="*/ 687216 h 687216"/>
                    <a:gd name="connsiteX3" fmla="*/ 0 w 2406114"/>
                    <a:gd name="connsiteY3" fmla="*/ 687216 h 687216"/>
                    <a:gd name="connsiteX4" fmla="*/ 0 w 2406114"/>
                    <a:gd name="connsiteY4" fmla="*/ 0 h 687216"/>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3070" h="687216">
                      <a:moveTo>
                        <a:pt x="0" y="0"/>
                      </a:moveTo>
                      <a:lnTo>
                        <a:pt x="2263070" y="0"/>
                      </a:lnTo>
                      <a:cubicBezTo>
                        <a:pt x="2090180" y="109772"/>
                        <a:pt x="1973498" y="458379"/>
                        <a:pt x="2263070" y="687216"/>
                      </a:cubicBezTo>
                      <a:lnTo>
                        <a:pt x="0" y="687216"/>
                      </a:lnTo>
                      <a:lnTo>
                        <a:pt x="0" y="0"/>
                      </a:lnTo>
                      <a:close/>
                    </a:path>
                  </a:pathLst>
                </a:custGeom>
                <a:gradFill flip="none" rotWithShape="1">
                  <a:gsLst>
                    <a:gs pos="94200">
                      <a:schemeClr val="bg1"/>
                    </a:gs>
                    <a:gs pos="0">
                      <a:schemeClr val="bg1">
                        <a:lumMod val="65000"/>
                      </a:schemeClr>
                    </a:gs>
                    <a:gs pos="100000">
                      <a:schemeClr val="bg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258" name="Group 76">
                  <a:extLst>
                    <a:ext uri="{FF2B5EF4-FFF2-40B4-BE49-F238E27FC236}">
                      <a16:creationId xmlns:a16="http://schemas.microsoft.com/office/drawing/2014/main" id="{92F2A964-3B6A-D30C-E194-5C41EDF0BCA2}"/>
                    </a:ext>
                  </a:extLst>
                </p:cNvPr>
                <p:cNvGrpSpPr/>
                <p:nvPr/>
              </p:nvGrpSpPr>
              <p:grpSpPr>
                <a:xfrm flipH="1">
                  <a:off x="7398543" y="4543393"/>
                  <a:ext cx="1051228" cy="1051226"/>
                  <a:chOff x="4396042" y="1286485"/>
                  <a:chExt cx="989390" cy="989390"/>
                </a:xfrm>
              </p:grpSpPr>
              <p:sp>
                <p:nvSpPr>
                  <p:cNvPr id="259" name="Donut 77">
                    <a:extLst>
                      <a:ext uri="{FF2B5EF4-FFF2-40B4-BE49-F238E27FC236}">
                        <a16:creationId xmlns:a16="http://schemas.microsoft.com/office/drawing/2014/main" id="{BC56D730-E248-9B2B-114E-D03507BE1880}"/>
                      </a:ext>
                    </a:extLst>
                  </p:cNvPr>
                  <p:cNvSpPr/>
                  <p:nvPr/>
                </p:nvSpPr>
                <p:spPr>
                  <a:xfrm flipH="1">
                    <a:off x="4396042" y="1286485"/>
                    <a:ext cx="989390" cy="989390"/>
                  </a:xfrm>
                  <a:prstGeom prst="donut">
                    <a:avLst>
                      <a:gd name="adj" fmla="val 10135"/>
                    </a:avLst>
                  </a:prstGeom>
                  <a:solidFill>
                    <a:srgbClr val="00878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0" name="Oval 78">
                    <a:extLst>
                      <a:ext uri="{FF2B5EF4-FFF2-40B4-BE49-F238E27FC236}">
                        <a16:creationId xmlns:a16="http://schemas.microsoft.com/office/drawing/2014/main" id="{15EA22C2-A3DF-32E1-2F7E-2B7CEEAE77D1}"/>
                      </a:ext>
                    </a:extLst>
                  </p:cNvPr>
                  <p:cNvSpPr/>
                  <p:nvPr/>
                </p:nvSpPr>
                <p:spPr>
                  <a:xfrm flipH="1">
                    <a:off x="4550930" y="1432173"/>
                    <a:ext cx="679614" cy="679614"/>
                  </a:xfrm>
                  <a:prstGeom prst="ellipse">
                    <a:avLst/>
                  </a:prstGeom>
                  <a:solidFill>
                    <a:schemeClr val="bg1"/>
                  </a:solidFill>
                  <a:ln>
                    <a:solidFill>
                      <a:schemeClr val="bg1">
                        <a:lumMod val="95000"/>
                      </a:schemeClr>
                    </a:solidFill>
                  </a:ln>
                  <a:effectLst>
                    <a:outerShdw blurRad="508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sp>
            <p:nvSpPr>
              <p:cNvPr id="256" name="TextBox 39">
                <a:extLst>
                  <a:ext uri="{FF2B5EF4-FFF2-40B4-BE49-F238E27FC236}">
                    <a16:creationId xmlns:a16="http://schemas.microsoft.com/office/drawing/2014/main" id="{76B167B8-BC79-ECD5-2B29-93D33DE3204D}"/>
                  </a:ext>
                </a:extLst>
              </p:cNvPr>
              <p:cNvSpPr txBox="1"/>
              <p:nvPr/>
            </p:nvSpPr>
            <p:spPr>
              <a:xfrm flipH="1">
                <a:off x="6053824" y="2250254"/>
                <a:ext cx="1367523" cy="324451"/>
              </a:xfrm>
              <a:prstGeom prst="rect">
                <a:avLst/>
              </a:prstGeom>
              <a:noFill/>
            </p:spPr>
            <p:txBody>
              <a:bodyPr wrap="square" rtlCol="0" anchor="ctr">
                <a:sp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eBank</a:t>
                </a:r>
                <a:r>
                  <a:rPr kumimoji="0" lang="en-US" sz="1067"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Mailbox</a:t>
                </a:r>
              </a:p>
            </p:txBody>
          </p:sp>
        </p:grpSp>
        <p:grpSp>
          <p:nvGrpSpPr>
            <p:cNvPr id="234" name="Grupa 233">
              <a:extLst>
                <a:ext uri="{FF2B5EF4-FFF2-40B4-BE49-F238E27FC236}">
                  <a16:creationId xmlns:a16="http://schemas.microsoft.com/office/drawing/2014/main" id="{E59F0D62-A6D7-432C-2E7C-D0442B2251FF}"/>
                </a:ext>
              </a:extLst>
            </p:cNvPr>
            <p:cNvGrpSpPr/>
            <p:nvPr/>
          </p:nvGrpSpPr>
          <p:grpSpPr>
            <a:xfrm>
              <a:off x="1511966" y="1063183"/>
              <a:ext cx="1449362" cy="315567"/>
              <a:chOff x="7952504" y="1404209"/>
              <a:chExt cx="1954469" cy="300835"/>
            </a:xfrm>
          </p:grpSpPr>
          <p:sp>
            <p:nvSpPr>
              <p:cNvPr id="238" name="pole tekstowe 237">
                <a:extLst>
                  <a:ext uri="{FF2B5EF4-FFF2-40B4-BE49-F238E27FC236}">
                    <a16:creationId xmlns:a16="http://schemas.microsoft.com/office/drawing/2014/main" id="{9C9064BB-C012-9CF2-1156-6715F4514DFE}"/>
                  </a:ext>
                </a:extLst>
              </p:cNvPr>
              <p:cNvSpPr txBox="1"/>
              <p:nvPr/>
            </p:nvSpPr>
            <p:spPr>
              <a:xfrm>
                <a:off x="8959322" y="1404209"/>
                <a:ext cx="947651" cy="300835"/>
              </a:xfrm>
              <a:prstGeom prst="rect">
                <a:avLst/>
              </a:prstGeom>
              <a:noFill/>
            </p:spPr>
            <p:txBody>
              <a:bodyPr wrap="square" rtlCol="0">
                <a:spAutoFit/>
              </a:bodyPr>
              <a:lstStyle/>
              <a:p>
                <a:pPr marL="0" marR="0" lvl="0" indent="0" algn="ctr" defTabSz="467539"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NEAR</a:t>
                </a:r>
                <a:br>
                  <a:rPr kumimoji="0" lang="en-US" sz="1067"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br>
                <a:r>
                  <a:rPr kumimoji="0" lang="en-US" sz="1067"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REAL TIME</a:t>
                </a:r>
              </a:p>
            </p:txBody>
          </p:sp>
          <p:sp>
            <p:nvSpPr>
              <p:cNvPr id="239" name="pole tekstowe 238">
                <a:extLst>
                  <a:ext uri="{FF2B5EF4-FFF2-40B4-BE49-F238E27FC236}">
                    <a16:creationId xmlns:a16="http://schemas.microsoft.com/office/drawing/2014/main" id="{8DC1A90E-F871-06BB-8647-35967DDFCE61}"/>
                  </a:ext>
                </a:extLst>
              </p:cNvPr>
              <p:cNvSpPr txBox="1"/>
              <p:nvPr/>
            </p:nvSpPr>
            <p:spPr>
              <a:xfrm>
                <a:off x="7952504" y="1460535"/>
                <a:ext cx="1053745" cy="183427"/>
              </a:xfrm>
              <a:prstGeom prst="rect">
                <a:avLst/>
              </a:prstGeom>
              <a:noFill/>
            </p:spPr>
            <p:txBody>
              <a:bodyPr wrap="square" rtlCol="0">
                <a:spAutoFit/>
              </a:bodyPr>
              <a:lstStyle/>
              <a:p>
                <a:pPr marL="0" marR="0" lvl="0" indent="0" algn="ctr" defTabSz="467539" rtl="0" eaLnBrk="1" fontAlgn="auto" latinLnBrk="0" hangingPunct="1">
                  <a:lnSpc>
                    <a:spcPct val="100000"/>
                  </a:lnSpc>
                  <a:spcBef>
                    <a:spcPts val="0"/>
                  </a:spcBef>
                  <a:spcAft>
                    <a:spcPts val="0"/>
                  </a:spcAft>
                  <a:buClrTx/>
                  <a:buSzTx/>
                  <a:buFontTx/>
                  <a:buNone/>
                  <a:tabLst/>
                  <a:defRPr/>
                </a:pPr>
                <a:r>
                  <a:rPr kumimoji="0" lang="pl-PL" sz="1067"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21 566</a:t>
                </a:r>
              </a:p>
            </p:txBody>
          </p:sp>
        </p:grpSp>
        <p:sp>
          <p:nvSpPr>
            <p:cNvPr id="235" name="Owal 234">
              <a:extLst>
                <a:ext uri="{FF2B5EF4-FFF2-40B4-BE49-F238E27FC236}">
                  <a16:creationId xmlns:a16="http://schemas.microsoft.com/office/drawing/2014/main" id="{0D095B83-E9E4-BBA6-DF8D-CA8EC108F56F}"/>
                </a:ext>
              </a:extLst>
            </p:cNvPr>
            <p:cNvSpPr/>
            <p:nvPr/>
          </p:nvSpPr>
          <p:spPr>
            <a:xfrm>
              <a:off x="3133774" y="1171702"/>
              <a:ext cx="133481" cy="135000"/>
            </a:xfrm>
            <a:prstGeom prst="ellipse">
              <a:avLst/>
            </a:prstGeom>
            <a:solidFill>
              <a:srgbClr val="92D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467539"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FFFFFF"/>
                </a:solidFill>
                <a:effectLst/>
                <a:uLnTx/>
                <a:uFillTx/>
                <a:latin typeface="Arial"/>
                <a:ea typeface="+mn-ea"/>
                <a:cs typeface="+mn-cs"/>
              </a:endParaRPr>
            </a:p>
          </p:txBody>
        </p:sp>
        <p:sp>
          <p:nvSpPr>
            <p:cNvPr id="236" name="Owal 235">
              <a:extLst>
                <a:ext uri="{FF2B5EF4-FFF2-40B4-BE49-F238E27FC236}">
                  <a16:creationId xmlns:a16="http://schemas.microsoft.com/office/drawing/2014/main" id="{3F1E3928-AEEB-77E0-773E-F1FAB25C4C33}"/>
                </a:ext>
              </a:extLst>
            </p:cNvPr>
            <p:cNvSpPr/>
            <p:nvPr/>
          </p:nvSpPr>
          <p:spPr>
            <a:xfrm>
              <a:off x="3663180" y="1169283"/>
              <a:ext cx="133481" cy="135000"/>
            </a:xfrm>
            <a:prstGeom prst="ellipse">
              <a:avLst/>
            </a:prstGeom>
            <a:solidFill>
              <a:srgbClr val="FF00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467539"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261" name="Grupa 260">
            <a:extLst>
              <a:ext uri="{FF2B5EF4-FFF2-40B4-BE49-F238E27FC236}">
                <a16:creationId xmlns:a16="http://schemas.microsoft.com/office/drawing/2014/main" id="{07BCA864-F10E-7AD3-EEE9-41F4E0FAD0A2}"/>
              </a:ext>
            </a:extLst>
          </p:cNvPr>
          <p:cNvGrpSpPr/>
          <p:nvPr/>
        </p:nvGrpSpPr>
        <p:grpSpPr>
          <a:xfrm>
            <a:off x="6292785" y="1937509"/>
            <a:ext cx="5640063" cy="696722"/>
            <a:chOff x="341953" y="969197"/>
            <a:chExt cx="4230047" cy="522541"/>
          </a:xfrm>
        </p:grpSpPr>
        <p:grpSp>
          <p:nvGrpSpPr>
            <p:cNvPr id="262" name="Grupa 261">
              <a:extLst>
                <a:ext uri="{FF2B5EF4-FFF2-40B4-BE49-F238E27FC236}">
                  <a16:creationId xmlns:a16="http://schemas.microsoft.com/office/drawing/2014/main" id="{BA6C2EE6-12F2-9CCF-4098-B0EC8DF19F24}"/>
                </a:ext>
              </a:extLst>
            </p:cNvPr>
            <p:cNvGrpSpPr/>
            <p:nvPr/>
          </p:nvGrpSpPr>
          <p:grpSpPr>
            <a:xfrm>
              <a:off x="341953" y="969197"/>
              <a:ext cx="4230047" cy="522541"/>
              <a:chOff x="5292008" y="1971909"/>
              <a:chExt cx="7381979" cy="881139"/>
            </a:xfrm>
          </p:grpSpPr>
          <p:grpSp>
            <p:nvGrpSpPr>
              <p:cNvPr id="269" name="Group 66">
                <a:extLst>
                  <a:ext uri="{FF2B5EF4-FFF2-40B4-BE49-F238E27FC236}">
                    <a16:creationId xmlns:a16="http://schemas.microsoft.com/office/drawing/2014/main" id="{E6D774D5-E4E6-B5B4-2B6A-CD2410EB7847}"/>
                  </a:ext>
                </a:extLst>
              </p:cNvPr>
              <p:cNvGrpSpPr/>
              <p:nvPr/>
            </p:nvGrpSpPr>
            <p:grpSpPr>
              <a:xfrm flipH="1">
                <a:off x="5292008" y="1971909"/>
                <a:ext cx="7381979" cy="881139"/>
                <a:chOff x="-357157" y="4543393"/>
                <a:chExt cx="8806928" cy="1051226"/>
              </a:xfrm>
            </p:grpSpPr>
            <p:sp>
              <p:nvSpPr>
                <p:cNvPr id="271" name="Rectangle 143">
                  <a:extLst>
                    <a:ext uri="{FF2B5EF4-FFF2-40B4-BE49-F238E27FC236}">
                      <a16:creationId xmlns:a16="http://schemas.microsoft.com/office/drawing/2014/main" id="{3D9B7079-91DA-522F-33A1-A46CF09F406C}"/>
                    </a:ext>
                  </a:extLst>
                </p:cNvPr>
                <p:cNvSpPr/>
                <p:nvPr/>
              </p:nvSpPr>
              <p:spPr>
                <a:xfrm>
                  <a:off x="-357157" y="4725399"/>
                  <a:ext cx="8443381" cy="687217"/>
                </a:xfrm>
                <a:custGeom>
                  <a:avLst/>
                  <a:gdLst>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 name="connsiteX0" fmla="*/ 0 w 2263070"/>
                    <a:gd name="connsiteY0" fmla="*/ 0 h 687216"/>
                    <a:gd name="connsiteX1" fmla="*/ 2263070 w 2263070"/>
                    <a:gd name="connsiteY1" fmla="*/ 0 h 687216"/>
                    <a:gd name="connsiteX2" fmla="*/ 2084172 w 2263070"/>
                    <a:gd name="connsiteY2" fmla="*/ 362830 h 687216"/>
                    <a:gd name="connsiteX3" fmla="*/ 2263070 w 2263070"/>
                    <a:gd name="connsiteY3" fmla="*/ 687216 h 687216"/>
                    <a:gd name="connsiteX4" fmla="*/ 0 w 2263070"/>
                    <a:gd name="connsiteY4" fmla="*/ 687216 h 687216"/>
                    <a:gd name="connsiteX5" fmla="*/ 0 w 2263070"/>
                    <a:gd name="connsiteY5" fmla="*/ 0 h 687216"/>
                    <a:gd name="connsiteX0" fmla="*/ 0 w 2545953"/>
                    <a:gd name="connsiteY0" fmla="*/ 0 h 687216"/>
                    <a:gd name="connsiteX1" fmla="*/ 2263070 w 2545953"/>
                    <a:gd name="connsiteY1" fmla="*/ 0 h 687216"/>
                    <a:gd name="connsiteX2" fmla="*/ 2263070 w 2545953"/>
                    <a:gd name="connsiteY2" fmla="*/ 687216 h 687216"/>
                    <a:gd name="connsiteX3" fmla="*/ 0 w 2545953"/>
                    <a:gd name="connsiteY3" fmla="*/ 687216 h 687216"/>
                    <a:gd name="connsiteX4" fmla="*/ 0 w 2545953"/>
                    <a:gd name="connsiteY4" fmla="*/ 0 h 687216"/>
                    <a:gd name="connsiteX0" fmla="*/ 0 w 2406114"/>
                    <a:gd name="connsiteY0" fmla="*/ 0 h 687216"/>
                    <a:gd name="connsiteX1" fmla="*/ 2263070 w 2406114"/>
                    <a:gd name="connsiteY1" fmla="*/ 0 h 687216"/>
                    <a:gd name="connsiteX2" fmla="*/ 2263070 w 2406114"/>
                    <a:gd name="connsiteY2" fmla="*/ 687216 h 687216"/>
                    <a:gd name="connsiteX3" fmla="*/ 0 w 2406114"/>
                    <a:gd name="connsiteY3" fmla="*/ 687216 h 687216"/>
                    <a:gd name="connsiteX4" fmla="*/ 0 w 2406114"/>
                    <a:gd name="connsiteY4" fmla="*/ 0 h 687216"/>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3070" h="687216">
                      <a:moveTo>
                        <a:pt x="0" y="0"/>
                      </a:moveTo>
                      <a:lnTo>
                        <a:pt x="2263070" y="0"/>
                      </a:lnTo>
                      <a:cubicBezTo>
                        <a:pt x="2090180" y="109772"/>
                        <a:pt x="1973498" y="458379"/>
                        <a:pt x="2263070" y="687216"/>
                      </a:cubicBezTo>
                      <a:lnTo>
                        <a:pt x="0" y="687216"/>
                      </a:lnTo>
                      <a:lnTo>
                        <a:pt x="0" y="0"/>
                      </a:lnTo>
                      <a:close/>
                    </a:path>
                  </a:pathLst>
                </a:custGeom>
                <a:gradFill flip="none" rotWithShape="1">
                  <a:gsLst>
                    <a:gs pos="94200">
                      <a:schemeClr val="bg1"/>
                    </a:gs>
                    <a:gs pos="0">
                      <a:schemeClr val="bg1">
                        <a:lumMod val="65000"/>
                      </a:schemeClr>
                    </a:gs>
                    <a:gs pos="100000">
                      <a:schemeClr val="bg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272" name="Group 76">
                  <a:extLst>
                    <a:ext uri="{FF2B5EF4-FFF2-40B4-BE49-F238E27FC236}">
                      <a16:creationId xmlns:a16="http://schemas.microsoft.com/office/drawing/2014/main" id="{1FE585C4-3D2F-BA6B-63FB-10BF99C9CA93}"/>
                    </a:ext>
                  </a:extLst>
                </p:cNvPr>
                <p:cNvGrpSpPr/>
                <p:nvPr/>
              </p:nvGrpSpPr>
              <p:grpSpPr>
                <a:xfrm flipH="1">
                  <a:off x="7398543" y="4543393"/>
                  <a:ext cx="1051228" cy="1051226"/>
                  <a:chOff x="4396042" y="1286485"/>
                  <a:chExt cx="989390" cy="989390"/>
                </a:xfrm>
              </p:grpSpPr>
              <p:sp>
                <p:nvSpPr>
                  <p:cNvPr id="273" name="Donut 77">
                    <a:extLst>
                      <a:ext uri="{FF2B5EF4-FFF2-40B4-BE49-F238E27FC236}">
                        <a16:creationId xmlns:a16="http://schemas.microsoft.com/office/drawing/2014/main" id="{311AC1E9-E03B-FDB7-552E-32CA5F206750}"/>
                      </a:ext>
                    </a:extLst>
                  </p:cNvPr>
                  <p:cNvSpPr/>
                  <p:nvPr/>
                </p:nvSpPr>
                <p:spPr>
                  <a:xfrm flipH="1">
                    <a:off x="4396042" y="1286485"/>
                    <a:ext cx="989390" cy="989390"/>
                  </a:xfrm>
                  <a:prstGeom prst="donut">
                    <a:avLst>
                      <a:gd name="adj" fmla="val 10135"/>
                    </a:avLst>
                  </a:prstGeom>
                  <a:solidFill>
                    <a:srgbClr val="00878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74" name="Oval 78">
                    <a:extLst>
                      <a:ext uri="{FF2B5EF4-FFF2-40B4-BE49-F238E27FC236}">
                        <a16:creationId xmlns:a16="http://schemas.microsoft.com/office/drawing/2014/main" id="{D1095ADD-5D34-0D06-49BA-37E0F61E3471}"/>
                      </a:ext>
                    </a:extLst>
                  </p:cNvPr>
                  <p:cNvSpPr/>
                  <p:nvPr/>
                </p:nvSpPr>
                <p:spPr>
                  <a:xfrm flipH="1">
                    <a:off x="4550930" y="1432173"/>
                    <a:ext cx="679614" cy="679614"/>
                  </a:xfrm>
                  <a:prstGeom prst="ellipse">
                    <a:avLst/>
                  </a:prstGeom>
                  <a:solidFill>
                    <a:schemeClr val="bg1"/>
                  </a:solidFill>
                  <a:ln>
                    <a:solidFill>
                      <a:schemeClr val="bg1">
                        <a:lumMod val="95000"/>
                      </a:schemeClr>
                    </a:solidFill>
                  </a:ln>
                  <a:effectLst>
                    <a:outerShdw blurRad="508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sp>
            <p:nvSpPr>
              <p:cNvPr id="270" name="TextBox 39">
                <a:extLst>
                  <a:ext uri="{FF2B5EF4-FFF2-40B4-BE49-F238E27FC236}">
                    <a16:creationId xmlns:a16="http://schemas.microsoft.com/office/drawing/2014/main" id="{473E08A9-84DE-21BF-F024-A71C665EAFCC}"/>
                  </a:ext>
                </a:extLst>
              </p:cNvPr>
              <p:cNvSpPr txBox="1"/>
              <p:nvPr/>
            </p:nvSpPr>
            <p:spPr>
              <a:xfrm flipH="1">
                <a:off x="6177389" y="2250256"/>
                <a:ext cx="1367523" cy="324451"/>
              </a:xfrm>
              <a:prstGeom prst="rect">
                <a:avLst/>
              </a:prstGeom>
              <a:noFill/>
            </p:spPr>
            <p:txBody>
              <a:bodyPr wrap="square" rtlCol="0" anchor="ctr">
                <a:sp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NCT - </a:t>
                </a:r>
                <a:r>
                  <a:rPr kumimoji="0" lang="pl-PL" sz="1067" b="1"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Tasks</a:t>
                </a:r>
                <a:endParaRPr kumimoji="0" lang="en-US" sz="1067"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grpSp>
          <p:nvGrpSpPr>
            <p:cNvPr id="263" name="Grupa 262">
              <a:extLst>
                <a:ext uri="{FF2B5EF4-FFF2-40B4-BE49-F238E27FC236}">
                  <a16:creationId xmlns:a16="http://schemas.microsoft.com/office/drawing/2014/main" id="{47F662BD-1BA5-AEB2-1659-27E192920C7B}"/>
                </a:ext>
              </a:extLst>
            </p:cNvPr>
            <p:cNvGrpSpPr/>
            <p:nvPr/>
          </p:nvGrpSpPr>
          <p:grpSpPr>
            <a:xfrm>
              <a:off x="1511966" y="1063183"/>
              <a:ext cx="1449362" cy="315567"/>
              <a:chOff x="7952504" y="1404209"/>
              <a:chExt cx="1954469" cy="300835"/>
            </a:xfrm>
          </p:grpSpPr>
          <p:sp>
            <p:nvSpPr>
              <p:cNvPr id="267" name="pole tekstowe 266">
                <a:extLst>
                  <a:ext uri="{FF2B5EF4-FFF2-40B4-BE49-F238E27FC236}">
                    <a16:creationId xmlns:a16="http://schemas.microsoft.com/office/drawing/2014/main" id="{1477E467-9F55-14F8-0667-18D2B29F5B7E}"/>
                  </a:ext>
                </a:extLst>
              </p:cNvPr>
              <p:cNvSpPr txBox="1"/>
              <p:nvPr/>
            </p:nvSpPr>
            <p:spPr>
              <a:xfrm>
                <a:off x="8959322" y="1404209"/>
                <a:ext cx="947651" cy="300835"/>
              </a:xfrm>
              <a:prstGeom prst="rect">
                <a:avLst/>
              </a:prstGeom>
              <a:noFill/>
            </p:spPr>
            <p:txBody>
              <a:bodyPr wrap="square" rtlCol="0">
                <a:spAutoFit/>
              </a:bodyPr>
              <a:lstStyle/>
              <a:p>
                <a:pPr marL="0" marR="0" lvl="0" indent="0" algn="ctr" defTabSz="467539"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NEAR</a:t>
                </a:r>
                <a:br>
                  <a:rPr kumimoji="0" lang="en-US" sz="1067"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br>
                <a:r>
                  <a:rPr kumimoji="0" lang="en-US" sz="1067"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REAL TIME</a:t>
                </a:r>
              </a:p>
            </p:txBody>
          </p:sp>
          <p:sp>
            <p:nvSpPr>
              <p:cNvPr id="268" name="pole tekstowe 267">
                <a:extLst>
                  <a:ext uri="{FF2B5EF4-FFF2-40B4-BE49-F238E27FC236}">
                    <a16:creationId xmlns:a16="http://schemas.microsoft.com/office/drawing/2014/main" id="{0FBC65B4-9EFB-9F3F-794B-4CC972116A41}"/>
                  </a:ext>
                </a:extLst>
              </p:cNvPr>
              <p:cNvSpPr txBox="1"/>
              <p:nvPr/>
            </p:nvSpPr>
            <p:spPr>
              <a:xfrm>
                <a:off x="7952504" y="1460535"/>
                <a:ext cx="1053745" cy="183426"/>
              </a:xfrm>
              <a:prstGeom prst="rect">
                <a:avLst/>
              </a:prstGeom>
              <a:noFill/>
            </p:spPr>
            <p:txBody>
              <a:bodyPr wrap="square" rtlCol="0">
                <a:spAutoFit/>
              </a:bodyPr>
              <a:lstStyle/>
              <a:p>
                <a:pPr marL="0" marR="0" lvl="0" indent="0" algn="ctr" defTabSz="467539" rtl="0" eaLnBrk="1" fontAlgn="auto" latinLnBrk="0" hangingPunct="1">
                  <a:lnSpc>
                    <a:spcPct val="100000"/>
                  </a:lnSpc>
                  <a:spcBef>
                    <a:spcPts val="0"/>
                  </a:spcBef>
                  <a:spcAft>
                    <a:spcPts val="0"/>
                  </a:spcAft>
                  <a:buClrTx/>
                  <a:buSzTx/>
                  <a:buFontTx/>
                  <a:buNone/>
                  <a:tabLst/>
                  <a:defRPr/>
                </a:pPr>
                <a:r>
                  <a:rPr kumimoji="0" lang="pl-PL" sz="1067"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14 456</a:t>
                </a:r>
              </a:p>
            </p:txBody>
          </p:sp>
        </p:grpSp>
        <p:sp>
          <p:nvSpPr>
            <p:cNvPr id="264" name="Owal 263">
              <a:extLst>
                <a:ext uri="{FF2B5EF4-FFF2-40B4-BE49-F238E27FC236}">
                  <a16:creationId xmlns:a16="http://schemas.microsoft.com/office/drawing/2014/main" id="{380AC7DA-1285-ED58-95D8-C54B0EC942B9}"/>
                </a:ext>
              </a:extLst>
            </p:cNvPr>
            <p:cNvSpPr/>
            <p:nvPr/>
          </p:nvSpPr>
          <p:spPr>
            <a:xfrm>
              <a:off x="3133774" y="1171702"/>
              <a:ext cx="133481" cy="135000"/>
            </a:xfrm>
            <a:prstGeom prst="ellipse">
              <a:avLst/>
            </a:prstGeom>
            <a:solidFill>
              <a:srgbClr val="92D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467539"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FFFFFF"/>
                </a:solidFill>
                <a:effectLst/>
                <a:uLnTx/>
                <a:uFillTx/>
                <a:latin typeface="Arial"/>
                <a:ea typeface="+mn-ea"/>
                <a:cs typeface="+mn-cs"/>
              </a:endParaRPr>
            </a:p>
          </p:txBody>
        </p:sp>
        <p:sp>
          <p:nvSpPr>
            <p:cNvPr id="265" name="Owal 264">
              <a:extLst>
                <a:ext uri="{FF2B5EF4-FFF2-40B4-BE49-F238E27FC236}">
                  <a16:creationId xmlns:a16="http://schemas.microsoft.com/office/drawing/2014/main" id="{D0BA2A81-4A00-B418-BE55-303F0BD8E476}"/>
                </a:ext>
              </a:extLst>
            </p:cNvPr>
            <p:cNvSpPr/>
            <p:nvPr/>
          </p:nvSpPr>
          <p:spPr>
            <a:xfrm>
              <a:off x="3663180" y="1169283"/>
              <a:ext cx="133481" cy="135000"/>
            </a:xfrm>
            <a:prstGeom prst="ellipse">
              <a:avLst/>
            </a:prstGeom>
            <a:solidFill>
              <a:srgbClr val="96CA1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467539"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345" name="Grupa 344">
            <a:extLst>
              <a:ext uri="{FF2B5EF4-FFF2-40B4-BE49-F238E27FC236}">
                <a16:creationId xmlns:a16="http://schemas.microsoft.com/office/drawing/2014/main" id="{A848C1CA-3ADA-FB78-2383-6A60F2CB6FC0}"/>
              </a:ext>
            </a:extLst>
          </p:cNvPr>
          <p:cNvGrpSpPr/>
          <p:nvPr/>
        </p:nvGrpSpPr>
        <p:grpSpPr>
          <a:xfrm>
            <a:off x="376454" y="1896836"/>
            <a:ext cx="5640063" cy="696722"/>
            <a:chOff x="341953" y="969197"/>
            <a:chExt cx="4230047" cy="522541"/>
          </a:xfrm>
        </p:grpSpPr>
        <p:grpSp>
          <p:nvGrpSpPr>
            <p:cNvPr id="346" name="Grupa 345">
              <a:extLst>
                <a:ext uri="{FF2B5EF4-FFF2-40B4-BE49-F238E27FC236}">
                  <a16:creationId xmlns:a16="http://schemas.microsoft.com/office/drawing/2014/main" id="{6ADAF179-D89A-1AC0-9EBC-3D5B572ED61C}"/>
                </a:ext>
              </a:extLst>
            </p:cNvPr>
            <p:cNvGrpSpPr/>
            <p:nvPr/>
          </p:nvGrpSpPr>
          <p:grpSpPr>
            <a:xfrm>
              <a:off x="341953" y="969197"/>
              <a:ext cx="4230047" cy="522541"/>
              <a:chOff x="5292008" y="1971909"/>
              <a:chExt cx="7381979" cy="881139"/>
            </a:xfrm>
          </p:grpSpPr>
          <p:grpSp>
            <p:nvGrpSpPr>
              <p:cNvPr id="353" name="Group 66">
                <a:extLst>
                  <a:ext uri="{FF2B5EF4-FFF2-40B4-BE49-F238E27FC236}">
                    <a16:creationId xmlns:a16="http://schemas.microsoft.com/office/drawing/2014/main" id="{7F0C75F9-F662-E9D4-4F4C-5178F72020D7}"/>
                  </a:ext>
                </a:extLst>
              </p:cNvPr>
              <p:cNvGrpSpPr/>
              <p:nvPr/>
            </p:nvGrpSpPr>
            <p:grpSpPr>
              <a:xfrm flipH="1">
                <a:off x="5292008" y="1971909"/>
                <a:ext cx="7381979" cy="881139"/>
                <a:chOff x="-357157" y="4543393"/>
                <a:chExt cx="8806928" cy="1051226"/>
              </a:xfrm>
            </p:grpSpPr>
            <p:sp>
              <p:nvSpPr>
                <p:cNvPr id="355" name="Rectangle 143">
                  <a:extLst>
                    <a:ext uri="{FF2B5EF4-FFF2-40B4-BE49-F238E27FC236}">
                      <a16:creationId xmlns:a16="http://schemas.microsoft.com/office/drawing/2014/main" id="{3153CB31-0208-02F8-D08D-C201C6990ACE}"/>
                    </a:ext>
                  </a:extLst>
                </p:cNvPr>
                <p:cNvSpPr/>
                <p:nvPr/>
              </p:nvSpPr>
              <p:spPr>
                <a:xfrm>
                  <a:off x="-357157" y="4725399"/>
                  <a:ext cx="8443381" cy="687217"/>
                </a:xfrm>
                <a:custGeom>
                  <a:avLst/>
                  <a:gdLst>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 name="connsiteX0" fmla="*/ 0 w 2263070"/>
                    <a:gd name="connsiteY0" fmla="*/ 0 h 687216"/>
                    <a:gd name="connsiteX1" fmla="*/ 2263070 w 2263070"/>
                    <a:gd name="connsiteY1" fmla="*/ 0 h 687216"/>
                    <a:gd name="connsiteX2" fmla="*/ 2084172 w 2263070"/>
                    <a:gd name="connsiteY2" fmla="*/ 362830 h 687216"/>
                    <a:gd name="connsiteX3" fmla="*/ 2263070 w 2263070"/>
                    <a:gd name="connsiteY3" fmla="*/ 687216 h 687216"/>
                    <a:gd name="connsiteX4" fmla="*/ 0 w 2263070"/>
                    <a:gd name="connsiteY4" fmla="*/ 687216 h 687216"/>
                    <a:gd name="connsiteX5" fmla="*/ 0 w 2263070"/>
                    <a:gd name="connsiteY5" fmla="*/ 0 h 687216"/>
                    <a:gd name="connsiteX0" fmla="*/ 0 w 2545953"/>
                    <a:gd name="connsiteY0" fmla="*/ 0 h 687216"/>
                    <a:gd name="connsiteX1" fmla="*/ 2263070 w 2545953"/>
                    <a:gd name="connsiteY1" fmla="*/ 0 h 687216"/>
                    <a:gd name="connsiteX2" fmla="*/ 2263070 w 2545953"/>
                    <a:gd name="connsiteY2" fmla="*/ 687216 h 687216"/>
                    <a:gd name="connsiteX3" fmla="*/ 0 w 2545953"/>
                    <a:gd name="connsiteY3" fmla="*/ 687216 h 687216"/>
                    <a:gd name="connsiteX4" fmla="*/ 0 w 2545953"/>
                    <a:gd name="connsiteY4" fmla="*/ 0 h 687216"/>
                    <a:gd name="connsiteX0" fmla="*/ 0 w 2406114"/>
                    <a:gd name="connsiteY0" fmla="*/ 0 h 687216"/>
                    <a:gd name="connsiteX1" fmla="*/ 2263070 w 2406114"/>
                    <a:gd name="connsiteY1" fmla="*/ 0 h 687216"/>
                    <a:gd name="connsiteX2" fmla="*/ 2263070 w 2406114"/>
                    <a:gd name="connsiteY2" fmla="*/ 687216 h 687216"/>
                    <a:gd name="connsiteX3" fmla="*/ 0 w 2406114"/>
                    <a:gd name="connsiteY3" fmla="*/ 687216 h 687216"/>
                    <a:gd name="connsiteX4" fmla="*/ 0 w 2406114"/>
                    <a:gd name="connsiteY4" fmla="*/ 0 h 687216"/>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3070" h="687216">
                      <a:moveTo>
                        <a:pt x="0" y="0"/>
                      </a:moveTo>
                      <a:lnTo>
                        <a:pt x="2263070" y="0"/>
                      </a:lnTo>
                      <a:cubicBezTo>
                        <a:pt x="2090180" y="109772"/>
                        <a:pt x="1973498" y="458379"/>
                        <a:pt x="2263070" y="687216"/>
                      </a:cubicBezTo>
                      <a:lnTo>
                        <a:pt x="0" y="687216"/>
                      </a:lnTo>
                      <a:lnTo>
                        <a:pt x="0" y="0"/>
                      </a:lnTo>
                      <a:close/>
                    </a:path>
                  </a:pathLst>
                </a:custGeom>
                <a:gradFill flip="none" rotWithShape="1">
                  <a:gsLst>
                    <a:gs pos="94200">
                      <a:schemeClr val="bg1"/>
                    </a:gs>
                    <a:gs pos="0">
                      <a:schemeClr val="bg1">
                        <a:lumMod val="65000"/>
                      </a:schemeClr>
                    </a:gs>
                    <a:gs pos="100000">
                      <a:schemeClr val="bg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356" name="Group 76">
                  <a:extLst>
                    <a:ext uri="{FF2B5EF4-FFF2-40B4-BE49-F238E27FC236}">
                      <a16:creationId xmlns:a16="http://schemas.microsoft.com/office/drawing/2014/main" id="{D567B7B7-0A81-251A-1EBD-D5EBB3602075}"/>
                    </a:ext>
                  </a:extLst>
                </p:cNvPr>
                <p:cNvGrpSpPr/>
                <p:nvPr/>
              </p:nvGrpSpPr>
              <p:grpSpPr>
                <a:xfrm flipH="1">
                  <a:off x="7398543" y="4543393"/>
                  <a:ext cx="1051228" cy="1051226"/>
                  <a:chOff x="4396042" y="1286485"/>
                  <a:chExt cx="989390" cy="989390"/>
                </a:xfrm>
              </p:grpSpPr>
              <p:sp>
                <p:nvSpPr>
                  <p:cNvPr id="357" name="Donut 77">
                    <a:extLst>
                      <a:ext uri="{FF2B5EF4-FFF2-40B4-BE49-F238E27FC236}">
                        <a16:creationId xmlns:a16="http://schemas.microsoft.com/office/drawing/2014/main" id="{097C2E4E-519C-3445-F9B8-C637DE27D10D}"/>
                      </a:ext>
                    </a:extLst>
                  </p:cNvPr>
                  <p:cNvSpPr/>
                  <p:nvPr/>
                </p:nvSpPr>
                <p:spPr>
                  <a:xfrm flipH="1">
                    <a:off x="4396042" y="1286485"/>
                    <a:ext cx="989390" cy="989390"/>
                  </a:xfrm>
                  <a:prstGeom prst="donut">
                    <a:avLst>
                      <a:gd name="adj" fmla="val 10135"/>
                    </a:avLst>
                  </a:prstGeom>
                  <a:solidFill>
                    <a:srgbClr val="00878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58" name="Oval 78">
                    <a:extLst>
                      <a:ext uri="{FF2B5EF4-FFF2-40B4-BE49-F238E27FC236}">
                        <a16:creationId xmlns:a16="http://schemas.microsoft.com/office/drawing/2014/main" id="{C49FC44A-DD8E-C727-5B7C-4CD711A15E9A}"/>
                      </a:ext>
                    </a:extLst>
                  </p:cNvPr>
                  <p:cNvSpPr/>
                  <p:nvPr/>
                </p:nvSpPr>
                <p:spPr>
                  <a:xfrm flipH="1">
                    <a:off x="4550930" y="1432173"/>
                    <a:ext cx="679614" cy="679614"/>
                  </a:xfrm>
                  <a:prstGeom prst="ellipse">
                    <a:avLst/>
                  </a:prstGeom>
                  <a:solidFill>
                    <a:schemeClr val="bg1"/>
                  </a:solidFill>
                  <a:ln>
                    <a:solidFill>
                      <a:schemeClr val="bg1">
                        <a:lumMod val="95000"/>
                      </a:schemeClr>
                    </a:solidFill>
                  </a:ln>
                  <a:effectLst>
                    <a:outerShdw blurRad="508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sp>
            <p:nvSpPr>
              <p:cNvPr id="354" name="TextBox 39">
                <a:extLst>
                  <a:ext uri="{FF2B5EF4-FFF2-40B4-BE49-F238E27FC236}">
                    <a16:creationId xmlns:a16="http://schemas.microsoft.com/office/drawing/2014/main" id="{A9C5654E-31CC-3BE0-73E3-5F00AEEAB438}"/>
                  </a:ext>
                </a:extLst>
              </p:cNvPr>
              <p:cNvSpPr txBox="1"/>
              <p:nvPr/>
            </p:nvSpPr>
            <p:spPr>
              <a:xfrm flipH="1">
                <a:off x="6053824" y="2250254"/>
                <a:ext cx="1367523" cy="324451"/>
              </a:xfrm>
              <a:prstGeom prst="rect">
                <a:avLst/>
              </a:prstGeom>
              <a:noFill/>
            </p:spPr>
            <p:txBody>
              <a:bodyPr wrap="square" rtlCol="0" anchor="ctr">
                <a:sp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MS</a:t>
                </a:r>
              </a:p>
            </p:txBody>
          </p:sp>
        </p:grpSp>
        <p:grpSp>
          <p:nvGrpSpPr>
            <p:cNvPr id="347" name="Grupa 346">
              <a:extLst>
                <a:ext uri="{FF2B5EF4-FFF2-40B4-BE49-F238E27FC236}">
                  <a16:creationId xmlns:a16="http://schemas.microsoft.com/office/drawing/2014/main" id="{5307BAD4-8B12-D14A-7C83-80DF08EC819F}"/>
                </a:ext>
              </a:extLst>
            </p:cNvPr>
            <p:cNvGrpSpPr/>
            <p:nvPr/>
          </p:nvGrpSpPr>
          <p:grpSpPr>
            <a:xfrm>
              <a:off x="1511966" y="1113751"/>
              <a:ext cx="1449362" cy="200920"/>
              <a:chOff x="7952504" y="1452421"/>
              <a:chExt cx="1954469" cy="191541"/>
            </a:xfrm>
          </p:grpSpPr>
          <p:sp>
            <p:nvSpPr>
              <p:cNvPr id="351" name="pole tekstowe 350">
                <a:extLst>
                  <a:ext uri="{FF2B5EF4-FFF2-40B4-BE49-F238E27FC236}">
                    <a16:creationId xmlns:a16="http://schemas.microsoft.com/office/drawing/2014/main" id="{4F8050D2-7374-6D23-3232-41830E0E0490}"/>
                  </a:ext>
                </a:extLst>
              </p:cNvPr>
              <p:cNvSpPr txBox="1"/>
              <p:nvPr/>
            </p:nvSpPr>
            <p:spPr>
              <a:xfrm>
                <a:off x="8959322" y="1452421"/>
                <a:ext cx="947651" cy="183427"/>
              </a:xfrm>
              <a:prstGeom prst="rect">
                <a:avLst/>
              </a:prstGeom>
              <a:noFill/>
            </p:spPr>
            <p:txBody>
              <a:bodyPr wrap="square" rtlCol="0">
                <a:spAutoFit/>
              </a:bodyPr>
              <a:lstStyle/>
              <a:p>
                <a:pPr marL="0" marR="0" lvl="0" indent="0" algn="ctr" defTabSz="467539"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REAL TIME</a:t>
                </a:r>
              </a:p>
            </p:txBody>
          </p:sp>
          <p:sp>
            <p:nvSpPr>
              <p:cNvPr id="352" name="pole tekstowe 351">
                <a:extLst>
                  <a:ext uri="{FF2B5EF4-FFF2-40B4-BE49-F238E27FC236}">
                    <a16:creationId xmlns:a16="http://schemas.microsoft.com/office/drawing/2014/main" id="{795C25E7-E663-01DC-3A38-85FDAF4F14F2}"/>
                  </a:ext>
                </a:extLst>
              </p:cNvPr>
              <p:cNvSpPr txBox="1"/>
              <p:nvPr/>
            </p:nvSpPr>
            <p:spPr>
              <a:xfrm>
                <a:off x="7952504" y="1460535"/>
                <a:ext cx="1053745" cy="183427"/>
              </a:xfrm>
              <a:prstGeom prst="rect">
                <a:avLst/>
              </a:prstGeom>
              <a:noFill/>
            </p:spPr>
            <p:txBody>
              <a:bodyPr wrap="square" rtlCol="0">
                <a:spAutoFit/>
              </a:bodyPr>
              <a:lstStyle/>
              <a:p>
                <a:pPr marL="0" marR="0" lvl="0" indent="0" algn="ctr" defTabSz="467539" rtl="0" eaLnBrk="1" fontAlgn="auto" latinLnBrk="0" hangingPunct="1">
                  <a:lnSpc>
                    <a:spcPct val="100000"/>
                  </a:lnSpc>
                  <a:spcBef>
                    <a:spcPts val="0"/>
                  </a:spcBef>
                  <a:spcAft>
                    <a:spcPts val="0"/>
                  </a:spcAft>
                  <a:buClrTx/>
                  <a:buSzTx/>
                  <a:buFontTx/>
                  <a:buNone/>
                  <a:tabLst/>
                  <a:defRPr/>
                </a:pPr>
                <a:r>
                  <a:rPr kumimoji="0" lang="pl-PL" sz="1067"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70 522</a:t>
                </a:r>
              </a:p>
            </p:txBody>
          </p:sp>
        </p:grpSp>
        <p:sp>
          <p:nvSpPr>
            <p:cNvPr id="348" name="Owal 347">
              <a:extLst>
                <a:ext uri="{FF2B5EF4-FFF2-40B4-BE49-F238E27FC236}">
                  <a16:creationId xmlns:a16="http://schemas.microsoft.com/office/drawing/2014/main" id="{A153ECA0-3658-60E3-49C3-47C4108F8D18}"/>
                </a:ext>
              </a:extLst>
            </p:cNvPr>
            <p:cNvSpPr/>
            <p:nvPr/>
          </p:nvSpPr>
          <p:spPr>
            <a:xfrm>
              <a:off x="3133774" y="1171702"/>
              <a:ext cx="133481" cy="135000"/>
            </a:xfrm>
            <a:prstGeom prst="ellipse">
              <a:avLst/>
            </a:prstGeom>
            <a:solidFill>
              <a:srgbClr val="92D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467539"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FFFFFF"/>
                </a:solidFill>
                <a:effectLst/>
                <a:uLnTx/>
                <a:uFillTx/>
                <a:latin typeface="Arial"/>
                <a:ea typeface="+mn-ea"/>
                <a:cs typeface="+mn-cs"/>
              </a:endParaRPr>
            </a:p>
          </p:txBody>
        </p:sp>
        <p:sp>
          <p:nvSpPr>
            <p:cNvPr id="349" name="Owal 348">
              <a:extLst>
                <a:ext uri="{FF2B5EF4-FFF2-40B4-BE49-F238E27FC236}">
                  <a16:creationId xmlns:a16="http://schemas.microsoft.com/office/drawing/2014/main" id="{C842F7F2-D9F1-4E4D-81E4-169DC8A79AEA}"/>
                </a:ext>
              </a:extLst>
            </p:cNvPr>
            <p:cNvSpPr/>
            <p:nvPr/>
          </p:nvSpPr>
          <p:spPr>
            <a:xfrm>
              <a:off x="3663180" y="1169283"/>
              <a:ext cx="133481" cy="135000"/>
            </a:xfrm>
            <a:prstGeom prst="ellipse">
              <a:avLst/>
            </a:prstGeom>
            <a:solidFill>
              <a:srgbClr val="FF00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467539"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FFFFFF"/>
                </a:solidFill>
                <a:effectLst/>
                <a:uLnTx/>
                <a:uFillTx/>
                <a:latin typeface="Arial"/>
                <a:ea typeface="+mn-ea"/>
                <a:cs typeface="+mn-cs"/>
              </a:endParaRPr>
            </a:p>
          </p:txBody>
        </p:sp>
      </p:grpSp>
      <p:pic>
        <p:nvPicPr>
          <p:cNvPr id="392" name="Graphic 6" descr="Users with solid fill">
            <a:extLst>
              <a:ext uri="{FF2B5EF4-FFF2-40B4-BE49-F238E27FC236}">
                <a16:creationId xmlns:a16="http://schemas.microsoft.com/office/drawing/2014/main" id="{2AFC2A59-64E0-663D-B1C0-B1E6D5F8CB32}"/>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5404443" y="2000584"/>
            <a:ext cx="455465" cy="455467"/>
          </a:xfrm>
          <a:prstGeom prst="rect">
            <a:avLst/>
          </a:prstGeom>
          <a:effectLst>
            <a:outerShdw blurRad="50800" dist="38100" dir="5400000" algn="t" rotWithShape="0">
              <a:prstClr val="black">
                <a:alpha val="40000"/>
              </a:prstClr>
            </a:outerShdw>
          </a:effectLst>
        </p:spPr>
      </p:pic>
      <p:pic>
        <p:nvPicPr>
          <p:cNvPr id="393" name="Graphic 6" descr="Users with solid fill">
            <a:extLst>
              <a:ext uri="{FF2B5EF4-FFF2-40B4-BE49-F238E27FC236}">
                <a16:creationId xmlns:a16="http://schemas.microsoft.com/office/drawing/2014/main" id="{90F8C099-1AD3-2ED0-99C3-09C0B65C63EA}"/>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5374359" y="2776612"/>
            <a:ext cx="455465" cy="455467"/>
          </a:xfrm>
          <a:prstGeom prst="rect">
            <a:avLst/>
          </a:prstGeom>
          <a:effectLst>
            <a:outerShdw blurRad="50800" dist="38100" dir="5400000" algn="t" rotWithShape="0">
              <a:prstClr val="black">
                <a:alpha val="40000"/>
              </a:prstClr>
            </a:outerShdw>
          </a:effectLst>
        </p:spPr>
      </p:pic>
      <p:pic>
        <p:nvPicPr>
          <p:cNvPr id="400" name="Graphic 6" descr="Users with solid fill">
            <a:extLst>
              <a:ext uri="{FF2B5EF4-FFF2-40B4-BE49-F238E27FC236}">
                <a16:creationId xmlns:a16="http://schemas.microsoft.com/office/drawing/2014/main" id="{B10AD3A4-5F54-7BAD-390C-1B17F9B8D92C}"/>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5368261" y="4948575"/>
            <a:ext cx="455465" cy="455467"/>
          </a:xfrm>
          <a:prstGeom prst="rect">
            <a:avLst/>
          </a:prstGeom>
          <a:effectLst>
            <a:outerShdw blurRad="50800" dist="38100" dir="5400000" algn="t" rotWithShape="0">
              <a:prstClr val="black">
                <a:alpha val="40000"/>
              </a:prstClr>
            </a:outerShdw>
          </a:effectLst>
        </p:spPr>
      </p:pic>
      <p:pic>
        <p:nvPicPr>
          <p:cNvPr id="401" name="Graphic 6" descr="Users with solid fill">
            <a:extLst>
              <a:ext uri="{FF2B5EF4-FFF2-40B4-BE49-F238E27FC236}">
                <a16:creationId xmlns:a16="http://schemas.microsoft.com/office/drawing/2014/main" id="{73B18F1A-02E2-F8D2-6C03-2822E59BFFE0}"/>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5368261" y="5624575"/>
            <a:ext cx="455465" cy="455467"/>
          </a:xfrm>
          <a:prstGeom prst="rect">
            <a:avLst/>
          </a:prstGeom>
          <a:effectLst>
            <a:outerShdw blurRad="50800" dist="38100" dir="5400000" algn="t" rotWithShape="0">
              <a:prstClr val="black">
                <a:alpha val="40000"/>
              </a:prstClr>
            </a:outerShdw>
          </a:effectLst>
        </p:spPr>
      </p:pic>
      <p:grpSp>
        <p:nvGrpSpPr>
          <p:cNvPr id="402" name="Group 44">
            <a:extLst>
              <a:ext uri="{FF2B5EF4-FFF2-40B4-BE49-F238E27FC236}">
                <a16:creationId xmlns:a16="http://schemas.microsoft.com/office/drawing/2014/main" id="{F7DEA2C1-A66C-3DE6-A7D9-846F82A72862}"/>
              </a:ext>
            </a:extLst>
          </p:cNvPr>
          <p:cNvGrpSpPr/>
          <p:nvPr/>
        </p:nvGrpSpPr>
        <p:grpSpPr>
          <a:xfrm>
            <a:off x="568004" y="2040752"/>
            <a:ext cx="252436" cy="394201"/>
            <a:chOff x="2983932" y="1204028"/>
            <a:chExt cx="842510" cy="1083211"/>
          </a:xfrm>
          <a:solidFill>
            <a:schemeClr val="accent1"/>
          </a:solidFill>
          <a:effectLst/>
        </p:grpSpPr>
        <p:grpSp>
          <p:nvGrpSpPr>
            <p:cNvPr id="403" name="Group 45">
              <a:extLst>
                <a:ext uri="{FF2B5EF4-FFF2-40B4-BE49-F238E27FC236}">
                  <a16:creationId xmlns:a16="http://schemas.microsoft.com/office/drawing/2014/main" id="{348E6FDD-8E64-C20E-7E18-18C31A285B8E}"/>
                </a:ext>
              </a:extLst>
            </p:cNvPr>
            <p:cNvGrpSpPr/>
            <p:nvPr/>
          </p:nvGrpSpPr>
          <p:grpSpPr>
            <a:xfrm>
              <a:off x="3181349" y="1368863"/>
              <a:ext cx="319088" cy="258262"/>
              <a:chOff x="815794" y="1447611"/>
              <a:chExt cx="353251" cy="285914"/>
            </a:xfrm>
            <a:grpFill/>
          </p:grpSpPr>
          <p:sp>
            <p:nvSpPr>
              <p:cNvPr id="408" name="Freeform 50">
                <a:extLst>
                  <a:ext uri="{FF2B5EF4-FFF2-40B4-BE49-F238E27FC236}">
                    <a16:creationId xmlns:a16="http://schemas.microsoft.com/office/drawing/2014/main" id="{ED399F4C-4E6F-E588-4C39-3699CD953900}"/>
                  </a:ext>
                </a:extLst>
              </p:cNvPr>
              <p:cNvSpPr/>
              <p:nvPr/>
            </p:nvSpPr>
            <p:spPr>
              <a:xfrm rot="14011">
                <a:off x="815794" y="1447611"/>
                <a:ext cx="353251" cy="285914"/>
              </a:xfrm>
              <a:custGeom>
                <a:avLst/>
                <a:gdLst>
                  <a:gd name="connsiteX0" fmla="*/ 989966 w 1965784"/>
                  <a:gd name="connsiteY0" fmla="*/ 394302 h 1580366"/>
                  <a:gd name="connsiteX1" fmla="*/ 926142 w 1965784"/>
                  <a:gd name="connsiteY1" fmla="*/ 728352 h 1580366"/>
                  <a:gd name="connsiteX2" fmla="*/ 273445 w 1965784"/>
                  <a:gd name="connsiteY2" fmla="*/ 721653 h 1580366"/>
                  <a:gd name="connsiteX3" fmla="*/ 272497 w 1965784"/>
                  <a:gd name="connsiteY3" fmla="*/ 726313 h 1580366"/>
                  <a:gd name="connsiteX4" fmla="*/ 298714 w 1965784"/>
                  <a:gd name="connsiteY4" fmla="*/ 994378 h 1580366"/>
                  <a:gd name="connsiteX5" fmla="*/ 1145665 w 1965784"/>
                  <a:gd name="connsiteY5" fmla="*/ 1444708 h 1580366"/>
                  <a:gd name="connsiteX6" fmla="*/ 1622215 w 1965784"/>
                  <a:gd name="connsiteY6" fmla="*/ 865823 h 1580366"/>
                  <a:gd name="connsiteX7" fmla="*/ 1616575 w 1965784"/>
                  <a:gd name="connsiteY7" fmla="*/ 735439 h 1580366"/>
                  <a:gd name="connsiteX8" fmla="*/ 1163568 w 1965784"/>
                  <a:gd name="connsiteY8" fmla="*/ 730789 h 1580366"/>
                  <a:gd name="connsiteX9" fmla="*/ 1090659 w 1965784"/>
                  <a:gd name="connsiteY9" fmla="*/ 596552 h 1580366"/>
                  <a:gd name="connsiteX10" fmla="*/ 1065946 w 1965784"/>
                  <a:gd name="connsiteY10" fmla="*/ 729787 h 1580366"/>
                  <a:gd name="connsiteX11" fmla="*/ 1052001 w 1965784"/>
                  <a:gd name="connsiteY11" fmla="*/ 729644 h 1580366"/>
                  <a:gd name="connsiteX12" fmla="*/ 656984 w 1965784"/>
                  <a:gd name="connsiteY12" fmla="*/ 37890 h 1580366"/>
                  <a:gd name="connsiteX13" fmla="*/ 1131790 w 1965784"/>
                  <a:gd name="connsiteY13" fmla="*/ 15622 h 1580366"/>
                  <a:gd name="connsiteX14" fmla="*/ 1877987 w 1965784"/>
                  <a:gd name="connsiteY14" fmla="*/ 1580366 h 1580366"/>
                  <a:gd name="connsiteX15" fmla="*/ 0 w 1965784"/>
                  <a:gd name="connsiteY15" fmla="*/ 1577175 h 1580366"/>
                  <a:gd name="connsiteX16" fmla="*/ 173542 w 1965784"/>
                  <a:gd name="connsiteY16" fmla="*/ 1273930 h 1580366"/>
                  <a:gd name="connsiteX17" fmla="*/ 311525 w 1965784"/>
                  <a:gd name="connsiteY17" fmla="*/ 246826 h 1580366"/>
                  <a:gd name="connsiteX18" fmla="*/ 656984 w 1965784"/>
                  <a:gd name="connsiteY18" fmla="*/ 37890 h 1580366"/>
                  <a:gd name="connsiteX0" fmla="*/ 989966 w 1965784"/>
                  <a:gd name="connsiteY0" fmla="*/ 394302 h 1580366"/>
                  <a:gd name="connsiteX1" fmla="*/ 929623 w 1965784"/>
                  <a:gd name="connsiteY1" fmla="*/ 739738 h 1580366"/>
                  <a:gd name="connsiteX2" fmla="*/ 273445 w 1965784"/>
                  <a:gd name="connsiteY2" fmla="*/ 721653 h 1580366"/>
                  <a:gd name="connsiteX3" fmla="*/ 272497 w 1965784"/>
                  <a:gd name="connsiteY3" fmla="*/ 726313 h 1580366"/>
                  <a:gd name="connsiteX4" fmla="*/ 298714 w 1965784"/>
                  <a:gd name="connsiteY4" fmla="*/ 994378 h 1580366"/>
                  <a:gd name="connsiteX5" fmla="*/ 1145665 w 1965784"/>
                  <a:gd name="connsiteY5" fmla="*/ 1444708 h 1580366"/>
                  <a:gd name="connsiteX6" fmla="*/ 1622215 w 1965784"/>
                  <a:gd name="connsiteY6" fmla="*/ 865823 h 1580366"/>
                  <a:gd name="connsiteX7" fmla="*/ 1616575 w 1965784"/>
                  <a:gd name="connsiteY7" fmla="*/ 735439 h 1580366"/>
                  <a:gd name="connsiteX8" fmla="*/ 1163568 w 1965784"/>
                  <a:gd name="connsiteY8" fmla="*/ 730789 h 1580366"/>
                  <a:gd name="connsiteX9" fmla="*/ 1090659 w 1965784"/>
                  <a:gd name="connsiteY9" fmla="*/ 596552 h 1580366"/>
                  <a:gd name="connsiteX10" fmla="*/ 1065946 w 1965784"/>
                  <a:gd name="connsiteY10" fmla="*/ 729787 h 1580366"/>
                  <a:gd name="connsiteX11" fmla="*/ 1052001 w 1965784"/>
                  <a:gd name="connsiteY11" fmla="*/ 729644 h 1580366"/>
                  <a:gd name="connsiteX12" fmla="*/ 989966 w 1965784"/>
                  <a:gd name="connsiteY12" fmla="*/ 394302 h 1580366"/>
                  <a:gd name="connsiteX13" fmla="*/ 656984 w 1965784"/>
                  <a:gd name="connsiteY13" fmla="*/ 37890 h 1580366"/>
                  <a:gd name="connsiteX14" fmla="*/ 1131790 w 1965784"/>
                  <a:gd name="connsiteY14" fmla="*/ 15622 h 1580366"/>
                  <a:gd name="connsiteX15" fmla="*/ 1877987 w 1965784"/>
                  <a:gd name="connsiteY15" fmla="*/ 1580366 h 1580366"/>
                  <a:gd name="connsiteX16" fmla="*/ 0 w 1965784"/>
                  <a:gd name="connsiteY16" fmla="*/ 1577175 h 1580366"/>
                  <a:gd name="connsiteX17" fmla="*/ 173542 w 1965784"/>
                  <a:gd name="connsiteY17" fmla="*/ 1273930 h 1580366"/>
                  <a:gd name="connsiteX18" fmla="*/ 311525 w 1965784"/>
                  <a:gd name="connsiteY18" fmla="*/ 246826 h 1580366"/>
                  <a:gd name="connsiteX19" fmla="*/ 656984 w 1965784"/>
                  <a:gd name="connsiteY19" fmla="*/ 37890 h 1580366"/>
                  <a:gd name="connsiteX0" fmla="*/ 989966 w 1965784"/>
                  <a:gd name="connsiteY0" fmla="*/ 394302 h 1580366"/>
                  <a:gd name="connsiteX1" fmla="*/ 929623 w 1965784"/>
                  <a:gd name="connsiteY1" fmla="*/ 739738 h 1580366"/>
                  <a:gd name="connsiteX2" fmla="*/ 273445 w 1965784"/>
                  <a:gd name="connsiteY2" fmla="*/ 721653 h 1580366"/>
                  <a:gd name="connsiteX3" fmla="*/ 272497 w 1965784"/>
                  <a:gd name="connsiteY3" fmla="*/ 726313 h 1580366"/>
                  <a:gd name="connsiteX4" fmla="*/ 298714 w 1965784"/>
                  <a:gd name="connsiteY4" fmla="*/ 994378 h 1580366"/>
                  <a:gd name="connsiteX5" fmla="*/ 1145665 w 1965784"/>
                  <a:gd name="connsiteY5" fmla="*/ 1444708 h 1580366"/>
                  <a:gd name="connsiteX6" fmla="*/ 1622215 w 1965784"/>
                  <a:gd name="connsiteY6" fmla="*/ 865823 h 1580366"/>
                  <a:gd name="connsiteX7" fmla="*/ 1616575 w 1965784"/>
                  <a:gd name="connsiteY7" fmla="*/ 735439 h 1580366"/>
                  <a:gd name="connsiteX8" fmla="*/ 1163568 w 1965784"/>
                  <a:gd name="connsiteY8" fmla="*/ 730789 h 1580366"/>
                  <a:gd name="connsiteX9" fmla="*/ 1090659 w 1965784"/>
                  <a:gd name="connsiteY9" fmla="*/ 596552 h 1580366"/>
                  <a:gd name="connsiteX10" fmla="*/ 1065946 w 1965784"/>
                  <a:gd name="connsiteY10" fmla="*/ 729787 h 1580366"/>
                  <a:gd name="connsiteX11" fmla="*/ 1034479 w 1965784"/>
                  <a:gd name="connsiteY11" fmla="*/ 737491 h 1580366"/>
                  <a:gd name="connsiteX12" fmla="*/ 989966 w 1965784"/>
                  <a:gd name="connsiteY12" fmla="*/ 394302 h 1580366"/>
                  <a:gd name="connsiteX13" fmla="*/ 656984 w 1965784"/>
                  <a:gd name="connsiteY13" fmla="*/ 37890 h 1580366"/>
                  <a:gd name="connsiteX14" fmla="*/ 1131790 w 1965784"/>
                  <a:gd name="connsiteY14" fmla="*/ 15622 h 1580366"/>
                  <a:gd name="connsiteX15" fmla="*/ 1877987 w 1965784"/>
                  <a:gd name="connsiteY15" fmla="*/ 1580366 h 1580366"/>
                  <a:gd name="connsiteX16" fmla="*/ 0 w 1965784"/>
                  <a:gd name="connsiteY16" fmla="*/ 1577175 h 1580366"/>
                  <a:gd name="connsiteX17" fmla="*/ 173542 w 1965784"/>
                  <a:gd name="connsiteY17" fmla="*/ 1273930 h 1580366"/>
                  <a:gd name="connsiteX18" fmla="*/ 311525 w 1965784"/>
                  <a:gd name="connsiteY18" fmla="*/ 246826 h 1580366"/>
                  <a:gd name="connsiteX19" fmla="*/ 656984 w 1965784"/>
                  <a:gd name="connsiteY19" fmla="*/ 37890 h 1580366"/>
                  <a:gd name="connsiteX0" fmla="*/ 989966 w 1965784"/>
                  <a:gd name="connsiteY0" fmla="*/ 394302 h 1580366"/>
                  <a:gd name="connsiteX1" fmla="*/ 929623 w 1965784"/>
                  <a:gd name="connsiteY1" fmla="*/ 739738 h 1580366"/>
                  <a:gd name="connsiteX2" fmla="*/ 273445 w 1965784"/>
                  <a:gd name="connsiteY2" fmla="*/ 721653 h 1580366"/>
                  <a:gd name="connsiteX3" fmla="*/ 272497 w 1965784"/>
                  <a:gd name="connsiteY3" fmla="*/ 726313 h 1580366"/>
                  <a:gd name="connsiteX4" fmla="*/ 298714 w 1965784"/>
                  <a:gd name="connsiteY4" fmla="*/ 994378 h 1580366"/>
                  <a:gd name="connsiteX5" fmla="*/ 1145665 w 1965784"/>
                  <a:gd name="connsiteY5" fmla="*/ 1444708 h 1580366"/>
                  <a:gd name="connsiteX6" fmla="*/ 1622215 w 1965784"/>
                  <a:gd name="connsiteY6" fmla="*/ 865823 h 1580366"/>
                  <a:gd name="connsiteX7" fmla="*/ 1616575 w 1965784"/>
                  <a:gd name="connsiteY7" fmla="*/ 735439 h 1580366"/>
                  <a:gd name="connsiteX8" fmla="*/ 1163568 w 1965784"/>
                  <a:gd name="connsiteY8" fmla="*/ 730789 h 1580366"/>
                  <a:gd name="connsiteX9" fmla="*/ 1090659 w 1965784"/>
                  <a:gd name="connsiteY9" fmla="*/ 596552 h 1580366"/>
                  <a:gd name="connsiteX10" fmla="*/ 1065946 w 1965784"/>
                  <a:gd name="connsiteY10" fmla="*/ 729787 h 1580366"/>
                  <a:gd name="connsiteX11" fmla="*/ 1034479 w 1965784"/>
                  <a:gd name="connsiteY11" fmla="*/ 737491 h 1580366"/>
                  <a:gd name="connsiteX12" fmla="*/ 989966 w 1965784"/>
                  <a:gd name="connsiteY12" fmla="*/ 394302 h 1580366"/>
                  <a:gd name="connsiteX13" fmla="*/ 656984 w 1965784"/>
                  <a:gd name="connsiteY13" fmla="*/ 37890 h 1580366"/>
                  <a:gd name="connsiteX14" fmla="*/ 1131790 w 1965784"/>
                  <a:gd name="connsiteY14" fmla="*/ 15622 h 1580366"/>
                  <a:gd name="connsiteX15" fmla="*/ 1877987 w 1965784"/>
                  <a:gd name="connsiteY15" fmla="*/ 1580366 h 1580366"/>
                  <a:gd name="connsiteX16" fmla="*/ 0 w 1965784"/>
                  <a:gd name="connsiteY16" fmla="*/ 1577175 h 1580366"/>
                  <a:gd name="connsiteX17" fmla="*/ 173542 w 1965784"/>
                  <a:gd name="connsiteY17" fmla="*/ 1273930 h 1580366"/>
                  <a:gd name="connsiteX18" fmla="*/ 311525 w 1965784"/>
                  <a:gd name="connsiteY18" fmla="*/ 246826 h 1580366"/>
                  <a:gd name="connsiteX19" fmla="*/ 656984 w 1965784"/>
                  <a:gd name="connsiteY19" fmla="*/ 37890 h 1580366"/>
                  <a:gd name="connsiteX0" fmla="*/ 989966 w 1965784"/>
                  <a:gd name="connsiteY0" fmla="*/ 394302 h 1580366"/>
                  <a:gd name="connsiteX1" fmla="*/ 929623 w 1965784"/>
                  <a:gd name="connsiteY1" fmla="*/ 739738 h 1580366"/>
                  <a:gd name="connsiteX2" fmla="*/ 273445 w 1965784"/>
                  <a:gd name="connsiteY2" fmla="*/ 721653 h 1580366"/>
                  <a:gd name="connsiteX3" fmla="*/ 272497 w 1965784"/>
                  <a:gd name="connsiteY3" fmla="*/ 726313 h 1580366"/>
                  <a:gd name="connsiteX4" fmla="*/ 298714 w 1965784"/>
                  <a:gd name="connsiteY4" fmla="*/ 994378 h 1580366"/>
                  <a:gd name="connsiteX5" fmla="*/ 1145665 w 1965784"/>
                  <a:gd name="connsiteY5" fmla="*/ 1444708 h 1580366"/>
                  <a:gd name="connsiteX6" fmla="*/ 1622215 w 1965784"/>
                  <a:gd name="connsiteY6" fmla="*/ 865823 h 1580366"/>
                  <a:gd name="connsiteX7" fmla="*/ 1616575 w 1965784"/>
                  <a:gd name="connsiteY7" fmla="*/ 735439 h 1580366"/>
                  <a:gd name="connsiteX8" fmla="*/ 1168630 w 1965784"/>
                  <a:gd name="connsiteY8" fmla="*/ 739202 h 1580366"/>
                  <a:gd name="connsiteX9" fmla="*/ 1090659 w 1965784"/>
                  <a:gd name="connsiteY9" fmla="*/ 596552 h 1580366"/>
                  <a:gd name="connsiteX10" fmla="*/ 1065946 w 1965784"/>
                  <a:gd name="connsiteY10" fmla="*/ 729787 h 1580366"/>
                  <a:gd name="connsiteX11" fmla="*/ 1034479 w 1965784"/>
                  <a:gd name="connsiteY11" fmla="*/ 737491 h 1580366"/>
                  <a:gd name="connsiteX12" fmla="*/ 989966 w 1965784"/>
                  <a:gd name="connsiteY12" fmla="*/ 394302 h 1580366"/>
                  <a:gd name="connsiteX13" fmla="*/ 656984 w 1965784"/>
                  <a:gd name="connsiteY13" fmla="*/ 37890 h 1580366"/>
                  <a:gd name="connsiteX14" fmla="*/ 1131790 w 1965784"/>
                  <a:gd name="connsiteY14" fmla="*/ 15622 h 1580366"/>
                  <a:gd name="connsiteX15" fmla="*/ 1877987 w 1965784"/>
                  <a:gd name="connsiteY15" fmla="*/ 1580366 h 1580366"/>
                  <a:gd name="connsiteX16" fmla="*/ 0 w 1965784"/>
                  <a:gd name="connsiteY16" fmla="*/ 1577175 h 1580366"/>
                  <a:gd name="connsiteX17" fmla="*/ 173542 w 1965784"/>
                  <a:gd name="connsiteY17" fmla="*/ 1273930 h 1580366"/>
                  <a:gd name="connsiteX18" fmla="*/ 311525 w 1965784"/>
                  <a:gd name="connsiteY18" fmla="*/ 246826 h 1580366"/>
                  <a:gd name="connsiteX19" fmla="*/ 656984 w 1965784"/>
                  <a:gd name="connsiteY19" fmla="*/ 37890 h 1580366"/>
                  <a:gd name="connsiteX0" fmla="*/ 989966 w 1984181"/>
                  <a:gd name="connsiteY0" fmla="*/ 394302 h 1578654"/>
                  <a:gd name="connsiteX1" fmla="*/ 929623 w 1984181"/>
                  <a:gd name="connsiteY1" fmla="*/ 739738 h 1578654"/>
                  <a:gd name="connsiteX2" fmla="*/ 273445 w 1984181"/>
                  <a:gd name="connsiteY2" fmla="*/ 721653 h 1578654"/>
                  <a:gd name="connsiteX3" fmla="*/ 272497 w 1984181"/>
                  <a:gd name="connsiteY3" fmla="*/ 726313 h 1578654"/>
                  <a:gd name="connsiteX4" fmla="*/ 298714 w 1984181"/>
                  <a:gd name="connsiteY4" fmla="*/ 994378 h 1578654"/>
                  <a:gd name="connsiteX5" fmla="*/ 1145665 w 1984181"/>
                  <a:gd name="connsiteY5" fmla="*/ 1444708 h 1578654"/>
                  <a:gd name="connsiteX6" fmla="*/ 1622215 w 1984181"/>
                  <a:gd name="connsiteY6" fmla="*/ 865823 h 1578654"/>
                  <a:gd name="connsiteX7" fmla="*/ 1616575 w 1984181"/>
                  <a:gd name="connsiteY7" fmla="*/ 735439 h 1578654"/>
                  <a:gd name="connsiteX8" fmla="*/ 1168630 w 1984181"/>
                  <a:gd name="connsiteY8" fmla="*/ 739202 h 1578654"/>
                  <a:gd name="connsiteX9" fmla="*/ 1090659 w 1984181"/>
                  <a:gd name="connsiteY9" fmla="*/ 596552 h 1578654"/>
                  <a:gd name="connsiteX10" fmla="*/ 1065946 w 1984181"/>
                  <a:gd name="connsiteY10" fmla="*/ 729787 h 1578654"/>
                  <a:gd name="connsiteX11" fmla="*/ 1034479 w 1984181"/>
                  <a:gd name="connsiteY11" fmla="*/ 737491 h 1578654"/>
                  <a:gd name="connsiteX12" fmla="*/ 989966 w 1984181"/>
                  <a:gd name="connsiteY12" fmla="*/ 394302 h 1578654"/>
                  <a:gd name="connsiteX13" fmla="*/ 656984 w 1984181"/>
                  <a:gd name="connsiteY13" fmla="*/ 37890 h 1578654"/>
                  <a:gd name="connsiteX14" fmla="*/ 1131790 w 1984181"/>
                  <a:gd name="connsiteY14" fmla="*/ 15622 h 1578654"/>
                  <a:gd name="connsiteX15" fmla="*/ 1899877 w 1984181"/>
                  <a:gd name="connsiteY15" fmla="*/ 1578654 h 1578654"/>
                  <a:gd name="connsiteX16" fmla="*/ 0 w 1984181"/>
                  <a:gd name="connsiteY16" fmla="*/ 1577175 h 1578654"/>
                  <a:gd name="connsiteX17" fmla="*/ 173542 w 1984181"/>
                  <a:gd name="connsiteY17" fmla="*/ 1273930 h 1578654"/>
                  <a:gd name="connsiteX18" fmla="*/ 311525 w 1984181"/>
                  <a:gd name="connsiteY18" fmla="*/ 246826 h 1578654"/>
                  <a:gd name="connsiteX19" fmla="*/ 656984 w 1984181"/>
                  <a:gd name="connsiteY19" fmla="*/ 37890 h 1578654"/>
                  <a:gd name="connsiteX0" fmla="*/ 989966 w 1969955"/>
                  <a:gd name="connsiteY0" fmla="*/ 394302 h 1578654"/>
                  <a:gd name="connsiteX1" fmla="*/ 929623 w 1969955"/>
                  <a:gd name="connsiteY1" fmla="*/ 739738 h 1578654"/>
                  <a:gd name="connsiteX2" fmla="*/ 273445 w 1969955"/>
                  <a:gd name="connsiteY2" fmla="*/ 721653 h 1578654"/>
                  <a:gd name="connsiteX3" fmla="*/ 272497 w 1969955"/>
                  <a:gd name="connsiteY3" fmla="*/ 726313 h 1578654"/>
                  <a:gd name="connsiteX4" fmla="*/ 298714 w 1969955"/>
                  <a:gd name="connsiteY4" fmla="*/ 994378 h 1578654"/>
                  <a:gd name="connsiteX5" fmla="*/ 1145665 w 1969955"/>
                  <a:gd name="connsiteY5" fmla="*/ 1444708 h 1578654"/>
                  <a:gd name="connsiteX6" fmla="*/ 1622215 w 1969955"/>
                  <a:gd name="connsiteY6" fmla="*/ 865823 h 1578654"/>
                  <a:gd name="connsiteX7" fmla="*/ 1616575 w 1969955"/>
                  <a:gd name="connsiteY7" fmla="*/ 735439 h 1578654"/>
                  <a:gd name="connsiteX8" fmla="*/ 1168630 w 1969955"/>
                  <a:gd name="connsiteY8" fmla="*/ 739202 h 1578654"/>
                  <a:gd name="connsiteX9" fmla="*/ 1090659 w 1969955"/>
                  <a:gd name="connsiteY9" fmla="*/ 596552 h 1578654"/>
                  <a:gd name="connsiteX10" fmla="*/ 1065946 w 1969955"/>
                  <a:gd name="connsiteY10" fmla="*/ 729787 h 1578654"/>
                  <a:gd name="connsiteX11" fmla="*/ 1034479 w 1969955"/>
                  <a:gd name="connsiteY11" fmla="*/ 737491 h 1578654"/>
                  <a:gd name="connsiteX12" fmla="*/ 989966 w 1969955"/>
                  <a:gd name="connsiteY12" fmla="*/ 394302 h 1578654"/>
                  <a:gd name="connsiteX13" fmla="*/ 656984 w 1969955"/>
                  <a:gd name="connsiteY13" fmla="*/ 37890 h 1578654"/>
                  <a:gd name="connsiteX14" fmla="*/ 1131790 w 1969955"/>
                  <a:gd name="connsiteY14" fmla="*/ 15622 h 1578654"/>
                  <a:gd name="connsiteX15" fmla="*/ 1899877 w 1969955"/>
                  <a:gd name="connsiteY15" fmla="*/ 1578654 h 1578654"/>
                  <a:gd name="connsiteX16" fmla="*/ 0 w 1969955"/>
                  <a:gd name="connsiteY16" fmla="*/ 1577175 h 1578654"/>
                  <a:gd name="connsiteX17" fmla="*/ 173542 w 1969955"/>
                  <a:gd name="connsiteY17" fmla="*/ 1273930 h 1578654"/>
                  <a:gd name="connsiteX18" fmla="*/ 311525 w 1969955"/>
                  <a:gd name="connsiteY18" fmla="*/ 246826 h 1578654"/>
                  <a:gd name="connsiteX19" fmla="*/ 656984 w 1969955"/>
                  <a:gd name="connsiteY19" fmla="*/ 37890 h 1578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69955" h="1578654">
                    <a:moveTo>
                      <a:pt x="989966" y="394302"/>
                    </a:moveTo>
                    <a:lnTo>
                      <a:pt x="929623" y="739738"/>
                    </a:lnTo>
                    <a:lnTo>
                      <a:pt x="273445" y="721653"/>
                    </a:lnTo>
                    <a:lnTo>
                      <a:pt x="272497" y="726313"/>
                    </a:lnTo>
                    <a:cubicBezTo>
                      <a:pt x="263400" y="813951"/>
                      <a:pt x="271334" y="904819"/>
                      <a:pt x="298714" y="994378"/>
                    </a:cubicBezTo>
                    <a:cubicBezTo>
                      <a:pt x="408238" y="1352612"/>
                      <a:pt x="787431" y="1554232"/>
                      <a:pt x="1145665" y="1444708"/>
                    </a:cubicBezTo>
                    <a:cubicBezTo>
                      <a:pt x="1414341" y="1362566"/>
                      <a:pt x="1594922" y="1128735"/>
                      <a:pt x="1622215" y="865823"/>
                    </a:cubicBezTo>
                    <a:cubicBezTo>
                      <a:pt x="1622361" y="831703"/>
                      <a:pt x="1616430" y="769559"/>
                      <a:pt x="1616575" y="735439"/>
                    </a:cubicBezTo>
                    <a:lnTo>
                      <a:pt x="1168630" y="739202"/>
                    </a:lnTo>
                    <a:lnTo>
                      <a:pt x="1090659" y="596552"/>
                    </a:lnTo>
                    <a:lnTo>
                      <a:pt x="1065946" y="729787"/>
                    </a:lnTo>
                    <a:lnTo>
                      <a:pt x="1034479" y="737491"/>
                    </a:lnTo>
                    <a:lnTo>
                      <a:pt x="989966" y="394302"/>
                    </a:lnTo>
                    <a:close/>
                    <a:moveTo>
                      <a:pt x="656984" y="37890"/>
                    </a:moveTo>
                    <a:cubicBezTo>
                      <a:pt x="774915" y="2181"/>
                      <a:pt x="929046" y="-14481"/>
                      <a:pt x="1131790" y="15622"/>
                    </a:cubicBezTo>
                    <a:cubicBezTo>
                      <a:pt x="1914945" y="91608"/>
                      <a:pt x="2089159" y="1262634"/>
                      <a:pt x="1899877" y="1578654"/>
                    </a:cubicBezTo>
                    <a:lnTo>
                      <a:pt x="0" y="1577175"/>
                    </a:lnTo>
                    <a:cubicBezTo>
                      <a:pt x="159774" y="1456551"/>
                      <a:pt x="130296" y="1433629"/>
                      <a:pt x="173542" y="1273930"/>
                    </a:cubicBezTo>
                    <a:cubicBezTo>
                      <a:pt x="214644" y="1187044"/>
                      <a:pt x="-83140" y="675869"/>
                      <a:pt x="311525" y="246826"/>
                    </a:cubicBezTo>
                    <a:cubicBezTo>
                      <a:pt x="364438" y="209827"/>
                      <a:pt x="460433" y="97405"/>
                      <a:pt x="656984" y="37890"/>
                    </a:cubicBezTo>
                    <a:close/>
                  </a:path>
                </a:pathLst>
              </a:custGeom>
              <a:grpFill/>
              <a:ln w="12700" cap="flat" cmpd="sng" algn="ctr">
                <a:noFill/>
                <a:prstDash val="solid"/>
                <a:miter lim="800000"/>
              </a:ln>
              <a:effectLst/>
            </p:spPr>
            <p:txBody>
              <a:bodyPr rtlCol="0" anchor="ctr"/>
              <a:lstStyle/>
              <a:p>
                <a:pPr marL="0" marR="0" lvl="0" indent="0" algn="ctr" defTabSz="467539"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09" name="Oval 51">
                <a:extLst>
                  <a:ext uri="{FF2B5EF4-FFF2-40B4-BE49-F238E27FC236}">
                    <a16:creationId xmlns:a16="http://schemas.microsoft.com/office/drawing/2014/main" id="{F3C33773-77ED-F661-2E61-0A70C9179770}"/>
                  </a:ext>
                </a:extLst>
              </p:cNvPr>
              <p:cNvSpPr/>
              <p:nvPr/>
            </p:nvSpPr>
            <p:spPr>
              <a:xfrm rot="20594011">
                <a:off x="916201" y="1608187"/>
                <a:ext cx="32576" cy="32576"/>
              </a:xfrm>
              <a:prstGeom prst="ellipse">
                <a:avLst/>
              </a:prstGeom>
              <a:grpFill/>
              <a:ln w="12700" cap="flat" cmpd="sng" algn="ctr">
                <a:noFill/>
                <a:prstDash val="solid"/>
                <a:miter lim="800000"/>
              </a:ln>
              <a:effectLst/>
            </p:spPr>
            <p:txBody>
              <a:bodyPr rtlCol="0" anchor="ctr"/>
              <a:lstStyle/>
              <a:p>
                <a:pPr marL="0" marR="0" lvl="0" indent="0" algn="ctr" defTabSz="467539"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10" name="Oval 52">
                <a:extLst>
                  <a:ext uri="{FF2B5EF4-FFF2-40B4-BE49-F238E27FC236}">
                    <a16:creationId xmlns:a16="http://schemas.microsoft.com/office/drawing/2014/main" id="{E141802E-0DF2-8505-B981-19C59C214834}"/>
                  </a:ext>
                </a:extLst>
              </p:cNvPr>
              <p:cNvSpPr/>
              <p:nvPr/>
            </p:nvSpPr>
            <p:spPr>
              <a:xfrm rot="20594011">
                <a:off x="1015333" y="1606950"/>
                <a:ext cx="32576" cy="32576"/>
              </a:xfrm>
              <a:prstGeom prst="ellipse">
                <a:avLst/>
              </a:prstGeom>
              <a:grpFill/>
              <a:ln w="12700" cap="flat" cmpd="sng" algn="ctr">
                <a:noFill/>
                <a:prstDash val="solid"/>
                <a:miter lim="800000"/>
              </a:ln>
              <a:effectLst/>
            </p:spPr>
            <p:txBody>
              <a:bodyPr rtlCol="0" anchor="ctr"/>
              <a:lstStyle/>
              <a:p>
                <a:pPr marL="0" marR="0" lvl="0" indent="0" algn="ctr" defTabSz="467539"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404" name="Group 46">
              <a:extLst>
                <a:ext uri="{FF2B5EF4-FFF2-40B4-BE49-F238E27FC236}">
                  <a16:creationId xmlns:a16="http://schemas.microsoft.com/office/drawing/2014/main" id="{D2F49399-7313-B73D-99E7-E8B8D77D3E07}"/>
                </a:ext>
              </a:extLst>
            </p:cNvPr>
            <p:cNvGrpSpPr/>
            <p:nvPr/>
          </p:nvGrpSpPr>
          <p:grpSpPr>
            <a:xfrm>
              <a:off x="2983932" y="1204028"/>
              <a:ext cx="842510" cy="1083211"/>
              <a:chOff x="2983932" y="1204028"/>
              <a:chExt cx="842510" cy="1083211"/>
            </a:xfrm>
            <a:grpFill/>
          </p:grpSpPr>
          <p:sp>
            <p:nvSpPr>
              <p:cNvPr id="405" name="Freeform 47">
                <a:extLst>
                  <a:ext uri="{FF2B5EF4-FFF2-40B4-BE49-F238E27FC236}">
                    <a16:creationId xmlns:a16="http://schemas.microsoft.com/office/drawing/2014/main" id="{8B7D25D8-F5C4-6507-B5D6-923D376E5A98}"/>
                  </a:ext>
                </a:extLst>
              </p:cNvPr>
              <p:cNvSpPr/>
              <p:nvPr/>
            </p:nvSpPr>
            <p:spPr>
              <a:xfrm rot="20731586">
                <a:off x="2983932" y="1204028"/>
                <a:ext cx="842510" cy="994748"/>
              </a:xfrm>
              <a:custGeom>
                <a:avLst/>
                <a:gdLst>
                  <a:gd name="connsiteX0" fmla="*/ 269840 w 842510"/>
                  <a:gd name="connsiteY0" fmla="*/ 2089 h 994748"/>
                  <a:gd name="connsiteX1" fmla="*/ 793472 w 842510"/>
                  <a:gd name="connsiteY1" fmla="*/ 137252 h 994748"/>
                  <a:gd name="connsiteX2" fmla="*/ 840421 w 842510"/>
                  <a:gd name="connsiteY2" fmla="*/ 216871 h 994748"/>
                  <a:gd name="connsiteX3" fmla="*/ 652289 w 842510"/>
                  <a:gd name="connsiteY3" fmla="*/ 945710 h 994748"/>
                  <a:gd name="connsiteX4" fmla="*/ 572670 w 842510"/>
                  <a:gd name="connsiteY4" fmla="*/ 992658 h 994748"/>
                  <a:gd name="connsiteX5" fmla="*/ 501482 w 842510"/>
                  <a:gd name="connsiteY5" fmla="*/ 974283 h 994748"/>
                  <a:gd name="connsiteX6" fmla="*/ 562455 w 842510"/>
                  <a:gd name="connsiteY6" fmla="*/ 866010 h 994748"/>
                  <a:gd name="connsiteX7" fmla="*/ 607643 w 842510"/>
                  <a:gd name="connsiteY7" fmla="*/ 877674 h 994748"/>
                  <a:gd name="connsiteX8" fmla="*/ 777350 w 842510"/>
                  <a:gd name="connsiteY8" fmla="*/ 220214 h 994748"/>
                  <a:gd name="connsiteX9" fmla="*/ 250711 w 842510"/>
                  <a:gd name="connsiteY9" fmla="*/ 84275 h 994748"/>
                  <a:gd name="connsiteX10" fmla="*/ 81004 w 842510"/>
                  <a:gd name="connsiteY10" fmla="*/ 741735 h 994748"/>
                  <a:gd name="connsiteX11" fmla="*/ 237718 w 842510"/>
                  <a:gd name="connsiteY11" fmla="*/ 782187 h 994748"/>
                  <a:gd name="connsiteX12" fmla="*/ 228745 w 842510"/>
                  <a:gd name="connsiteY12" fmla="*/ 903882 h 994748"/>
                  <a:gd name="connsiteX13" fmla="*/ 49038 w 842510"/>
                  <a:gd name="connsiteY13" fmla="*/ 857496 h 994748"/>
                  <a:gd name="connsiteX14" fmla="*/ 2090 w 842510"/>
                  <a:gd name="connsiteY14" fmla="*/ 777877 h 994748"/>
                  <a:gd name="connsiteX15" fmla="*/ 190222 w 842510"/>
                  <a:gd name="connsiteY15" fmla="*/ 49038 h 994748"/>
                  <a:gd name="connsiteX16" fmla="*/ 269840 w 842510"/>
                  <a:gd name="connsiteY16" fmla="*/ 2089 h 994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42510" h="994748">
                    <a:moveTo>
                      <a:pt x="269840" y="2089"/>
                    </a:moveTo>
                    <a:lnTo>
                      <a:pt x="793472" y="137252"/>
                    </a:lnTo>
                    <a:cubicBezTo>
                      <a:pt x="828423" y="146274"/>
                      <a:pt x="849442" y="181921"/>
                      <a:pt x="840421" y="216871"/>
                    </a:cubicBezTo>
                    <a:lnTo>
                      <a:pt x="652289" y="945710"/>
                    </a:lnTo>
                    <a:cubicBezTo>
                      <a:pt x="643267" y="980660"/>
                      <a:pt x="607621" y="1001680"/>
                      <a:pt x="572670" y="992658"/>
                    </a:cubicBezTo>
                    <a:lnTo>
                      <a:pt x="501482" y="974283"/>
                    </a:lnTo>
                    <a:lnTo>
                      <a:pt x="562455" y="866010"/>
                    </a:lnTo>
                    <a:lnTo>
                      <a:pt x="607643" y="877674"/>
                    </a:lnTo>
                    <a:lnTo>
                      <a:pt x="777350" y="220214"/>
                    </a:lnTo>
                    <a:lnTo>
                      <a:pt x="250711" y="84275"/>
                    </a:lnTo>
                    <a:lnTo>
                      <a:pt x="81004" y="741735"/>
                    </a:lnTo>
                    <a:lnTo>
                      <a:pt x="237718" y="782187"/>
                    </a:lnTo>
                    <a:lnTo>
                      <a:pt x="228745" y="903882"/>
                    </a:lnTo>
                    <a:lnTo>
                      <a:pt x="49038" y="857496"/>
                    </a:lnTo>
                    <a:cubicBezTo>
                      <a:pt x="14088" y="848474"/>
                      <a:pt x="-6932" y="812827"/>
                      <a:pt x="2090" y="777877"/>
                    </a:cubicBezTo>
                    <a:lnTo>
                      <a:pt x="190222" y="49038"/>
                    </a:lnTo>
                    <a:cubicBezTo>
                      <a:pt x="199243" y="14088"/>
                      <a:pt x="234890" y="-6932"/>
                      <a:pt x="269840" y="2089"/>
                    </a:cubicBezTo>
                    <a:close/>
                  </a:path>
                </a:pathLst>
              </a:custGeom>
              <a:grpFill/>
              <a:ln w="12700" cap="flat" cmpd="sng" algn="ctr">
                <a:noFill/>
                <a:prstDash val="solid"/>
                <a:miter lim="800000"/>
              </a:ln>
              <a:effectLst/>
            </p:spPr>
            <p:txBody>
              <a:bodyPr rtlCol="0" anchor="ctr"/>
              <a:lstStyle/>
              <a:p>
                <a:pPr marL="0" marR="0" lvl="0" indent="0" algn="ctr" defTabSz="467539"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06" name="Freeform 48">
                <a:extLst>
                  <a:ext uri="{FF2B5EF4-FFF2-40B4-BE49-F238E27FC236}">
                    <a16:creationId xmlns:a16="http://schemas.microsoft.com/office/drawing/2014/main" id="{6465AB0E-4F60-92E6-DD70-5811583039D2}"/>
                  </a:ext>
                </a:extLst>
              </p:cNvPr>
              <p:cNvSpPr>
                <a:spLocks/>
              </p:cNvSpPr>
              <p:nvPr/>
            </p:nvSpPr>
            <p:spPr bwMode="auto">
              <a:xfrm>
                <a:off x="3362302" y="2157723"/>
                <a:ext cx="247657" cy="129516"/>
              </a:xfrm>
              <a:custGeom>
                <a:avLst/>
                <a:gdLst>
                  <a:gd name="T0" fmla="*/ 85 w 99"/>
                  <a:gd name="T1" fmla="*/ 0 h 58"/>
                  <a:gd name="T2" fmla="*/ 99 w 99"/>
                  <a:gd name="T3" fmla="*/ 36 h 58"/>
                  <a:gd name="T4" fmla="*/ 0 w 99"/>
                  <a:gd name="T5" fmla="*/ 58 h 58"/>
                  <a:gd name="T6" fmla="*/ 0 w 99"/>
                  <a:gd name="T7" fmla="*/ 29 h 58"/>
                  <a:gd name="T8" fmla="*/ 85 w 99"/>
                  <a:gd name="T9" fmla="*/ 0 h 58"/>
                  <a:gd name="connsiteX0" fmla="*/ 9400 w 10814"/>
                  <a:gd name="connsiteY0" fmla="*/ 0 h 10794"/>
                  <a:gd name="connsiteX1" fmla="*/ 10814 w 10814"/>
                  <a:gd name="connsiteY1" fmla="*/ 6207 h 10794"/>
                  <a:gd name="connsiteX2" fmla="*/ 0 w 10814"/>
                  <a:gd name="connsiteY2" fmla="*/ 10794 h 10794"/>
                  <a:gd name="connsiteX3" fmla="*/ 814 w 10814"/>
                  <a:gd name="connsiteY3" fmla="*/ 5000 h 10794"/>
                  <a:gd name="connsiteX4" fmla="*/ 9400 w 10814"/>
                  <a:gd name="connsiteY4" fmla="*/ 0 h 10794"/>
                  <a:gd name="connsiteX0" fmla="*/ 10562 w 11976"/>
                  <a:gd name="connsiteY0" fmla="*/ 0 h 10794"/>
                  <a:gd name="connsiteX1" fmla="*/ 11976 w 11976"/>
                  <a:gd name="connsiteY1" fmla="*/ 6207 h 10794"/>
                  <a:gd name="connsiteX2" fmla="*/ 1162 w 11976"/>
                  <a:gd name="connsiteY2" fmla="*/ 10794 h 10794"/>
                  <a:gd name="connsiteX3" fmla="*/ 0 w 11976"/>
                  <a:gd name="connsiteY3" fmla="*/ 5198 h 10794"/>
                  <a:gd name="connsiteX4" fmla="*/ 10562 w 11976"/>
                  <a:gd name="connsiteY4" fmla="*/ 0 h 10794"/>
                  <a:gd name="connsiteX0" fmla="*/ 11143 w 11976"/>
                  <a:gd name="connsiteY0" fmla="*/ 0 h 10794"/>
                  <a:gd name="connsiteX1" fmla="*/ 11976 w 11976"/>
                  <a:gd name="connsiteY1" fmla="*/ 6207 h 10794"/>
                  <a:gd name="connsiteX2" fmla="*/ 1162 w 11976"/>
                  <a:gd name="connsiteY2" fmla="*/ 10794 h 10794"/>
                  <a:gd name="connsiteX3" fmla="*/ 0 w 11976"/>
                  <a:gd name="connsiteY3" fmla="*/ 5198 h 10794"/>
                  <a:gd name="connsiteX4" fmla="*/ 11143 w 11976"/>
                  <a:gd name="connsiteY4" fmla="*/ 0 h 10794"/>
                  <a:gd name="connsiteX0" fmla="*/ 11143 w 12325"/>
                  <a:gd name="connsiteY0" fmla="*/ 0 h 10794"/>
                  <a:gd name="connsiteX1" fmla="*/ 12325 w 12325"/>
                  <a:gd name="connsiteY1" fmla="*/ 5810 h 10794"/>
                  <a:gd name="connsiteX2" fmla="*/ 1162 w 12325"/>
                  <a:gd name="connsiteY2" fmla="*/ 10794 h 10794"/>
                  <a:gd name="connsiteX3" fmla="*/ 0 w 12325"/>
                  <a:gd name="connsiteY3" fmla="*/ 5198 h 10794"/>
                  <a:gd name="connsiteX4" fmla="*/ 11143 w 12325"/>
                  <a:gd name="connsiteY4" fmla="*/ 0 h 10794"/>
                  <a:gd name="connsiteX0" fmla="*/ 11143 w 12092"/>
                  <a:gd name="connsiteY0" fmla="*/ 0 h 10794"/>
                  <a:gd name="connsiteX1" fmla="*/ 12092 w 12092"/>
                  <a:gd name="connsiteY1" fmla="*/ 6405 h 10794"/>
                  <a:gd name="connsiteX2" fmla="*/ 1162 w 12092"/>
                  <a:gd name="connsiteY2" fmla="*/ 10794 h 10794"/>
                  <a:gd name="connsiteX3" fmla="*/ 0 w 12092"/>
                  <a:gd name="connsiteY3" fmla="*/ 5198 h 10794"/>
                  <a:gd name="connsiteX4" fmla="*/ 11143 w 12092"/>
                  <a:gd name="connsiteY4" fmla="*/ 0 h 10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92" h="10794">
                    <a:moveTo>
                      <a:pt x="11143" y="0"/>
                    </a:moveTo>
                    <a:lnTo>
                      <a:pt x="12092" y="6405"/>
                    </a:lnTo>
                    <a:lnTo>
                      <a:pt x="1162" y="10794"/>
                    </a:lnTo>
                    <a:lnTo>
                      <a:pt x="0" y="5198"/>
                    </a:lnTo>
                    <a:lnTo>
                      <a:pt x="11143" y="0"/>
                    </a:lnTo>
                    <a:close/>
                  </a:path>
                </a:pathLst>
              </a:custGeom>
              <a:grpFill/>
              <a:ln w="0">
                <a:noFill/>
                <a:prstDash val="solid"/>
                <a:round/>
                <a:headEnd/>
                <a:tailEnd/>
              </a:ln>
              <a:effectLst/>
            </p:spPr>
            <p:txBody>
              <a:bodyPr vert="horz" wrap="square" lIns="121920" tIns="60960" rIns="121920" bIns="60960" numCol="1" anchor="ctr" anchorCtr="0" compatLnSpc="1">
                <a:prstTxWarp prst="textNoShape">
                  <a:avLst/>
                </a:prstTxWarp>
              </a:bodyPr>
              <a:lstStyle/>
              <a:p>
                <a:pPr marL="0" marR="0" lvl="0" indent="0" algn="l" defTabSz="467539"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black"/>
                  </a:solidFill>
                  <a:effectLst/>
                  <a:uLnTx/>
                  <a:uFillTx/>
                  <a:latin typeface="Arial"/>
                  <a:ea typeface="+mn-ea"/>
                  <a:cs typeface="+mn-cs"/>
                </a:endParaRPr>
              </a:p>
            </p:txBody>
          </p:sp>
          <p:sp>
            <p:nvSpPr>
              <p:cNvPr id="407" name="Rectangle 24">
                <a:extLst>
                  <a:ext uri="{FF2B5EF4-FFF2-40B4-BE49-F238E27FC236}">
                    <a16:creationId xmlns:a16="http://schemas.microsoft.com/office/drawing/2014/main" id="{4F6F97CA-E6CD-F7B5-96DD-287A1850FF64}"/>
                  </a:ext>
                </a:extLst>
              </p:cNvPr>
              <p:cNvSpPr/>
              <p:nvPr/>
            </p:nvSpPr>
            <p:spPr>
              <a:xfrm>
                <a:off x="3328988" y="1702595"/>
                <a:ext cx="271463" cy="464344"/>
              </a:xfrm>
              <a:custGeom>
                <a:avLst/>
                <a:gdLst>
                  <a:gd name="connsiteX0" fmla="*/ 0 w 221456"/>
                  <a:gd name="connsiteY0" fmla="*/ 0 h 302418"/>
                  <a:gd name="connsiteX1" fmla="*/ 221456 w 221456"/>
                  <a:gd name="connsiteY1" fmla="*/ 0 h 302418"/>
                  <a:gd name="connsiteX2" fmla="*/ 221456 w 221456"/>
                  <a:gd name="connsiteY2" fmla="*/ 302418 h 302418"/>
                  <a:gd name="connsiteX3" fmla="*/ 0 w 221456"/>
                  <a:gd name="connsiteY3" fmla="*/ 302418 h 302418"/>
                  <a:gd name="connsiteX4" fmla="*/ 0 w 221456"/>
                  <a:gd name="connsiteY4" fmla="*/ 0 h 302418"/>
                  <a:gd name="connsiteX0" fmla="*/ 0 w 221456"/>
                  <a:gd name="connsiteY0" fmla="*/ 0 h 304800"/>
                  <a:gd name="connsiteX1" fmla="*/ 221456 w 221456"/>
                  <a:gd name="connsiteY1" fmla="*/ 0 h 304800"/>
                  <a:gd name="connsiteX2" fmla="*/ 209549 w 221456"/>
                  <a:gd name="connsiteY2" fmla="*/ 304800 h 304800"/>
                  <a:gd name="connsiteX3" fmla="*/ 0 w 221456"/>
                  <a:gd name="connsiteY3" fmla="*/ 302418 h 304800"/>
                  <a:gd name="connsiteX4" fmla="*/ 0 w 221456"/>
                  <a:gd name="connsiteY4" fmla="*/ 0 h 304800"/>
                  <a:gd name="connsiteX0" fmla="*/ 0 w 257175"/>
                  <a:gd name="connsiteY0" fmla="*/ 0 h 304800"/>
                  <a:gd name="connsiteX1" fmla="*/ 257175 w 257175"/>
                  <a:gd name="connsiteY1" fmla="*/ 102394 h 304800"/>
                  <a:gd name="connsiteX2" fmla="*/ 209549 w 257175"/>
                  <a:gd name="connsiteY2" fmla="*/ 304800 h 304800"/>
                  <a:gd name="connsiteX3" fmla="*/ 0 w 257175"/>
                  <a:gd name="connsiteY3" fmla="*/ 302418 h 304800"/>
                  <a:gd name="connsiteX4" fmla="*/ 0 w 257175"/>
                  <a:gd name="connsiteY4" fmla="*/ 0 h 304800"/>
                  <a:gd name="connsiteX0" fmla="*/ 0 w 257175"/>
                  <a:gd name="connsiteY0" fmla="*/ 0 h 304800"/>
                  <a:gd name="connsiteX1" fmla="*/ 257175 w 257175"/>
                  <a:gd name="connsiteY1" fmla="*/ 97632 h 304800"/>
                  <a:gd name="connsiteX2" fmla="*/ 209549 w 257175"/>
                  <a:gd name="connsiteY2" fmla="*/ 304800 h 304800"/>
                  <a:gd name="connsiteX3" fmla="*/ 0 w 257175"/>
                  <a:gd name="connsiteY3" fmla="*/ 302418 h 304800"/>
                  <a:gd name="connsiteX4" fmla="*/ 0 w 257175"/>
                  <a:gd name="connsiteY4" fmla="*/ 0 h 304800"/>
                  <a:gd name="connsiteX0" fmla="*/ 0 w 257175"/>
                  <a:gd name="connsiteY0" fmla="*/ 0 h 304800"/>
                  <a:gd name="connsiteX1" fmla="*/ 128586 w 257175"/>
                  <a:gd name="connsiteY1" fmla="*/ 54768 h 304800"/>
                  <a:gd name="connsiteX2" fmla="*/ 257175 w 257175"/>
                  <a:gd name="connsiteY2" fmla="*/ 97632 h 304800"/>
                  <a:gd name="connsiteX3" fmla="*/ 209549 w 257175"/>
                  <a:gd name="connsiteY3" fmla="*/ 304800 h 304800"/>
                  <a:gd name="connsiteX4" fmla="*/ 0 w 257175"/>
                  <a:gd name="connsiteY4" fmla="*/ 302418 h 304800"/>
                  <a:gd name="connsiteX5" fmla="*/ 0 w 257175"/>
                  <a:gd name="connsiteY5" fmla="*/ 0 h 304800"/>
                  <a:gd name="connsiteX0" fmla="*/ 0 w 257175"/>
                  <a:gd name="connsiteY0" fmla="*/ 0 h 304800"/>
                  <a:gd name="connsiteX1" fmla="*/ 233361 w 257175"/>
                  <a:gd name="connsiteY1" fmla="*/ 85724 h 304800"/>
                  <a:gd name="connsiteX2" fmla="*/ 257175 w 257175"/>
                  <a:gd name="connsiteY2" fmla="*/ 97632 h 304800"/>
                  <a:gd name="connsiteX3" fmla="*/ 209549 w 257175"/>
                  <a:gd name="connsiteY3" fmla="*/ 304800 h 304800"/>
                  <a:gd name="connsiteX4" fmla="*/ 0 w 257175"/>
                  <a:gd name="connsiteY4" fmla="*/ 302418 h 304800"/>
                  <a:gd name="connsiteX5" fmla="*/ 0 w 257175"/>
                  <a:gd name="connsiteY5" fmla="*/ 0 h 304800"/>
                  <a:gd name="connsiteX0" fmla="*/ 0 w 257175"/>
                  <a:gd name="connsiteY0" fmla="*/ 0 h 304800"/>
                  <a:gd name="connsiteX1" fmla="*/ 233361 w 257175"/>
                  <a:gd name="connsiteY1" fmla="*/ 85724 h 304800"/>
                  <a:gd name="connsiteX2" fmla="*/ 257175 w 257175"/>
                  <a:gd name="connsiteY2" fmla="*/ 97632 h 304800"/>
                  <a:gd name="connsiteX3" fmla="*/ 209549 w 257175"/>
                  <a:gd name="connsiteY3" fmla="*/ 304800 h 304800"/>
                  <a:gd name="connsiteX4" fmla="*/ 0 w 257175"/>
                  <a:gd name="connsiteY4" fmla="*/ 302418 h 304800"/>
                  <a:gd name="connsiteX5" fmla="*/ 0 w 257175"/>
                  <a:gd name="connsiteY5" fmla="*/ 0 h 304800"/>
                  <a:gd name="connsiteX0" fmla="*/ 0 w 257175"/>
                  <a:gd name="connsiteY0" fmla="*/ 0 h 304800"/>
                  <a:gd name="connsiteX1" fmla="*/ 178593 w 257175"/>
                  <a:gd name="connsiteY1" fmla="*/ 64293 h 304800"/>
                  <a:gd name="connsiteX2" fmla="*/ 233361 w 257175"/>
                  <a:gd name="connsiteY2" fmla="*/ 85724 h 304800"/>
                  <a:gd name="connsiteX3" fmla="*/ 257175 w 257175"/>
                  <a:gd name="connsiteY3" fmla="*/ 97632 h 304800"/>
                  <a:gd name="connsiteX4" fmla="*/ 209549 w 257175"/>
                  <a:gd name="connsiteY4" fmla="*/ 304800 h 304800"/>
                  <a:gd name="connsiteX5" fmla="*/ 0 w 257175"/>
                  <a:gd name="connsiteY5" fmla="*/ 302418 h 304800"/>
                  <a:gd name="connsiteX6" fmla="*/ 0 w 257175"/>
                  <a:gd name="connsiteY6" fmla="*/ 0 h 304800"/>
                  <a:gd name="connsiteX0" fmla="*/ 0 w 257175"/>
                  <a:gd name="connsiteY0" fmla="*/ 0 h 304800"/>
                  <a:gd name="connsiteX1" fmla="*/ 226218 w 257175"/>
                  <a:gd name="connsiteY1" fmla="*/ 42861 h 304800"/>
                  <a:gd name="connsiteX2" fmla="*/ 233361 w 257175"/>
                  <a:gd name="connsiteY2" fmla="*/ 85724 h 304800"/>
                  <a:gd name="connsiteX3" fmla="*/ 257175 w 257175"/>
                  <a:gd name="connsiteY3" fmla="*/ 97632 h 304800"/>
                  <a:gd name="connsiteX4" fmla="*/ 209549 w 257175"/>
                  <a:gd name="connsiteY4" fmla="*/ 304800 h 304800"/>
                  <a:gd name="connsiteX5" fmla="*/ 0 w 257175"/>
                  <a:gd name="connsiteY5" fmla="*/ 302418 h 304800"/>
                  <a:gd name="connsiteX6" fmla="*/ 0 w 257175"/>
                  <a:gd name="connsiteY6" fmla="*/ 0 h 304800"/>
                  <a:gd name="connsiteX0" fmla="*/ 0 w 257175"/>
                  <a:gd name="connsiteY0" fmla="*/ 0 h 304800"/>
                  <a:gd name="connsiteX1" fmla="*/ 116680 w 257175"/>
                  <a:gd name="connsiteY1" fmla="*/ 19049 h 304800"/>
                  <a:gd name="connsiteX2" fmla="*/ 226218 w 257175"/>
                  <a:gd name="connsiteY2" fmla="*/ 42861 h 304800"/>
                  <a:gd name="connsiteX3" fmla="*/ 233361 w 257175"/>
                  <a:gd name="connsiteY3" fmla="*/ 85724 h 304800"/>
                  <a:gd name="connsiteX4" fmla="*/ 257175 w 257175"/>
                  <a:gd name="connsiteY4" fmla="*/ 97632 h 304800"/>
                  <a:gd name="connsiteX5" fmla="*/ 209549 w 257175"/>
                  <a:gd name="connsiteY5" fmla="*/ 304800 h 304800"/>
                  <a:gd name="connsiteX6" fmla="*/ 0 w 257175"/>
                  <a:gd name="connsiteY6" fmla="*/ 302418 h 304800"/>
                  <a:gd name="connsiteX7" fmla="*/ 0 w 257175"/>
                  <a:gd name="connsiteY7" fmla="*/ 0 h 304800"/>
                  <a:gd name="connsiteX0" fmla="*/ 0 w 257175"/>
                  <a:gd name="connsiteY0" fmla="*/ 0 h 304800"/>
                  <a:gd name="connsiteX1" fmla="*/ 185737 w 257175"/>
                  <a:gd name="connsiteY1" fmla="*/ 28574 h 304800"/>
                  <a:gd name="connsiteX2" fmla="*/ 226218 w 257175"/>
                  <a:gd name="connsiteY2" fmla="*/ 42861 h 304800"/>
                  <a:gd name="connsiteX3" fmla="*/ 233361 w 257175"/>
                  <a:gd name="connsiteY3" fmla="*/ 85724 h 304800"/>
                  <a:gd name="connsiteX4" fmla="*/ 257175 w 257175"/>
                  <a:gd name="connsiteY4" fmla="*/ 97632 h 304800"/>
                  <a:gd name="connsiteX5" fmla="*/ 209549 w 257175"/>
                  <a:gd name="connsiteY5" fmla="*/ 304800 h 304800"/>
                  <a:gd name="connsiteX6" fmla="*/ 0 w 257175"/>
                  <a:gd name="connsiteY6" fmla="*/ 302418 h 304800"/>
                  <a:gd name="connsiteX7" fmla="*/ 0 w 257175"/>
                  <a:gd name="connsiteY7" fmla="*/ 0 h 304800"/>
                  <a:gd name="connsiteX0" fmla="*/ 0 w 257175"/>
                  <a:gd name="connsiteY0" fmla="*/ 0 h 304800"/>
                  <a:gd name="connsiteX1" fmla="*/ 202406 w 257175"/>
                  <a:gd name="connsiteY1" fmla="*/ 33336 h 304800"/>
                  <a:gd name="connsiteX2" fmla="*/ 226218 w 257175"/>
                  <a:gd name="connsiteY2" fmla="*/ 42861 h 304800"/>
                  <a:gd name="connsiteX3" fmla="*/ 233361 w 257175"/>
                  <a:gd name="connsiteY3" fmla="*/ 85724 h 304800"/>
                  <a:gd name="connsiteX4" fmla="*/ 257175 w 257175"/>
                  <a:gd name="connsiteY4" fmla="*/ 97632 h 304800"/>
                  <a:gd name="connsiteX5" fmla="*/ 209549 w 257175"/>
                  <a:gd name="connsiteY5" fmla="*/ 304800 h 304800"/>
                  <a:gd name="connsiteX6" fmla="*/ 0 w 257175"/>
                  <a:gd name="connsiteY6" fmla="*/ 302418 h 304800"/>
                  <a:gd name="connsiteX7" fmla="*/ 0 w 257175"/>
                  <a:gd name="connsiteY7" fmla="*/ 0 h 304800"/>
                  <a:gd name="connsiteX0" fmla="*/ 0 w 257175"/>
                  <a:gd name="connsiteY0" fmla="*/ 0 h 304800"/>
                  <a:gd name="connsiteX1" fmla="*/ 111918 w 257175"/>
                  <a:gd name="connsiteY1" fmla="*/ 16668 h 304800"/>
                  <a:gd name="connsiteX2" fmla="*/ 202406 w 257175"/>
                  <a:gd name="connsiteY2" fmla="*/ 33336 h 304800"/>
                  <a:gd name="connsiteX3" fmla="*/ 226218 w 257175"/>
                  <a:gd name="connsiteY3" fmla="*/ 42861 h 304800"/>
                  <a:gd name="connsiteX4" fmla="*/ 233361 w 257175"/>
                  <a:gd name="connsiteY4" fmla="*/ 85724 h 304800"/>
                  <a:gd name="connsiteX5" fmla="*/ 257175 w 257175"/>
                  <a:gd name="connsiteY5" fmla="*/ 97632 h 304800"/>
                  <a:gd name="connsiteX6" fmla="*/ 209549 w 257175"/>
                  <a:gd name="connsiteY6" fmla="*/ 304800 h 304800"/>
                  <a:gd name="connsiteX7" fmla="*/ 0 w 257175"/>
                  <a:gd name="connsiteY7" fmla="*/ 302418 h 304800"/>
                  <a:gd name="connsiteX8" fmla="*/ 0 w 257175"/>
                  <a:gd name="connsiteY8" fmla="*/ 0 h 304800"/>
                  <a:gd name="connsiteX0" fmla="*/ 0 w 257175"/>
                  <a:gd name="connsiteY0" fmla="*/ 0 h 304800"/>
                  <a:gd name="connsiteX1" fmla="*/ 183355 w 257175"/>
                  <a:gd name="connsiteY1" fmla="*/ 42862 h 304800"/>
                  <a:gd name="connsiteX2" fmla="*/ 202406 w 257175"/>
                  <a:gd name="connsiteY2" fmla="*/ 33336 h 304800"/>
                  <a:gd name="connsiteX3" fmla="*/ 226218 w 257175"/>
                  <a:gd name="connsiteY3" fmla="*/ 42861 h 304800"/>
                  <a:gd name="connsiteX4" fmla="*/ 233361 w 257175"/>
                  <a:gd name="connsiteY4" fmla="*/ 85724 h 304800"/>
                  <a:gd name="connsiteX5" fmla="*/ 257175 w 257175"/>
                  <a:gd name="connsiteY5" fmla="*/ 97632 h 304800"/>
                  <a:gd name="connsiteX6" fmla="*/ 209549 w 257175"/>
                  <a:gd name="connsiteY6" fmla="*/ 304800 h 304800"/>
                  <a:gd name="connsiteX7" fmla="*/ 0 w 257175"/>
                  <a:gd name="connsiteY7" fmla="*/ 302418 h 304800"/>
                  <a:gd name="connsiteX8" fmla="*/ 0 w 257175"/>
                  <a:gd name="connsiteY8" fmla="*/ 0 h 304800"/>
                  <a:gd name="connsiteX0" fmla="*/ 0 w 257175"/>
                  <a:gd name="connsiteY0" fmla="*/ 0 h 304800"/>
                  <a:gd name="connsiteX1" fmla="*/ 71436 w 257175"/>
                  <a:gd name="connsiteY1" fmla="*/ 14287 h 304800"/>
                  <a:gd name="connsiteX2" fmla="*/ 183355 w 257175"/>
                  <a:gd name="connsiteY2" fmla="*/ 42862 h 304800"/>
                  <a:gd name="connsiteX3" fmla="*/ 202406 w 257175"/>
                  <a:gd name="connsiteY3" fmla="*/ 33336 h 304800"/>
                  <a:gd name="connsiteX4" fmla="*/ 226218 w 257175"/>
                  <a:gd name="connsiteY4" fmla="*/ 42861 h 304800"/>
                  <a:gd name="connsiteX5" fmla="*/ 233361 w 257175"/>
                  <a:gd name="connsiteY5" fmla="*/ 85724 h 304800"/>
                  <a:gd name="connsiteX6" fmla="*/ 257175 w 257175"/>
                  <a:gd name="connsiteY6" fmla="*/ 97632 h 304800"/>
                  <a:gd name="connsiteX7" fmla="*/ 209549 w 257175"/>
                  <a:gd name="connsiteY7" fmla="*/ 304800 h 304800"/>
                  <a:gd name="connsiteX8" fmla="*/ 0 w 257175"/>
                  <a:gd name="connsiteY8" fmla="*/ 302418 h 304800"/>
                  <a:gd name="connsiteX9" fmla="*/ 0 w 257175"/>
                  <a:gd name="connsiteY9" fmla="*/ 0 h 304800"/>
                  <a:gd name="connsiteX0" fmla="*/ 0 w 257175"/>
                  <a:gd name="connsiteY0" fmla="*/ 0 h 304800"/>
                  <a:gd name="connsiteX1" fmla="*/ 164305 w 257175"/>
                  <a:gd name="connsiteY1" fmla="*/ 40481 h 304800"/>
                  <a:gd name="connsiteX2" fmla="*/ 183355 w 257175"/>
                  <a:gd name="connsiteY2" fmla="*/ 42862 h 304800"/>
                  <a:gd name="connsiteX3" fmla="*/ 202406 w 257175"/>
                  <a:gd name="connsiteY3" fmla="*/ 33336 h 304800"/>
                  <a:gd name="connsiteX4" fmla="*/ 226218 w 257175"/>
                  <a:gd name="connsiteY4" fmla="*/ 42861 h 304800"/>
                  <a:gd name="connsiteX5" fmla="*/ 233361 w 257175"/>
                  <a:gd name="connsiteY5" fmla="*/ 85724 h 304800"/>
                  <a:gd name="connsiteX6" fmla="*/ 257175 w 257175"/>
                  <a:gd name="connsiteY6" fmla="*/ 97632 h 304800"/>
                  <a:gd name="connsiteX7" fmla="*/ 209549 w 257175"/>
                  <a:gd name="connsiteY7" fmla="*/ 304800 h 304800"/>
                  <a:gd name="connsiteX8" fmla="*/ 0 w 257175"/>
                  <a:gd name="connsiteY8" fmla="*/ 302418 h 304800"/>
                  <a:gd name="connsiteX9" fmla="*/ 0 w 257175"/>
                  <a:gd name="connsiteY9" fmla="*/ 0 h 304800"/>
                  <a:gd name="connsiteX0" fmla="*/ 0 w 257175"/>
                  <a:gd name="connsiteY0" fmla="*/ 0 h 304800"/>
                  <a:gd name="connsiteX1" fmla="*/ 73818 w 257175"/>
                  <a:gd name="connsiteY1" fmla="*/ 21430 h 304800"/>
                  <a:gd name="connsiteX2" fmla="*/ 164305 w 257175"/>
                  <a:gd name="connsiteY2" fmla="*/ 40481 h 304800"/>
                  <a:gd name="connsiteX3" fmla="*/ 183355 w 257175"/>
                  <a:gd name="connsiteY3" fmla="*/ 42862 h 304800"/>
                  <a:gd name="connsiteX4" fmla="*/ 202406 w 257175"/>
                  <a:gd name="connsiteY4" fmla="*/ 33336 h 304800"/>
                  <a:gd name="connsiteX5" fmla="*/ 226218 w 257175"/>
                  <a:gd name="connsiteY5" fmla="*/ 42861 h 304800"/>
                  <a:gd name="connsiteX6" fmla="*/ 233361 w 257175"/>
                  <a:gd name="connsiteY6" fmla="*/ 85724 h 304800"/>
                  <a:gd name="connsiteX7" fmla="*/ 257175 w 257175"/>
                  <a:gd name="connsiteY7" fmla="*/ 97632 h 304800"/>
                  <a:gd name="connsiteX8" fmla="*/ 209549 w 257175"/>
                  <a:gd name="connsiteY8" fmla="*/ 304800 h 304800"/>
                  <a:gd name="connsiteX9" fmla="*/ 0 w 257175"/>
                  <a:gd name="connsiteY9" fmla="*/ 302418 h 304800"/>
                  <a:gd name="connsiteX10" fmla="*/ 0 w 257175"/>
                  <a:gd name="connsiteY10" fmla="*/ 0 h 304800"/>
                  <a:gd name="connsiteX0" fmla="*/ 0 w 257175"/>
                  <a:gd name="connsiteY0" fmla="*/ 0 h 304800"/>
                  <a:gd name="connsiteX1" fmla="*/ 173830 w 257175"/>
                  <a:gd name="connsiteY1" fmla="*/ 7142 h 304800"/>
                  <a:gd name="connsiteX2" fmla="*/ 164305 w 257175"/>
                  <a:gd name="connsiteY2" fmla="*/ 40481 h 304800"/>
                  <a:gd name="connsiteX3" fmla="*/ 183355 w 257175"/>
                  <a:gd name="connsiteY3" fmla="*/ 42862 h 304800"/>
                  <a:gd name="connsiteX4" fmla="*/ 202406 w 257175"/>
                  <a:gd name="connsiteY4" fmla="*/ 33336 h 304800"/>
                  <a:gd name="connsiteX5" fmla="*/ 226218 w 257175"/>
                  <a:gd name="connsiteY5" fmla="*/ 42861 h 304800"/>
                  <a:gd name="connsiteX6" fmla="*/ 233361 w 257175"/>
                  <a:gd name="connsiteY6" fmla="*/ 85724 h 304800"/>
                  <a:gd name="connsiteX7" fmla="*/ 257175 w 257175"/>
                  <a:gd name="connsiteY7" fmla="*/ 97632 h 304800"/>
                  <a:gd name="connsiteX8" fmla="*/ 209549 w 257175"/>
                  <a:gd name="connsiteY8" fmla="*/ 304800 h 304800"/>
                  <a:gd name="connsiteX9" fmla="*/ 0 w 257175"/>
                  <a:gd name="connsiteY9" fmla="*/ 302418 h 304800"/>
                  <a:gd name="connsiteX10" fmla="*/ 0 w 257175"/>
                  <a:gd name="connsiteY10" fmla="*/ 0 h 304800"/>
                  <a:gd name="connsiteX0" fmla="*/ 0 w 257175"/>
                  <a:gd name="connsiteY0" fmla="*/ 0 h 304800"/>
                  <a:gd name="connsiteX1" fmla="*/ 173830 w 257175"/>
                  <a:gd name="connsiteY1" fmla="*/ 7142 h 304800"/>
                  <a:gd name="connsiteX2" fmla="*/ 176211 w 257175"/>
                  <a:gd name="connsiteY2" fmla="*/ 45244 h 304800"/>
                  <a:gd name="connsiteX3" fmla="*/ 183355 w 257175"/>
                  <a:gd name="connsiteY3" fmla="*/ 42862 h 304800"/>
                  <a:gd name="connsiteX4" fmla="*/ 202406 w 257175"/>
                  <a:gd name="connsiteY4" fmla="*/ 33336 h 304800"/>
                  <a:gd name="connsiteX5" fmla="*/ 226218 w 257175"/>
                  <a:gd name="connsiteY5" fmla="*/ 42861 h 304800"/>
                  <a:gd name="connsiteX6" fmla="*/ 233361 w 257175"/>
                  <a:gd name="connsiteY6" fmla="*/ 85724 h 304800"/>
                  <a:gd name="connsiteX7" fmla="*/ 257175 w 257175"/>
                  <a:gd name="connsiteY7" fmla="*/ 97632 h 304800"/>
                  <a:gd name="connsiteX8" fmla="*/ 209549 w 257175"/>
                  <a:gd name="connsiteY8" fmla="*/ 304800 h 304800"/>
                  <a:gd name="connsiteX9" fmla="*/ 0 w 257175"/>
                  <a:gd name="connsiteY9" fmla="*/ 302418 h 304800"/>
                  <a:gd name="connsiteX10" fmla="*/ 0 w 257175"/>
                  <a:gd name="connsiteY10" fmla="*/ 0 h 304800"/>
                  <a:gd name="connsiteX0" fmla="*/ 0 w 257175"/>
                  <a:gd name="connsiteY0" fmla="*/ 0 h 304800"/>
                  <a:gd name="connsiteX1" fmla="*/ 88105 w 257175"/>
                  <a:gd name="connsiteY1" fmla="*/ 7143 h 304800"/>
                  <a:gd name="connsiteX2" fmla="*/ 173830 w 257175"/>
                  <a:gd name="connsiteY2" fmla="*/ 7142 h 304800"/>
                  <a:gd name="connsiteX3" fmla="*/ 176211 w 257175"/>
                  <a:gd name="connsiteY3" fmla="*/ 45244 h 304800"/>
                  <a:gd name="connsiteX4" fmla="*/ 183355 w 257175"/>
                  <a:gd name="connsiteY4" fmla="*/ 42862 h 304800"/>
                  <a:gd name="connsiteX5" fmla="*/ 202406 w 257175"/>
                  <a:gd name="connsiteY5" fmla="*/ 33336 h 304800"/>
                  <a:gd name="connsiteX6" fmla="*/ 226218 w 257175"/>
                  <a:gd name="connsiteY6" fmla="*/ 42861 h 304800"/>
                  <a:gd name="connsiteX7" fmla="*/ 233361 w 257175"/>
                  <a:gd name="connsiteY7" fmla="*/ 85724 h 304800"/>
                  <a:gd name="connsiteX8" fmla="*/ 257175 w 257175"/>
                  <a:gd name="connsiteY8" fmla="*/ 97632 h 304800"/>
                  <a:gd name="connsiteX9" fmla="*/ 209549 w 257175"/>
                  <a:gd name="connsiteY9" fmla="*/ 304800 h 304800"/>
                  <a:gd name="connsiteX10" fmla="*/ 0 w 257175"/>
                  <a:gd name="connsiteY10" fmla="*/ 302418 h 304800"/>
                  <a:gd name="connsiteX11" fmla="*/ 0 w 257175"/>
                  <a:gd name="connsiteY11" fmla="*/ 0 h 304800"/>
                  <a:gd name="connsiteX0" fmla="*/ 0 w 257175"/>
                  <a:gd name="connsiteY0" fmla="*/ 2382 h 307182"/>
                  <a:gd name="connsiteX1" fmla="*/ 142874 w 257175"/>
                  <a:gd name="connsiteY1" fmla="*/ 0 h 307182"/>
                  <a:gd name="connsiteX2" fmla="*/ 173830 w 257175"/>
                  <a:gd name="connsiteY2" fmla="*/ 9524 h 307182"/>
                  <a:gd name="connsiteX3" fmla="*/ 176211 w 257175"/>
                  <a:gd name="connsiteY3" fmla="*/ 47626 h 307182"/>
                  <a:gd name="connsiteX4" fmla="*/ 183355 w 257175"/>
                  <a:gd name="connsiteY4" fmla="*/ 45244 h 307182"/>
                  <a:gd name="connsiteX5" fmla="*/ 202406 w 257175"/>
                  <a:gd name="connsiteY5" fmla="*/ 35718 h 307182"/>
                  <a:gd name="connsiteX6" fmla="*/ 226218 w 257175"/>
                  <a:gd name="connsiteY6" fmla="*/ 45243 h 307182"/>
                  <a:gd name="connsiteX7" fmla="*/ 233361 w 257175"/>
                  <a:gd name="connsiteY7" fmla="*/ 88106 h 307182"/>
                  <a:gd name="connsiteX8" fmla="*/ 257175 w 257175"/>
                  <a:gd name="connsiteY8" fmla="*/ 100014 h 307182"/>
                  <a:gd name="connsiteX9" fmla="*/ 209549 w 257175"/>
                  <a:gd name="connsiteY9" fmla="*/ 307182 h 307182"/>
                  <a:gd name="connsiteX10" fmla="*/ 0 w 257175"/>
                  <a:gd name="connsiteY10" fmla="*/ 304800 h 307182"/>
                  <a:gd name="connsiteX11" fmla="*/ 0 w 257175"/>
                  <a:gd name="connsiteY11" fmla="*/ 2382 h 307182"/>
                  <a:gd name="connsiteX0" fmla="*/ 0 w 257175"/>
                  <a:gd name="connsiteY0" fmla="*/ 4764 h 309564"/>
                  <a:gd name="connsiteX1" fmla="*/ 142874 w 257175"/>
                  <a:gd name="connsiteY1" fmla="*/ 0 h 309564"/>
                  <a:gd name="connsiteX2" fmla="*/ 173830 w 257175"/>
                  <a:gd name="connsiteY2" fmla="*/ 11906 h 309564"/>
                  <a:gd name="connsiteX3" fmla="*/ 176211 w 257175"/>
                  <a:gd name="connsiteY3" fmla="*/ 50008 h 309564"/>
                  <a:gd name="connsiteX4" fmla="*/ 183355 w 257175"/>
                  <a:gd name="connsiteY4" fmla="*/ 47626 h 309564"/>
                  <a:gd name="connsiteX5" fmla="*/ 202406 w 257175"/>
                  <a:gd name="connsiteY5" fmla="*/ 38100 h 309564"/>
                  <a:gd name="connsiteX6" fmla="*/ 226218 w 257175"/>
                  <a:gd name="connsiteY6" fmla="*/ 47625 h 309564"/>
                  <a:gd name="connsiteX7" fmla="*/ 233361 w 257175"/>
                  <a:gd name="connsiteY7" fmla="*/ 90488 h 309564"/>
                  <a:gd name="connsiteX8" fmla="*/ 257175 w 257175"/>
                  <a:gd name="connsiteY8" fmla="*/ 102396 h 309564"/>
                  <a:gd name="connsiteX9" fmla="*/ 209549 w 257175"/>
                  <a:gd name="connsiteY9" fmla="*/ 309564 h 309564"/>
                  <a:gd name="connsiteX10" fmla="*/ 0 w 257175"/>
                  <a:gd name="connsiteY10" fmla="*/ 307182 h 309564"/>
                  <a:gd name="connsiteX11" fmla="*/ 0 w 257175"/>
                  <a:gd name="connsiteY11" fmla="*/ 4764 h 309564"/>
                  <a:gd name="connsiteX0" fmla="*/ 0 w 257175"/>
                  <a:gd name="connsiteY0" fmla="*/ 4764 h 309564"/>
                  <a:gd name="connsiteX1" fmla="*/ 64293 w 257175"/>
                  <a:gd name="connsiteY1" fmla="*/ 2382 h 309564"/>
                  <a:gd name="connsiteX2" fmla="*/ 142874 w 257175"/>
                  <a:gd name="connsiteY2" fmla="*/ 0 h 309564"/>
                  <a:gd name="connsiteX3" fmla="*/ 173830 w 257175"/>
                  <a:gd name="connsiteY3" fmla="*/ 11906 h 309564"/>
                  <a:gd name="connsiteX4" fmla="*/ 176211 w 257175"/>
                  <a:gd name="connsiteY4" fmla="*/ 50008 h 309564"/>
                  <a:gd name="connsiteX5" fmla="*/ 183355 w 257175"/>
                  <a:gd name="connsiteY5" fmla="*/ 47626 h 309564"/>
                  <a:gd name="connsiteX6" fmla="*/ 202406 w 257175"/>
                  <a:gd name="connsiteY6" fmla="*/ 38100 h 309564"/>
                  <a:gd name="connsiteX7" fmla="*/ 226218 w 257175"/>
                  <a:gd name="connsiteY7" fmla="*/ 47625 h 309564"/>
                  <a:gd name="connsiteX8" fmla="*/ 233361 w 257175"/>
                  <a:gd name="connsiteY8" fmla="*/ 90488 h 309564"/>
                  <a:gd name="connsiteX9" fmla="*/ 257175 w 257175"/>
                  <a:gd name="connsiteY9" fmla="*/ 102396 h 309564"/>
                  <a:gd name="connsiteX10" fmla="*/ 209549 w 257175"/>
                  <a:gd name="connsiteY10" fmla="*/ 309564 h 309564"/>
                  <a:gd name="connsiteX11" fmla="*/ 0 w 257175"/>
                  <a:gd name="connsiteY11" fmla="*/ 307182 h 309564"/>
                  <a:gd name="connsiteX12" fmla="*/ 0 w 257175"/>
                  <a:gd name="connsiteY12" fmla="*/ 4764 h 309564"/>
                  <a:gd name="connsiteX0" fmla="*/ 0 w 257175"/>
                  <a:gd name="connsiteY0" fmla="*/ 4764 h 309564"/>
                  <a:gd name="connsiteX1" fmla="*/ 128587 w 257175"/>
                  <a:gd name="connsiteY1" fmla="*/ 33338 h 309564"/>
                  <a:gd name="connsiteX2" fmla="*/ 142874 w 257175"/>
                  <a:gd name="connsiteY2" fmla="*/ 0 h 309564"/>
                  <a:gd name="connsiteX3" fmla="*/ 173830 w 257175"/>
                  <a:gd name="connsiteY3" fmla="*/ 11906 h 309564"/>
                  <a:gd name="connsiteX4" fmla="*/ 176211 w 257175"/>
                  <a:gd name="connsiteY4" fmla="*/ 50008 h 309564"/>
                  <a:gd name="connsiteX5" fmla="*/ 183355 w 257175"/>
                  <a:gd name="connsiteY5" fmla="*/ 47626 h 309564"/>
                  <a:gd name="connsiteX6" fmla="*/ 202406 w 257175"/>
                  <a:gd name="connsiteY6" fmla="*/ 38100 h 309564"/>
                  <a:gd name="connsiteX7" fmla="*/ 226218 w 257175"/>
                  <a:gd name="connsiteY7" fmla="*/ 47625 h 309564"/>
                  <a:gd name="connsiteX8" fmla="*/ 233361 w 257175"/>
                  <a:gd name="connsiteY8" fmla="*/ 90488 h 309564"/>
                  <a:gd name="connsiteX9" fmla="*/ 257175 w 257175"/>
                  <a:gd name="connsiteY9" fmla="*/ 102396 h 309564"/>
                  <a:gd name="connsiteX10" fmla="*/ 209549 w 257175"/>
                  <a:gd name="connsiteY10" fmla="*/ 309564 h 309564"/>
                  <a:gd name="connsiteX11" fmla="*/ 0 w 257175"/>
                  <a:gd name="connsiteY11" fmla="*/ 307182 h 309564"/>
                  <a:gd name="connsiteX12" fmla="*/ 0 w 257175"/>
                  <a:gd name="connsiteY12" fmla="*/ 4764 h 309564"/>
                  <a:gd name="connsiteX0" fmla="*/ 0 w 257175"/>
                  <a:gd name="connsiteY0" fmla="*/ 4764 h 309564"/>
                  <a:gd name="connsiteX1" fmla="*/ 128587 w 257175"/>
                  <a:gd name="connsiteY1" fmla="*/ 33338 h 309564"/>
                  <a:gd name="connsiteX2" fmla="*/ 142874 w 257175"/>
                  <a:gd name="connsiteY2" fmla="*/ 0 h 309564"/>
                  <a:gd name="connsiteX3" fmla="*/ 173830 w 257175"/>
                  <a:gd name="connsiteY3" fmla="*/ 11906 h 309564"/>
                  <a:gd name="connsiteX4" fmla="*/ 176211 w 257175"/>
                  <a:gd name="connsiteY4" fmla="*/ 50008 h 309564"/>
                  <a:gd name="connsiteX5" fmla="*/ 197643 w 257175"/>
                  <a:gd name="connsiteY5" fmla="*/ 57151 h 309564"/>
                  <a:gd name="connsiteX6" fmla="*/ 202406 w 257175"/>
                  <a:gd name="connsiteY6" fmla="*/ 38100 h 309564"/>
                  <a:gd name="connsiteX7" fmla="*/ 226218 w 257175"/>
                  <a:gd name="connsiteY7" fmla="*/ 47625 h 309564"/>
                  <a:gd name="connsiteX8" fmla="*/ 233361 w 257175"/>
                  <a:gd name="connsiteY8" fmla="*/ 90488 h 309564"/>
                  <a:gd name="connsiteX9" fmla="*/ 257175 w 257175"/>
                  <a:gd name="connsiteY9" fmla="*/ 102396 h 309564"/>
                  <a:gd name="connsiteX10" fmla="*/ 209549 w 257175"/>
                  <a:gd name="connsiteY10" fmla="*/ 309564 h 309564"/>
                  <a:gd name="connsiteX11" fmla="*/ 0 w 257175"/>
                  <a:gd name="connsiteY11" fmla="*/ 307182 h 309564"/>
                  <a:gd name="connsiteX12" fmla="*/ 0 w 257175"/>
                  <a:gd name="connsiteY12" fmla="*/ 4764 h 309564"/>
                  <a:gd name="connsiteX0" fmla="*/ 0 w 257175"/>
                  <a:gd name="connsiteY0" fmla="*/ 4764 h 309564"/>
                  <a:gd name="connsiteX1" fmla="*/ 128587 w 257175"/>
                  <a:gd name="connsiteY1" fmla="*/ 33338 h 309564"/>
                  <a:gd name="connsiteX2" fmla="*/ 142874 w 257175"/>
                  <a:gd name="connsiteY2" fmla="*/ 0 h 309564"/>
                  <a:gd name="connsiteX3" fmla="*/ 173830 w 257175"/>
                  <a:gd name="connsiteY3" fmla="*/ 11906 h 309564"/>
                  <a:gd name="connsiteX4" fmla="*/ 169068 w 257175"/>
                  <a:gd name="connsiteY4" fmla="*/ 45246 h 309564"/>
                  <a:gd name="connsiteX5" fmla="*/ 197643 w 257175"/>
                  <a:gd name="connsiteY5" fmla="*/ 57151 h 309564"/>
                  <a:gd name="connsiteX6" fmla="*/ 202406 w 257175"/>
                  <a:gd name="connsiteY6" fmla="*/ 38100 h 309564"/>
                  <a:gd name="connsiteX7" fmla="*/ 226218 w 257175"/>
                  <a:gd name="connsiteY7" fmla="*/ 47625 h 309564"/>
                  <a:gd name="connsiteX8" fmla="*/ 233361 w 257175"/>
                  <a:gd name="connsiteY8" fmla="*/ 90488 h 309564"/>
                  <a:gd name="connsiteX9" fmla="*/ 257175 w 257175"/>
                  <a:gd name="connsiteY9" fmla="*/ 102396 h 309564"/>
                  <a:gd name="connsiteX10" fmla="*/ 209549 w 257175"/>
                  <a:gd name="connsiteY10" fmla="*/ 309564 h 309564"/>
                  <a:gd name="connsiteX11" fmla="*/ 0 w 257175"/>
                  <a:gd name="connsiteY11" fmla="*/ 307182 h 309564"/>
                  <a:gd name="connsiteX12" fmla="*/ 0 w 257175"/>
                  <a:gd name="connsiteY12" fmla="*/ 4764 h 309564"/>
                  <a:gd name="connsiteX0" fmla="*/ 0 w 257175"/>
                  <a:gd name="connsiteY0" fmla="*/ 4764 h 309564"/>
                  <a:gd name="connsiteX1" fmla="*/ 128587 w 257175"/>
                  <a:gd name="connsiteY1" fmla="*/ 33338 h 309564"/>
                  <a:gd name="connsiteX2" fmla="*/ 142874 w 257175"/>
                  <a:gd name="connsiteY2" fmla="*/ 0 h 309564"/>
                  <a:gd name="connsiteX3" fmla="*/ 173830 w 257175"/>
                  <a:gd name="connsiteY3" fmla="*/ 11906 h 309564"/>
                  <a:gd name="connsiteX4" fmla="*/ 169068 w 257175"/>
                  <a:gd name="connsiteY4" fmla="*/ 45246 h 309564"/>
                  <a:gd name="connsiteX5" fmla="*/ 183355 w 257175"/>
                  <a:gd name="connsiteY5" fmla="*/ 57151 h 309564"/>
                  <a:gd name="connsiteX6" fmla="*/ 202406 w 257175"/>
                  <a:gd name="connsiteY6" fmla="*/ 38100 h 309564"/>
                  <a:gd name="connsiteX7" fmla="*/ 226218 w 257175"/>
                  <a:gd name="connsiteY7" fmla="*/ 47625 h 309564"/>
                  <a:gd name="connsiteX8" fmla="*/ 233361 w 257175"/>
                  <a:gd name="connsiteY8" fmla="*/ 90488 h 309564"/>
                  <a:gd name="connsiteX9" fmla="*/ 257175 w 257175"/>
                  <a:gd name="connsiteY9" fmla="*/ 102396 h 309564"/>
                  <a:gd name="connsiteX10" fmla="*/ 209549 w 257175"/>
                  <a:gd name="connsiteY10" fmla="*/ 309564 h 309564"/>
                  <a:gd name="connsiteX11" fmla="*/ 0 w 257175"/>
                  <a:gd name="connsiteY11" fmla="*/ 307182 h 309564"/>
                  <a:gd name="connsiteX12" fmla="*/ 0 w 257175"/>
                  <a:gd name="connsiteY12" fmla="*/ 4764 h 309564"/>
                  <a:gd name="connsiteX0" fmla="*/ 0 w 257175"/>
                  <a:gd name="connsiteY0" fmla="*/ 4764 h 309564"/>
                  <a:gd name="connsiteX1" fmla="*/ 88105 w 257175"/>
                  <a:gd name="connsiteY1" fmla="*/ 23813 h 309564"/>
                  <a:gd name="connsiteX2" fmla="*/ 128587 w 257175"/>
                  <a:gd name="connsiteY2" fmla="*/ 33338 h 309564"/>
                  <a:gd name="connsiteX3" fmla="*/ 142874 w 257175"/>
                  <a:gd name="connsiteY3" fmla="*/ 0 h 309564"/>
                  <a:gd name="connsiteX4" fmla="*/ 173830 w 257175"/>
                  <a:gd name="connsiteY4" fmla="*/ 11906 h 309564"/>
                  <a:gd name="connsiteX5" fmla="*/ 169068 w 257175"/>
                  <a:gd name="connsiteY5" fmla="*/ 45246 h 309564"/>
                  <a:gd name="connsiteX6" fmla="*/ 183355 w 257175"/>
                  <a:gd name="connsiteY6" fmla="*/ 57151 h 309564"/>
                  <a:gd name="connsiteX7" fmla="*/ 202406 w 257175"/>
                  <a:gd name="connsiteY7" fmla="*/ 38100 h 309564"/>
                  <a:gd name="connsiteX8" fmla="*/ 226218 w 257175"/>
                  <a:gd name="connsiteY8" fmla="*/ 47625 h 309564"/>
                  <a:gd name="connsiteX9" fmla="*/ 233361 w 257175"/>
                  <a:gd name="connsiteY9" fmla="*/ 90488 h 309564"/>
                  <a:gd name="connsiteX10" fmla="*/ 257175 w 257175"/>
                  <a:gd name="connsiteY10" fmla="*/ 102396 h 309564"/>
                  <a:gd name="connsiteX11" fmla="*/ 209549 w 257175"/>
                  <a:gd name="connsiteY11" fmla="*/ 309564 h 309564"/>
                  <a:gd name="connsiteX12" fmla="*/ 0 w 257175"/>
                  <a:gd name="connsiteY12" fmla="*/ 307182 h 309564"/>
                  <a:gd name="connsiteX13" fmla="*/ 0 w 257175"/>
                  <a:gd name="connsiteY13" fmla="*/ 4764 h 309564"/>
                  <a:gd name="connsiteX0" fmla="*/ 0 w 257175"/>
                  <a:gd name="connsiteY0" fmla="*/ 4764 h 309564"/>
                  <a:gd name="connsiteX1" fmla="*/ 111917 w 257175"/>
                  <a:gd name="connsiteY1" fmla="*/ 26195 h 309564"/>
                  <a:gd name="connsiteX2" fmla="*/ 128587 w 257175"/>
                  <a:gd name="connsiteY2" fmla="*/ 33338 h 309564"/>
                  <a:gd name="connsiteX3" fmla="*/ 142874 w 257175"/>
                  <a:gd name="connsiteY3" fmla="*/ 0 h 309564"/>
                  <a:gd name="connsiteX4" fmla="*/ 173830 w 257175"/>
                  <a:gd name="connsiteY4" fmla="*/ 11906 h 309564"/>
                  <a:gd name="connsiteX5" fmla="*/ 169068 w 257175"/>
                  <a:gd name="connsiteY5" fmla="*/ 45246 h 309564"/>
                  <a:gd name="connsiteX6" fmla="*/ 183355 w 257175"/>
                  <a:gd name="connsiteY6" fmla="*/ 57151 h 309564"/>
                  <a:gd name="connsiteX7" fmla="*/ 202406 w 257175"/>
                  <a:gd name="connsiteY7" fmla="*/ 38100 h 309564"/>
                  <a:gd name="connsiteX8" fmla="*/ 226218 w 257175"/>
                  <a:gd name="connsiteY8" fmla="*/ 47625 h 309564"/>
                  <a:gd name="connsiteX9" fmla="*/ 233361 w 257175"/>
                  <a:gd name="connsiteY9" fmla="*/ 90488 h 309564"/>
                  <a:gd name="connsiteX10" fmla="*/ 257175 w 257175"/>
                  <a:gd name="connsiteY10" fmla="*/ 102396 h 309564"/>
                  <a:gd name="connsiteX11" fmla="*/ 209549 w 257175"/>
                  <a:gd name="connsiteY11" fmla="*/ 309564 h 309564"/>
                  <a:gd name="connsiteX12" fmla="*/ 0 w 257175"/>
                  <a:gd name="connsiteY12" fmla="*/ 307182 h 309564"/>
                  <a:gd name="connsiteX13" fmla="*/ 0 w 257175"/>
                  <a:gd name="connsiteY13" fmla="*/ 4764 h 309564"/>
                  <a:gd name="connsiteX0" fmla="*/ 0 w 257175"/>
                  <a:gd name="connsiteY0" fmla="*/ 4764 h 309564"/>
                  <a:gd name="connsiteX1" fmla="*/ 40480 w 257175"/>
                  <a:gd name="connsiteY1" fmla="*/ 9526 h 309564"/>
                  <a:gd name="connsiteX2" fmla="*/ 111917 w 257175"/>
                  <a:gd name="connsiteY2" fmla="*/ 26195 h 309564"/>
                  <a:gd name="connsiteX3" fmla="*/ 128587 w 257175"/>
                  <a:gd name="connsiteY3" fmla="*/ 33338 h 309564"/>
                  <a:gd name="connsiteX4" fmla="*/ 142874 w 257175"/>
                  <a:gd name="connsiteY4" fmla="*/ 0 h 309564"/>
                  <a:gd name="connsiteX5" fmla="*/ 173830 w 257175"/>
                  <a:gd name="connsiteY5" fmla="*/ 11906 h 309564"/>
                  <a:gd name="connsiteX6" fmla="*/ 169068 w 257175"/>
                  <a:gd name="connsiteY6" fmla="*/ 45246 h 309564"/>
                  <a:gd name="connsiteX7" fmla="*/ 183355 w 257175"/>
                  <a:gd name="connsiteY7" fmla="*/ 57151 h 309564"/>
                  <a:gd name="connsiteX8" fmla="*/ 202406 w 257175"/>
                  <a:gd name="connsiteY8" fmla="*/ 38100 h 309564"/>
                  <a:gd name="connsiteX9" fmla="*/ 226218 w 257175"/>
                  <a:gd name="connsiteY9" fmla="*/ 47625 h 309564"/>
                  <a:gd name="connsiteX10" fmla="*/ 233361 w 257175"/>
                  <a:gd name="connsiteY10" fmla="*/ 90488 h 309564"/>
                  <a:gd name="connsiteX11" fmla="*/ 257175 w 257175"/>
                  <a:gd name="connsiteY11" fmla="*/ 102396 h 309564"/>
                  <a:gd name="connsiteX12" fmla="*/ 209549 w 257175"/>
                  <a:gd name="connsiteY12" fmla="*/ 309564 h 309564"/>
                  <a:gd name="connsiteX13" fmla="*/ 0 w 257175"/>
                  <a:gd name="connsiteY13" fmla="*/ 307182 h 309564"/>
                  <a:gd name="connsiteX14" fmla="*/ 0 w 257175"/>
                  <a:gd name="connsiteY14" fmla="*/ 4764 h 309564"/>
                  <a:gd name="connsiteX0" fmla="*/ 0 w 257175"/>
                  <a:gd name="connsiteY0" fmla="*/ 150019 h 454819"/>
                  <a:gd name="connsiteX1" fmla="*/ 104774 w 257175"/>
                  <a:gd name="connsiteY1" fmla="*/ 0 h 454819"/>
                  <a:gd name="connsiteX2" fmla="*/ 111917 w 257175"/>
                  <a:gd name="connsiteY2" fmla="*/ 171450 h 454819"/>
                  <a:gd name="connsiteX3" fmla="*/ 128587 w 257175"/>
                  <a:gd name="connsiteY3" fmla="*/ 178593 h 454819"/>
                  <a:gd name="connsiteX4" fmla="*/ 142874 w 257175"/>
                  <a:gd name="connsiteY4" fmla="*/ 145255 h 454819"/>
                  <a:gd name="connsiteX5" fmla="*/ 173830 w 257175"/>
                  <a:gd name="connsiteY5" fmla="*/ 157161 h 454819"/>
                  <a:gd name="connsiteX6" fmla="*/ 169068 w 257175"/>
                  <a:gd name="connsiteY6" fmla="*/ 190501 h 454819"/>
                  <a:gd name="connsiteX7" fmla="*/ 183355 w 257175"/>
                  <a:gd name="connsiteY7" fmla="*/ 202406 h 454819"/>
                  <a:gd name="connsiteX8" fmla="*/ 202406 w 257175"/>
                  <a:gd name="connsiteY8" fmla="*/ 183355 h 454819"/>
                  <a:gd name="connsiteX9" fmla="*/ 226218 w 257175"/>
                  <a:gd name="connsiteY9" fmla="*/ 192880 h 454819"/>
                  <a:gd name="connsiteX10" fmla="*/ 233361 w 257175"/>
                  <a:gd name="connsiteY10" fmla="*/ 235743 h 454819"/>
                  <a:gd name="connsiteX11" fmla="*/ 257175 w 257175"/>
                  <a:gd name="connsiteY11" fmla="*/ 247651 h 454819"/>
                  <a:gd name="connsiteX12" fmla="*/ 209549 w 257175"/>
                  <a:gd name="connsiteY12" fmla="*/ 454819 h 454819"/>
                  <a:gd name="connsiteX13" fmla="*/ 0 w 257175"/>
                  <a:gd name="connsiteY13" fmla="*/ 452437 h 454819"/>
                  <a:gd name="connsiteX14" fmla="*/ 0 w 257175"/>
                  <a:gd name="connsiteY14" fmla="*/ 150019 h 454819"/>
                  <a:gd name="connsiteX0" fmla="*/ 0 w 257175"/>
                  <a:gd name="connsiteY0" fmla="*/ 150019 h 454819"/>
                  <a:gd name="connsiteX1" fmla="*/ 38099 w 257175"/>
                  <a:gd name="connsiteY1" fmla="*/ 90488 h 454819"/>
                  <a:gd name="connsiteX2" fmla="*/ 104774 w 257175"/>
                  <a:gd name="connsiteY2" fmla="*/ 0 h 454819"/>
                  <a:gd name="connsiteX3" fmla="*/ 111917 w 257175"/>
                  <a:gd name="connsiteY3" fmla="*/ 171450 h 454819"/>
                  <a:gd name="connsiteX4" fmla="*/ 128587 w 257175"/>
                  <a:gd name="connsiteY4" fmla="*/ 178593 h 454819"/>
                  <a:gd name="connsiteX5" fmla="*/ 142874 w 257175"/>
                  <a:gd name="connsiteY5" fmla="*/ 145255 h 454819"/>
                  <a:gd name="connsiteX6" fmla="*/ 173830 w 257175"/>
                  <a:gd name="connsiteY6" fmla="*/ 157161 h 454819"/>
                  <a:gd name="connsiteX7" fmla="*/ 169068 w 257175"/>
                  <a:gd name="connsiteY7" fmla="*/ 190501 h 454819"/>
                  <a:gd name="connsiteX8" fmla="*/ 183355 w 257175"/>
                  <a:gd name="connsiteY8" fmla="*/ 202406 h 454819"/>
                  <a:gd name="connsiteX9" fmla="*/ 202406 w 257175"/>
                  <a:gd name="connsiteY9" fmla="*/ 183355 h 454819"/>
                  <a:gd name="connsiteX10" fmla="*/ 226218 w 257175"/>
                  <a:gd name="connsiteY10" fmla="*/ 192880 h 454819"/>
                  <a:gd name="connsiteX11" fmla="*/ 233361 w 257175"/>
                  <a:gd name="connsiteY11" fmla="*/ 235743 h 454819"/>
                  <a:gd name="connsiteX12" fmla="*/ 257175 w 257175"/>
                  <a:gd name="connsiteY12" fmla="*/ 247651 h 454819"/>
                  <a:gd name="connsiteX13" fmla="*/ 209549 w 257175"/>
                  <a:gd name="connsiteY13" fmla="*/ 454819 h 454819"/>
                  <a:gd name="connsiteX14" fmla="*/ 0 w 257175"/>
                  <a:gd name="connsiteY14" fmla="*/ 452437 h 454819"/>
                  <a:gd name="connsiteX15" fmla="*/ 0 w 257175"/>
                  <a:gd name="connsiteY15" fmla="*/ 150019 h 454819"/>
                  <a:gd name="connsiteX0" fmla="*/ 0 w 257175"/>
                  <a:gd name="connsiteY0" fmla="*/ 150019 h 454819"/>
                  <a:gd name="connsiteX1" fmla="*/ 57149 w 257175"/>
                  <a:gd name="connsiteY1" fmla="*/ 2381 h 454819"/>
                  <a:gd name="connsiteX2" fmla="*/ 104774 w 257175"/>
                  <a:gd name="connsiteY2" fmla="*/ 0 h 454819"/>
                  <a:gd name="connsiteX3" fmla="*/ 111917 w 257175"/>
                  <a:gd name="connsiteY3" fmla="*/ 171450 h 454819"/>
                  <a:gd name="connsiteX4" fmla="*/ 128587 w 257175"/>
                  <a:gd name="connsiteY4" fmla="*/ 178593 h 454819"/>
                  <a:gd name="connsiteX5" fmla="*/ 142874 w 257175"/>
                  <a:gd name="connsiteY5" fmla="*/ 145255 h 454819"/>
                  <a:gd name="connsiteX6" fmla="*/ 173830 w 257175"/>
                  <a:gd name="connsiteY6" fmla="*/ 157161 h 454819"/>
                  <a:gd name="connsiteX7" fmla="*/ 169068 w 257175"/>
                  <a:gd name="connsiteY7" fmla="*/ 190501 h 454819"/>
                  <a:gd name="connsiteX8" fmla="*/ 183355 w 257175"/>
                  <a:gd name="connsiteY8" fmla="*/ 202406 h 454819"/>
                  <a:gd name="connsiteX9" fmla="*/ 202406 w 257175"/>
                  <a:gd name="connsiteY9" fmla="*/ 183355 h 454819"/>
                  <a:gd name="connsiteX10" fmla="*/ 226218 w 257175"/>
                  <a:gd name="connsiteY10" fmla="*/ 192880 h 454819"/>
                  <a:gd name="connsiteX11" fmla="*/ 233361 w 257175"/>
                  <a:gd name="connsiteY11" fmla="*/ 235743 h 454819"/>
                  <a:gd name="connsiteX12" fmla="*/ 257175 w 257175"/>
                  <a:gd name="connsiteY12" fmla="*/ 247651 h 454819"/>
                  <a:gd name="connsiteX13" fmla="*/ 209549 w 257175"/>
                  <a:gd name="connsiteY13" fmla="*/ 454819 h 454819"/>
                  <a:gd name="connsiteX14" fmla="*/ 0 w 257175"/>
                  <a:gd name="connsiteY14" fmla="*/ 452437 h 454819"/>
                  <a:gd name="connsiteX15" fmla="*/ 0 w 257175"/>
                  <a:gd name="connsiteY15" fmla="*/ 150019 h 454819"/>
                  <a:gd name="connsiteX0" fmla="*/ 0 w 271463"/>
                  <a:gd name="connsiteY0" fmla="*/ 202407 h 454819"/>
                  <a:gd name="connsiteX1" fmla="*/ 71437 w 271463"/>
                  <a:gd name="connsiteY1" fmla="*/ 2381 h 454819"/>
                  <a:gd name="connsiteX2" fmla="*/ 119062 w 271463"/>
                  <a:gd name="connsiteY2" fmla="*/ 0 h 454819"/>
                  <a:gd name="connsiteX3" fmla="*/ 126205 w 271463"/>
                  <a:gd name="connsiteY3" fmla="*/ 171450 h 454819"/>
                  <a:gd name="connsiteX4" fmla="*/ 142875 w 271463"/>
                  <a:gd name="connsiteY4" fmla="*/ 178593 h 454819"/>
                  <a:gd name="connsiteX5" fmla="*/ 157162 w 271463"/>
                  <a:gd name="connsiteY5" fmla="*/ 145255 h 454819"/>
                  <a:gd name="connsiteX6" fmla="*/ 188118 w 271463"/>
                  <a:gd name="connsiteY6" fmla="*/ 157161 h 454819"/>
                  <a:gd name="connsiteX7" fmla="*/ 183356 w 271463"/>
                  <a:gd name="connsiteY7" fmla="*/ 190501 h 454819"/>
                  <a:gd name="connsiteX8" fmla="*/ 197643 w 271463"/>
                  <a:gd name="connsiteY8" fmla="*/ 202406 h 454819"/>
                  <a:gd name="connsiteX9" fmla="*/ 216694 w 271463"/>
                  <a:gd name="connsiteY9" fmla="*/ 183355 h 454819"/>
                  <a:gd name="connsiteX10" fmla="*/ 240506 w 271463"/>
                  <a:gd name="connsiteY10" fmla="*/ 192880 h 454819"/>
                  <a:gd name="connsiteX11" fmla="*/ 247649 w 271463"/>
                  <a:gd name="connsiteY11" fmla="*/ 235743 h 454819"/>
                  <a:gd name="connsiteX12" fmla="*/ 271463 w 271463"/>
                  <a:gd name="connsiteY12" fmla="*/ 247651 h 454819"/>
                  <a:gd name="connsiteX13" fmla="*/ 223837 w 271463"/>
                  <a:gd name="connsiteY13" fmla="*/ 454819 h 454819"/>
                  <a:gd name="connsiteX14" fmla="*/ 14288 w 271463"/>
                  <a:gd name="connsiteY14" fmla="*/ 452437 h 454819"/>
                  <a:gd name="connsiteX15" fmla="*/ 0 w 271463"/>
                  <a:gd name="connsiteY15" fmla="*/ 202407 h 454819"/>
                  <a:gd name="connsiteX0" fmla="*/ 0 w 271463"/>
                  <a:gd name="connsiteY0" fmla="*/ 202407 h 464344"/>
                  <a:gd name="connsiteX1" fmla="*/ 71437 w 271463"/>
                  <a:gd name="connsiteY1" fmla="*/ 2381 h 464344"/>
                  <a:gd name="connsiteX2" fmla="*/ 119062 w 271463"/>
                  <a:gd name="connsiteY2" fmla="*/ 0 h 464344"/>
                  <a:gd name="connsiteX3" fmla="*/ 126205 w 271463"/>
                  <a:gd name="connsiteY3" fmla="*/ 171450 h 464344"/>
                  <a:gd name="connsiteX4" fmla="*/ 142875 w 271463"/>
                  <a:gd name="connsiteY4" fmla="*/ 178593 h 464344"/>
                  <a:gd name="connsiteX5" fmla="*/ 157162 w 271463"/>
                  <a:gd name="connsiteY5" fmla="*/ 145255 h 464344"/>
                  <a:gd name="connsiteX6" fmla="*/ 188118 w 271463"/>
                  <a:gd name="connsiteY6" fmla="*/ 157161 h 464344"/>
                  <a:gd name="connsiteX7" fmla="*/ 183356 w 271463"/>
                  <a:gd name="connsiteY7" fmla="*/ 190501 h 464344"/>
                  <a:gd name="connsiteX8" fmla="*/ 197643 w 271463"/>
                  <a:gd name="connsiteY8" fmla="*/ 202406 h 464344"/>
                  <a:gd name="connsiteX9" fmla="*/ 216694 w 271463"/>
                  <a:gd name="connsiteY9" fmla="*/ 183355 h 464344"/>
                  <a:gd name="connsiteX10" fmla="*/ 240506 w 271463"/>
                  <a:gd name="connsiteY10" fmla="*/ 192880 h 464344"/>
                  <a:gd name="connsiteX11" fmla="*/ 247649 w 271463"/>
                  <a:gd name="connsiteY11" fmla="*/ 235743 h 464344"/>
                  <a:gd name="connsiteX12" fmla="*/ 271463 w 271463"/>
                  <a:gd name="connsiteY12" fmla="*/ 247651 h 464344"/>
                  <a:gd name="connsiteX13" fmla="*/ 223837 w 271463"/>
                  <a:gd name="connsiteY13" fmla="*/ 454819 h 464344"/>
                  <a:gd name="connsiteX14" fmla="*/ 69057 w 271463"/>
                  <a:gd name="connsiteY14" fmla="*/ 464344 h 464344"/>
                  <a:gd name="connsiteX15" fmla="*/ 0 w 271463"/>
                  <a:gd name="connsiteY15" fmla="*/ 202407 h 464344"/>
                  <a:gd name="connsiteX0" fmla="*/ 0 w 271463"/>
                  <a:gd name="connsiteY0" fmla="*/ 202407 h 464344"/>
                  <a:gd name="connsiteX1" fmla="*/ 71437 w 271463"/>
                  <a:gd name="connsiteY1" fmla="*/ 2381 h 464344"/>
                  <a:gd name="connsiteX2" fmla="*/ 119062 w 271463"/>
                  <a:gd name="connsiteY2" fmla="*/ 0 h 464344"/>
                  <a:gd name="connsiteX3" fmla="*/ 126205 w 271463"/>
                  <a:gd name="connsiteY3" fmla="*/ 171450 h 464344"/>
                  <a:gd name="connsiteX4" fmla="*/ 142875 w 271463"/>
                  <a:gd name="connsiteY4" fmla="*/ 178593 h 464344"/>
                  <a:gd name="connsiteX5" fmla="*/ 157162 w 271463"/>
                  <a:gd name="connsiteY5" fmla="*/ 145255 h 464344"/>
                  <a:gd name="connsiteX6" fmla="*/ 188118 w 271463"/>
                  <a:gd name="connsiteY6" fmla="*/ 157161 h 464344"/>
                  <a:gd name="connsiteX7" fmla="*/ 183356 w 271463"/>
                  <a:gd name="connsiteY7" fmla="*/ 190501 h 464344"/>
                  <a:gd name="connsiteX8" fmla="*/ 197643 w 271463"/>
                  <a:gd name="connsiteY8" fmla="*/ 202406 h 464344"/>
                  <a:gd name="connsiteX9" fmla="*/ 216694 w 271463"/>
                  <a:gd name="connsiteY9" fmla="*/ 183355 h 464344"/>
                  <a:gd name="connsiteX10" fmla="*/ 240506 w 271463"/>
                  <a:gd name="connsiteY10" fmla="*/ 192880 h 464344"/>
                  <a:gd name="connsiteX11" fmla="*/ 247649 w 271463"/>
                  <a:gd name="connsiteY11" fmla="*/ 235743 h 464344"/>
                  <a:gd name="connsiteX12" fmla="*/ 271463 w 271463"/>
                  <a:gd name="connsiteY12" fmla="*/ 247651 h 464344"/>
                  <a:gd name="connsiteX13" fmla="*/ 223837 w 271463"/>
                  <a:gd name="connsiteY13" fmla="*/ 454819 h 464344"/>
                  <a:gd name="connsiteX14" fmla="*/ 69057 w 271463"/>
                  <a:gd name="connsiteY14" fmla="*/ 464344 h 464344"/>
                  <a:gd name="connsiteX15" fmla="*/ 0 w 271463"/>
                  <a:gd name="connsiteY15" fmla="*/ 202407 h 464344"/>
                  <a:gd name="connsiteX0" fmla="*/ 0 w 271463"/>
                  <a:gd name="connsiteY0" fmla="*/ 202407 h 464344"/>
                  <a:gd name="connsiteX1" fmla="*/ 71437 w 271463"/>
                  <a:gd name="connsiteY1" fmla="*/ 2381 h 464344"/>
                  <a:gd name="connsiteX2" fmla="*/ 119062 w 271463"/>
                  <a:gd name="connsiteY2" fmla="*/ 0 h 464344"/>
                  <a:gd name="connsiteX3" fmla="*/ 126205 w 271463"/>
                  <a:gd name="connsiteY3" fmla="*/ 171450 h 464344"/>
                  <a:gd name="connsiteX4" fmla="*/ 142875 w 271463"/>
                  <a:gd name="connsiteY4" fmla="*/ 178593 h 464344"/>
                  <a:gd name="connsiteX5" fmla="*/ 157162 w 271463"/>
                  <a:gd name="connsiteY5" fmla="*/ 145255 h 464344"/>
                  <a:gd name="connsiteX6" fmla="*/ 188118 w 271463"/>
                  <a:gd name="connsiteY6" fmla="*/ 157161 h 464344"/>
                  <a:gd name="connsiteX7" fmla="*/ 183356 w 271463"/>
                  <a:gd name="connsiteY7" fmla="*/ 190501 h 464344"/>
                  <a:gd name="connsiteX8" fmla="*/ 197643 w 271463"/>
                  <a:gd name="connsiteY8" fmla="*/ 202406 h 464344"/>
                  <a:gd name="connsiteX9" fmla="*/ 216694 w 271463"/>
                  <a:gd name="connsiteY9" fmla="*/ 183355 h 464344"/>
                  <a:gd name="connsiteX10" fmla="*/ 240506 w 271463"/>
                  <a:gd name="connsiteY10" fmla="*/ 192880 h 464344"/>
                  <a:gd name="connsiteX11" fmla="*/ 247649 w 271463"/>
                  <a:gd name="connsiteY11" fmla="*/ 235743 h 464344"/>
                  <a:gd name="connsiteX12" fmla="*/ 271463 w 271463"/>
                  <a:gd name="connsiteY12" fmla="*/ 247651 h 464344"/>
                  <a:gd name="connsiteX13" fmla="*/ 223837 w 271463"/>
                  <a:gd name="connsiteY13" fmla="*/ 454819 h 464344"/>
                  <a:gd name="connsiteX14" fmla="*/ 69057 w 271463"/>
                  <a:gd name="connsiteY14" fmla="*/ 464344 h 464344"/>
                  <a:gd name="connsiteX15" fmla="*/ 0 w 271463"/>
                  <a:gd name="connsiteY15" fmla="*/ 202407 h 464344"/>
                  <a:gd name="connsiteX0" fmla="*/ 0 w 271463"/>
                  <a:gd name="connsiteY0" fmla="*/ 202407 h 464344"/>
                  <a:gd name="connsiteX1" fmla="*/ 16668 w 271463"/>
                  <a:gd name="connsiteY1" fmla="*/ 140493 h 464344"/>
                  <a:gd name="connsiteX2" fmla="*/ 71437 w 271463"/>
                  <a:gd name="connsiteY2" fmla="*/ 2381 h 464344"/>
                  <a:gd name="connsiteX3" fmla="*/ 119062 w 271463"/>
                  <a:gd name="connsiteY3" fmla="*/ 0 h 464344"/>
                  <a:gd name="connsiteX4" fmla="*/ 126205 w 271463"/>
                  <a:gd name="connsiteY4" fmla="*/ 171450 h 464344"/>
                  <a:gd name="connsiteX5" fmla="*/ 142875 w 271463"/>
                  <a:gd name="connsiteY5" fmla="*/ 178593 h 464344"/>
                  <a:gd name="connsiteX6" fmla="*/ 157162 w 271463"/>
                  <a:gd name="connsiteY6" fmla="*/ 145255 h 464344"/>
                  <a:gd name="connsiteX7" fmla="*/ 188118 w 271463"/>
                  <a:gd name="connsiteY7" fmla="*/ 157161 h 464344"/>
                  <a:gd name="connsiteX8" fmla="*/ 183356 w 271463"/>
                  <a:gd name="connsiteY8" fmla="*/ 190501 h 464344"/>
                  <a:gd name="connsiteX9" fmla="*/ 197643 w 271463"/>
                  <a:gd name="connsiteY9" fmla="*/ 202406 h 464344"/>
                  <a:gd name="connsiteX10" fmla="*/ 216694 w 271463"/>
                  <a:gd name="connsiteY10" fmla="*/ 183355 h 464344"/>
                  <a:gd name="connsiteX11" fmla="*/ 240506 w 271463"/>
                  <a:gd name="connsiteY11" fmla="*/ 192880 h 464344"/>
                  <a:gd name="connsiteX12" fmla="*/ 247649 w 271463"/>
                  <a:gd name="connsiteY12" fmla="*/ 235743 h 464344"/>
                  <a:gd name="connsiteX13" fmla="*/ 271463 w 271463"/>
                  <a:gd name="connsiteY13" fmla="*/ 247651 h 464344"/>
                  <a:gd name="connsiteX14" fmla="*/ 223837 w 271463"/>
                  <a:gd name="connsiteY14" fmla="*/ 454819 h 464344"/>
                  <a:gd name="connsiteX15" fmla="*/ 69057 w 271463"/>
                  <a:gd name="connsiteY15" fmla="*/ 464344 h 464344"/>
                  <a:gd name="connsiteX16" fmla="*/ 0 w 271463"/>
                  <a:gd name="connsiteY16" fmla="*/ 202407 h 464344"/>
                  <a:gd name="connsiteX0" fmla="*/ 0 w 271463"/>
                  <a:gd name="connsiteY0" fmla="*/ 202407 h 464344"/>
                  <a:gd name="connsiteX1" fmla="*/ 38099 w 271463"/>
                  <a:gd name="connsiteY1" fmla="*/ 150018 h 464344"/>
                  <a:gd name="connsiteX2" fmla="*/ 71437 w 271463"/>
                  <a:gd name="connsiteY2" fmla="*/ 2381 h 464344"/>
                  <a:gd name="connsiteX3" fmla="*/ 119062 w 271463"/>
                  <a:gd name="connsiteY3" fmla="*/ 0 h 464344"/>
                  <a:gd name="connsiteX4" fmla="*/ 126205 w 271463"/>
                  <a:gd name="connsiteY4" fmla="*/ 171450 h 464344"/>
                  <a:gd name="connsiteX5" fmla="*/ 142875 w 271463"/>
                  <a:gd name="connsiteY5" fmla="*/ 178593 h 464344"/>
                  <a:gd name="connsiteX6" fmla="*/ 157162 w 271463"/>
                  <a:gd name="connsiteY6" fmla="*/ 145255 h 464344"/>
                  <a:gd name="connsiteX7" fmla="*/ 188118 w 271463"/>
                  <a:gd name="connsiteY7" fmla="*/ 157161 h 464344"/>
                  <a:gd name="connsiteX8" fmla="*/ 183356 w 271463"/>
                  <a:gd name="connsiteY8" fmla="*/ 190501 h 464344"/>
                  <a:gd name="connsiteX9" fmla="*/ 197643 w 271463"/>
                  <a:gd name="connsiteY9" fmla="*/ 202406 h 464344"/>
                  <a:gd name="connsiteX10" fmla="*/ 216694 w 271463"/>
                  <a:gd name="connsiteY10" fmla="*/ 183355 h 464344"/>
                  <a:gd name="connsiteX11" fmla="*/ 240506 w 271463"/>
                  <a:gd name="connsiteY11" fmla="*/ 192880 h 464344"/>
                  <a:gd name="connsiteX12" fmla="*/ 247649 w 271463"/>
                  <a:gd name="connsiteY12" fmla="*/ 235743 h 464344"/>
                  <a:gd name="connsiteX13" fmla="*/ 271463 w 271463"/>
                  <a:gd name="connsiteY13" fmla="*/ 247651 h 464344"/>
                  <a:gd name="connsiteX14" fmla="*/ 223837 w 271463"/>
                  <a:gd name="connsiteY14" fmla="*/ 454819 h 464344"/>
                  <a:gd name="connsiteX15" fmla="*/ 69057 w 271463"/>
                  <a:gd name="connsiteY15" fmla="*/ 464344 h 464344"/>
                  <a:gd name="connsiteX16" fmla="*/ 0 w 271463"/>
                  <a:gd name="connsiteY16" fmla="*/ 202407 h 464344"/>
                  <a:gd name="connsiteX0" fmla="*/ 0 w 271463"/>
                  <a:gd name="connsiteY0" fmla="*/ 202407 h 464344"/>
                  <a:gd name="connsiteX1" fmla="*/ 38099 w 271463"/>
                  <a:gd name="connsiteY1" fmla="*/ 150018 h 464344"/>
                  <a:gd name="connsiteX2" fmla="*/ 57149 w 271463"/>
                  <a:gd name="connsiteY2" fmla="*/ 71437 h 464344"/>
                  <a:gd name="connsiteX3" fmla="*/ 71437 w 271463"/>
                  <a:gd name="connsiteY3" fmla="*/ 2381 h 464344"/>
                  <a:gd name="connsiteX4" fmla="*/ 119062 w 271463"/>
                  <a:gd name="connsiteY4" fmla="*/ 0 h 464344"/>
                  <a:gd name="connsiteX5" fmla="*/ 126205 w 271463"/>
                  <a:gd name="connsiteY5" fmla="*/ 171450 h 464344"/>
                  <a:gd name="connsiteX6" fmla="*/ 142875 w 271463"/>
                  <a:gd name="connsiteY6" fmla="*/ 178593 h 464344"/>
                  <a:gd name="connsiteX7" fmla="*/ 157162 w 271463"/>
                  <a:gd name="connsiteY7" fmla="*/ 145255 h 464344"/>
                  <a:gd name="connsiteX8" fmla="*/ 188118 w 271463"/>
                  <a:gd name="connsiteY8" fmla="*/ 157161 h 464344"/>
                  <a:gd name="connsiteX9" fmla="*/ 183356 w 271463"/>
                  <a:gd name="connsiteY9" fmla="*/ 190501 h 464344"/>
                  <a:gd name="connsiteX10" fmla="*/ 197643 w 271463"/>
                  <a:gd name="connsiteY10" fmla="*/ 202406 h 464344"/>
                  <a:gd name="connsiteX11" fmla="*/ 216694 w 271463"/>
                  <a:gd name="connsiteY11" fmla="*/ 183355 h 464344"/>
                  <a:gd name="connsiteX12" fmla="*/ 240506 w 271463"/>
                  <a:gd name="connsiteY12" fmla="*/ 192880 h 464344"/>
                  <a:gd name="connsiteX13" fmla="*/ 247649 w 271463"/>
                  <a:gd name="connsiteY13" fmla="*/ 235743 h 464344"/>
                  <a:gd name="connsiteX14" fmla="*/ 271463 w 271463"/>
                  <a:gd name="connsiteY14" fmla="*/ 247651 h 464344"/>
                  <a:gd name="connsiteX15" fmla="*/ 223837 w 271463"/>
                  <a:gd name="connsiteY15" fmla="*/ 454819 h 464344"/>
                  <a:gd name="connsiteX16" fmla="*/ 69057 w 271463"/>
                  <a:gd name="connsiteY16" fmla="*/ 464344 h 464344"/>
                  <a:gd name="connsiteX17" fmla="*/ 0 w 271463"/>
                  <a:gd name="connsiteY17" fmla="*/ 202407 h 464344"/>
                  <a:gd name="connsiteX0" fmla="*/ 0 w 271463"/>
                  <a:gd name="connsiteY0" fmla="*/ 202407 h 464344"/>
                  <a:gd name="connsiteX1" fmla="*/ 38099 w 271463"/>
                  <a:gd name="connsiteY1" fmla="*/ 150018 h 464344"/>
                  <a:gd name="connsiteX2" fmla="*/ 50005 w 271463"/>
                  <a:gd name="connsiteY2" fmla="*/ 230981 h 464344"/>
                  <a:gd name="connsiteX3" fmla="*/ 71437 w 271463"/>
                  <a:gd name="connsiteY3" fmla="*/ 2381 h 464344"/>
                  <a:gd name="connsiteX4" fmla="*/ 119062 w 271463"/>
                  <a:gd name="connsiteY4" fmla="*/ 0 h 464344"/>
                  <a:gd name="connsiteX5" fmla="*/ 126205 w 271463"/>
                  <a:gd name="connsiteY5" fmla="*/ 171450 h 464344"/>
                  <a:gd name="connsiteX6" fmla="*/ 142875 w 271463"/>
                  <a:gd name="connsiteY6" fmla="*/ 178593 h 464344"/>
                  <a:gd name="connsiteX7" fmla="*/ 157162 w 271463"/>
                  <a:gd name="connsiteY7" fmla="*/ 145255 h 464344"/>
                  <a:gd name="connsiteX8" fmla="*/ 188118 w 271463"/>
                  <a:gd name="connsiteY8" fmla="*/ 157161 h 464344"/>
                  <a:gd name="connsiteX9" fmla="*/ 183356 w 271463"/>
                  <a:gd name="connsiteY9" fmla="*/ 190501 h 464344"/>
                  <a:gd name="connsiteX10" fmla="*/ 197643 w 271463"/>
                  <a:gd name="connsiteY10" fmla="*/ 202406 h 464344"/>
                  <a:gd name="connsiteX11" fmla="*/ 216694 w 271463"/>
                  <a:gd name="connsiteY11" fmla="*/ 183355 h 464344"/>
                  <a:gd name="connsiteX12" fmla="*/ 240506 w 271463"/>
                  <a:gd name="connsiteY12" fmla="*/ 192880 h 464344"/>
                  <a:gd name="connsiteX13" fmla="*/ 247649 w 271463"/>
                  <a:gd name="connsiteY13" fmla="*/ 235743 h 464344"/>
                  <a:gd name="connsiteX14" fmla="*/ 271463 w 271463"/>
                  <a:gd name="connsiteY14" fmla="*/ 247651 h 464344"/>
                  <a:gd name="connsiteX15" fmla="*/ 223837 w 271463"/>
                  <a:gd name="connsiteY15" fmla="*/ 454819 h 464344"/>
                  <a:gd name="connsiteX16" fmla="*/ 69057 w 271463"/>
                  <a:gd name="connsiteY16" fmla="*/ 464344 h 464344"/>
                  <a:gd name="connsiteX17" fmla="*/ 0 w 271463"/>
                  <a:gd name="connsiteY17" fmla="*/ 202407 h 464344"/>
                  <a:gd name="connsiteX0" fmla="*/ 0 w 271463"/>
                  <a:gd name="connsiteY0" fmla="*/ 202407 h 464344"/>
                  <a:gd name="connsiteX1" fmla="*/ 38099 w 271463"/>
                  <a:gd name="connsiteY1" fmla="*/ 150018 h 464344"/>
                  <a:gd name="connsiteX2" fmla="*/ 50005 w 271463"/>
                  <a:gd name="connsiteY2" fmla="*/ 230981 h 464344"/>
                  <a:gd name="connsiteX3" fmla="*/ 52387 w 271463"/>
                  <a:gd name="connsiteY3" fmla="*/ 166687 h 464344"/>
                  <a:gd name="connsiteX4" fmla="*/ 71437 w 271463"/>
                  <a:gd name="connsiteY4" fmla="*/ 2381 h 464344"/>
                  <a:gd name="connsiteX5" fmla="*/ 119062 w 271463"/>
                  <a:gd name="connsiteY5" fmla="*/ 0 h 464344"/>
                  <a:gd name="connsiteX6" fmla="*/ 126205 w 271463"/>
                  <a:gd name="connsiteY6" fmla="*/ 171450 h 464344"/>
                  <a:gd name="connsiteX7" fmla="*/ 142875 w 271463"/>
                  <a:gd name="connsiteY7" fmla="*/ 178593 h 464344"/>
                  <a:gd name="connsiteX8" fmla="*/ 157162 w 271463"/>
                  <a:gd name="connsiteY8" fmla="*/ 145255 h 464344"/>
                  <a:gd name="connsiteX9" fmla="*/ 188118 w 271463"/>
                  <a:gd name="connsiteY9" fmla="*/ 157161 h 464344"/>
                  <a:gd name="connsiteX10" fmla="*/ 183356 w 271463"/>
                  <a:gd name="connsiteY10" fmla="*/ 190501 h 464344"/>
                  <a:gd name="connsiteX11" fmla="*/ 197643 w 271463"/>
                  <a:gd name="connsiteY11" fmla="*/ 202406 h 464344"/>
                  <a:gd name="connsiteX12" fmla="*/ 216694 w 271463"/>
                  <a:gd name="connsiteY12" fmla="*/ 183355 h 464344"/>
                  <a:gd name="connsiteX13" fmla="*/ 240506 w 271463"/>
                  <a:gd name="connsiteY13" fmla="*/ 192880 h 464344"/>
                  <a:gd name="connsiteX14" fmla="*/ 247649 w 271463"/>
                  <a:gd name="connsiteY14" fmla="*/ 235743 h 464344"/>
                  <a:gd name="connsiteX15" fmla="*/ 271463 w 271463"/>
                  <a:gd name="connsiteY15" fmla="*/ 247651 h 464344"/>
                  <a:gd name="connsiteX16" fmla="*/ 223837 w 271463"/>
                  <a:gd name="connsiteY16" fmla="*/ 454819 h 464344"/>
                  <a:gd name="connsiteX17" fmla="*/ 69057 w 271463"/>
                  <a:gd name="connsiteY17" fmla="*/ 464344 h 464344"/>
                  <a:gd name="connsiteX18" fmla="*/ 0 w 271463"/>
                  <a:gd name="connsiteY18" fmla="*/ 202407 h 464344"/>
                  <a:gd name="connsiteX0" fmla="*/ 0 w 271463"/>
                  <a:gd name="connsiteY0" fmla="*/ 202407 h 464344"/>
                  <a:gd name="connsiteX1" fmla="*/ 38099 w 271463"/>
                  <a:gd name="connsiteY1" fmla="*/ 150018 h 464344"/>
                  <a:gd name="connsiteX2" fmla="*/ 50005 w 271463"/>
                  <a:gd name="connsiteY2" fmla="*/ 230981 h 464344"/>
                  <a:gd name="connsiteX3" fmla="*/ 66674 w 271463"/>
                  <a:gd name="connsiteY3" fmla="*/ 223837 h 464344"/>
                  <a:gd name="connsiteX4" fmla="*/ 71437 w 271463"/>
                  <a:gd name="connsiteY4" fmla="*/ 2381 h 464344"/>
                  <a:gd name="connsiteX5" fmla="*/ 119062 w 271463"/>
                  <a:gd name="connsiteY5" fmla="*/ 0 h 464344"/>
                  <a:gd name="connsiteX6" fmla="*/ 126205 w 271463"/>
                  <a:gd name="connsiteY6" fmla="*/ 171450 h 464344"/>
                  <a:gd name="connsiteX7" fmla="*/ 142875 w 271463"/>
                  <a:gd name="connsiteY7" fmla="*/ 178593 h 464344"/>
                  <a:gd name="connsiteX8" fmla="*/ 157162 w 271463"/>
                  <a:gd name="connsiteY8" fmla="*/ 145255 h 464344"/>
                  <a:gd name="connsiteX9" fmla="*/ 188118 w 271463"/>
                  <a:gd name="connsiteY9" fmla="*/ 157161 h 464344"/>
                  <a:gd name="connsiteX10" fmla="*/ 183356 w 271463"/>
                  <a:gd name="connsiteY10" fmla="*/ 190501 h 464344"/>
                  <a:gd name="connsiteX11" fmla="*/ 197643 w 271463"/>
                  <a:gd name="connsiteY11" fmla="*/ 202406 h 464344"/>
                  <a:gd name="connsiteX12" fmla="*/ 216694 w 271463"/>
                  <a:gd name="connsiteY12" fmla="*/ 183355 h 464344"/>
                  <a:gd name="connsiteX13" fmla="*/ 240506 w 271463"/>
                  <a:gd name="connsiteY13" fmla="*/ 192880 h 464344"/>
                  <a:gd name="connsiteX14" fmla="*/ 247649 w 271463"/>
                  <a:gd name="connsiteY14" fmla="*/ 235743 h 464344"/>
                  <a:gd name="connsiteX15" fmla="*/ 271463 w 271463"/>
                  <a:gd name="connsiteY15" fmla="*/ 247651 h 464344"/>
                  <a:gd name="connsiteX16" fmla="*/ 223837 w 271463"/>
                  <a:gd name="connsiteY16" fmla="*/ 454819 h 464344"/>
                  <a:gd name="connsiteX17" fmla="*/ 69057 w 271463"/>
                  <a:gd name="connsiteY17" fmla="*/ 464344 h 464344"/>
                  <a:gd name="connsiteX18" fmla="*/ 0 w 271463"/>
                  <a:gd name="connsiteY18" fmla="*/ 202407 h 464344"/>
                  <a:gd name="connsiteX0" fmla="*/ 0 w 271463"/>
                  <a:gd name="connsiteY0" fmla="*/ 202407 h 464344"/>
                  <a:gd name="connsiteX1" fmla="*/ 38099 w 271463"/>
                  <a:gd name="connsiteY1" fmla="*/ 150018 h 464344"/>
                  <a:gd name="connsiteX2" fmla="*/ 50005 w 271463"/>
                  <a:gd name="connsiteY2" fmla="*/ 230981 h 464344"/>
                  <a:gd name="connsiteX3" fmla="*/ 61912 w 271463"/>
                  <a:gd name="connsiteY3" fmla="*/ 223837 h 464344"/>
                  <a:gd name="connsiteX4" fmla="*/ 71437 w 271463"/>
                  <a:gd name="connsiteY4" fmla="*/ 2381 h 464344"/>
                  <a:gd name="connsiteX5" fmla="*/ 119062 w 271463"/>
                  <a:gd name="connsiteY5" fmla="*/ 0 h 464344"/>
                  <a:gd name="connsiteX6" fmla="*/ 126205 w 271463"/>
                  <a:gd name="connsiteY6" fmla="*/ 171450 h 464344"/>
                  <a:gd name="connsiteX7" fmla="*/ 142875 w 271463"/>
                  <a:gd name="connsiteY7" fmla="*/ 178593 h 464344"/>
                  <a:gd name="connsiteX8" fmla="*/ 157162 w 271463"/>
                  <a:gd name="connsiteY8" fmla="*/ 145255 h 464344"/>
                  <a:gd name="connsiteX9" fmla="*/ 188118 w 271463"/>
                  <a:gd name="connsiteY9" fmla="*/ 157161 h 464344"/>
                  <a:gd name="connsiteX10" fmla="*/ 183356 w 271463"/>
                  <a:gd name="connsiteY10" fmla="*/ 190501 h 464344"/>
                  <a:gd name="connsiteX11" fmla="*/ 197643 w 271463"/>
                  <a:gd name="connsiteY11" fmla="*/ 202406 h 464344"/>
                  <a:gd name="connsiteX12" fmla="*/ 216694 w 271463"/>
                  <a:gd name="connsiteY12" fmla="*/ 183355 h 464344"/>
                  <a:gd name="connsiteX13" fmla="*/ 240506 w 271463"/>
                  <a:gd name="connsiteY13" fmla="*/ 192880 h 464344"/>
                  <a:gd name="connsiteX14" fmla="*/ 247649 w 271463"/>
                  <a:gd name="connsiteY14" fmla="*/ 235743 h 464344"/>
                  <a:gd name="connsiteX15" fmla="*/ 271463 w 271463"/>
                  <a:gd name="connsiteY15" fmla="*/ 247651 h 464344"/>
                  <a:gd name="connsiteX16" fmla="*/ 223837 w 271463"/>
                  <a:gd name="connsiteY16" fmla="*/ 454819 h 464344"/>
                  <a:gd name="connsiteX17" fmla="*/ 69057 w 271463"/>
                  <a:gd name="connsiteY17" fmla="*/ 464344 h 464344"/>
                  <a:gd name="connsiteX18" fmla="*/ 0 w 271463"/>
                  <a:gd name="connsiteY18" fmla="*/ 202407 h 464344"/>
                  <a:gd name="connsiteX0" fmla="*/ 0 w 271463"/>
                  <a:gd name="connsiteY0" fmla="*/ 202407 h 464344"/>
                  <a:gd name="connsiteX1" fmla="*/ 38099 w 271463"/>
                  <a:gd name="connsiteY1" fmla="*/ 150018 h 464344"/>
                  <a:gd name="connsiteX2" fmla="*/ 50005 w 271463"/>
                  <a:gd name="connsiteY2" fmla="*/ 230981 h 464344"/>
                  <a:gd name="connsiteX3" fmla="*/ 69056 w 271463"/>
                  <a:gd name="connsiteY3" fmla="*/ 226218 h 464344"/>
                  <a:gd name="connsiteX4" fmla="*/ 71437 w 271463"/>
                  <a:gd name="connsiteY4" fmla="*/ 2381 h 464344"/>
                  <a:gd name="connsiteX5" fmla="*/ 119062 w 271463"/>
                  <a:gd name="connsiteY5" fmla="*/ 0 h 464344"/>
                  <a:gd name="connsiteX6" fmla="*/ 126205 w 271463"/>
                  <a:gd name="connsiteY6" fmla="*/ 171450 h 464344"/>
                  <a:gd name="connsiteX7" fmla="*/ 142875 w 271463"/>
                  <a:gd name="connsiteY7" fmla="*/ 178593 h 464344"/>
                  <a:gd name="connsiteX8" fmla="*/ 157162 w 271463"/>
                  <a:gd name="connsiteY8" fmla="*/ 145255 h 464344"/>
                  <a:gd name="connsiteX9" fmla="*/ 188118 w 271463"/>
                  <a:gd name="connsiteY9" fmla="*/ 157161 h 464344"/>
                  <a:gd name="connsiteX10" fmla="*/ 183356 w 271463"/>
                  <a:gd name="connsiteY10" fmla="*/ 190501 h 464344"/>
                  <a:gd name="connsiteX11" fmla="*/ 197643 w 271463"/>
                  <a:gd name="connsiteY11" fmla="*/ 202406 h 464344"/>
                  <a:gd name="connsiteX12" fmla="*/ 216694 w 271463"/>
                  <a:gd name="connsiteY12" fmla="*/ 183355 h 464344"/>
                  <a:gd name="connsiteX13" fmla="*/ 240506 w 271463"/>
                  <a:gd name="connsiteY13" fmla="*/ 192880 h 464344"/>
                  <a:gd name="connsiteX14" fmla="*/ 247649 w 271463"/>
                  <a:gd name="connsiteY14" fmla="*/ 235743 h 464344"/>
                  <a:gd name="connsiteX15" fmla="*/ 271463 w 271463"/>
                  <a:gd name="connsiteY15" fmla="*/ 247651 h 464344"/>
                  <a:gd name="connsiteX16" fmla="*/ 223837 w 271463"/>
                  <a:gd name="connsiteY16" fmla="*/ 454819 h 464344"/>
                  <a:gd name="connsiteX17" fmla="*/ 69057 w 271463"/>
                  <a:gd name="connsiteY17" fmla="*/ 464344 h 464344"/>
                  <a:gd name="connsiteX18" fmla="*/ 0 w 271463"/>
                  <a:gd name="connsiteY18" fmla="*/ 202407 h 464344"/>
                  <a:gd name="connsiteX0" fmla="*/ 0 w 271463"/>
                  <a:gd name="connsiteY0" fmla="*/ 202407 h 464344"/>
                  <a:gd name="connsiteX1" fmla="*/ 38099 w 271463"/>
                  <a:gd name="connsiteY1" fmla="*/ 150018 h 464344"/>
                  <a:gd name="connsiteX2" fmla="*/ 50005 w 271463"/>
                  <a:gd name="connsiteY2" fmla="*/ 230981 h 464344"/>
                  <a:gd name="connsiteX3" fmla="*/ 69056 w 271463"/>
                  <a:gd name="connsiteY3" fmla="*/ 233362 h 464344"/>
                  <a:gd name="connsiteX4" fmla="*/ 71437 w 271463"/>
                  <a:gd name="connsiteY4" fmla="*/ 2381 h 464344"/>
                  <a:gd name="connsiteX5" fmla="*/ 119062 w 271463"/>
                  <a:gd name="connsiteY5" fmla="*/ 0 h 464344"/>
                  <a:gd name="connsiteX6" fmla="*/ 126205 w 271463"/>
                  <a:gd name="connsiteY6" fmla="*/ 171450 h 464344"/>
                  <a:gd name="connsiteX7" fmla="*/ 142875 w 271463"/>
                  <a:gd name="connsiteY7" fmla="*/ 178593 h 464344"/>
                  <a:gd name="connsiteX8" fmla="*/ 157162 w 271463"/>
                  <a:gd name="connsiteY8" fmla="*/ 145255 h 464344"/>
                  <a:gd name="connsiteX9" fmla="*/ 188118 w 271463"/>
                  <a:gd name="connsiteY9" fmla="*/ 157161 h 464344"/>
                  <a:gd name="connsiteX10" fmla="*/ 183356 w 271463"/>
                  <a:gd name="connsiteY10" fmla="*/ 190501 h 464344"/>
                  <a:gd name="connsiteX11" fmla="*/ 197643 w 271463"/>
                  <a:gd name="connsiteY11" fmla="*/ 202406 h 464344"/>
                  <a:gd name="connsiteX12" fmla="*/ 216694 w 271463"/>
                  <a:gd name="connsiteY12" fmla="*/ 183355 h 464344"/>
                  <a:gd name="connsiteX13" fmla="*/ 240506 w 271463"/>
                  <a:gd name="connsiteY13" fmla="*/ 192880 h 464344"/>
                  <a:gd name="connsiteX14" fmla="*/ 247649 w 271463"/>
                  <a:gd name="connsiteY14" fmla="*/ 235743 h 464344"/>
                  <a:gd name="connsiteX15" fmla="*/ 271463 w 271463"/>
                  <a:gd name="connsiteY15" fmla="*/ 247651 h 464344"/>
                  <a:gd name="connsiteX16" fmla="*/ 223837 w 271463"/>
                  <a:gd name="connsiteY16" fmla="*/ 454819 h 464344"/>
                  <a:gd name="connsiteX17" fmla="*/ 69057 w 271463"/>
                  <a:gd name="connsiteY17" fmla="*/ 464344 h 464344"/>
                  <a:gd name="connsiteX18" fmla="*/ 0 w 271463"/>
                  <a:gd name="connsiteY18" fmla="*/ 202407 h 464344"/>
                  <a:gd name="connsiteX0" fmla="*/ 0 w 271463"/>
                  <a:gd name="connsiteY0" fmla="*/ 202407 h 464344"/>
                  <a:gd name="connsiteX1" fmla="*/ 38099 w 271463"/>
                  <a:gd name="connsiteY1" fmla="*/ 150018 h 464344"/>
                  <a:gd name="connsiteX2" fmla="*/ 50005 w 271463"/>
                  <a:gd name="connsiteY2" fmla="*/ 230981 h 464344"/>
                  <a:gd name="connsiteX3" fmla="*/ 69056 w 271463"/>
                  <a:gd name="connsiteY3" fmla="*/ 233362 h 464344"/>
                  <a:gd name="connsiteX4" fmla="*/ 71437 w 271463"/>
                  <a:gd name="connsiteY4" fmla="*/ 2381 h 464344"/>
                  <a:gd name="connsiteX5" fmla="*/ 119062 w 271463"/>
                  <a:gd name="connsiteY5" fmla="*/ 0 h 464344"/>
                  <a:gd name="connsiteX6" fmla="*/ 126205 w 271463"/>
                  <a:gd name="connsiteY6" fmla="*/ 171450 h 464344"/>
                  <a:gd name="connsiteX7" fmla="*/ 142875 w 271463"/>
                  <a:gd name="connsiteY7" fmla="*/ 178593 h 464344"/>
                  <a:gd name="connsiteX8" fmla="*/ 157162 w 271463"/>
                  <a:gd name="connsiteY8" fmla="*/ 145255 h 464344"/>
                  <a:gd name="connsiteX9" fmla="*/ 188118 w 271463"/>
                  <a:gd name="connsiteY9" fmla="*/ 157161 h 464344"/>
                  <a:gd name="connsiteX10" fmla="*/ 183356 w 271463"/>
                  <a:gd name="connsiteY10" fmla="*/ 190501 h 464344"/>
                  <a:gd name="connsiteX11" fmla="*/ 197643 w 271463"/>
                  <a:gd name="connsiteY11" fmla="*/ 202406 h 464344"/>
                  <a:gd name="connsiteX12" fmla="*/ 216694 w 271463"/>
                  <a:gd name="connsiteY12" fmla="*/ 183355 h 464344"/>
                  <a:gd name="connsiteX13" fmla="*/ 240506 w 271463"/>
                  <a:gd name="connsiteY13" fmla="*/ 192880 h 464344"/>
                  <a:gd name="connsiteX14" fmla="*/ 247649 w 271463"/>
                  <a:gd name="connsiteY14" fmla="*/ 235743 h 464344"/>
                  <a:gd name="connsiteX15" fmla="*/ 271463 w 271463"/>
                  <a:gd name="connsiteY15" fmla="*/ 247651 h 464344"/>
                  <a:gd name="connsiteX16" fmla="*/ 223837 w 271463"/>
                  <a:gd name="connsiteY16" fmla="*/ 454819 h 464344"/>
                  <a:gd name="connsiteX17" fmla="*/ 69057 w 271463"/>
                  <a:gd name="connsiteY17" fmla="*/ 464344 h 464344"/>
                  <a:gd name="connsiteX18" fmla="*/ 0 w 271463"/>
                  <a:gd name="connsiteY18" fmla="*/ 202407 h 464344"/>
                  <a:gd name="connsiteX0" fmla="*/ 0 w 271463"/>
                  <a:gd name="connsiteY0" fmla="*/ 202407 h 464344"/>
                  <a:gd name="connsiteX1" fmla="*/ 38099 w 271463"/>
                  <a:gd name="connsiteY1" fmla="*/ 150018 h 464344"/>
                  <a:gd name="connsiteX2" fmla="*/ 50005 w 271463"/>
                  <a:gd name="connsiteY2" fmla="*/ 230981 h 464344"/>
                  <a:gd name="connsiteX3" fmla="*/ 69056 w 271463"/>
                  <a:gd name="connsiteY3" fmla="*/ 233362 h 464344"/>
                  <a:gd name="connsiteX4" fmla="*/ 71437 w 271463"/>
                  <a:gd name="connsiteY4" fmla="*/ 2381 h 464344"/>
                  <a:gd name="connsiteX5" fmla="*/ 119062 w 271463"/>
                  <a:gd name="connsiteY5" fmla="*/ 0 h 464344"/>
                  <a:gd name="connsiteX6" fmla="*/ 126205 w 271463"/>
                  <a:gd name="connsiteY6" fmla="*/ 171450 h 464344"/>
                  <a:gd name="connsiteX7" fmla="*/ 142875 w 271463"/>
                  <a:gd name="connsiteY7" fmla="*/ 178593 h 464344"/>
                  <a:gd name="connsiteX8" fmla="*/ 157162 w 271463"/>
                  <a:gd name="connsiteY8" fmla="*/ 145255 h 464344"/>
                  <a:gd name="connsiteX9" fmla="*/ 188118 w 271463"/>
                  <a:gd name="connsiteY9" fmla="*/ 157161 h 464344"/>
                  <a:gd name="connsiteX10" fmla="*/ 183356 w 271463"/>
                  <a:gd name="connsiteY10" fmla="*/ 190501 h 464344"/>
                  <a:gd name="connsiteX11" fmla="*/ 197643 w 271463"/>
                  <a:gd name="connsiteY11" fmla="*/ 202406 h 464344"/>
                  <a:gd name="connsiteX12" fmla="*/ 216694 w 271463"/>
                  <a:gd name="connsiteY12" fmla="*/ 183355 h 464344"/>
                  <a:gd name="connsiteX13" fmla="*/ 240506 w 271463"/>
                  <a:gd name="connsiteY13" fmla="*/ 192880 h 464344"/>
                  <a:gd name="connsiteX14" fmla="*/ 247649 w 271463"/>
                  <a:gd name="connsiteY14" fmla="*/ 235743 h 464344"/>
                  <a:gd name="connsiteX15" fmla="*/ 271463 w 271463"/>
                  <a:gd name="connsiteY15" fmla="*/ 247651 h 464344"/>
                  <a:gd name="connsiteX16" fmla="*/ 223837 w 271463"/>
                  <a:gd name="connsiteY16" fmla="*/ 454819 h 464344"/>
                  <a:gd name="connsiteX17" fmla="*/ 69057 w 271463"/>
                  <a:gd name="connsiteY17" fmla="*/ 464344 h 464344"/>
                  <a:gd name="connsiteX18" fmla="*/ 0 w 271463"/>
                  <a:gd name="connsiteY18" fmla="*/ 202407 h 464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1463" h="464344">
                    <a:moveTo>
                      <a:pt x="0" y="202407"/>
                    </a:moveTo>
                    <a:lnTo>
                      <a:pt x="38099" y="150018"/>
                    </a:lnTo>
                    <a:lnTo>
                      <a:pt x="50005" y="230981"/>
                    </a:lnTo>
                    <a:lnTo>
                      <a:pt x="69056" y="233362"/>
                    </a:lnTo>
                    <a:cubicBezTo>
                      <a:pt x="55563" y="161131"/>
                      <a:pt x="61118" y="81755"/>
                      <a:pt x="71437" y="2381"/>
                    </a:cubicBezTo>
                    <a:lnTo>
                      <a:pt x="119062" y="0"/>
                    </a:lnTo>
                    <a:lnTo>
                      <a:pt x="126205" y="171450"/>
                    </a:lnTo>
                    <a:lnTo>
                      <a:pt x="142875" y="178593"/>
                    </a:lnTo>
                    <a:lnTo>
                      <a:pt x="157162" y="145255"/>
                    </a:lnTo>
                    <a:lnTo>
                      <a:pt x="188118" y="157161"/>
                    </a:lnTo>
                    <a:lnTo>
                      <a:pt x="183356" y="190501"/>
                    </a:lnTo>
                    <a:lnTo>
                      <a:pt x="197643" y="202406"/>
                    </a:lnTo>
                    <a:lnTo>
                      <a:pt x="216694" y="183355"/>
                    </a:lnTo>
                    <a:lnTo>
                      <a:pt x="240506" y="192880"/>
                    </a:lnTo>
                    <a:lnTo>
                      <a:pt x="247649" y="235743"/>
                    </a:lnTo>
                    <a:lnTo>
                      <a:pt x="271463" y="247651"/>
                    </a:lnTo>
                    <a:lnTo>
                      <a:pt x="223837" y="454819"/>
                    </a:lnTo>
                    <a:lnTo>
                      <a:pt x="69057" y="464344"/>
                    </a:lnTo>
                    <a:cubicBezTo>
                      <a:pt x="19844" y="379413"/>
                      <a:pt x="8732" y="311150"/>
                      <a:pt x="0" y="202407"/>
                    </a:cubicBezTo>
                    <a:close/>
                  </a:path>
                </a:pathLst>
              </a:custGeom>
              <a:grpFill/>
              <a:ln w="12700" cap="flat" cmpd="sng" algn="ctr">
                <a:noFill/>
                <a:prstDash val="solid"/>
                <a:miter lim="800000"/>
              </a:ln>
              <a:effectLst/>
            </p:spPr>
            <p:txBody>
              <a:bodyPr rtlCol="0" anchor="ctr"/>
              <a:lstStyle/>
              <a:p>
                <a:pPr marL="0" marR="0" lvl="0" indent="0" algn="ctr" defTabSz="467539"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grpSp>
      </p:grpSp>
      <p:sp>
        <p:nvSpPr>
          <p:cNvPr id="420" name="Freeform 127">
            <a:extLst>
              <a:ext uri="{FF2B5EF4-FFF2-40B4-BE49-F238E27FC236}">
                <a16:creationId xmlns:a16="http://schemas.microsoft.com/office/drawing/2014/main" id="{7088197D-A91E-D78E-04D0-BA1BEFDC8349}"/>
              </a:ext>
            </a:extLst>
          </p:cNvPr>
          <p:cNvSpPr/>
          <p:nvPr/>
        </p:nvSpPr>
        <p:spPr>
          <a:xfrm>
            <a:off x="519534" y="2876403"/>
            <a:ext cx="397696" cy="210509"/>
          </a:xfrm>
          <a:custGeom>
            <a:avLst/>
            <a:gdLst>
              <a:gd name="connsiteX0" fmla="*/ 551870 w 1346316"/>
              <a:gd name="connsiteY0" fmla="*/ 673154 h 770184"/>
              <a:gd name="connsiteX1" fmla="*/ 533676 w 1346316"/>
              <a:gd name="connsiteY1" fmla="*/ 745928 h 770184"/>
              <a:gd name="connsiteX2" fmla="*/ 809609 w 1346316"/>
              <a:gd name="connsiteY2" fmla="*/ 745928 h 770184"/>
              <a:gd name="connsiteX3" fmla="*/ 791416 w 1346316"/>
              <a:gd name="connsiteY3" fmla="*/ 673154 h 770184"/>
              <a:gd name="connsiteX4" fmla="*/ 1204055 w 1346316"/>
              <a:gd name="connsiteY4" fmla="*/ 615493 h 770184"/>
              <a:gd name="connsiteX5" fmla="*/ 1015407 w 1346316"/>
              <a:gd name="connsiteY5" fmla="*/ 615493 h 770184"/>
              <a:gd name="connsiteX6" fmla="*/ 1032781 w 1346316"/>
              <a:gd name="connsiteY6" fmla="*/ 650745 h 770184"/>
              <a:gd name="connsiteX7" fmla="*/ 1220832 w 1346316"/>
              <a:gd name="connsiteY7" fmla="*/ 650745 h 770184"/>
              <a:gd name="connsiteX8" fmla="*/ 897365 w 1346316"/>
              <a:gd name="connsiteY8" fmla="*/ 615493 h 770184"/>
              <a:gd name="connsiteX9" fmla="*/ 903125 w 1346316"/>
              <a:gd name="connsiteY9" fmla="*/ 652301 h 770184"/>
              <a:gd name="connsiteX10" fmla="*/ 1006664 w 1346316"/>
              <a:gd name="connsiteY10" fmla="*/ 652300 h 770184"/>
              <a:gd name="connsiteX11" fmla="*/ 989968 w 1346316"/>
              <a:gd name="connsiteY11" fmla="*/ 615493 h 770184"/>
              <a:gd name="connsiteX12" fmla="*/ 883111 w 1346316"/>
              <a:gd name="connsiteY12" fmla="*/ 615493 h 770184"/>
              <a:gd name="connsiteX13" fmla="*/ 378681 w 1346316"/>
              <a:gd name="connsiteY13" fmla="*/ 616132 h 770184"/>
              <a:gd name="connsiteX14" fmla="*/ 366730 w 1346316"/>
              <a:gd name="connsiteY14" fmla="*/ 652421 h 770184"/>
              <a:gd name="connsiteX15" fmla="*/ 883996 w 1346316"/>
              <a:gd name="connsiteY15" fmla="*/ 651213 h 770184"/>
              <a:gd name="connsiteX16" fmla="*/ 883111 w 1346316"/>
              <a:gd name="connsiteY16" fmla="*/ 615493 h 770184"/>
              <a:gd name="connsiteX17" fmla="*/ 147640 w 1346316"/>
              <a:gd name="connsiteY17" fmla="*/ 615493 h 770184"/>
              <a:gd name="connsiteX18" fmla="*/ 129652 w 1346316"/>
              <a:gd name="connsiteY18" fmla="*/ 650745 h 770184"/>
              <a:gd name="connsiteX19" fmla="*/ 342828 w 1346316"/>
              <a:gd name="connsiteY19" fmla="*/ 651901 h 770184"/>
              <a:gd name="connsiteX20" fmla="*/ 360299 w 1346316"/>
              <a:gd name="connsiteY20" fmla="*/ 615493 h 770184"/>
              <a:gd name="connsiteX21" fmla="*/ 188773 w 1346316"/>
              <a:gd name="connsiteY21" fmla="*/ 585700 h 770184"/>
              <a:gd name="connsiteX22" fmla="*/ 155112 w 1346316"/>
              <a:gd name="connsiteY22" fmla="*/ 610506 h 770184"/>
              <a:gd name="connsiteX23" fmla="*/ 259575 w 1346316"/>
              <a:gd name="connsiteY23" fmla="*/ 610506 h 770184"/>
              <a:gd name="connsiteX24" fmla="*/ 272651 w 1346316"/>
              <a:gd name="connsiteY24" fmla="*/ 585700 h 770184"/>
              <a:gd name="connsiteX25" fmla="*/ 1113693 w 1346316"/>
              <a:gd name="connsiteY25" fmla="*/ 585552 h 770184"/>
              <a:gd name="connsiteX26" fmla="*/ 1010648 w 1346316"/>
              <a:gd name="connsiteY26" fmla="*/ 585552 h 770184"/>
              <a:gd name="connsiteX27" fmla="*/ 1019742 w 1346316"/>
              <a:gd name="connsiteY27" fmla="*/ 609788 h 770184"/>
              <a:gd name="connsiteX28" fmla="*/ 1124693 w 1346316"/>
              <a:gd name="connsiteY28" fmla="*/ 609788 h 770184"/>
              <a:gd name="connsiteX29" fmla="*/ 998131 w 1346316"/>
              <a:gd name="connsiteY29" fmla="*/ 585552 h 770184"/>
              <a:gd name="connsiteX30" fmla="*/ 895085 w 1346316"/>
              <a:gd name="connsiteY30" fmla="*/ 585552 h 770184"/>
              <a:gd name="connsiteX31" fmla="*/ 904180 w 1346316"/>
              <a:gd name="connsiteY31" fmla="*/ 609788 h 770184"/>
              <a:gd name="connsiteX32" fmla="*/ 1009130 w 1346316"/>
              <a:gd name="connsiteY32" fmla="*/ 609788 h 770184"/>
              <a:gd name="connsiteX33" fmla="*/ 882568 w 1346316"/>
              <a:gd name="connsiteY33" fmla="*/ 585552 h 770184"/>
              <a:gd name="connsiteX34" fmla="*/ 779522 w 1346316"/>
              <a:gd name="connsiteY34" fmla="*/ 585552 h 770184"/>
              <a:gd name="connsiteX35" fmla="*/ 788617 w 1346316"/>
              <a:gd name="connsiteY35" fmla="*/ 609788 h 770184"/>
              <a:gd name="connsiteX36" fmla="*/ 893567 w 1346316"/>
              <a:gd name="connsiteY36" fmla="*/ 609788 h 770184"/>
              <a:gd name="connsiteX37" fmla="*/ 684615 w 1346316"/>
              <a:gd name="connsiteY37" fmla="*/ 585552 h 770184"/>
              <a:gd name="connsiteX38" fmla="*/ 673054 w 1346316"/>
              <a:gd name="connsiteY38" fmla="*/ 609788 h 770184"/>
              <a:gd name="connsiteX39" fmla="*/ 778004 w 1346316"/>
              <a:gd name="connsiteY39" fmla="*/ 609788 h 770184"/>
              <a:gd name="connsiteX40" fmla="*/ 767005 w 1346316"/>
              <a:gd name="connsiteY40" fmla="*/ 585552 h 770184"/>
              <a:gd name="connsiteX41" fmla="*/ 584894 w 1346316"/>
              <a:gd name="connsiteY41" fmla="*/ 585552 h 770184"/>
              <a:gd name="connsiteX42" fmla="*/ 573332 w 1346316"/>
              <a:gd name="connsiteY42" fmla="*/ 609788 h 770184"/>
              <a:gd name="connsiteX43" fmla="*/ 660057 w 1346316"/>
              <a:gd name="connsiteY43" fmla="*/ 609788 h 770184"/>
              <a:gd name="connsiteX44" fmla="*/ 671536 w 1346316"/>
              <a:gd name="connsiteY44" fmla="*/ 585552 h 770184"/>
              <a:gd name="connsiteX45" fmla="*/ 485173 w 1346316"/>
              <a:gd name="connsiteY45" fmla="*/ 585552 h 770184"/>
              <a:gd name="connsiteX46" fmla="*/ 473611 w 1346316"/>
              <a:gd name="connsiteY46" fmla="*/ 609788 h 770184"/>
              <a:gd name="connsiteX47" fmla="*/ 560336 w 1346316"/>
              <a:gd name="connsiteY47" fmla="*/ 609788 h 770184"/>
              <a:gd name="connsiteX48" fmla="*/ 571815 w 1346316"/>
              <a:gd name="connsiteY48" fmla="*/ 585552 h 770184"/>
              <a:gd name="connsiteX49" fmla="*/ 385452 w 1346316"/>
              <a:gd name="connsiteY49" fmla="*/ 585552 h 770184"/>
              <a:gd name="connsiteX50" fmla="*/ 373890 w 1346316"/>
              <a:gd name="connsiteY50" fmla="*/ 609788 h 770184"/>
              <a:gd name="connsiteX51" fmla="*/ 460615 w 1346316"/>
              <a:gd name="connsiteY51" fmla="*/ 609788 h 770184"/>
              <a:gd name="connsiteX52" fmla="*/ 472093 w 1346316"/>
              <a:gd name="connsiteY52" fmla="*/ 585552 h 770184"/>
              <a:gd name="connsiteX53" fmla="*/ 285442 w 1346316"/>
              <a:gd name="connsiteY53" fmla="*/ 585552 h 770184"/>
              <a:gd name="connsiteX54" fmla="*/ 274169 w 1346316"/>
              <a:gd name="connsiteY54" fmla="*/ 609788 h 770184"/>
              <a:gd name="connsiteX55" fmla="*/ 360894 w 1346316"/>
              <a:gd name="connsiteY55" fmla="*/ 609788 h 770184"/>
              <a:gd name="connsiteX56" fmla="*/ 372372 w 1346316"/>
              <a:gd name="connsiteY56" fmla="*/ 585552 h 770184"/>
              <a:gd name="connsiteX57" fmla="*/ 1066569 w 1346316"/>
              <a:gd name="connsiteY57" fmla="*/ 559836 h 770184"/>
              <a:gd name="connsiteX58" fmla="*/ 1079181 w 1346316"/>
              <a:gd name="connsiteY58" fmla="*/ 580212 h 770184"/>
              <a:gd name="connsiteX59" fmla="*/ 1127458 w 1346316"/>
              <a:gd name="connsiteY59" fmla="*/ 579110 h 770184"/>
              <a:gd name="connsiteX60" fmla="*/ 1140617 w 1346316"/>
              <a:gd name="connsiteY60" fmla="*/ 605551 h 770184"/>
              <a:gd name="connsiteX61" fmla="*/ 1204732 w 1346316"/>
              <a:gd name="connsiteY61" fmla="*/ 608132 h 770184"/>
              <a:gd name="connsiteX62" fmla="*/ 1163737 w 1346316"/>
              <a:gd name="connsiteY62" fmla="*/ 559836 h 770184"/>
              <a:gd name="connsiteX63" fmla="*/ 237502 w 1346316"/>
              <a:gd name="connsiteY63" fmla="*/ 557325 h 770184"/>
              <a:gd name="connsiteX64" fmla="*/ 220112 w 1346316"/>
              <a:gd name="connsiteY64" fmla="*/ 578693 h 770184"/>
              <a:gd name="connsiteX65" fmla="*/ 324576 w 1346316"/>
              <a:gd name="connsiteY65" fmla="*/ 578693 h 770184"/>
              <a:gd name="connsiteX66" fmla="*/ 337651 w 1346316"/>
              <a:gd name="connsiteY66" fmla="*/ 557325 h 770184"/>
              <a:gd name="connsiteX67" fmla="*/ 1059826 w 1346316"/>
              <a:gd name="connsiteY67" fmla="*/ 557138 h 770184"/>
              <a:gd name="connsiteX68" fmla="*/ 956781 w 1346316"/>
              <a:gd name="connsiteY68" fmla="*/ 557139 h 770184"/>
              <a:gd name="connsiteX69" fmla="*/ 965875 w 1346316"/>
              <a:gd name="connsiteY69" fmla="*/ 578014 h 770184"/>
              <a:gd name="connsiteX70" fmla="*/ 1070826 w 1346316"/>
              <a:gd name="connsiteY70" fmla="*/ 578014 h 770184"/>
              <a:gd name="connsiteX71" fmla="*/ 947568 w 1346316"/>
              <a:gd name="connsiteY71" fmla="*/ 557138 h 770184"/>
              <a:gd name="connsiteX72" fmla="*/ 844523 w 1346316"/>
              <a:gd name="connsiteY72" fmla="*/ 557139 h 770184"/>
              <a:gd name="connsiteX73" fmla="*/ 853617 w 1346316"/>
              <a:gd name="connsiteY73" fmla="*/ 578014 h 770184"/>
              <a:gd name="connsiteX74" fmla="*/ 958568 w 1346316"/>
              <a:gd name="connsiteY74" fmla="*/ 578014 h 770184"/>
              <a:gd name="connsiteX75" fmla="*/ 749615 w 1346316"/>
              <a:gd name="connsiteY75" fmla="*/ 557138 h 770184"/>
              <a:gd name="connsiteX76" fmla="*/ 738054 w 1346316"/>
              <a:gd name="connsiteY76" fmla="*/ 578014 h 770184"/>
              <a:gd name="connsiteX77" fmla="*/ 843005 w 1346316"/>
              <a:gd name="connsiteY77" fmla="*/ 578014 h 770184"/>
              <a:gd name="connsiteX78" fmla="*/ 832005 w 1346316"/>
              <a:gd name="connsiteY78" fmla="*/ 557138 h 770184"/>
              <a:gd name="connsiteX79" fmla="*/ 649894 w 1346316"/>
              <a:gd name="connsiteY79" fmla="*/ 557138 h 770184"/>
              <a:gd name="connsiteX80" fmla="*/ 638333 w 1346316"/>
              <a:gd name="connsiteY80" fmla="*/ 578014 h 770184"/>
              <a:gd name="connsiteX81" fmla="*/ 725058 w 1346316"/>
              <a:gd name="connsiteY81" fmla="*/ 578014 h 770184"/>
              <a:gd name="connsiteX82" fmla="*/ 736536 w 1346316"/>
              <a:gd name="connsiteY82" fmla="*/ 557138 h 770184"/>
              <a:gd name="connsiteX83" fmla="*/ 550173 w 1346316"/>
              <a:gd name="connsiteY83" fmla="*/ 557138 h 770184"/>
              <a:gd name="connsiteX84" fmla="*/ 538612 w 1346316"/>
              <a:gd name="connsiteY84" fmla="*/ 578014 h 770184"/>
              <a:gd name="connsiteX85" fmla="*/ 625336 w 1346316"/>
              <a:gd name="connsiteY85" fmla="*/ 578014 h 770184"/>
              <a:gd name="connsiteX86" fmla="*/ 636815 w 1346316"/>
              <a:gd name="connsiteY86" fmla="*/ 557138 h 770184"/>
              <a:gd name="connsiteX87" fmla="*/ 450452 w 1346316"/>
              <a:gd name="connsiteY87" fmla="*/ 557138 h 770184"/>
              <a:gd name="connsiteX88" fmla="*/ 438891 w 1346316"/>
              <a:gd name="connsiteY88" fmla="*/ 578014 h 770184"/>
              <a:gd name="connsiteX89" fmla="*/ 525615 w 1346316"/>
              <a:gd name="connsiteY89" fmla="*/ 578014 h 770184"/>
              <a:gd name="connsiteX90" fmla="*/ 537094 w 1346316"/>
              <a:gd name="connsiteY90" fmla="*/ 557138 h 770184"/>
              <a:gd name="connsiteX91" fmla="*/ 350442 w 1346316"/>
              <a:gd name="connsiteY91" fmla="*/ 557138 h 770184"/>
              <a:gd name="connsiteX92" fmla="*/ 339169 w 1346316"/>
              <a:gd name="connsiteY92" fmla="*/ 578014 h 770184"/>
              <a:gd name="connsiteX93" fmla="*/ 425894 w 1346316"/>
              <a:gd name="connsiteY93" fmla="*/ 578014 h 770184"/>
              <a:gd name="connsiteX94" fmla="*/ 437373 w 1346316"/>
              <a:gd name="connsiteY94" fmla="*/ 557138 h 770184"/>
              <a:gd name="connsiteX95" fmla="*/ 223508 w 1346316"/>
              <a:gd name="connsiteY95" fmla="*/ 530416 h 770184"/>
              <a:gd name="connsiteX96" fmla="*/ 181034 w 1346316"/>
              <a:gd name="connsiteY96" fmla="*/ 577233 h 770184"/>
              <a:gd name="connsiteX97" fmla="*/ 214086 w 1346316"/>
              <a:gd name="connsiteY97" fmla="*/ 576132 h 770184"/>
              <a:gd name="connsiteX98" fmla="*/ 236120 w 1346316"/>
              <a:gd name="connsiteY98" fmla="*/ 549691 h 770184"/>
              <a:gd name="connsiteX99" fmla="*/ 308065 w 1346316"/>
              <a:gd name="connsiteY99" fmla="*/ 550792 h 770184"/>
              <a:gd name="connsiteX100" fmla="*/ 320676 w 1346316"/>
              <a:gd name="connsiteY100" fmla="*/ 530416 h 770184"/>
              <a:gd name="connsiteX101" fmla="*/ 344289 w 1346316"/>
              <a:gd name="connsiteY101" fmla="*/ 525890 h 770184"/>
              <a:gd name="connsiteX102" fmla="*/ 313816 w 1346316"/>
              <a:gd name="connsiteY102" fmla="*/ 551962 h 770184"/>
              <a:gd name="connsiteX103" fmla="*/ 408386 w 1346316"/>
              <a:gd name="connsiteY103" fmla="*/ 551962 h 770184"/>
              <a:gd name="connsiteX104" fmla="*/ 420223 w 1346316"/>
              <a:gd name="connsiteY104" fmla="*/ 525890 h 770184"/>
              <a:gd name="connsiteX105" fmla="*/ 1146909 w 1346316"/>
              <a:gd name="connsiteY105" fmla="*/ 525757 h 770184"/>
              <a:gd name="connsiteX106" fmla="*/ 1053623 w 1346316"/>
              <a:gd name="connsiteY106" fmla="*/ 525757 h 770184"/>
              <a:gd name="connsiteX107" fmla="*/ 1061857 w 1346316"/>
              <a:gd name="connsiteY107" fmla="*/ 551229 h 770184"/>
              <a:gd name="connsiteX108" fmla="*/ 1156867 w 1346316"/>
              <a:gd name="connsiteY108" fmla="*/ 551229 h 770184"/>
              <a:gd name="connsiteX109" fmla="*/ 1046629 w 1346316"/>
              <a:gd name="connsiteY109" fmla="*/ 525757 h 770184"/>
              <a:gd name="connsiteX110" fmla="*/ 953343 w 1346316"/>
              <a:gd name="connsiteY110" fmla="*/ 525757 h 770184"/>
              <a:gd name="connsiteX111" fmla="*/ 961577 w 1346316"/>
              <a:gd name="connsiteY111" fmla="*/ 551229 h 770184"/>
              <a:gd name="connsiteX112" fmla="*/ 1056587 w 1346316"/>
              <a:gd name="connsiteY112" fmla="*/ 551229 h 770184"/>
              <a:gd name="connsiteX113" fmla="*/ 946348 w 1346316"/>
              <a:gd name="connsiteY113" fmla="*/ 525757 h 770184"/>
              <a:gd name="connsiteX114" fmla="*/ 853062 w 1346316"/>
              <a:gd name="connsiteY114" fmla="*/ 525757 h 770184"/>
              <a:gd name="connsiteX115" fmla="*/ 861295 w 1346316"/>
              <a:gd name="connsiteY115" fmla="*/ 551229 h 770184"/>
              <a:gd name="connsiteX116" fmla="*/ 956306 w 1346316"/>
              <a:gd name="connsiteY116" fmla="*/ 551229 h 770184"/>
              <a:gd name="connsiteX117" fmla="*/ 771481 w 1346316"/>
              <a:gd name="connsiteY117" fmla="*/ 525757 h 770184"/>
              <a:gd name="connsiteX118" fmla="*/ 761014 w 1346316"/>
              <a:gd name="connsiteY118" fmla="*/ 551229 h 770184"/>
              <a:gd name="connsiteX119" fmla="*/ 856024 w 1346316"/>
              <a:gd name="connsiteY119" fmla="*/ 551229 h 770184"/>
              <a:gd name="connsiteX120" fmla="*/ 846067 w 1346316"/>
              <a:gd name="connsiteY120" fmla="*/ 525757 h 770184"/>
              <a:gd name="connsiteX121" fmla="*/ 685542 w 1346316"/>
              <a:gd name="connsiteY121" fmla="*/ 525757 h 770184"/>
              <a:gd name="connsiteX122" fmla="*/ 675076 w 1346316"/>
              <a:gd name="connsiteY122" fmla="*/ 551229 h 770184"/>
              <a:gd name="connsiteX123" fmla="*/ 753586 w 1346316"/>
              <a:gd name="connsiteY123" fmla="*/ 551229 h 770184"/>
              <a:gd name="connsiteX124" fmla="*/ 763977 w 1346316"/>
              <a:gd name="connsiteY124" fmla="*/ 525757 h 770184"/>
              <a:gd name="connsiteX125" fmla="*/ 599604 w 1346316"/>
              <a:gd name="connsiteY125" fmla="*/ 525757 h 770184"/>
              <a:gd name="connsiteX126" fmla="*/ 589137 w 1346316"/>
              <a:gd name="connsiteY126" fmla="*/ 551229 h 770184"/>
              <a:gd name="connsiteX127" fmla="*/ 667647 w 1346316"/>
              <a:gd name="connsiteY127" fmla="*/ 551229 h 770184"/>
              <a:gd name="connsiteX128" fmla="*/ 678038 w 1346316"/>
              <a:gd name="connsiteY128" fmla="*/ 525757 h 770184"/>
              <a:gd name="connsiteX129" fmla="*/ 513665 w 1346316"/>
              <a:gd name="connsiteY129" fmla="*/ 525757 h 770184"/>
              <a:gd name="connsiteX130" fmla="*/ 503199 w 1346316"/>
              <a:gd name="connsiteY130" fmla="*/ 551229 h 770184"/>
              <a:gd name="connsiteX131" fmla="*/ 581708 w 1346316"/>
              <a:gd name="connsiteY131" fmla="*/ 551229 h 770184"/>
              <a:gd name="connsiteX132" fmla="*/ 592100 w 1346316"/>
              <a:gd name="connsiteY132" fmla="*/ 525757 h 770184"/>
              <a:gd name="connsiteX133" fmla="*/ 427465 w 1346316"/>
              <a:gd name="connsiteY133" fmla="*/ 525757 h 770184"/>
              <a:gd name="connsiteX134" fmla="*/ 417260 w 1346316"/>
              <a:gd name="connsiteY134" fmla="*/ 551229 h 770184"/>
              <a:gd name="connsiteX135" fmla="*/ 495770 w 1346316"/>
              <a:gd name="connsiteY135" fmla="*/ 551229 h 770184"/>
              <a:gd name="connsiteX136" fmla="*/ 506161 w 1346316"/>
              <a:gd name="connsiteY136" fmla="*/ 525757 h 770184"/>
              <a:gd name="connsiteX137" fmla="*/ 261850 w 1346316"/>
              <a:gd name="connsiteY137" fmla="*/ 499031 h 770184"/>
              <a:gd name="connsiteX138" fmla="*/ 239015 w 1346316"/>
              <a:gd name="connsiteY138" fmla="*/ 517250 h 770184"/>
              <a:gd name="connsiteX139" fmla="*/ 309881 w 1346316"/>
              <a:gd name="connsiteY139" fmla="*/ 517250 h 770184"/>
              <a:gd name="connsiteX140" fmla="*/ 318751 w 1346316"/>
              <a:gd name="connsiteY140" fmla="*/ 499031 h 770184"/>
              <a:gd name="connsiteX141" fmla="*/ 1061959 w 1346316"/>
              <a:gd name="connsiteY141" fmla="*/ 498996 h 770184"/>
              <a:gd name="connsiteX142" fmla="*/ 1068129 w 1346316"/>
              <a:gd name="connsiteY142" fmla="*/ 516798 h 770184"/>
              <a:gd name="connsiteX143" fmla="*/ 1139325 w 1346316"/>
              <a:gd name="connsiteY143" fmla="*/ 516798 h 770184"/>
              <a:gd name="connsiteX144" fmla="*/ 1131863 w 1346316"/>
              <a:gd name="connsiteY144" fmla="*/ 498996 h 770184"/>
              <a:gd name="connsiteX145" fmla="*/ 974984 w 1346316"/>
              <a:gd name="connsiteY145" fmla="*/ 498996 h 770184"/>
              <a:gd name="connsiteX146" fmla="*/ 981154 w 1346316"/>
              <a:gd name="connsiteY146" fmla="*/ 516798 h 770184"/>
              <a:gd name="connsiteX147" fmla="*/ 1052350 w 1346316"/>
              <a:gd name="connsiteY147" fmla="*/ 516798 h 770184"/>
              <a:gd name="connsiteX148" fmla="*/ 1044888 w 1346316"/>
              <a:gd name="connsiteY148" fmla="*/ 498996 h 770184"/>
              <a:gd name="connsiteX149" fmla="*/ 888011 w 1346316"/>
              <a:gd name="connsiteY149" fmla="*/ 498996 h 770184"/>
              <a:gd name="connsiteX150" fmla="*/ 894180 w 1346316"/>
              <a:gd name="connsiteY150" fmla="*/ 516798 h 770184"/>
              <a:gd name="connsiteX151" fmla="*/ 965377 w 1346316"/>
              <a:gd name="connsiteY151" fmla="*/ 516798 h 770184"/>
              <a:gd name="connsiteX152" fmla="*/ 957914 w 1346316"/>
              <a:gd name="connsiteY152" fmla="*/ 498996 h 770184"/>
              <a:gd name="connsiteX153" fmla="*/ 801037 w 1346316"/>
              <a:gd name="connsiteY153" fmla="*/ 498996 h 770184"/>
              <a:gd name="connsiteX154" fmla="*/ 807207 w 1346316"/>
              <a:gd name="connsiteY154" fmla="*/ 516798 h 770184"/>
              <a:gd name="connsiteX155" fmla="*/ 878403 w 1346316"/>
              <a:gd name="connsiteY155" fmla="*/ 516798 h 770184"/>
              <a:gd name="connsiteX156" fmla="*/ 870941 w 1346316"/>
              <a:gd name="connsiteY156" fmla="*/ 498996 h 770184"/>
              <a:gd name="connsiteX157" fmla="*/ 714064 w 1346316"/>
              <a:gd name="connsiteY157" fmla="*/ 498996 h 770184"/>
              <a:gd name="connsiteX158" fmla="*/ 720233 w 1346316"/>
              <a:gd name="connsiteY158" fmla="*/ 516798 h 770184"/>
              <a:gd name="connsiteX159" fmla="*/ 791430 w 1346316"/>
              <a:gd name="connsiteY159" fmla="*/ 516798 h 770184"/>
              <a:gd name="connsiteX160" fmla="*/ 783967 w 1346316"/>
              <a:gd name="connsiteY160" fmla="*/ 498996 h 770184"/>
              <a:gd name="connsiteX161" fmla="*/ 641103 w 1346316"/>
              <a:gd name="connsiteY161" fmla="*/ 498996 h 770184"/>
              <a:gd name="connsiteX162" fmla="*/ 633260 w 1346316"/>
              <a:gd name="connsiteY162" fmla="*/ 516798 h 770184"/>
              <a:gd name="connsiteX163" fmla="*/ 704456 w 1346316"/>
              <a:gd name="connsiteY163" fmla="*/ 516798 h 770184"/>
              <a:gd name="connsiteX164" fmla="*/ 696994 w 1346316"/>
              <a:gd name="connsiteY164" fmla="*/ 498996 h 770184"/>
              <a:gd name="connsiteX165" fmla="*/ 564878 w 1346316"/>
              <a:gd name="connsiteY165" fmla="*/ 498996 h 770184"/>
              <a:gd name="connsiteX166" fmla="*/ 557035 w 1346316"/>
              <a:gd name="connsiteY166" fmla="*/ 516798 h 770184"/>
              <a:gd name="connsiteX167" fmla="*/ 615866 w 1346316"/>
              <a:gd name="connsiteY167" fmla="*/ 516798 h 770184"/>
              <a:gd name="connsiteX168" fmla="*/ 623653 w 1346316"/>
              <a:gd name="connsiteY168" fmla="*/ 498996 h 770184"/>
              <a:gd name="connsiteX169" fmla="*/ 488652 w 1346316"/>
              <a:gd name="connsiteY169" fmla="*/ 498996 h 770184"/>
              <a:gd name="connsiteX170" fmla="*/ 480809 w 1346316"/>
              <a:gd name="connsiteY170" fmla="*/ 516798 h 770184"/>
              <a:gd name="connsiteX171" fmla="*/ 539641 w 1346316"/>
              <a:gd name="connsiteY171" fmla="*/ 516798 h 770184"/>
              <a:gd name="connsiteX172" fmla="*/ 547427 w 1346316"/>
              <a:gd name="connsiteY172" fmla="*/ 498996 h 770184"/>
              <a:gd name="connsiteX173" fmla="*/ 412427 w 1346316"/>
              <a:gd name="connsiteY173" fmla="*/ 498996 h 770184"/>
              <a:gd name="connsiteX174" fmla="*/ 404584 w 1346316"/>
              <a:gd name="connsiteY174" fmla="*/ 516798 h 770184"/>
              <a:gd name="connsiteX175" fmla="*/ 463415 w 1346316"/>
              <a:gd name="connsiteY175" fmla="*/ 516798 h 770184"/>
              <a:gd name="connsiteX176" fmla="*/ 471202 w 1346316"/>
              <a:gd name="connsiteY176" fmla="*/ 498996 h 770184"/>
              <a:gd name="connsiteX177" fmla="*/ 336006 w 1346316"/>
              <a:gd name="connsiteY177" fmla="*/ 498996 h 770184"/>
              <a:gd name="connsiteX178" fmla="*/ 328358 w 1346316"/>
              <a:gd name="connsiteY178" fmla="*/ 516798 h 770184"/>
              <a:gd name="connsiteX179" fmla="*/ 387190 w 1346316"/>
              <a:gd name="connsiteY179" fmla="*/ 516798 h 770184"/>
              <a:gd name="connsiteX180" fmla="*/ 394976 w 1346316"/>
              <a:gd name="connsiteY180" fmla="*/ 498996 h 770184"/>
              <a:gd name="connsiteX181" fmla="*/ 280485 w 1346316"/>
              <a:gd name="connsiteY181" fmla="*/ 40617 h 770184"/>
              <a:gd name="connsiteX182" fmla="*/ 280485 w 1346316"/>
              <a:gd name="connsiteY182" fmla="*/ 411185 h 770184"/>
              <a:gd name="connsiteX183" fmla="*/ 1105254 w 1346316"/>
              <a:gd name="connsiteY183" fmla="*/ 411185 h 770184"/>
              <a:gd name="connsiteX184" fmla="*/ 1105254 w 1346316"/>
              <a:gd name="connsiteY184" fmla="*/ 40617 h 770184"/>
              <a:gd name="connsiteX185" fmla="*/ 290594 w 1346316"/>
              <a:gd name="connsiteY185" fmla="*/ 0 h 770184"/>
              <a:gd name="connsiteX186" fmla="*/ 1095144 w 1346316"/>
              <a:gd name="connsiteY186" fmla="*/ 0 h 770184"/>
              <a:gd name="connsiteX187" fmla="*/ 1146189 w 1346316"/>
              <a:gd name="connsiteY187" fmla="*/ 51045 h 770184"/>
              <a:gd name="connsiteX188" fmla="*/ 1146189 w 1346316"/>
              <a:gd name="connsiteY188" fmla="*/ 400758 h 770184"/>
              <a:gd name="connsiteX189" fmla="*/ 1131239 w 1346316"/>
              <a:gd name="connsiteY189" fmla="*/ 436852 h 770184"/>
              <a:gd name="connsiteX190" fmla="*/ 1122625 w 1346316"/>
              <a:gd name="connsiteY190" fmla="*/ 442659 h 770184"/>
              <a:gd name="connsiteX191" fmla="*/ 1135983 w 1346316"/>
              <a:gd name="connsiteY191" fmla="*/ 442704 h 770184"/>
              <a:gd name="connsiteX192" fmla="*/ 1346316 w 1346316"/>
              <a:gd name="connsiteY192" fmla="*/ 716831 h 770184"/>
              <a:gd name="connsiteX193" fmla="*/ 1274530 w 1346316"/>
              <a:gd name="connsiteY193" fmla="*/ 770184 h 770184"/>
              <a:gd name="connsiteX194" fmla="*/ 71786 w 1346316"/>
              <a:gd name="connsiteY194" fmla="*/ 770184 h 770184"/>
              <a:gd name="connsiteX195" fmla="*/ 0 w 1346316"/>
              <a:gd name="connsiteY195" fmla="*/ 716831 h 770184"/>
              <a:gd name="connsiteX196" fmla="*/ 243483 w 1346316"/>
              <a:gd name="connsiteY196" fmla="*/ 439672 h 770184"/>
              <a:gd name="connsiteX197" fmla="*/ 258760 w 1346316"/>
              <a:gd name="connsiteY197" fmla="*/ 439724 h 770184"/>
              <a:gd name="connsiteX198" fmla="*/ 254500 w 1346316"/>
              <a:gd name="connsiteY198" fmla="*/ 436852 h 770184"/>
              <a:gd name="connsiteX199" fmla="*/ 239549 w 1346316"/>
              <a:gd name="connsiteY199" fmla="*/ 400758 h 770184"/>
              <a:gd name="connsiteX200" fmla="*/ 239549 w 1346316"/>
              <a:gd name="connsiteY200" fmla="*/ 51045 h 770184"/>
              <a:gd name="connsiteX201" fmla="*/ 290594 w 1346316"/>
              <a:gd name="connsiteY201" fmla="*/ 0 h 770184"/>
              <a:gd name="connsiteX0" fmla="*/ 532211 w 1326657"/>
              <a:gd name="connsiteY0" fmla="*/ 673154 h 770184"/>
              <a:gd name="connsiteX1" fmla="*/ 514017 w 1326657"/>
              <a:gd name="connsiteY1" fmla="*/ 745928 h 770184"/>
              <a:gd name="connsiteX2" fmla="*/ 789950 w 1326657"/>
              <a:gd name="connsiteY2" fmla="*/ 745928 h 770184"/>
              <a:gd name="connsiteX3" fmla="*/ 771757 w 1326657"/>
              <a:gd name="connsiteY3" fmla="*/ 673154 h 770184"/>
              <a:gd name="connsiteX4" fmla="*/ 532211 w 1326657"/>
              <a:gd name="connsiteY4" fmla="*/ 673154 h 770184"/>
              <a:gd name="connsiteX5" fmla="*/ 1184396 w 1326657"/>
              <a:gd name="connsiteY5" fmla="*/ 615493 h 770184"/>
              <a:gd name="connsiteX6" fmla="*/ 995748 w 1326657"/>
              <a:gd name="connsiteY6" fmla="*/ 615493 h 770184"/>
              <a:gd name="connsiteX7" fmla="*/ 1013122 w 1326657"/>
              <a:gd name="connsiteY7" fmla="*/ 650745 h 770184"/>
              <a:gd name="connsiteX8" fmla="*/ 1201173 w 1326657"/>
              <a:gd name="connsiteY8" fmla="*/ 650745 h 770184"/>
              <a:gd name="connsiteX9" fmla="*/ 1184396 w 1326657"/>
              <a:gd name="connsiteY9" fmla="*/ 615493 h 770184"/>
              <a:gd name="connsiteX10" fmla="*/ 877706 w 1326657"/>
              <a:gd name="connsiteY10" fmla="*/ 615493 h 770184"/>
              <a:gd name="connsiteX11" fmla="*/ 883466 w 1326657"/>
              <a:gd name="connsiteY11" fmla="*/ 652301 h 770184"/>
              <a:gd name="connsiteX12" fmla="*/ 987005 w 1326657"/>
              <a:gd name="connsiteY12" fmla="*/ 652300 h 770184"/>
              <a:gd name="connsiteX13" fmla="*/ 970309 w 1326657"/>
              <a:gd name="connsiteY13" fmla="*/ 615493 h 770184"/>
              <a:gd name="connsiteX14" fmla="*/ 877706 w 1326657"/>
              <a:gd name="connsiteY14" fmla="*/ 615493 h 770184"/>
              <a:gd name="connsiteX15" fmla="*/ 863452 w 1326657"/>
              <a:gd name="connsiteY15" fmla="*/ 615493 h 770184"/>
              <a:gd name="connsiteX16" fmla="*/ 359022 w 1326657"/>
              <a:gd name="connsiteY16" fmla="*/ 616132 h 770184"/>
              <a:gd name="connsiteX17" fmla="*/ 347071 w 1326657"/>
              <a:gd name="connsiteY17" fmla="*/ 652421 h 770184"/>
              <a:gd name="connsiteX18" fmla="*/ 864337 w 1326657"/>
              <a:gd name="connsiteY18" fmla="*/ 651213 h 770184"/>
              <a:gd name="connsiteX19" fmla="*/ 863452 w 1326657"/>
              <a:gd name="connsiteY19" fmla="*/ 615493 h 770184"/>
              <a:gd name="connsiteX20" fmla="*/ 127981 w 1326657"/>
              <a:gd name="connsiteY20" fmla="*/ 615493 h 770184"/>
              <a:gd name="connsiteX21" fmla="*/ 109993 w 1326657"/>
              <a:gd name="connsiteY21" fmla="*/ 650745 h 770184"/>
              <a:gd name="connsiteX22" fmla="*/ 323169 w 1326657"/>
              <a:gd name="connsiteY22" fmla="*/ 651901 h 770184"/>
              <a:gd name="connsiteX23" fmla="*/ 340640 w 1326657"/>
              <a:gd name="connsiteY23" fmla="*/ 615493 h 770184"/>
              <a:gd name="connsiteX24" fmla="*/ 127981 w 1326657"/>
              <a:gd name="connsiteY24" fmla="*/ 615493 h 770184"/>
              <a:gd name="connsiteX25" fmla="*/ 169114 w 1326657"/>
              <a:gd name="connsiteY25" fmla="*/ 585700 h 770184"/>
              <a:gd name="connsiteX26" fmla="*/ 135453 w 1326657"/>
              <a:gd name="connsiteY26" fmla="*/ 610506 h 770184"/>
              <a:gd name="connsiteX27" fmla="*/ 239916 w 1326657"/>
              <a:gd name="connsiteY27" fmla="*/ 610506 h 770184"/>
              <a:gd name="connsiteX28" fmla="*/ 252992 w 1326657"/>
              <a:gd name="connsiteY28" fmla="*/ 585700 h 770184"/>
              <a:gd name="connsiteX29" fmla="*/ 169114 w 1326657"/>
              <a:gd name="connsiteY29" fmla="*/ 585700 h 770184"/>
              <a:gd name="connsiteX30" fmla="*/ 1094034 w 1326657"/>
              <a:gd name="connsiteY30" fmla="*/ 585552 h 770184"/>
              <a:gd name="connsiteX31" fmla="*/ 990989 w 1326657"/>
              <a:gd name="connsiteY31" fmla="*/ 585552 h 770184"/>
              <a:gd name="connsiteX32" fmla="*/ 1000083 w 1326657"/>
              <a:gd name="connsiteY32" fmla="*/ 609788 h 770184"/>
              <a:gd name="connsiteX33" fmla="*/ 1105034 w 1326657"/>
              <a:gd name="connsiteY33" fmla="*/ 609788 h 770184"/>
              <a:gd name="connsiteX34" fmla="*/ 1094034 w 1326657"/>
              <a:gd name="connsiteY34" fmla="*/ 585552 h 770184"/>
              <a:gd name="connsiteX35" fmla="*/ 978472 w 1326657"/>
              <a:gd name="connsiteY35" fmla="*/ 585552 h 770184"/>
              <a:gd name="connsiteX36" fmla="*/ 875426 w 1326657"/>
              <a:gd name="connsiteY36" fmla="*/ 585552 h 770184"/>
              <a:gd name="connsiteX37" fmla="*/ 884521 w 1326657"/>
              <a:gd name="connsiteY37" fmla="*/ 609788 h 770184"/>
              <a:gd name="connsiteX38" fmla="*/ 989471 w 1326657"/>
              <a:gd name="connsiteY38" fmla="*/ 609788 h 770184"/>
              <a:gd name="connsiteX39" fmla="*/ 978472 w 1326657"/>
              <a:gd name="connsiteY39" fmla="*/ 585552 h 770184"/>
              <a:gd name="connsiteX40" fmla="*/ 862909 w 1326657"/>
              <a:gd name="connsiteY40" fmla="*/ 585552 h 770184"/>
              <a:gd name="connsiteX41" fmla="*/ 759863 w 1326657"/>
              <a:gd name="connsiteY41" fmla="*/ 585552 h 770184"/>
              <a:gd name="connsiteX42" fmla="*/ 768958 w 1326657"/>
              <a:gd name="connsiteY42" fmla="*/ 609788 h 770184"/>
              <a:gd name="connsiteX43" fmla="*/ 873908 w 1326657"/>
              <a:gd name="connsiteY43" fmla="*/ 609788 h 770184"/>
              <a:gd name="connsiteX44" fmla="*/ 862909 w 1326657"/>
              <a:gd name="connsiteY44" fmla="*/ 585552 h 770184"/>
              <a:gd name="connsiteX45" fmla="*/ 664956 w 1326657"/>
              <a:gd name="connsiteY45" fmla="*/ 585552 h 770184"/>
              <a:gd name="connsiteX46" fmla="*/ 653395 w 1326657"/>
              <a:gd name="connsiteY46" fmla="*/ 609788 h 770184"/>
              <a:gd name="connsiteX47" fmla="*/ 758345 w 1326657"/>
              <a:gd name="connsiteY47" fmla="*/ 609788 h 770184"/>
              <a:gd name="connsiteX48" fmla="*/ 747346 w 1326657"/>
              <a:gd name="connsiteY48" fmla="*/ 585552 h 770184"/>
              <a:gd name="connsiteX49" fmla="*/ 664956 w 1326657"/>
              <a:gd name="connsiteY49" fmla="*/ 585552 h 770184"/>
              <a:gd name="connsiteX50" fmla="*/ 565235 w 1326657"/>
              <a:gd name="connsiteY50" fmla="*/ 585552 h 770184"/>
              <a:gd name="connsiteX51" fmla="*/ 553673 w 1326657"/>
              <a:gd name="connsiteY51" fmla="*/ 609788 h 770184"/>
              <a:gd name="connsiteX52" fmla="*/ 640398 w 1326657"/>
              <a:gd name="connsiteY52" fmla="*/ 609788 h 770184"/>
              <a:gd name="connsiteX53" fmla="*/ 651877 w 1326657"/>
              <a:gd name="connsiteY53" fmla="*/ 585552 h 770184"/>
              <a:gd name="connsiteX54" fmla="*/ 565235 w 1326657"/>
              <a:gd name="connsiteY54" fmla="*/ 585552 h 770184"/>
              <a:gd name="connsiteX55" fmla="*/ 465514 w 1326657"/>
              <a:gd name="connsiteY55" fmla="*/ 585552 h 770184"/>
              <a:gd name="connsiteX56" fmla="*/ 453952 w 1326657"/>
              <a:gd name="connsiteY56" fmla="*/ 609788 h 770184"/>
              <a:gd name="connsiteX57" fmla="*/ 540677 w 1326657"/>
              <a:gd name="connsiteY57" fmla="*/ 609788 h 770184"/>
              <a:gd name="connsiteX58" fmla="*/ 552156 w 1326657"/>
              <a:gd name="connsiteY58" fmla="*/ 585552 h 770184"/>
              <a:gd name="connsiteX59" fmla="*/ 465514 w 1326657"/>
              <a:gd name="connsiteY59" fmla="*/ 585552 h 770184"/>
              <a:gd name="connsiteX60" fmla="*/ 365793 w 1326657"/>
              <a:gd name="connsiteY60" fmla="*/ 585552 h 770184"/>
              <a:gd name="connsiteX61" fmla="*/ 354231 w 1326657"/>
              <a:gd name="connsiteY61" fmla="*/ 609788 h 770184"/>
              <a:gd name="connsiteX62" fmla="*/ 440956 w 1326657"/>
              <a:gd name="connsiteY62" fmla="*/ 609788 h 770184"/>
              <a:gd name="connsiteX63" fmla="*/ 452434 w 1326657"/>
              <a:gd name="connsiteY63" fmla="*/ 585552 h 770184"/>
              <a:gd name="connsiteX64" fmla="*/ 365793 w 1326657"/>
              <a:gd name="connsiteY64" fmla="*/ 585552 h 770184"/>
              <a:gd name="connsiteX65" fmla="*/ 265783 w 1326657"/>
              <a:gd name="connsiteY65" fmla="*/ 585552 h 770184"/>
              <a:gd name="connsiteX66" fmla="*/ 254510 w 1326657"/>
              <a:gd name="connsiteY66" fmla="*/ 609788 h 770184"/>
              <a:gd name="connsiteX67" fmla="*/ 341235 w 1326657"/>
              <a:gd name="connsiteY67" fmla="*/ 609788 h 770184"/>
              <a:gd name="connsiteX68" fmla="*/ 352713 w 1326657"/>
              <a:gd name="connsiteY68" fmla="*/ 585552 h 770184"/>
              <a:gd name="connsiteX69" fmla="*/ 265783 w 1326657"/>
              <a:gd name="connsiteY69" fmla="*/ 585552 h 770184"/>
              <a:gd name="connsiteX70" fmla="*/ 1046910 w 1326657"/>
              <a:gd name="connsiteY70" fmla="*/ 559836 h 770184"/>
              <a:gd name="connsiteX71" fmla="*/ 1059522 w 1326657"/>
              <a:gd name="connsiteY71" fmla="*/ 580212 h 770184"/>
              <a:gd name="connsiteX72" fmla="*/ 1107799 w 1326657"/>
              <a:gd name="connsiteY72" fmla="*/ 579110 h 770184"/>
              <a:gd name="connsiteX73" fmla="*/ 1120958 w 1326657"/>
              <a:gd name="connsiteY73" fmla="*/ 605551 h 770184"/>
              <a:gd name="connsiteX74" fmla="*/ 1185073 w 1326657"/>
              <a:gd name="connsiteY74" fmla="*/ 608132 h 770184"/>
              <a:gd name="connsiteX75" fmla="*/ 1144078 w 1326657"/>
              <a:gd name="connsiteY75" fmla="*/ 559836 h 770184"/>
              <a:gd name="connsiteX76" fmla="*/ 1046910 w 1326657"/>
              <a:gd name="connsiteY76" fmla="*/ 559836 h 770184"/>
              <a:gd name="connsiteX77" fmla="*/ 217843 w 1326657"/>
              <a:gd name="connsiteY77" fmla="*/ 557325 h 770184"/>
              <a:gd name="connsiteX78" fmla="*/ 200453 w 1326657"/>
              <a:gd name="connsiteY78" fmla="*/ 578693 h 770184"/>
              <a:gd name="connsiteX79" fmla="*/ 304917 w 1326657"/>
              <a:gd name="connsiteY79" fmla="*/ 578693 h 770184"/>
              <a:gd name="connsiteX80" fmla="*/ 317992 w 1326657"/>
              <a:gd name="connsiteY80" fmla="*/ 557325 h 770184"/>
              <a:gd name="connsiteX81" fmla="*/ 217843 w 1326657"/>
              <a:gd name="connsiteY81" fmla="*/ 557325 h 770184"/>
              <a:gd name="connsiteX82" fmla="*/ 1040167 w 1326657"/>
              <a:gd name="connsiteY82" fmla="*/ 557138 h 770184"/>
              <a:gd name="connsiteX83" fmla="*/ 937122 w 1326657"/>
              <a:gd name="connsiteY83" fmla="*/ 557139 h 770184"/>
              <a:gd name="connsiteX84" fmla="*/ 946216 w 1326657"/>
              <a:gd name="connsiteY84" fmla="*/ 578014 h 770184"/>
              <a:gd name="connsiteX85" fmla="*/ 1051167 w 1326657"/>
              <a:gd name="connsiteY85" fmla="*/ 578014 h 770184"/>
              <a:gd name="connsiteX86" fmla="*/ 1040167 w 1326657"/>
              <a:gd name="connsiteY86" fmla="*/ 557138 h 770184"/>
              <a:gd name="connsiteX87" fmla="*/ 927909 w 1326657"/>
              <a:gd name="connsiteY87" fmla="*/ 557138 h 770184"/>
              <a:gd name="connsiteX88" fmla="*/ 824864 w 1326657"/>
              <a:gd name="connsiteY88" fmla="*/ 557139 h 770184"/>
              <a:gd name="connsiteX89" fmla="*/ 833958 w 1326657"/>
              <a:gd name="connsiteY89" fmla="*/ 578014 h 770184"/>
              <a:gd name="connsiteX90" fmla="*/ 938909 w 1326657"/>
              <a:gd name="connsiteY90" fmla="*/ 578014 h 770184"/>
              <a:gd name="connsiteX91" fmla="*/ 927909 w 1326657"/>
              <a:gd name="connsiteY91" fmla="*/ 557138 h 770184"/>
              <a:gd name="connsiteX92" fmla="*/ 729956 w 1326657"/>
              <a:gd name="connsiteY92" fmla="*/ 557138 h 770184"/>
              <a:gd name="connsiteX93" fmla="*/ 718395 w 1326657"/>
              <a:gd name="connsiteY93" fmla="*/ 578014 h 770184"/>
              <a:gd name="connsiteX94" fmla="*/ 823346 w 1326657"/>
              <a:gd name="connsiteY94" fmla="*/ 578014 h 770184"/>
              <a:gd name="connsiteX95" fmla="*/ 812346 w 1326657"/>
              <a:gd name="connsiteY95" fmla="*/ 557138 h 770184"/>
              <a:gd name="connsiteX96" fmla="*/ 729956 w 1326657"/>
              <a:gd name="connsiteY96" fmla="*/ 557138 h 770184"/>
              <a:gd name="connsiteX97" fmla="*/ 630235 w 1326657"/>
              <a:gd name="connsiteY97" fmla="*/ 557138 h 770184"/>
              <a:gd name="connsiteX98" fmla="*/ 618674 w 1326657"/>
              <a:gd name="connsiteY98" fmla="*/ 578014 h 770184"/>
              <a:gd name="connsiteX99" fmla="*/ 705399 w 1326657"/>
              <a:gd name="connsiteY99" fmla="*/ 578014 h 770184"/>
              <a:gd name="connsiteX100" fmla="*/ 716877 w 1326657"/>
              <a:gd name="connsiteY100" fmla="*/ 557138 h 770184"/>
              <a:gd name="connsiteX101" fmla="*/ 630235 w 1326657"/>
              <a:gd name="connsiteY101" fmla="*/ 557138 h 770184"/>
              <a:gd name="connsiteX102" fmla="*/ 530514 w 1326657"/>
              <a:gd name="connsiteY102" fmla="*/ 557138 h 770184"/>
              <a:gd name="connsiteX103" fmla="*/ 518953 w 1326657"/>
              <a:gd name="connsiteY103" fmla="*/ 578014 h 770184"/>
              <a:gd name="connsiteX104" fmla="*/ 605677 w 1326657"/>
              <a:gd name="connsiteY104" fmla="*/ 578014 h 770184"/>
              <a:gd name="connsiteX105" fmla="*/ 617156 w 1326657"/>
              <a:gd name="connsiteY105" fmla="*/ 557138 h 770184"/>
              <a:gd name="connsiteX106" fmla="*/ 530514 w 1326657"/>
              <a:gd name="connsiteY106" fmla="*/ 557138 h 770184"/>
              <a:gd name="connsiteX107" fmla="*/ 430793 w 1326657"/>
              <a:gd name="connsiteY107" fmla="*/ 557138 h 770184"/>
              <a:gd name="connsiteX108" fmla="*/ 419232 w 1326657"/>
              <a:gd name="connsiteY108" fmla="*/ 578014 h 770184"/>
              <a:gd name="connsiteX109" fmla="*/ 505956 w 1326657"/>
              <a:gd name="connsiteY109" fmla="*/ 578014 h 770184"/>
              <a:gd name="connsiteX110" fmla="*/ 517435 w 1326657"/>
              <a:gd name="connsiteY110" fmla="*/ 557138 h 770184"/>
              <a:gd name="connsiteX111" fmla="*/ 430793 w 1326657"/>
              <a:gd name="connsiteY111" fmla="*/ 557138 h 770184"/>
              <a:gd name="connsiteX112" fmla="*/ 330783 w 1326657"/>
              <a:gd name="connsiteY112" fmla="*/ 557138 h 770184"/>
              <a:gd name="connsiteX113" fmla="*/ 319510 w 1326657"/>
              <a:gd name="connsiteY113" fmla="*/ 578014 h 770184"/>
              <a:gd name="connsiteX114" fmla="*/ 406235 w 1326657"/>
              <a:gd name="connsiteY114" fmla="*/ 578014 h 770184"/>
              <a:gd name="connsiteX115" fmla="*/ 417714 w 1326657"/>
              <a:gd name="connsiteY115" fmla="*/ 557138 h 770184"/>
              <a:gd name="connsiteX116" fmla="*/ 330783 w 1326657"/>
              <a:gd name="connsiteY116" fmla="*/ 557138 h 770184"/>
              <a:gd name="connsiteX117" fmla="*/ 203849 w 1326657"/>
              <a:gd name="connsiteY117" fmla="*/ 530416 h 770184"/>
              <a:gd name="connsiteX118" fmla="*/ 161375 w 1326657"/>
              <a:gd name="connsiteY118" fmla="*/ 577233 h 770184"/>
              <a:gd name="connsiteX119" fmla="*/ 194427 w 1326657"/>
              <a:gd name="connsiteY119" fmla="*/ 576132 h 770184"/>
              <a:gd name="connsiteX120" fmla="*/ 216461 w 1326657"/>
              <a:gd name="connsiteY120" fmla="*/ 549691 h 770184"/>
              <a:gd name="connsiteX121" fmla="*/ 288406 w 1326657"/>
              <a:gd name="connsiteY121" fmla="*/ 550792 h 770184"/>
              <a:gd name="connsiteX122" fmla="*/ 301017 w 1326657"/>
              <a:gd name="connsiteY122" fmla="*/ 530416 h 770184"/>
              <a:gd name="connsiteX123" fmla="*/ 203849 w 1326657"/>
              <a:gd name="connsiteY123" fmla="*/ 530416 h 770184"/>
              <a:gd name="connsiteX124" fmla="*/ 324630 w 1326657"/>
              <a:gd name="connsiteY124" fmla="*/ 525890 h 770184"/>
              <a:gd name="connsiteX125" fmla="*/ 294157 w 1326657"/>
              <a:gd name="connsiteY125" fmla="*/ 551962 h 770184"/>
              <a:gd name="connsiteX126" fmla="*/ 388727 w 1326657"/>
              <a:gd name="connsiteY126" fmla="*/ 551962 h 770184"/>
              <a:gd name="connsiteX127" fmla="*/ 400564 w 1326657"/>
              <a:gd name="connsiteY127" fmla="*/ 525890 h 770184"/>
              <a:gd name="connsiteX128" fmla="*/ 324630 w 1326657"/>
              <a:gd name="connsiteY128" fmla="*/ 525890 h 770184"/>
              <a:gd name="connsiteX129" fmla="*/ 1127250 w 1326657"/>
              <a:gd name="connsiteY129" fmla="*/ 525757 h 770184"/>
              <a:gd name="connsiteX130" fmla="*/ 1033964 w 1326657"/>
              <a:gd name="connsiteY130" fmla="*/ 525757 h 770184"/>
              <a:gd name="connsiteX131" fmla="*/ 1042198 w 1326657"/>
              <a:gd name="connsiteY131" fmla="*/ 551229 h 770184"/>
              <a:gd name="connsiteX132" fmla="*/ 1137208 w 1326657"/>
              <a:gd name="connsiteY132" fmla="*/ 551229 h 770184"/>
              <a:gd name="connsiteX133" fmla="*/ 1127250 w 1326657"/>
              <a:gd name="connsiteY133" fmla="*/ 525757 h 770184"/>
              <a:gd name="connsiteX134" fmla="*/ 1026970 w 1326657"/>
              <a:gd name="connsiteY134" fmla="*/ 525757 h 770184"/>
              <a:gd name="connsiteX135" fmla="*/ 933684 w 1326657"/>
              <a:gd name="connsiteY135" fmla="*/ 525757 h 770184"/>
              <a:gd name="connsiteX136" fmla="*/ 941918 w 1326657"/>
              <a:gd name="connsiteY136" fmla="*/ 551229 h 770184"/>
              <a:gd name="connsiteX137" fmla="*/ 1036928 w 1326657"/>
              <a:gd name="connsiteY137" fmla="*/ 551229 h 770184"/>
              <a:gd name="connsiteX138" fmla="*/ 1026970 w 1326657"/>
              <a:gd name="connsiteY138" fmla="*/ 525757 h 770184"/>
              <a:gd name="connsiteX139" fmla="*/ 926689 w 1326657"/>
              <a:gd name="connsiteY139" fmla="*/ 525757 h 770184"/>
              <a:gd name="connsiteX140" fmla="*/ 833403 w 1326657"/>
              <a:gd name="connsiteY140" fmla="*/ 525757 h 770184"/>
              <a:gd name="connsiteX141" fmla="*/ 841636 w 1326657"/>
              <a:gd name="connsiteY141" fmla="*/ 551229 h 770184"/>
              <a:gd name="connsiteX142" fmla="*/ 936647 w 1326657"/>
              <a:gd name="connsiteY142" fmla="*/ 551229 h 770184"/>
              <a:gd name="connsiteX143" fmla="*/ 926689 w 1326657"/>
              <a:gd name="connsiteY143" fmla="*/ 525757 h 770184"/>
              <a:gd name="connsiteX144" fmla="*/ 751822 w 1326657"/>
              <a:gd name="connsiteY144" fmla="*/ 525757 h 770184"/>
              <a:gd name="connsiteX145" fmla="*/ 741355 w 1326657"/>
              <a:gd name="connsiteY145" fmla="*/ 551229 h 770184"/>
              <a:gd name="connsiteX146" fmla="*/ 836365 w 1326657"/>
              <a:gd name="connsiteY146" fmla="*/ 551229 h 770184"/>
              <a:gd name="connsiteX147" fmla="*/ 826408 w 1326657"/>
              <a:gd name="connsiteY147" fmla="*/ 525757 h 770184"/>
              <a:gd name="connsiteX148" fmla="*/ 751822 w 1326657"/>
              <a:gd name="connsiteY148" fmla="*/ 525757 h 770184"/>
              <a:gd name="connsiteX149" fmla="*/ 665883 w 1326657"/>
              <a:gd name="connsiteY149" fmla="*/ 525757 h 770184"/>
              <a:gd name="connsiteX150" fmla="*/ 655417 w 1326657"/>
              <a:gd name="connsiteY150" fmla="*/ 551229 h 770184"/>
              <a:gd name="connsiteX151" fmla="*/ 733927 w 1326657"/>
              <a:gd name="connsiteY151" fmla="*/ 551229 h 770184"/>
              <a:gd name="connsiteX152" fmla="*/ 744318 w 1326657"/>
              <a:gd name="connsiteY152" fmla="*/ 525757 h 770184"/>
              <a:gd name="connsiteX153" fmla="*/ 665883 w 1326657"/>
              <a:gd name="connsiteY153" fmla="*/ 525757 h 770184"/>
              <a:gd name="connsiteX154" fmla="*/ 579945 w 1326657"/>
              <a:gd name="connsiteY154" fmla="*/ 525757 h 770184"/>
              <a:gd name="connsiteX155" fmla="*/ 569478 w 1326657"/>
              <a:gd name="connsiteY155" fmla="*/ 551229 h 770184"/>
              <a:gd name="connsiteX156" fmla="*/ 647988 w 1326657"/>
              <a:gd name="connsiteY156" fmla="*/ 551229 h 770184"/>
              <a:gd name="connsiteX157" fmla="*/ 658379 w 1326657"/>
              <a:gd name="connsiteY157" fmla="*/ 525757 h 770184"/>
              <a:gd name="connsiteX158" fmla="*/ 579945 w 1326657"/>
              <a:gd name="connsiteY158" fmla="*/ 525757 h 770184"/>
              <a:gd name="connsiteX159" fmla="*/ 494006 w 1326657"/>
              <a:gd name="connsiteY159" fmla="*/ 525757 h 770184"/>
              <a:gd name="connsiteX160" fmla="*/ 483540 w 1326657"/>
              <a:gd name="connsiteY160" fmla="*/ 551229 h 770184"/>
              <a:gd name="connsiteX161" fmla="*/ 562049 w 1326657"/>
              <a:gd name="connsiteY161" fmla="*/ 551229 h 770184"/>
              <a:gd name="connsiteX162" fmla="*/ 572441 w 1326657"/>
              <a:gd name="connsiteY162" fmla="*/ 525757 h 770184"/>
              <a:gd name="connsiteX163" fmla="*/ 494006 w 1326657"/>
              <a:gd name="connsiteY163" fmla="*/ 525757 h 770184"/>
              <a:gd name="connsiteX164" fmla="*/ 407806 w 1326657"/>
              <a:gd name="connsiteY164" fmla="*/ 525757 h 770184"/>
              <a:gd name="connsiteX165" fmla="*/ 397601 w 1326657"/>
              <a:gd name="connsiteY165" fmla="*/ 551229 h 770184"/>
              <a:gd name="connsiteX166" fmla="*/ 476111 w 1326657"/>
              <a:gd name="connsiteY166" fmla="*/ 551229 h 770184"/>
              <a:gd name="connsiteX167" fmla="*/ 486502 w 1326657"/>
              <a:gd name="connsiteY167" fmla="*/ 525757 h 770184"/>
              <a:gd name="connsiteX168" fmla="*/ 407806 w 1326657"/>
              <a:gd name="connsiteY168" fmla="*/ 525757 h 770184"/>
              <a:gd name="connsiteX169" fmla="*/ 242191 w 1326657"/>
              <a:gd name="connsiteY169" fmla="*/ 499031 h 770184"/>
              <a:gd name="connsiteX170" fmla="*/ 219356 w 1326657"/>
              <a:gd name="connsiteY170" fmla="*/ 517250 h 770184"/>
              <a:gd name="connsiteX171" fmla="*/ 290222 w 1326657"/>
              <a:gd name="connsiteY171" fmla="*/ 517250 h 770184"/>
              <a:gd name="connsiteX172" fmla="*/ 299092 w 1326657"/>
              <a:gd name="connsiteY172" fmla="*/ 499031 h 770184"/>
              <a:gd name="connsiteX173" fmla="*/ 242191 w 1326657"/>
              <a:gd name="connsiteY173" fmla="*/ 499031 h 770184"/>
              <a:gd name="connsiteX174" fmla="*/ 1042300 w 1326657"/>
              <a:gd name="connsiteY174" fmla="*/ 498996 h 770184"/>
              <a:gd name="connsiteX175" fmla="*/ 1048470 w 1326657"/>
              <a:gd name="connsiteY175" fmla="*/ 516798 h 770184"/>
              <a:gd name="connsiteX176" fmla="*/ 1119666 w 1326657"/>
              <a:gd name="connsiteY176" fmla="*/ 516798 h 770184"/>
              <a:gd name="connsiteX177" fmla="*/ 1112204 w 1326657"/>
              <a:gd name="connsiteY177" fmla="*/ 498996 h 770184"/>
              <a:gd name="connsiteX178" fmla="*/ 1042300 w 1326657"/>
              <a:gd name="connsiteY178" fmla="*/ 498996 h 770184"/>
              <a:gd name="connsiteX179" fmla="*/ 955325 w 1326657"/>
              <a:gd name="connsiteY179" fmla="*/ 498996 h 770184"/>
              <a:gd name="connsiteX180" fmla="*/ 961495 w 1326657"/>
              <a:gd name="connsiteY180" fmla="*/ 516798 h 770184"/>
              <a:gd name="connsiteX181" fmla="*/ 1032691 w 1326657"/>
              <a:gd name="connsiteY181" fmla="*/ 516798 h 770184"/>
              <a:gd name="connsiteX182" fmla="*/ 1025229 w 1326657"/>
              <a:gd name="connsiteY182" fmla="*/ 498996 h 770184"/>
              <a:gd name="connsiteX183" fmla="*/ 955325 w 1326657"/>
              <a:gd name="connsiteY183" fmla="*/ 498996 h 770184"/>
              <a:gd name="connsiteX184" fmla="*/ 868352 w 1326657"/>
              <a:gd name="connsiteY184" fmla="*/ 498996 h 770184"/>
              <a:gd name="connsiteX185" fmla="*/ 874521 w 1326657"/>
              <a:gd name="connsiteY185" fmla="*/ 516798 h 770184"/>
              <a:gd name="connsiteX186" fmla="*/ 945718 w 1326657"/>
              <a:gd name="connsiteY186" fmla="*/ 516798 h 770184"/>
              <a:gd name="connsiteX187" fmla="*/ 938255 w 1326657"/>
              <a:gd name="connsiteY187" fmla="*/ 498996 h 770184"/>
              <a:gd name="connsiteX188" fmla="*/ 868352 w 1326657"/>
              <a:gd name="connsiteY188" fmla="*/ 498996 h 770184"/>
              <a:gd name="connsiteX189" fmla="*/ 781378 w 1326657"/>
              <a:gd name="connsiteY189" fmla="*/ 498996 h 770184"/>
              <a:gd name="connsiteX190" fmla="*/ 787548 w 1326657"/>
              <a:gd name="connsiteY190" fmla="*/ 516798 h 770184"/>
              <a:gd name="connsiteX191" fmla="*/ 858744 w 1326657"/>
              <a:gd name="connsiteY191" fmla="*/ 516798 h 770184"/>
              <a:gd name="connsiteX192" fmla="*/ 851282 w 1326657"/>
              <a:gd name="connsiteY192" fmla="*/ 498996 h 770184"/>
              <a:gd name="connsiteX193" fmla="*/ 781378 w 1326657"/>
              <a:gd name="connsiteY193" fmla="*/ 498996 h 770184"/>
              <a:gd name="connsiteX194" fmla="*/ 694405 w 1326657"/>
              <a:gd name="connsiteY194" fmla="*/ 498996 h 770184"/>
              <a:gd name="connsiteX195" fmla="*/ 700574 w 1326657"/>
              <a:gd name="connsiteY195" fmla="*/ 516798 h 770184"/>
              <a:gd name="connsiteX196" fmla="*/ 771771 w 1326657"/>
              <a:gd name="connsiteY196" fmla="*/ 516798 h 770184"/>
              <a:gd name="connsiteX197" fmla="*/ 764308 w 1326657"/>
              <a:gd name="connsiteY197" fmla="*/ 498996 h 770184"/>
              <a:gd name="connsiteX198" fmla="*/ 694405 w 1326657"/>
              <a:gd name="connsiteY198" fmla="*/ 498996 h 770184"/>
              <a:gd name="connsiteX199" fmla="*/ 621444 w 1326657"/>
              <a:gd name="connsiteY199" fmla="*/ 498996 h 770184"/>
              <a:gd name="connsiteX200" fmla="*/ 613601 w 1326657"/>
              <a:gd name="connsiteY200" fmla="*/ 516798 h 770184"/>
              <a:gd name="connsiteX201" fmla="*/ 684797 w 1326657"/>
              <a:gd name="connsiteY201" fmla="*/ 516798 h 770184"/>
              <a:gd name="connsiteX202" fmla="*/ 677335 w 1326657"/>
              <a:gd name="connsiteY202" fmla="*/ 498996 h 770184"/>
              <a:gd name="connsiteX203" fmla="*/ 621444 w 1326657"/>
              <a:gd name="connsiteY203" fmla="*/ 498996 h 770184"/>
              <a:gd name="connsiteX204" fmla="*/ 545219 w 1326657"/>
              <a:gd name="connsiteY204" fmla="*/ 498996 h 770184"/>
              <a:gd name="connsiteX205" fmla="*/ 537376 w 1326657"/>
              <a:gd name="connsiteY205" fmla="*/ 516798 h 770184"/>
              <a:gd name="connsiteX206" fmla="*/ 596207 w 1326657"/>
              <a:gd name="connsiteY206" fmla="*/ 516798 h 770184"/>
              <a:gd name="connsiteX207" fmla="*/ 603994 w 1326657"/>
              <a:gd name="connsiteY207" fmla="*/ 498996 h 770184"/>
              <a:gd name="connsiteX208" fmla="*/ 545219 w 1326657"/>
              <a:gd name="connsiteY208" fmla="*/ 498996 h 770184"/>
              <a:gd name="connsiteX209" fmla="*/ 468993 w 1326657"/>
              <a:gd name="connsiteY209" fmla="*/ 498996 h 770184"/>
              <a:gd name="connsiteX210" fmla="*/ 461150 w 1326657"/>
              <a:gd name="connsiteY210" fmla="*/ 516798 h 770184"/>
              <a:gd name="connsiteX211" fmla="*/ 519982 w 1326657"/>
              <a:gd name="connsiteY211" fmla="*/ 516798 h 770184"/>
              <a:gd name="connsiteX212" fmla="*/ 527768 w 1326657"/>
              <a:gd name="connsiteY212" fmla="*/ 498996 h 770184"/>
              <a:gd name="connsiteX213" fmla="*/ 468993 w 1326657"/>
              <a:gd name="connsiteY213" fmla="*/ 498996 h 770184"/>
              <a:gd name="connsiteX214" fmla="*/ 392768 w 1326657"/>
              <a:gd name="connsiteY214" fmla="*/ 498996 h 770184"/>
              <a:gd name="connsiteX215" fmla="*/ 384925 w 1326657"/>
              <a:gd name="connsiteY215" fmla="*/ 516798 h 770184"/>
              <a:gd name="connsiteX216" fmla="*/ 443756 w 1326657"/>
              <a:gd name="connsiteY216" fmla="*/ 516798 h 770184"/>
              <a:gd name="connsiteX217" fmla="*/ 451543 w 1326657"/>
              <a:gd name="connsiteY217" fmla="*/ 498996 h 770184"/>
              <a:gd name="connsiteX218" fmla="*/ 392768 w 1326657"/>
              <a:gd name="connsiteY218" fmla="*/ 498996 h 770184"/>
              <a:gd name="connsiteX219" fmla="*/ 316347 w 1326657"/>
              <a:gd name="connsiteY219" fmla="*/ 498996 h 770184"/>
              <a:gd name="connsiteX220" fmla="*/ 308699 w 1326657"/>
              <a:gd name="connsiteY220" fmla="*/ 516798 h 770184"/>
              <a:gd name="connsiteX221" fmla="*/ 367531 w 1326657"/>
              <a:gd name="connsiteY221" fmla="*/ 516798 h 770184"/>
              <a:gd name="connsiteX222" fmla="*/ 375317 w 1326657"/>
              <a:gd name="connsiteY222" fmla="*/ 498996 h 770184"/>
              <a:gd name="connsiteX223" fmla="*/ 316347 w 1326657"/>
              <a:gd name="connsiteY223" fmla="*/ 498996 h 770184"/>
              <a:gd name="connsiteX224" fmla="*/ 260826 w 1326657"/>
              <a:gd name="connsiteY224" fmla="*/ 40617 h 770184"/>
              <a:gd name="connsiteX225" fmla="*/ 260826 w 1326657"/>
              <a:gd name="connsiteY225" fmla="*/ 411185 h 770184"/>
              <a:gd name="connsiteX226" fmla="*/ 1085595 w 1326657"/>
              <a:gd name="connsiteY226" fmla="*/ 411185 h 770184"/>
              <a:gd name="connsiteX227" fmla="*/ 1085595 w 1326657"/>
              <a:gd name="connsiteY227" fmla="*/ 40617 h 770184"/>
              <a:gd name="connsiteX228" fmla="*/ 260826 w 1326657"/>
              <a:gd name="connsiteY228" fmla="*/ 40617 h 770184"/>
              <a:gd name="connsiteX229" fmla="*/ 270935 w 1326657"/>
              <a:gd name="connsiteY229" fmla="*/ 0 h 770184"/>
              <a:gd name="connsiteX230" fmla="*/ 1075485 w 1326657"/>
              <a:gd name="connsiteY230" fmla="*/ 0 h 770184"/>
              <a:gd name="connsiteX231" fmla="*/ 1126530 w 1326657"/>
              <a:gd name="connsiteY231" fmla="*/ 51045 h 770184"/>
              <a:gd name="connsiteX232" fmla="*/ 1126530 w 1326657"/>
              <a:gd name="connsiteY232" fmla="*/ 400758 h 770184"/>
              <a:gd name="connsiteX233" fmla="*/ 1111580 w 1326657"/>
              <a:gd name="connsiteY233" fmla="*/ 436852 h 770184"/>
              <a:gd name="connsiteX234" fmla="*/ 1102966 w 1326657"/>
              <a:gd name="connsiteY234" fmla="*/ 442659 h 770184"/>
              <a:gd name="connsiteX235" fmla="*/ 1116324 w 1326657"/>
              <a:gd name="connsiteY235" fmla="*/ 442704 h 770184"/>
              <a:gd name="connsiteX236" fmla="*/ 1326657 w 1326657"/>
              <a:gd name="connsiteY236" fmla="*/ 716831 h 770184"/>
              <a:gd name="connsiteX237" fmla="*/ 1254871 w 1326657"/>
              <a:gd name="connsiteY237" fmla="*/ 770184 h 770184"/>
              <a:gd name="connsiteX238" fmla="*/ 52127 w 1326657"/>
              <a:gd name="connsiteY238" fmla="*/ 770184 h 770184"/>
              <a:gd name="connsiteX239" fmla="*/ 0 w 1326657"/>
              <a:gd name="connsiteY239" fmla="*/ 694364 h 770184"/>
              <a:gd name="connsiteX240" fmla="*/ 223824 w 1326657"/>
              <a:gd name="connsiteY240" fmla="*/ 439672 h 770184"/>
              <a:gd name="connsiteX241" fmla="*/ 239101 w 1326657"/>
              <a:gd name="connsiteY241" fmla="*/ 439724 h 770184"/>
              <a:gd name="connsiteX242" fmla="*/ 234841 w 1326657"/>
              <a:gd name="connsiteY242" fmla="*/ 436852 h 770184"/>
              <a:gd name="connsiteX243" fmla="*/ 219890 w 1326657"/>
              <a:gd name="connsiteY243" fmla="*/ 400758 h 770184"/>
              <a:gd name="connsiteX244" fmla="*/ 219890 w 1326657"/>
              <a:gd name="connsiteY244" fmla="*/ 51045 h 770184"/>
              <a:gd name="connsiteX245" fmla="*/ 270935 w 1326657"/>
              <a:gd name="connsiteY245" fmla="*/ 0 h 770184"/>
              <a:gd name="connsiteX0" fmla="*/ 532211 w 1304189"/>
              <a:gd name="connsiteY0" fmla="*/ 673154 h 770184"/>
              <a:gd name="connsiteX1" fmla="*/ 514017 w 1304189"/>
              <a:gd name="connsiteY1" fmla="*/ 745928 h 770184"/>
              <a:gd name="connsiteX2" fmla="*/ 789950 w 1304189"/>
              <a:gd name="connsiteY2" fmla="*/ 745928 h 770184"/>
              <a:gd name="connsiteX3" fmla="*/ 771757 w 1304189"/>
              <a:gd name="connsiteY3" fmla="*/ 673154 h 770184"/>
              <a:gd name="connsiteX4" fmla="*/ 532211 w 1304189"/>
              <a:gd name="connsiteY4" fmla="*/ 673154 h 770184"/>
              <a:gd name="connsiteX5" fmla="*/ 1184396 w 1304189"/>
              <a:gd name="connsiteY5" fmla="*/ 615493 h 770184"/>
              <a:gd name="connsiteX6" fmla="*/ 995748 w 1304189"/>
              <a:gd name="connsiteY6" fmla="*/ 615493 h 770184"/>
              <a:gd name="connsiteX7" fmla="*/ 1013122 w 1304189"/>
              <a:gd name="connsiteY7" fmla="*/ 650745 h 770184"/>
              <a:gd name="connsiteX8" fmla="*/ 1201173 w 1304189"/>
              <a:gd name="connsiteY8" fmla="*/ 650745 h 770184"/>
              <a:gd name="connsiteX9" fmla="*/ 1184396 w 1304189"/>
              <a:gd name="connsiteY9" fmla="*/ 615493 h 770184"/>
              <a:gd name="connsiteX10" fmla="*/ 877706 w 1304189"/>
              <a:gd name="connsiteY10" fmla="*/ 615493 h 770184"/>
              <a:gd name="connsiteX11" fmla="*/ 883466 w 1304189"/>
              <a:gd name="connsiteY11" fmla="*/ 652301 h 770184"/>
              <a:gd name="connsiteX12" fmla="*/ 987005 w 1304189"/>
              <a:gd name="connsiteY12" fmla="*/ 652300 h 770184"/>
              <a:gd name="connsiteX13" fmla="*/ 970309 w 1304189"/>
              <a:gd name="connsiteY13" fmla="*/ 615493 h 770184"/>
              <a:gd name="connsiteX14" fmla="*/ 877706 w 1304189"/>
              <a:gd name="connsiteY14" fmla="*/ 615493 h 770184"/>
              <a:gd name="connsiteX15" fmla="*/ 863452 w 1304189"/>
              <a:gd name="connsiteY15" fmla="*/ 615493 h 770184"/>
              <a:gd name="connsiteX16" fmla="*/ 359022 w 1304189"/>
              <a:gd name="connsiteY16" fmla="*/ 616132 h 770184"/>
              <a:gd name="connsiteX17" fmla="*/ 347071 w 1304189"/>
              <a:gd name="connsiteY17" fmla="*/ 652421 h 770184"/>
              <a:gd name="connsiteX18" fmla="*/ 864337 w 1304189"/>
              <a:gd name="connsiteY18" fmla="*/ 651213 h 770184"/>
              <a:gd name="connsiteX19" fmla="*/ 863452 w 1304189"/>
              <a:gd name="connsiteY19" fmla="*/ 615493 h 770184"/>
              <a:gd name="connsiteX20" fmla="*/ 127981 w 1304189"/>
              <a:gd name="connsiteY20" fmla="*/ 615493 h 770184"/>
              <a:gd name="connsiteX21" fmla="*/ 109993 w 1304189"/>
              <a:gd name="connsiteY21" fmla="*/ 650745 h 770184"/>
              <a:gd name="connsiteX22" fmla="*/ 323169 w 1304189"/>
              <a:gd name="connsiteY22" fmla="*/ 651901 h 770184"/>
              <a:gd name="connsiteX23" fmla="*/ 340640 w 1304189"/>
              <a:gd name="connsiteY23" fmla="*/ 615493 h 770184"/>
              <a:gd name="connsiteX24" fmla="*/ 127981 w 1304189"/>
              <a:gd name="connsiteY24" fmla="*/ 615493 h 770184"/>
              <a:gd name="connsiteX25" fmla="*/ 169114 w 1304189"/>
              <a:gd name="connsiteY25" fmla="*/ 585700 h 770184"/>
              <a:gd name="connsiteX26" fmla="*/ 135453 w 1304189"/>
              <a:gd name="connsiteY26" fmla="*/ 610506 h 770184"/>
              <a:gd name="connsiteX27" fmla="*/ 239916 w 1304189"/>
              <a:gd name="connsiteY27" fmla="*/ 610506 h 770184"/>
              <a:gd name="connsiteX28" fmla="*/ 252992 w 1304189"/>
              <a:gd name="connsiteY28" fmla="*/ 585700 h 770184"/>
              <a:gd name="connsiteX29" fmla="*/ 169114 w 1304189"/>
              <a:gd name="connsiteY29" fmla="*/ 585700 h 770184"/>
              <a:gd name="connsiteX30" fmla="*/ 1094034 w 1304189"/>
              <a:gd name="connsiteY30" fmla="*/ 585552 h 770184"/>
              <a:gd name="connsiteX31" fmla="*/ 990989 w 1304189"/>
              <a:gd name="connsiteY31" fmla="*/ 585552 h 770184"/>
              <a:gd name="connsiteX32" fmla="*/ 1000083 w 1304189"/>
              <a:gd name="connsiteY32" fmla="*/ 609788 h 770184"/>
              <a:gd name="connsiteX33" fmla="*/ 1105034 w 1304189"/>
              <a:gd name="connsiteY33" fmla="*/ 609788 h 770184"/>
              <a:gd name="connsiteX34" fmla="*/ 1094034 w 1304189"/>
              <a:gd name="connsiteY34" fmla="*/ 585552 h 770184"/>
              <a:gd name="connsiteX35" fmla="*/ 978472 w 1304189"/>
              <a:gd name="connsiteY35" fmla="*/ 585552 h 770184"/>
              <a:gd name="connsiteX36" fmla="*/ 875426 w 1304189"/>
              <a:gd name="connsiteY36" fmla="*/ 585552 h 770184"/>
              <a:gd name="connsiteX37" fmla="*/ 884521 w 1304189"/>
              <a:gd name="connsiteY37" fmla="*/ 609788 h 770184"/>
              <a:gd name="connsiteX38" fmla="*/ 989471 w 1304189"/>
              <a:gd name="connsiteY38" fmla="*/ 609788 h 770184"/>
              <a:gd name="connsiteX39" fmla="*/ 978472 w 1304189"/>
              <a:gd name="connsiteY39" fmla="*/ 585552 h 770184"/>
              <a:gd name="connsiteX40" fmla="*/ 862909 w 1304189"/>
              <a:gd name="connsiteY40" fmla="*/ 585552 h 770184"/>
              <a:gd name="connsiteX41" fmla="*/ 759863 w 1304189"/>
              <a:gd name="connsiteY41" fmla="*/ 585552 h 770184"/>
              <a:gd name="connsiteX42" fmla="*/ 768958 w 1304189"/>
              <a:gd name="connsiteY42" fmla="*/ 609788 h 770184"/>
              <a:gd name="connsiteX43" fmla="*/ 873908 w 1304189"/>
              <a:gd name="connsiteY43" fmla="*/ 609788 h 770184"/>
              <a:gd name="connsiteX44" fmla="*/ 862909 w 1304189"/>
              <a:gd name="connsiteY44" fmla="*/ 585552 h 770184"/>
              <a:gd name="connsiteX45" fmla="*/ 664956 w 1304189"/>
              <a:gd name="connsiteY45" fmla="*/ 585552 h 770184"/>
              <a:gd name="connsiteX46" fmla="*/ 653395 w 1304189"/>
              <a:gd name="connsiteY46" fmla="*/ 609788 h 770184"/>
              <a:gd name="connsiteX47" fmla="*/ 758345 w 1304189"/>
              <a:gd name="connsiteY47" fmla="*/ 609788 h 770184"/>
              <a:gd name="connsiteX48" fmla="*/ 747346 w 1304189"/>
              <a:gd name="connsiteY48" fmla="*/ 585552 h 770184"/>
              <a:gd name="connsiteX49" fmla="*/ 664956 w 1304189"/>
              <a:gd name="connsiteY49" fmla="*/ 585552 h 770184"/>
              <a:gd name="connsiteX50" fmla="*/ 565235 w 1304189"/>
              <a:gd name="connsiteY50" fmla="*/ 585552 h 770184"/>
              <a:gd name="connsiteX51" fmla="*/ 553673 w 1304189"/>
              <a:gd name="connsiteY51" fmla="*/ 609788 h 770184"/>
              <a:gd name="connsiteX52" fmla="*/ 640398 w 1304189"/>
              <a:gd name="connsiteY52" fmla="*/ 609788 h 770184"/>
              <a:gd name="connsiteX53" fmla="*/ 651877 w 1304189"/>
              <a:gd name="connsiteY53" fmla="*/ 585552 h 770184"/>
              <a:gd name="connsiteX54" fmla="*/ 565235 w 1304189"/>
              <a:gd name="connsiteY54" fmla="*/ 585552 h 770184"/>
              <a:gd name="connsiteX55" fmla="*/ 465514 w 1304189"/>
              <a:gd name="connsiteY55" fmla="*/ 585552 h 770184"/>
              <a:gd name="connsiteX56" fmla="*/ 453952 w 1304189"/>
              <a:gd name="connsiteY56" fmla="*/ 609788 h 770184"/>
              <a:gd name="connsiteX57" fmla="*/ 540677 w 1304189"/>
              <a:gd name="connsiteY57" fmla="*/ 609788 h 770184"/>
              <a:gd name="connsiteX58" fmla="*/ 552156 w 1304189"/>
              <a:gd name="connsiteY58" fmla="*/ 585552 h 770184"/>
              <a:gd name="connsiteX59" fmla="*/ 465514 w 1304189"/>
              <a:gd name="connsiteY59" fmla="*/ 585552 h 770184"/>
              <a:gd name="connsiteX60" fmla="*/ 365793 w 1304189"/>
              <a:gd name="connsiteY60" fmla="*/ 585552 h 770184"/>
              <a:gd name="connsiteX61" fmla="*/ 354231 w 1304189"/>
              <a:gd name="connsiteY61" fmla="*/ 609788 h 770184"/>
              <a:gd name="connsiteX62" fmla="*/ 440956 w 1304189"/>
              <a:gd name="connsiteY62" fmla="*/ 609788 h 770184"/>
              <a:gd name="connsiteX63" fmla="*/ 452434 w 1304189"/>
              <a:gd name="connsiteY63" fmla="*/ 585552 h 770184"/>
              <a:gd name="connsiteX64" fmla="*/ 365793 w 1304189"/>
              <a:gd name="connsiteY64" fmla="*/ 585552 h 770184"/>
              <a:gd name="connsiteX65" fmla="*/ 265783 w 1304189"/>
              <a:gd name="connsiteY65" fmla="*/ 585552 h 770184"/>
              <a:gd name="connsiteX66" fmla="*/ 254510 w 1304189"/>
              <a:gd name="connsiteY66" fmla="*/ 609788 h 770184"/>
              <a:gd name="connsiteX67" fmla="*/ 341235 w 1304189"/>
              <a:gd name="connsiteY67" fmla="*/ 609788 h 770184"/>
              <a:gd name="connsiteX68" fmla="*/ 352713 w 1304189"/>
              <a:gd name="connsiteY68" fmla="*/ 585552 h 770184"/>
              <a:gd name="connsiteX69" fmla="*/ 265783 w 1304189"/>
              <a:gd name="connsiteY69" fmla="*/ 585552 h 770184"/>
              <a:gd name="connsiteX70" fmla="*/ 1046910 w 1304189"/>
              <a:gd name="connsiteY70" fmla="*/ 559836 h 770184"/>
              <a:gd name="connsiteX71" fmla="*/ 1059522 w 1304189"/>
              <a:gd name="connsiteY71" fmla="*/ 580212 h 770184"/>
              <a:gd name="connsiteX72" fmla="*/ 1107799 w 1304189"/>
              <a:gd name="connsiteY72" fmla="*/ 579110 h 770184"/>
              <a:gd name="connsiteX73" fmla="*/ 1120958 w 1304189"/>
              <a:gd name="connsiteY73" fmla="*/ 605551 h 770184"/>
              <a:gd name="connsiteX74" fmla="*/ 1185073 w 1304189"/>
              <a:gd name="connsiteY74" fmla="*/ 608132 h 770184"/>
              <a:gd name="connsiteX75" fmla="*/ 1144078 w 1304189"/>
              <a:gd name="connsiteY75" fmla="*/ 559836 h 770184"/>
              <a:gd name="connsiteX76" fmla="*/ 1046910 w 1304189"/>
              <a:gd name="connsiteY76" fmla="*/ 559836 h 770184"/>
              <a:gd name="connsiteX77" fmla="*/ 217843 w 1304189"/>
              <a:gd name="connsiteY77" fmla="*/ 557325 h 770184"/>
              <a:gd name="connsiteX78" fmla="*/ 200453 w 1304189"/>
              <a:gd name="connsiteY78" fmla="*/ 578693 h 770184"/>
              <a:gd name="connsiteX79" fmla="*/ 304917 w 1304189"/>
              <a:gd name="connsiteY79" fmla="*/ 578693 h 770184"/>
              <a:gd name="connsiteX80" fmla="*/ 317992 w 1304189"/>
              <a:gd name="connsiteY80" fmla="*/ 557325 h 770184"/>
              <a:gd name="connsiteX81" fmla="*/ 217843 w 1304189"/>
              <a:gd name="connsiteY81" fmla="*/ 557325 h 770184"/>
              <a:gd name="connsiteX82" fmla="*/ 1040167 w 1304189"/>
              <a:gd name="connsiteY82" fmla="*/ 557138 h 770184"/>
              <a:gd name="connsiteX83" fmla="*/ 937122 w 1304189"/>
              <a:gd name="connsiteY83" fmla="*/ 557139 h 770184"/>
              <a:gd name="connsiteX84" fmla="*/ 946216 w 1304189"/>
              <a:gd name="connsiteY84" fmla="*/ 578014 h 770184"/>
              <a:gd name="connsiteX85" fmla="*/ 1051167 w 1304189"/>
              <a:gd name="connsiteY85" fmla="*/ 578014 h 770184"/>
              <a:gd name="connsiteX86" fmla="*/ 1040167 w 1304189"/>
              <a:gd name="connsiteY86" fmla="*/ 557138 h 770184"/>
              <a:gd name="connsiteX87" fmla="*/ 927909 w 1304189"/>
              <a:gd name="connsiteY87" fmla="*/ 557138 h 770184"/>
              <a:gd name="connsiteX88" fmla="*/ 824864 w 1304189"/>
              <a:gd name="connsiteY88" fmla="*/ 557139 h 770184"/>
              <a:gd name="connsiteX89" fmla="*/ 833958 w 1304189"/>
              <a:gd name="connsiteY89" fmla="*/ 578014 h 770184"/>
              <a:gd name="connsiteX90" fmla="*/ 938909 w 1304189"/>
              <a:gd name="connsiteY90" fmla="*/ 578014 h 770184"/>
              <a:gd name="connsiteX91" fmla="*/ 927909 w 1304189"/>
              <a:gd name="connsiteY91" fmla="*/ 557138 h 770184"/>
              <a:gd name="connsiteX92" fmla="*/ 729956 w 1304189"/>
              <a:gd name="connsiteY92" fmla="*/ 557138 h 770184"/>
              <a:gd name="connsiteX93" fmla="*/ 718395 w 1304189"/>
              <a:gd name="connsiteY93" fmla="*/ 578014 h 770184"/>
              <a:gd name="connsiteX94" fmla="*/ 823346 w 1304189"/>
              <a:gd name="connsiteY94" fmla="*/ 578014 h 770184"/>
              <a:gd name="connsiteX95" fmla="*/ 812346 w 1304189"/>
              <a:gd name="connsiteY95" fmla="*/ 557138 h 770184"/>
              <a:gd name="connsiteX96" fmla="*/ 729956 w 1304189"/>
              <a:gd name="connsiteY96" fmla="*/ 557138 h 770184"/>
              <a:gd name="connsiteX97" fmla="*/ 630235 w 1304189"/>
              <a:gd name="connsiteY97" fmla="*/ 557138 h 770184"/>
              <a:gd name="connsiteX98" fmla="*/ 618674 w 1304189"/>
              <a:gd name="connsiteY98" fmla="*/ 578014 h 770184"/>
              <a:gd name="connsiteX99" fmla="*/ 705399 w 1304189"/>
              <a:gd name="connsiteY99" fmla="*/ 578014 h 770184"/>
              <a:gd name="connsiteX100" fmla="*/ 716877 w 1304189"/>
              <a:gd name="connsiteY100" fmla="*/ 557138 h 770184"/>
              <a:gd name="connsiteX101" fmla="*/ 630235 w 1304189"/>
              <a:gd name="connsiteY101" fmla="*/ 557138 h 770184"/>
              <a:gd name="connsiteX102" fmla="*/ 530514 w 1304189"/>
              <a:gd name="connsiteY102" fmla="*/ 557138 h 770184"/>
              <a:gd name="connsiteX103" fmla="*/ 518953 w 1304189"/>
              <a:gd name="connsiteY103" fmla="*/ 578014 h 770184"/>
              <a:gd name="connsiteX104" fmla="*/ 605677 w 1304189"/>
              <a:gd name="connsiteY104" fmla="*/ 578014 h 770184"/>
              <a:gd name="connsiteX105" fmla="*/ 617156 w 1304189"/>
              <a:gd name="connsiteY105" fmla="*/ 557138 h 770184"/>
              <a:gd name="connsiteX106" fmla="*/ 530514 w 1304189"/>
              <a:gd name="connsiteY106" fmla="*/ 557138 h 770184"/>
              <a:gd name="connsiteX107" fmla="*/ 430793 w 1304189"/>
              <a:gd name="connsiteY107" fmla="*/ 557138 h 770184"/>
              <a:gd name="connsiteX108" fmla="*/ 419232 w 1304189"/>
              <a:gd name="connsiteY108" fmla="*/ 578014 h 770184"/>
              <a:gd name="connsiteX109" fmla="*/ 505956 w 1304189"/>
              <a:gd name="connsiteY109" fmla="*/ 578014 h 770184"/>
              <a:gd name="connsiteX110" fmla="*/ 517435 w 1304189"/>
              <a:gd name="connsiteY110" fmla="*/ 557138 h 770184"/>
              <a:gd name="connsiteX111" fmla="*/ 430793 w 1304189"/>
              <a:gd name="connsiteY111" fmla="*/ 557138 h 770184"/>
              <a:gd name="connsiteX112" fmla="*/ 330783 w 1304189"/>
              <a:gd name="connsiteY112" fmla="*/ 557138 h 770184"/>
              <a:gd name="connsiteX113" fmla="*/ 319510 w 1304189"/>
              <a:gd name="connsiteY113" fmla="*/ 578014 h 770184"/>
              <a:gd name="connsiteX114" fmla="*/ 406235 w 1304189"/>
              <a:gd name="connsiteY114" fmla="*/ 578014 h 770184"/>
              <a:gd name="connsiteX115" fmla="*/ 417714 w 1304189"/>
              <a:gd name="connsiteY115" fmla="*/ 557138 h 770184"/>
              <a:gd name="connsiteX116" fmla="*/ 330783 w 1304189"/>
              <a:gd name="connsiteY116" fmla="*/ 557138 h 770184"/>
              <a:gd name="connsiteX117" fmla="*/ 203849 w 1304189"/>
              <a:gd name="connsiteY117" fmla="*/ 530416 h 770184"/>
              <a:gd name="connsiteX118" fmla="*/ 161375 w 1304189"/>
              <a:gd name="connsiteY118" fmla="*/ 577233 h 770184"/>
              <a:gd name="connsiteX119" fmla="*/ 194427 w 1304189"/>
              <a:gd name="connsiteY119" fmla="*/ 576132 h 770184"/>
              <a:gd name="connsiteX120" fmla="*/ 216461 w 1304189"/>
              <a:gd name="connsiteY120" fmla="*/ 549691 h 770184"/>
              <a:gd name="connsiteX121" fmla="*/ 288406 w 1304189"/>
              <a:gd name="connsiteY121" fmla="*/ 550792 h 770184"/>
              <a:gd name="connsiteX122" fmla="*/ 301017 w 1304189"/>
              <a:gd name="connsiteY122" fmla="*/ 530416 h 770184"/>
              <a:gd name="connsiteX123" fmla="*/ 203849 w 1304189"/>
              <a:gd name="connsiteY123" fmla="*/ 530416 h 770184"/>
              <a:gd name="connsiteX124" fmla="*/ 324630 w 1304189"/>
              <a:gd name="connsiteY124" fmla="*/ 525890 h 770184"/>
              <a:gd name="connsiteX125" fmla="*/ 294157 w 1304189"/>
              <a:gd name="connsiteY125" fmla="*/ 551962 h 770184"/>
              <a:gd name="connsiteX126" fmla="*/ 388727 w 1304189"/>
              <a:gd name="connsiteY126" fmla="*/ 551962 h 770184"/>
              <a:gd name="connsiteX127" fmla="*/ 400564 w 1304189"/>
              <a:gd name="connsiteY127" fmla="*/ 525890 h 770184"/>
              <a:gd name="connsiteX128" fmla="*/ 324630 w 1304189"/>
              <a:gd name="connsiteY128" fmla="*/ 525890 h 770184"/>
              <a:gd name="connsiteX129" fmla="*/ 1127250 w 1304189"/>
              <a:gd name="connsiteY129" fmla="*/ 525757 h 770184"/>
              <a:gd name="connsiteX130" fmla="*/ 1033964 w 1304189"/>
              <a:gd name="connsiteY130" fmla="*/ 525757 h 770184"/>
              <a:gd name="connsiteX131" fmla="*/ 1042198 w 1304189"/>
              <a:gd name="connsiteY131" fmla="*/ 551229 h 770184"/>
              <a:gd name="connsiteX132" fmla="*/ 1137208 w 1304189"/>
              <a:gd name="connsiteY132" fmla="*/ 551229 h 770184"/>
              <a:gd name="connsiteX133" fmla="*/ 1127250 w 1304189"/>
              <a:gd name="connsiteY133" fmla="*/ 525757 h 770184"/>
              <a:gd name="connsiteX134" fmla="*/ 1026970 w 1304189"/>
              <a:gd name="connsiteY134" fmla="*/ 525757 h 770184"/>
              <a:gd name="connsiteX135" fmla="*/ 933684 w 1304189"/>
              <a:gd name="connsiteY135" fmla="*/ 525757 h 770184"/>
              <a:gd name="connsiteX136" fmla="*/ 941918 w 1304189"/>
              <a:gd name="connsiteY136" fmla="*/ 551229 h 770184"/>
              <a:gd name="connsiteX137" fmla="*/ 1036928 w 1304189"/>
              <a:gd name="connsiteY137" fmla="*/ 551229 h 770184"/>
              <a:gd name="connsiteX138" fmla="*/ 1026970 w 1304189"/>
              <a:gd name="connsiteY138" fmla="*/ 525757 h 770184"/>
              <a:gd name="connsiteX139" fmla="*/ 926689 w 1304189"/>
              <a:gd name="connsiteY139" fmla="*/ 525757 h 770184"/>
              <a:gd name="connsiteX140" fmla="*/ 833403 w 1304189"/>
              <a:gd name="connsiteY140" fmla="*/ 525757 h 770184"/>
              <a:gd name="connsiteX141" fmla="*/ 841636 w 1304189"/>
              <a:gd name="connsiteY141" fmla="*/ 551229 h 770184"/>
              <a:gd name="connsiteX142" fmla="*/ 936647 w 1304189"/>
              <a:gd name="connsiteY142" fmla="*/ 551229 h 770184"/>
              <a:gd name="connsiteX143" fmla="*/ 926689 w 1304189"/>
              <a:gd name="connsiteY143" fmla="*/ 525757 h 770184"/>
              <a:gd name="connsiteX144" fmla="*/ 751822 w 1304189"/>
              <a:gd name="connsiteY144" fmla="*/ 525757 h 770184"/>
              <a:gd name="connsiteX145" fmla="*/ 741355 w 1304189"/>
              <a:gd name="connsiteY145" fmla="*/ 551229 h 770184"/>
              <a:gd name="connsiteX146" fmla="*/ 836365 w 1304189"/>
              <a:gd name="connsiteY146" fmla="*/ 551229 h 770184"/>
              <a:gd name="connsiteX147" fmla="*/ 826408 w 1304189"/>
              <a:gd name="connsiteY147" fmla="*/ 525757 h 770184"/>
              <a:gd name="connsiteX148" fmla="*/ 751822 w 1304189"/>
              <a:gd name="connsiteY148" fmla="*/ 525757 h 770184"/>
              <a:gd name="connsiteX149" fmla="*/ 665883 w 1304189"/>
              <a:gd name="connsiteY149" fmla="*/ 525757 h 770184"/>
              <a:gd name="connsiteX150" fmla="*/ 655417 w 1304189"/>
              <a:gd name="connsiteY150" fmla="*/ 551229 h 770184"/>
              <a:gd name="connsiteX151" fmla="*/ 733927 w 1304189"/>
              <a:gd name="connsiteY151" fmla="*/ 551229 h 770184"/>
              <a:gd name="connsiteX152" fmla="*/ 744318 w 1304189"/>
              <a:gd name="connsiteY152" fmla="*/ 525757 h 770184"/>
              <a:gd name="connsiteX153" fmla="*/ 665883 w 1304189"/>
              <a:gd name="connsiteY153" fmla="*/ 525757 h 770184"/>
              <a:gd name="connsiteX154" fmla="*/ 579945 w 1304189"/>
              <a:gd name="connsiteY154" fmla="*/ 525757 h 770184"/>
              <a:gd name="connsiteX155" fmla="*/ 569478 w 1304189"/>
              <a:gd name="connsiteY155" fmla="*/ 551229 h 770184"/>
              <a:gd name="connsiteX156" fmla="*/ 647988 w 1304189"/>
              <a:gd name="connsiteY156" fmla="*/ 551229 h 770184"/>
              <a:gd name="connsiteX157" fmla="*/ 658379 w 1304189"/>
              <a:gd name="connsiteY157" fmla="*/ 525757 h 770184"/>
              <a:gd name="connsiteX158" fmla="*/ 579945 w 1304189"/>
              <a:gd name="connsiteY158" fmla="*/ 525757 h 770184"/>
              <a:gd name="connsiteX159" fmla="*/ 494006 w 1304189"/>
              <a:gd name="connsiteY159" fmla="*/ 525757 h 770184"/>
              <a:gd name="connsiteX160" fmla="*/ 483540 w 1304189"/>
              <a:gd name="connsiteY160" fmla="*/ 551229 h 770184"/>
              <a:gd name="connsiteX161" fmla="*/ 562049 w 1304189"/>
              <a:gd name="connsiteY161" fmla="*/ 551229 h 770184"/>
              <a:gd name="connsiteX162" fmla="*/ 572441 w 1304189"/>
              <a:gd name="connsiteY162" fmla="*/ 525757 h 770184"/>
              <a:gd name="connsiteX163" fmla="*/ 494006 w 1304189"/>
              <a:gd name="connsiteY163" fmla="*/ 525757 h 770184"/>
              <a:gd name="connsiteX164" fmla="*/ 407806 w 1304189"/>
              <a:gd name="connsiteY164" fmla="*/ 525757 h 770184"/>
              <a:gd name="connsiteX165" fmla="*/ 397601 w 1304189"/>
              <a:gd name="connsiteY165" fmla="*/ 551229 h 770184"/>
              <a:gd name="connsiteX166" fmla="*/ 476111 w 1304189"/>
              <a:gd name="connsiteY166" fmla="*/ 551229 h 770184"/>
              <a:gd name="connsiteX167" fmla="*/ 486502 w 1304189"/>
              <a:gd name="connsiteY167" fmla="*/ 525757 h 770184"/>
              <a:gd name="connsiteX168" fmla="*/ 407806 w 1304189"/>
              <a:gd name="connsiteY168" fmla="*/ 525757 h 770184"/>
              <a:gd name="connsiteX169" fmla="*/ 242191 w 1304189"/>
              <a:gd name="connsiteY169" fmla="*/ 499031 h 770184"/>
              <a:gd name="connsiteX170" fmla="*/ 219356 w 1304189"/>
              <a:gd name="connsiteY170" fmla="*/ 517250 h 770184"/>
              <a:gd name="connsiteX171" fmla="*/ 290222 w 1304189"/>
              <a:gd name="connsiteY171" fmla="*/ 517250 h 770184"/>
              <a:gd name="connsiteX172" fmla="*/ 299092 w 1304189"/>
              <a:gd name="connsiteY172" fmla="*/ 499031 h 770184"/>
              <a:gd name="connsiteX173" fmla="*/ 242191 w 1304189"/>
              <a:gd name="connsiteY173" fmla="*/ 499031 h 770184"/>
              <a:gd name="connsiteX174" fmla="*/ 1042300 w 1304189"/>
              <a:gd name="connsiteY174" fmla="*/ 498996 h 770184"/>
              <a:gd name="connsiteX175" fmla="*/ 1048470 w 1304189"/>
              <a:gd name="connsiteY175" fmla="*/ 516798 h 770184"/>
              <a:gd name="connsiteX176" fmla="*/ 1119666 w 1304189"/>
              <a:gd name="connsiteY176" fmla="*/ 516798 h 770184"/>
              <a:gd name="connsiteX177" fmla="*/ 1112204 w 1304189"/>
              <a:gd name="connsiteY177" fmla="*/ 498996 h 770184"/>
              <a:gd name="connsiteX178" fmla="*/ 1042300 w 1304189"/>
              <a:gd name="connsiteY178" fmla="*/ 498996 h 770184"/>
              <a:gd name="connsiteX179" fmla="*/ 955325 w 1304189"/>
              <a:gd name="connsiteY179" fmla="*/ 498996 h 770184"/>
              <a:gd name="connsiteX180" fmla="*/ 961495 w 1304189"/>
              <a:gd name="connsiteY180" fmla="*/ 516798 h 770184"/>
              <a:gd name="connsiteX181" fmla="*/ 1032691 w 1304189"/>
              <a:gd name="connsiteY181" fmla="*/ 516798 h 770184"/>
              <a:gd name="connsiteX182" fmla="*/ 1025229 w 1304189"/>
              <a:gd name="connsiteY182" fmla="*/ 498996 h 770184"/>
              <a:gd name="connsiteX183" fmla="*/ 955325 w 1304189"/>
              <a:gd name="connsiteY183" fmla="*/ 498996 h 770184"/>
              <a:gd name="connsiteX184" fmla="*/ 868352 w 1304189"/>
              <a:gd name="connsiteY184" fmla="*/ 498996 h 770184"/>
              <a:gd name="connsiteX185" fmla="*/ 874521 w 1304189"/>
              <a:gd name="connsiteY185" fmla="*/ 516798 h 770184"/>
              <a:gd name="connsiteX186" fmla="*/ 945718 w 1304189"/>
              <a:gd name="connsiteY186" fmla="*/ 516798 h 770184"/>
              <a:gd name="connsiteX187" fmla="*/ 938255 w 1304189"/>
              <a:gd name="connsiteY187" fmla="*/ 498996 h 770184"/>
              <a:gd name="connsiteX188" fmla="*/ 868352 w 1304189"/>
              <a:gd name="connsiteY188" fmla="*/ 498996 h 770184"/>
              <a:gd name="connsiteX189" fmla="*/ 781378 w 1304189"/>
              <a:gd name="connsiteY189" fmla="*/ 498996 h 770184"/>
              <a:gd name="connsiteX190" fmla="*/ 787548 w 1304189"/>
              <a:gd name="connsiteY190" fmla="*/ 516798 h 770184"/>
              <a:gd name="connsiteX191" fmla="*/ 858744 w 1304189"/>
              <a:gd name="connsiteY191" fmla="*/ 516798 h 770184"/>
              <a:gd name="connsiteX192" fmla="*/ 851282 w 1304189"/>
              <a:gd name="connsiteY192" fmla="*/ 498996 h 770184"/>
              <a:gd name="connsiteX193" fmla="*/ 781378 w 1304189"/>
              <a:gd name="connsiteY193" fmla="*/ 498996 h 770184"/>
              <a:gd name="connsiteX194" fmla="*/ 694405 w 1304189"/>
              <a:gd name="connsiteY194" fmla="*/ 498996 h 770184"/>
              <a:gd name="connsiteX195" fmla="*/ 700574 w 1304189"/>
              <a:gd name="connsiteY195" fmla="*/ 516798 h 770184"/>
              <a:gd name="connsiteX196" fmla="*/ 771771 w 1304189"/>
              <a:gd name="connsiteY196" fmla="*/ 516798 h 770184"/>
              <a:gd name="connsiteX197" fmla="*/ 764308 w 1304189"/>
              <a:gd name="connsiteY197" fmla="*/ 498996 h 770184"/>
              <a:gd name="connsiteX198" fmla="*/ 694405 w 1304189"/>
              <a:gd name="connsiteY198" fmla="*/ 498996 h 770184"/>
              <a:gd name="connsiteX199" fmla="*/ 621444 w 1304189"/>
              <a:gd name="connsiteY199" fmla="*/ 498996 h 770184"/>
              <a:gd name="connsiteX200" fmla="*/ 613601 w 1304189"/>
              <a:gd name="connsiteY200" fmla="*/ 516798 h 770184"/>
              <a:gd name="connsiteX201" fmla="*/ 684797 w 1304189"/>
              <a:gd name="connsiteY201" fmla="*/ 516798 h 770184"/>
              <a:gd name="connsiteX202" fmla="*/ 677335 w 1304189"/>
              <a:gd name="connsiteY202" fmla="*/ 498996 h 770184"/>
              <a:gd name="connsiteX203" fmla="*/ 621444 w 1304189"/>
              <a:gd name="connsiteY203" fmla="*/ 498996 h 770184"/>
              <a:gd name="connsiteX204" fmla="*/ 545219 w 1304189"/>
              <a:gd name="connsiteY204" fmla="*/ 498996 h 770184"/>
              <a:gd name="connsiteX205" fmla="*/ 537376 w 1304189"/>
              <a:gd name="connsiteY205" fmla="*/ 516798 h 770184"/>
              <a:gd name="connsiteX206" fmla="*/ 596207 w 1304189"/>
              <a:gd name="connsiteY206" fmla="*/ 516798 h 770184"/>
              <a:gd name="connsiteX207" fmla="*/ 603994 w 1304189"/>
              <a:gd name="connsiteY207" fmla="*/ 498996 h 770184"/>
              <a:gd name="connsiteX208" fmla="*/ 545219 w 1304189"/>
              <a:gd name="connsiteY208" fmla="*/ 498996 h 770184"/>
              <a:gd name="connsiteX209" fmla="*/ 468993 w 1304189"/>
              <a:gd name="connsiteY209" fmla="*/ 498996 h 770184"/>
              <a:gd name="connsiteX210" fmla="*/ 461150 w 1304189"/>
              <a:gd name="connsiteY210" fmla="*/ 516798 h 770184"/>
              <a:gd name="connsiteX211" fmla="*/ 519982 w 1304189"/>
              <a:gd name="connsiteY211" fmla="*/ 516798 h 770184"/>
              <a:gd name="connsiteX212" fmla="*/ 527768 w 1304189"/>
              <a:gd name="connsiteY212" fmla="*/ 498996 h 770184"/>
              <a:gd name="connsiteX213" fmla="*/ 468993 w 1304189"/>
              <a:gd name="connsiteY213" fmla="*/ 498996 h 770184"/>
              <a:gd name="connsiteX214" fmla="*/ 392768 w 1304189"/>
              <a:gd name="connsiteY214" fmla="*/ 498996 h 770184"/>
              <a:gd name="connsiteX215" fmla="*/ 384925 w 1304189"/>
              <a:gd name="connsiteY215" fmla="*/ 516798 h 770184"/>
              <a:gd name="connsiteX216" fmla="*/ 443756 w 1304189"/>
              <a:gd name="connsiteY216" fmla="*/ 516798 h 770184"/>
              <a:gd name="connsiteX217" fmla="*/ 451543 w 1304189"/>
              <a:gd name="connsiteY217" fmla="*/ 498996 h 770184"/>
              <a:gd name="connsiteX218" fmla="*/ 392768 w 1304189"/>
              <a:gd name="connsiteY218" fmla="*/ 498996 h 770184"/>
              <a:gd name="connsiteX219" fmla="*/ 316347 w 1304189"/>
              <a:gd name="connsiteY219" fmla="*/ 498996 h 770184"/>
              <a:gd name="connsiteX220" fmla="*/ 308699 w 1304189"/>
              <a:gd name="connsiteY220" fmla="*/ 516798 h 770184"/>
              <a:gd name="connsiteX221" fmla="*/ 367531 w 1304189"/>
              <a:gd name="connsiteY221" fmla="*/ 516798 h 770184"/>
              <a:gd name="connsiteX222" fmla="*/ 375317 w 1304189"/>
              <a:gd name="connsiteY222" fmla="*/ 498996 h 770184"/>
              <a:gd name="connsiteX223" fmla="*/ 316347 w 1304189"/>
              <a:gd name="connsiteY223" fmla="*/ 498996 h 770184"/>
              <a:gd name="connsiteX224" fmla="*/ 260826 w 1304189"/>
              <a:gd name="connsiteY224" fmla="*/ 40617 h 770184"/>
              <a:gd name="connsiteX225" fmla="*/ 260826 w 1304189"/>
              <a:gd name="connsiteY225" fmla="*/ 411185 h 770184"/>
              <a:gd name="connsiteX226" fmla="*/ 1085595 w 1304189"/>
              <a:gd name="connsiteY226" fmla="*/ 411185 h 770184"/>
              <a:gd name="connsiteX227" fmla="*/ 1085595 w 1304189"/>
              <a:gd name="connsiteY227" fmla="*/ 40617 h 770184"/>
              <a:gd name="connsiteX228" fmla="*/ 260826 w 1304189"/>
              <a:gd name="connsiteY228" fmla="*/ 40617 h 770184"/>
              <a:gd name="connsiteX229" fmla="*/ 270935 w 1304189"/>
              <a:gd name="connsiteY229" fmla="*/ 0 h 770184"/>
              <a:gd name="connsiteX230" fmla="*/ 1075485 w 1304189"/>
              <a:gd name="connsiteY230" fmla="*/ 0 h 770184"/>
              <a:gd name="connsiteX231" fmla="*/ 1126530 w 1304189"/>
              <a:gd name="connsiteY231" fmla="*/ 51045 h 770184"/>
              <a:gd name="connsiteX232" fmla="*/ 1126530 w 1304189"/>
              <a:gd name="connsiteY232" fmla="*/ 400758 h 770184"/>
              <a:gd name="connsiteX233" fmla="*/ 1111580 w 1304189"/>
              <a:gd name="connsiteY233" fmla="*/ 436852 h 770184"/>
              <a:gd name="connsiteX234" fmla="*/ 1102966 w 1304189"/>
              <a:gd name="connsiteY234" fmla="*/ 442659 h 770184"/>
              <a:gd name="connsiteX235" fmla="*/ 1116324 w 1304189"/>
              <a:gd name="connsiteY235" fmla="*/ 442704 h 770184"/>
              <a:gd name="connsiteX236" fmla="*/ 1304189 w 1304189"/>
              <a:gd name="connsiteY236" fmla="*/ 691555 h 770184"/>
              <a:gd name="connsiteX237" fmla="*/ 1254871 w 1304189"/>
              <a:gd name="connsiteY237" fmla="*/ 770184 h 770184"/>
              <a:gd name="connsiteX238" fmla="*/ 52127 w 1304189"/>
              <a:gd name="connsiteY238" fmla="*/ 770184 h 770184"/>
              <a:gd name="connsiteX239" fmla="*/ 0 w 1304189"/>
              <a:gd name="connsiteY239" fmla="*/ 694364 h 770184"/>
              <a:gd name="connsiteX240" fmla="*/ 223824 w 1304189"/>
              <a:gd name="connsiteY240" fmla="*/ 439672 h 770184"/>
              <a:gd name="connsiteX241" fmla="*/ 239101 w 1304189"/>
              <a:gd name="connsiteY241" fmla="*/ 439724 h 770184"/>
              <a:gd name="connsiteX242" fmla="*/ 234841 w 1304189"/>
              <a:gd name="connsiteY242" fmla="*/ 436852 h 770184"/>
              <a:gd name="connsiteX243" fmla="*/ 219890 w 1304189"/>
              <a:gd name="connsiteY243" fmla="*/ 400758 h 770184"/>
              <a:gd name="connsiteX244" fmla="*/ 219890 w 1304189"/>
              <a:gd name="connsiteY244" fmla="*/ 51045 h 770184"/>
              <a:gd name="connsiteX245" fmla="*/ 270935 w 1304189"/>
              <a:gd name="connsiteY245" fmla="*/ 0 h 770184"/>
              <a:gd name="connsiteX0" fmla="*/ 532211 w 1306216"/>
              <a:gd name="connsiteY0" fmla="*/ 673154 h 770184"/>
              <a:gd name="connsiteX1" fmla="*/ 514017 w 1306216"/>
              <a:gd name="connsiteY1" fmla="*/ 745928 h 770184"/>
              <a:gd name="connsiteX2" fmla="*/ 789950 w 1306216"/>
              <a:gd name="connsiteY2" fmla="*/ 745928 h 770184"/>
              <a:gd name="connsiteX3" fmla="*/ 771757 w 1306216"/>
              <a:gd name="connsiteY3" fmla="*/ 673154 h 770184"/>
              <a:gd name="connsiteX4" fmla="*/ 532211 w 1306216"/>
              <a:gd name="connsiteY4" fmla="*/ 673154 h 770184"/>
              <a:gd name="connsiteX5" fmla="*/ 1184396 w 1306216"/>
              <a:gd name="connsiteY5" fmla="*/ 615493 h 770184"/>
              <a:gd name="connsiteX6" fmla="*/ 995748 w 1306216"/>
              <a:gd name="connsiteY6" fmla="*/ 615493 h 770184"/>
              <a:gd name="connsiteX7" fmla="*/ 1013122 w 1306216"/>
              <a:gd name="connsiteY7" fmla="*/ 650745 h 770184"/>
              <a:gd name="connsiteX8" fmla="*/ 1201173 w 1306216"/>
              <a:gd name="connsiteY8" fmla="*/ 650745 h 770184"/>
              <a:gd name="connsiteX9" fmla="*/ 1184396 w 1306216"/>
              <a:gd name="connsiteY9" fmla="*/ 615493 h 770184"/>
              <a:gd name="connsiteX10" fmla="*/ 877706 w 1306216"/>
              <a:gd name="connsiteY10" fmla="*/ 615493 h 770184"/>
              <a:gd name="connsiteX11" fmla="*/ 883466 w 1306216"/>
              <a:gd name="connsiteY11" fmla="*/ 652301 h 770184"/>
              <a:gd name="connsiteX12" fmla="*/ 987005 w 1306216"/>
              <a:gd name="connsiteY12" fmla="*/ 652300 h 770184"/>
              <a:gd name="connsiteX13" fmla="*/ 970309 w 1306216"/>
              <a:gd name="connsiteY13" fmla="*/ 615493 h 770184"/>
              <a:gd name="connsiteX14" fmla="*/ 877706 w 1306216"/>
              <a:gd name="connsiteY14" fmla="*/ 615493 h 770184"/>
              <a:gd name="connsiteX15" fmla="*/ 863452 w 1306216"/>
              <a:gd name="connsiteY15" fmla="*/ 615493 h 770184"/>
              <a:gd name="connsiteX16" fmla="*/ 359022 w 1306216"/>
              <a:gd name="connsiteY16" fmla="*/ 616132 h 770184"/>
              <a:gd name="connsiteX17" fmla="*/ 347071 w 1306216"/>
              <a:gd name="connsiteY17" fmla="*/ 652421 h 770184"/>
              <a:gd name="connsiteX18" fmla="*/ 864337 w 1306216"/>
              <a:gd name="connsiteY18" fmla="*/ 651213 h 770184"/>
              <a:gd name="connsiteX19" fmla="*/ 863452 w 1306216"/>
              <a:gd name="connsiteY19" fmla="*/ 615493 h 770184"/>
              <a:gd name="connsiteX20" fmla="*/ 127981 w 1306216"/>
              <a:gd name="connsiteY20" fmla="*/ 615493 h 770184"/>
              <a:gd name="connsiteX21" fmla="*/ 109993 w 1306216"/>
              <a:gd name="connsiteY21" fmla="*/ 650745 h 770184"/>
              <a:gd name="connsiteX22" fmla="*/ 323169 w 1306216"/>
              <a:gd name="connsiteY22" fmla="*/ 651901 h 770184"/>
              <a:gd name="connsiteX23" fmla="*/ 340640 w 1306216"/>
              <a:gd name="connsiteY23" fmla="*/ 615493 h 770184"/>
              <a:gd name="connsiteX24" fmla="*/ 127981 w 1306216"/>
              <a:gd name="connsiteY24" fmla="*/ 615493 h 770184"/>
              <a:gd name="connsiteX25" fmla="*/ 169114 w 1306216"/>
              <a:gd name="connsiteY25" fmla="*/ 585700 h 770184"/>
              <a:gd name="connsiteX26" fmla="*/ 135453 w 1306216"/>
              <a:gd name="connsiteY26" fmla="*/ 610506 h 770184"/>
              <a:gd name="connsiteX27" fmla="*/ 239916 w 1306216"/>
              <a:gd name="connsiteY27" fmla="*/ 610506 h 770184"/>
              <a:gd name="connsiteX28" fmla="*/ 252992 w 1306216"/>
              <a:gd name="connsiteY28" fmla="*/ 585700 h 770184"/>
              <a:gd name="connsiteX29" fmla="*/ 169114 w 1306216"/>
              <a:gd name="connsiteY29" fmla="*/ 585700 h 770184"/>
              <a:gd name="connsiteX30" fmla="*/ 1094034 w 1306216"/>
              <a:gd name="connsiteY30" fmla="*/ 585552 h 770184"/>
              <a:gd name="connsiteX31" fmla="*/ 990989 w 1306216"/>
              <a:gd name="connsiteY31" fmla="*/ 585552 h 770184"/>
              <a:gd name="connsiteX32" fmla="*/ 1000083 w 1306216"/>
              <a:gd name="connsiteY32" fmla="*/ 609788 h 770184"/>
              <a:gd name="connsiteX33" fmla="*/ 1105034 w 1306216"/>
              <a:gd name="connsiteY33" fmla="*/ 609788 h 770184"/>
              <a:gd name="connsiteX34" fmla="*/ 1094034 w 1306216"/>
              <a:gd name="connsiteY34" fmla="*/ 585552 h 770184"/>
              <a:gd name="connsiteX35" fmla="*/ 978472 w 1306216"/>
              <a:gd name="connsiteY35" fmla="*/ 585552 h 770184"/>
              <a:gd name="connsiteX36" fmla="*/ 875426 w 1306216"/>
              <a:gd name="connsiteY36" fmla="*/ 585552 h 770184"/>
              <a:gd name="connsiteX37" fmla="*/ 884521 w 1306216"/>
              <a:gd name="connsiteY37" fmla="*/ 609788 h 770184"/>
              <a:gd name="connsiteX38" fmla="*/ 989471 w 1306216"/>
              <a:gd name="connsiteY38" fmla="*/ 609788 h 770184"/>
              <a:gd name="connsiteX39" fmla="*/ 978472 w 1306216"/>
              <a:gd name="connsiteY39" fmla="*/ 585552 h 770184"/>
              <a:gd name="connsiteX40" fmla="*/ 862909 w 1306216"/>
              <a:gd name="connsiteY40" fmla="*/ 585552 h 770184"/>
              <a:gd name="connsiteX41" fmla="*/ 759863 w 1306216"/>
              <a:gd name="connsiteY41" fmla="*/ 585552 h 770184"/>
              <a:gd name="connsiteX42" fmla="*/ 768958 w 1306216"/>
              <a:gd name="connsiteY42" fmla="*/ 609788 h 770184"/>
              <a:gd name="connsiteX43" fmla="*/ 873908 w 1306216"/>
              <a:gd name="connsiteY43" fmla="*/ 609788 h 770184"/>
              <a:gd name="connsiteX44" fmla="*/ 862909 w 1306216"/>
              <a:gd name="connsiteY44" fmla="*/ 585552 h 770184"/>
              <a:gd name="connsiteX45" fmla="*/ 664956 w 1306216"/>
              <a:gd name="connsiteY45" fmla="*/ 585552 h 770184"/>
              <a:gd name="connsiteX46" fmla="*/ 653395 w 1306216"/>
              <a:gd name="connsiteY46" fmla="*/ 609788 h 770184"/>
              <a:gd name="connsiteX47" fmla="*/ 758345 w 1306216"/>
              <a:gd name="connsiteY47" fmla="*/ 609788 h 770184"/>
              <a:gd name="connsiteX48" fmla="*/ 747346 w 1306216"/>
              <a:gd name="connsiteY48" fmla="*/ 585552 h 770184"/>
              <a:gd name="connsiteX49" fmla="*/ 664956 w 1306216"/>
              <a:gd name="connsiteY49" fmla="*/ 585552 h 770184"/>
              <a:gd name="connsiteX50" fmla="*/ 565235 w 1306216"/>
              <a:gd name="connsiteY50" fmla="*/ 585552 h 770184"/>
              <a:gd name="connsiteX51" fmla="*/ 553673 w 1306216"/>
              <a:gd name="connsiteY51" fmla="*/ 609788 h 770184"/>
              <a:gd name="connsiteX52" fmla="*/ 640398 w 1306216"/>
              <a:gd name="connsiteY52" fmla="*/ 609788 h 770184"/>
              <a:gd name="connsiteX53" fmla="*/ 651877 w 1306216"/>
              <a:gd name="connsiteY53" fmla="*/ 585552 h 770184"/>
              <a:gd name="connsiteX54" fmla="*/ 565235 w 1306216"/>
              <a:gd name="connsiteY54" fmla="*/ 585552 h 770184"/>
              <a:gd name="connsiteX55" fmla="*/ 465514 w 1306216"/>
              <a:gd name="connsiteY55" fmla="*/ 585552 h 770184"/>
              <a:gd name="connsiteX56" fmla="*/ 453952 w 1306216"/>
              <a:gd name="connsiteY56" fmla="*/ 609788 h 770184"/>
              <a:gd name="connsiteX57" fmla="*/ 540677 w 1306216"/>
              <a:gd name="connsiteY57" fmla="*/ 609788 h 770184"/>
              <a:gd name="connsiteX58" fmla="*/ 552156 w 1306216"/>
              <a:gd name="connsiteY58" fmla="*/ 585552 h 770184"/>
              <a:gd name="connsiteX59" fmla="*/ 465514 w 1306216"/>
              <a:gd name="connsiteY59" fmla="*/ 585552 h 770184"/>
              <a:gd name="connsiteX60" fmla="*/ 365793 w 1306216"/>
              <a:gd name="connsiteY60" fmla="*/ 585552 h 770184"/>
              <a:gd name="connsiteX61" fmla="*/ 354231 w 1306216"/>
              <a:gd name="connsiteY61" fmla="*/ 609788 h 770184"/>
              <a:gd name="connsiteX62" fmla="*/ 440956 w 1306216"/>
              <a:gd name="connsiteY62" fmla="*/ 609788 h 770184"/>
              <a:gd name="connsiteX63" fmla="*/ 452434 w 1306216"/>
              <a:gd name="connsiteY63" fmla="*/ 585552 h 770184"/>
              <a:gd name="connsiteX64" fmla="*/ 365793 w 1306216"/>
              <a:gd name="connsiteY64" fmla="*/ 585552 h 770184"/>
              <a:gd name="connsiteX65" fmla="*/ 265783 w 1306216"/>
              <a:gd name="connsiteY65" fmla="*/ 585552 h 770184"/>
              <a:gd name="connsiteX66" fmla="*/ 254510 w 1306216"/>
              <a:gd name="connsiteY66" fmla="*/ 609788 h 770184"/>
              <a:gd name="connsiteX67" fmla="*/ 341235 w 1306216"/>
              <a:gd name="connsiteY67" fmla="*/ 609788 h 770184"/>
              <a:gd name="connsiteX68" fmla="*/ 352713 w 1306216"/>
              <a:gd name="connsiteY68" fmla="*/ 585552 h 770184"/>
              <a:gd name="connsiteX69" fmla="*/ 265783 w 1306216"/>
              <a:gd name="connsiteY69" fmla="*/ 585552 h 770184"/>
              <a:gd name="connsiteX70" fmla="*/ 1046910 w 1306216"/>
              <a:gd name="connsiteY70" fmla="*/ 559836 h 770184"/>
              <a:gd name="connsiteX71" fmla="*/ 1059522 w 1306216"/>
              <a:gd name="connsiteY71" fmla="*/ 580212 h 770184"/>
              <a:gd name="connsiteX72" fmla="*/ 1107799 w 1306216"/>
              <a:gd name="connsiteY72" fmla="*/ 579110 h 770184"/>
              <a:gd name="connsiteX73" fmla="*/ 1120958 w 1306216"/>
              <a:gd name="connsiteY73" fmla="*/ 605551 h 770184"/>
              <a:gd name="connsiteX74" fmla="*/ 1185073 w 1306216"/>
              <a:gd name="connsiteY74" fmla="*/ 608132 h 770184"/>
              <a:gd name="connsiteX75" fmla="*/ 1144078 w 1306216"/>
              <a:gd name="connsiteY75" fmla="*/ 559836 h 770184"/>
              <a:gd name="connsiteX76" fmla="*/ 1046910 w 1306216"/>
              <a:gd name="connsiteY76" fmla="*/ 559836 h 770184"/>
              <a:gd name="connsiteX77" fmla="*/ 217843 w 1306216"/>
              <a:gd name="connsiteY77" fmla="*/ 557325 h 770184"/>
              <a:gd name="connsiteX78" fmla="*/ 200453 w 1306216"/>
              <a:gd name="connsiteY78" fmla="*/ 578693 h 770184"/>
              <a:gd name="connsiteX79" fmla="*/ 304917 w 1306216"/>
              <a:gd name="connsiteY79" fmla="*/ 578693 h 770184"/>
              <a:gd name="connsiteX80" fmla="*/ 317992 w 1306216"/>
              <a:gd name="connsiteY80" fmla="*/ 557325 h 770184"/>
              <a:gd name="connsiteX81" fmla="*/ 217843 w 1306216"/>
              <a:gd name="connsiteY81" fmla="*/ 557325 h 770184"/>
              <a:gd name="connsiteX82" fmla="*/ 1040167 w 1306216"/>
              <a:gd name="connsiteY82" fmla="*/ 557138 h 770184"/>
              <a:gd name="connsiteX83" fmla="*/ 937122 w 1306216"/>
              <a:gd name="connsiteY83" fmla="*/ 557139 h 770184"/>
              <a:gd name="connsiteX84" fmla="*/ 946216 w 1306216"/>
              <a:gd name="connsiteY84" fmla="*/ 578014 h 770184"/>
              <a:gd name="connsiteX85" fmla="*/ 1051167 w 1306216"/>
              <a:gd name="connsiteY85" fmla="*/ 578014 h 770184"/>
              <a:gd name="connsiteX86" fmla="*/ 1040167 w 1306216"/>
              <a:gd name="connsiteY86" fmla="*/ 557138 h 770184"/>
              <a:gd name="connsiteX87" fmla="*/ 927909 w 1306216"/>
              <a:gd name="connsiteY87" fmla="*/ 557138 h 770184"/>
              <a:gd name="connsiteX88" fmla="*/ 824864 w 1306216"/>
              <a:gd name="connsiteY88" fmla="*/ 557139 h 770184"/>
              <a:gd name="connsiteX89" fmla="*/ 833958 w 1306216"/>
              <a:gd name="connsiteY89" fmla="*/ 578014 h 770184"/>
              <a:gd name="connsiteX90" fmla="*/ 938909 w 1306216"/>
              <a:gd name="connsiteY90" fmla="*/ 578014 h 770184"/>
              <a:gd name="connsiteX91" fmla="*/ 927909 w 1306216"/>
              <a:gd name="connsiteY91" fmla="*/ 557138 h 770184"/>
              <a:gd name="connsiteX92" fmla="*/ 729956 w 1306216"/>
              <a:gd name="connsiteY92" fmla="*/ 557138 h 770184"/>
              <a:gd name="connsiteX93" fmla="*/ 718395 w 1306216"/>
              <a:gd name="connsiteY93" fmla="*/ 578014 h 770184"/>
              <a:gd name="connsiteX94" fmla="*/ 823346 w 1306216"/>
              <a:gd name="connsiteY94" fmla="*/ 578014 h 770184"/>
              <a:gd name="connsiteX95" fmla="*/ 812346 w 1306216"/>
              <a:gd name="connsiteY95" fmla="*/ 557138 h 770184"/>
              <a:gd name="connsiteX96" fmla="*/ 729956 w 1306216"/>
              <a:gd name="connsiteY96" fmla="*/ 557138 h 770184"/>
              <a:gd name="connsiteX97" fmla="*/ 630235 w 1306216"/>
              <a:gd name="connsiteY97" fmla="*/ 557138 h 770184"/>
              <a:gd name="connsiteX98" fmla="*/ 618674 w 1306216"/>
              <a:gd name="connsiteY98" fmla="*/ 578014 h 770184"/>
              <a:gd name="connsiteX99" fmla="*/ 705399 w 1306216"/>
              <a:gd name="connsiteY99" fmla="*/ 578014 h 770184"/>
              <a:gd name="connsiteX100" fmla="*/ 716877 w 1306216"/>
              <a:gd name="connsiteY100" fmla="*/ 557138 h 770184"/>
              <a:gd name="connsiteX101" fmla="*/ 630235 w 1306216"/>
              <a:gd name="connsiteY101" fmla="*/ 557138 h 770184"/>
              <a:gd name="connsiteX102" fmla="*/ 530514 w 1306216"/>
              <a:gd name="connsiteY102" fmla="*/ 557138 h 770184"/>
              <a:gd name="connsiteX103" fmla="*/ 518953 w 1306216"/>
              <a:gd name="connsiteY103" fmla="*/ 578014 h 770184"/>
              <a:gd name="connsiteX104" fmla="*/ 605677 w 1306216"/>
              <a:gd name="connsiteY104" fmla="*/ 578014 h 770184"/>
              <a:gd name="connsiteX105" fmla="*/ 617156 w 1306216"/>
              <a:gd name="connsiteY105" fmla="*/ 557138 h 770184"/>
              <a:gd name="connsiteX106" fmla="*/ 530514 w 1306216"/>
              <a:gd name="connsiteY106" fmla="*/ 557138 h 770184"/>
              <a:gd name="connsiteX107" fmla="*/ 430793 w 1306216"/>
              <a:gd name="connsiteY107" fmla="*/ 557138 h 770184"/>
              <a:gd name="connsiteX108" fmla="*/ 419232 w 1306216"/>
              <a:gd name="connsiteY108" fmla="*/ 578014 h 770184"/>
              <a:gd name="connsiteX109" fmla="*/ 505956 w 1306216"/>
              <a:gd name="connsiteY109" fmla="*/ 578014 h 770184"/>
              <a:gd name="connsiteX110" fmla="*/ 517435 w 1306216"/>
              <a:gd name="connsiteY110" fmla="*/ 557138 h 770184"/>
              <a:gd name="connsiteX111" fmla="*/ 430793 w 1306216"/>
              <a:gd name="connsiteY111" fmla="*/ 557138 h 770184"/>
              <a:gd name="connsiteX112" fmla="*/ 330783 w 1306216"/>
              <a:gd name="connsiteY112" fmla="*/ 557138 h 770184"/>
              <a:gd name="connsiteX113" fmla="*/ 319510 w 1306216"/>
              <a:gd name="connsiteY113" fmla="*/ 578014 h 770184"/>
              <a:gd name="connsiteX114" fmla="*/ 406235 w 1306216"/>
              <a:gd name="connsiteY114" fmla="*/ 578014 h 770184"/>
              <a:gd name="connsiteX115" fmla="*/ 417714 w 1306216"/>
              <a:gd name="connsiteY115" fmla="*/ 557138 h 770184"/>
              <a:gd name="connsiteX116" fmla="*/ 330783 w 1306216"/>
              <a:gd name="connsiteY116" fmla="*/ 557138 h 770184"/>
              <a:gd name="connsiteX117" fmla="*/ 203849 w 1306216"/>
              <a:gd name="connsiteY117" fmla="*/ 530416 h 770184"/>
              <a:gd name="connsiteX118" fmla="*/ 161375 w 1306216"/>
              <a:gd name="connsiteY118" fmla="*/ 577233 h 770184"/>
              <a:gd name="connsiteX119" fmla="*/ 194427 w 1306216"/>
              <a:gd name="connsiteY119" fmla="*/ 576132 h 770184"/>
              <a:gd name="connsiteX120" fmla="*/ 216461 w 1306216"/>
              <a:gd name="connsiteY120" fmla="*/ 549691 h 770184"/>
              <a:gd name="connsiteX121" fmla="*/ 288406 w 1306216"/>
              <a:gd name="connsiteY121" fmla="*/ 550792 h 770184"/>
              <a:gd name="connsiteX122" fmla="*/ 301017 w 1306216"/>
              <a:gd name="connsiteY122" fmla="*/ 530416 h 770184"/>
              <a:gd name="connsiteX123" fmla="*/ 203849 w 1306216"/>
              <a:gd name="connsiteY123" fmla="*/ 530416 h 770184"/>
              <a:gd name="connsiteX124" fmla="*/ 324630 w 1306216"/>
              <a:gd name="connsiteY124" fmla="*/ 525890 h 770184"/>
              <a:gd name="connsiteX125" fmla="*/ 294157 w 1306216"/>
              <a:gd name="connsiteY125" fmla="*/ 551962 h 770184"/>
              <a:gd name="connsiteX126" fmla="*/ 388727 w 1306216"/>
              <a:gd name="connsiteY126" fmla="*/ 551962 h 770184"/>
              <a:gd name="connsiteX127" fmla="*/ 400564 w 1306216"/>
              <a:gd name="connsiteY127" fmla="*/ 525890 h 770184"/>
              <a:gd name="connsiteX128" fmla="*/ 324630 w 1306216"/>
              <a:gd name="connsiteY128" fmla="*/ 525890 h 770184"/>
              <a:gd name="connsiteX129" fmla="*/ 1127250 w 1306216"/>
              <a:gd name="connsiteY129" fmla="*/ 525757 h 770184"/>
              <a:gd name="connsiteX130" fmla="*/ 1033964 w 1306216"/>
              <a:gd name="connsiteY130" fmla="*/ 525757 h 770184"/>
              <a:gd name="connsiteX131" fmla="*/ 1042198 w 1306216"/>
              <a:gd name="connsiteY131" fmla="*/ 551229 h 770184"/>
              <a:gd name="connsiteX132" fmla="*/ 1137208 w 1306216"/>
              <a:gd name="connsiteY132" fmla="*/ 551229 h 770184"/>
              <a:gd name="connsiteX133" fmla="*/ 1127250 w 1306216"/>
              <a:gd name="connsiteY133" fmla="*/ 525757 h 770184"/>
              <a:gd name="connsiteX134" fmla="*/ 1026970 w 1306216"/>
              <a:gd name="connsiteY134" fmla="*/ 525757 h 770184"/>
              <a:gd name="connsiteX135" fmla="*/ 933684 w 1306216"/>
              <a:gd name="connsiteY135" fmla="*/ 525757 h 770184"/>
              <a:gd name="connsiteX136" fmla="*/ 941918 w 1306216"/>
              <a:gd name="connsiteY136" fmla="*/ 551229 h 770184"/>
              <a:gd name="connsiteX137" fmla="*/ 1036928 w 1306216"/>
              <a:gd name="connsiteY137" fmla="*/ 551229 h 770184"/>
              <a:gd name="connsiteX138" fmla="*/ 1026970 w 1306216"/>
              <a:gd name="connsiteY138" fmla="*/ 525757 h 770184"/>
              <a:gd name="connsiteX139" fmla="*/ 926689 w 1306216"/>
              <a:gd name="connsiteY139" fmla="*/ 525757 h 770184"/>
              <a:gd name="connsiteX140" fmla="*/ 833403 w 1306216"/>
              <a:gd name="connsiteY140" fmla="*/ 525757 h 770184"/>
              <a:gd name="connsiteX141" fmla="*/ 841636 w 1306216"/>
              <a:gd name="connsiteY141" fmla="*/ 551229 h 770184"/>
              <a:gd name="connsiteX142" fmla="*/ 936647 w 1306216"/>
              <a:gd name="connsiteY142" fmla="*/ 551229 h 770184"/>
              <a:gd name="connsiteX143" fmla="*/ 926689 w 1306216"/>
              <a:gd name="connsiteY143" fmla="*/ 525757 h 770184"/>
              <a:gd name="connsiteX144" fmla="*/ 751822 w 1306216"/>
              <a:gd name="connsiteY144" fmla="*/ 525757 h 770184"/>
              <a:gd name="connsiteX145" fmla="*/ 741355 w 1306216"/>
              <a:gd name="connsiteY145" fmla="*/ 551229 h 770184"/>
              <a:gd name="connsiteX146" fmla="*/ 836365 w 1306216"/>
              <a:gd name="connsiteY146" fmla="*/ 551229 h 770184"/>
              <a:gd name="connsiteX147" fmla="*/ 826408 w 1306216"/>
              <a:gd name="connsiteY147" fmla="*/ 525757 h 770184"/>
              <a:gd name="connsiteX148" fmla="*/ 751822 w 1306216"/>
              <a:gd name="connsiteY148" fmla="*/ 525757 h 770184"/>
              <a:gd name="connsiteX149" fmla="*/ 665883 w 1306216"/>
              <a:gd name="connsiteY149" fmla="*/ 525757 h 770184"/>
              <a:gd name="connsiteX150" fmla="*/ 655417 w 1306216"/>
              <a:gd name="connsiteY150" fmla="*/ 551229 h 770184"/>
              <a:gd name="connsiteX151" fmla="*/ 733927 w 1306216"/>
              <a:gd name="connsiteY151" fmla="*/ 551229 h 770184"/>
              <a:gd name="connsiteX152" fmla="*/ 744318 w 1306216"/>
              <a:gd name="connsiteY152" fmla="*/ 525757 h 770184"/>
              <a:gd name="connsiteX153" fmla="*/ 665883 w 1306216"/>
              <a:gd name="connsiteY153" fmla="*/ 525757 h 770184"/>
              <a:gd name="connsiteX154" fmla="*/ 579945 w 1306216"/>
              <a:gd name="connsiteY154" fmla="*/ 525757 h 770184"/>
              <a:gd name="connsiteX155" fmla="*/ 569478 w 1306216"/>
              <a:gd name="connsiteY155" fmla="*/ 551229 h 770184"/>
              <a:gd name="connsiteX156" fmla="*/ 647988 w 1306216"/>
              <a:gd name="connsiteY156" fmla="*/ 551229 h 770184"/>
              <a:gd name="connsiteX157" fmla="*/ 658379 w 1306216"/>
              <a:gd name="connsiteY157" fmla="*/ 525757 h 770184"/>
              <a:gd name="connsiteX158" fmla="*/ 579945 w 1306216"/>
              <a:gd name="connsiteY158" fmla="*/ 525757 h 770184"/>
              <a:gd name="connsiteX159" fmla="*/ 494006 w 1306216"/>
              <a:gd name="connsiteY159" fmla="*/ 525757 h 770184"/>
              <a:gd name="connsiteX160" fmla="*/ 483540 w 1306216"/>
              <a:gd name="connsiteY160" fmla="*/ 551229 h 770184"/>
              <a:gd name="connsiteX161" fmla="*/ 562049 w 1306216"/>
              <a:gd name="connsiteY161" fmla="*/ 551229 h 770184"/>
              <a:gd name="connsiteX162" fmla="*/ 572441 w 1306216"/>
              <a:gd name="connsiteY162" fmla="*/ 525757 h 770184"/>
              <a:gd name="connsiteX163" fmla="*/ 494006 w 1306216"/>
              <a:gd name="connsiteY163" fmla="*/ 525757 h 770184"/>
              <a:gd name="connsiteX164" fmla="*/ 407806 w 1306216"/>
              <a:gd name="connsiteY164" fmla="*/ 525757 h 770184"/>
              <a:gd name="connsiteX165" fmla="*/ 397601 w 1306216"/>
              <a:gd name="connsiteY165" fmla="*/ 551229 h 770184"/>
              <a:gd name="connsiteX166" fmla="*/ 476111 w 1306216"/>
              <a:gd name="connsiteY166" fmla="*/ 551229 h 770184"/>
              <a:gd name="connsiteX167" fmla="*/ 486502 w 1306216"/>
              <a:gd name="connsiteY167" fmla="*/ 525757 h 770184"/>
              <a:gd name="connsiteX168" fmla="*/ 407806 w 1306216"/>
              <a:gd name="connsiteY168" fmla="*/ 525757 h 770184"/>
              <a:gd name="connsiteX169" fmla="*/ 242191 w 1306216"/>
              <a:gd name="connsiteY169" fmla="*/ 499031 h 770184"/>
              <a:gd name="connsiteX170" fmla="*/ 219356 w 1306216"/>
              <a:gd name="connsiteY170" fmla="*/ 517250 h 770184"/>
              <a:gd name="connsiteX171" fmla="*/ 290222 w 1306216"/>
              <a:gd name="connsiteY171" fmla="*/ 517250 h 770184"/>
              <a:gd name="connsiteX172" fmla="*/ 299092 w 1306216"/>
              <a:gd name="connsiteY172" fmla="*/ 499031 h 770184"/>
              <a:gd name="connsiteX173" fmla="*/ 242191 w 1306216"/>
              <a:gd name="connsiteY173" fmla="*/ 499031 h 770184"/>
              <a:gd name="connsiteX174" fmla="*/ 1042300 w 1306216"/>
              <a:gd name="connsiteY174" fmla="*/ 498996 h 770184"/>
              <a:gd name="connsiteX175" fmla="*/ 1048470 w 1306216"/>
              <a:gd name="connsiteY175" fmla="*/ 516798 h 770184"/>
              <a:gd name="connsiteX176" fmla="*/ 1119666 w 1306216"/>
              <a:gd name="connsiteY176" fmla="*/ 516798 h 770184"/>
              <a:gd name="connsiteX177" fmla="*/ 1112204 w 1306216"/>
              <a:gd name="connsiteY177" fmla="*/ 498996 h 770184"/>
              <a:gd name="connsiteX178" fmla="*/ 1042300 w 1306216"/>
              <a:gd name="connsiteY178" fmla="*/ 498996 h 770184"/>
              <a:gd name="connsiteX179" fmla="*/ 955325 w 1306216"/>
              <a:gd name="connsiteY179" fmla="*/ 498996 h 770184"/>
              <a:gd name="connsiteX180" fmla="*/ 961495 w 1306216"/>
              <a:gd name="connsiteY180" fmla="*/ 516798 h 770184"/>
              <a:gd name="connsiteX181" fmla="*/ 1032691 w 1306216"/>
              <a:gd name="connsiteY181" fmla="*/ 516798 h 770184"/>
              <a:gd name="connsiteX182" fmla="*/ 1025229 w 1306216"/>
              <a:gd name="connsiteY182" fmla="*/ 498996 h 770184"/>
              <a:gd name="connsiteX183" fmla="*/ 955325 w 1306216"/>
              <a:gd name="connsiteY183" fmla="*/ 498996 h 770184"/>
              <a:gd name="connsiteX184" fmla="*/ 868352 w 1306216"/>
              <a:gd name="connsiteY184" fmla="*/ 498996 h 770184"/>
              <a:gd name="connsiteX185" fmla="*/ 874521 w 1306216"/>
              <a:gd name="connsiteY185" fmla="*/ 516798 h 770184"/>
              <a:gd name="connsiteX186" fmla="*/ 945718 w 1306216"/>
              <a:gd name="connsiteY186" fmla="*/ 516798 h 770184"/>
              <a:gd name="connsiteX187" fmla="*/ 938255 w 1306216"/>
              <a:gd name="connsiteY187" fmla="*/ 498996 h 770184"/>
              <a:gd name="connsiteX188" fmla="*/ 868352 w 1306216"/>
              <a:gd name="connsiteY188" fmla="*/ 498996 h 770184"/>
              <a:gd name="connsiteX189" fmla="*/ 781378 w 1306216"/>
              <a:gd name="connsiteY189" fmla="*/ 498996 h 770184"/>
              <a:gd name="connsiteX190" fmla="*/ 787548 w 1306216"/>
              <a:gd name="connsiteY190" fmla="*/ 516798 h 770184"/>
              <a:gd name="connsiteX191" fmla="*/ 858744 w 1306216"/>
              <a:gd name="connsiteY191" fmla="*/ 516798 h 770184"/>
              <a:gd name="connsiteX192" fmla="*/ 851282 w 1306216"/>
              <a:gd name="connsiteY192" fmla="*/ 498996 h 770184"/>
              <a:gd name="connsiteX193" fmla="*/ 781378 w 1306216"/>
              <a:gd name="connsiteY193" fmla="*/ 498996 h 770184"/>
              <a:gd name="connsiteX194" fmla="*/ 694405 w 1306216"/>
              <a:gd name="connsiteY194" fmla="*/ 498996 h 770184"/>
              <a:gd name="connsiteX195" fmla="*/ 700574 w 1306216"/>
              <a:gd name="connsiteY195" fmla="*/ 516798 h 770184"/>
              <a:gd name="connsiteX196" fmla="*/ 771771 w 1306216"/>
              <a:gd name="connsiteY196" fmla="*/ 516798 h 770184"/>
              <a:gd name="connsiteX197" fmla="*/ 764308 w 1306216"/>
              <a:gd name="connsiteY197" fmla="*/ 498996 h 770184"/>
              <a:gd name="connsiteX198" fmla="*/ 694405 w 1306216"/>
              <a:gd name="connsiteY198" fmla="*/ 498996 h 770184"/>
              <a:gd name="connsiteX199" fmla="*/ 621444 w 1306216"/>
              <a:gd name="connsiteY199" fmla="*/ 498996 h 770184"/>
              <a:gd name="connsiteX200" fmla="*/ 613601 w 1306216"/>
              <a:gd name="connsiteY200" fmla="*/ 516798 h 770184"/>
              <a:gd name="connsiteX201" fmla="*/ 684797 w 1306216"/>
              <a:gd name="connsiteY201" fmla="*/ 516798 h 770184"/>
              <a:gd name="connsiteX202" fmla="*/ 677335 w 1306216"/>
              <a:gd name="connsiteY202" fmla="*/ 498996 h 770184"/>
              <a:gd name="connsiteX203" fmla="*/ 621444 w 1306216"/>
              <a:gd name="connsiteY203" fmla="*/ 498996 h 770184"/>
              <a:gd name="connsiteX204" fmla="*/ 545219 w 1306216"/>
              <a:gd name="connsiteY204" fmla="*/ 498996 h 770184"/>
              <a:gd name="connsiteX205" fmla="*/ 537376 w 1306216"/>
              <a:gd name="connsiteY205" fmla="*/ 516798 h 770184"/>
              <a:gd name="connsiteX206" fmla="*/ 596207 w 1306216"/>
              <a:gd name="connsiteY206" fmla="*/ 516798 h 770184"/>
              <a:gd name="connsiteX207" fmla="*/ 603994 w 1306216"/>
              <a:gd name="connsiteY207" fmla="*/ 498996 h 770184"/>
              <a:gd name="connsiteX208" fmla="*/ 545219 w 1306216"/>
              <a:gd name="connsiteY208" fmla="*/ 498996 h 770184"/>
              <a:gd name="connsiteX209" fmla="*/ 468993 w 1306216"/>
              <a:gd name="connsiteY209" fmla="*/ 498996 h 770184"/>
              <a:gd name="connsiteX210" fmla="*/ 461150 w 1306216"/>
              <a:gd name="connsiteY210" fmla="*/ 516798 h 770184"/>
              <a:gd name="connsiteX211" fmla="*/ 519982 w 1306216"/>
              <a:gd name="connsiteY211" fmla="*/ 516798 h 770184"/>
              <a:gd name="connsiteX212" fmla="*/ 527768 w 1306216"/>
              <a:gd name="connsiteY212" fmla="*/ 498996 h 770184"/>
              <a:gd name="connsiteX213" fmla="*/ 468993 w 1306216"/>
              <a:gd name="connsiteY213" fmla="*/ 498996 h 770184"/>
              <a:gd name="connsiteX214" fmla="*/ 392768 w 1306216"/>
              <a:gd name="connsiteY214" fmla="*/ 498996 h 770184"/>
              <a:gd name="connsiteX215" fmla="*/ 384925 w 1306216"/>
              <a:gd name="connsiteY215" fmla="*/ 516798 h 770184"/>
              <a:gd name="connsiteX216" fmla="*/ 443756 w 1306216"/>
              <a:gd name="connsiteY216" fmla="*/ 516798 h 770184"/>
              <a:gd name="connsiteX217" fmla="*/ 451543 w 1306216"/>
              <a:gd name="connsiteY217" fmla="*/ 498996 h 770184"/>
              <a:gd name="connsiteX218" fmla="*/ 392768 w 1306216"/>
              <a:gd name="connsiteY218" fmla="*/ 498996 h 770184"/>
              <a:gd name="connsiteX219" fmla="*/ 316347 w 1306216"/>
              <a:gd name="connsiteY219" fmla="*/ 498996 h 770184"/>
              <a:gd name="connsiteX220" fmla="*/ 308699 w 1306216"/>
              <a:gd name="connsiteY220" fmla="*/ 516798 h 770184"/>
              <a:gd name="connsiteX221" fmla="*/ 367531 w 1306216"/>
              <a:gd name="connsiteY221" fmla="*/ 516798 h 770184"/>
              <a:gd name="connsiteX222" fmla="*/ 375317 w 1306216"/>
              <a:gd name="connsiteY222" fmla="*/ 498996 h 770184"/>
              <a:gd name="connsiteX223" fmla="*/ 316347 w 1306216"/>
              <a:gd name="connsiteY223" fmla="*/ 498996 h 770184"/>
              <a:gd name="connsiteX224" fmla="*/ 260826 w 1306216"/>
              <a:gd name="connsiteY224" fmla="*/ 40617 h 770184"/>
              <a:gd name="connsiteX225" fmla="*/ 260826 w 1306216"/>
              <a:gd name="connsiteY225" fmla="*/ 411185 h 770184"/>
              <a:gd name="connsiteX226" fmla="*/ 1085595 w 1306216"/>
              <a:gd name="connsiteY226" fmla="*/ 411185 h 770184"/>
              <a:gd name="connsiteX227" fmla="*/ 1085595 w 1306216"/>
              <a:gd name="connsiteY227" fmla="*/ 40617 h 770184"/>
              <a:gd name="connsiteX228" fmla="*/ 260826 w 1306216"/>
              <a:gd name="connsiteY228" fmla="*/ 40617 h 770184"/>
              <a:gd name="connsiteX229" fmla="*/ 270935 w 1306216"/>
              <a:gd name="connsiteY229" fmla="*/ 0 h 770184"/>
              <a:gd name="connsiteX230" fmla="*/ 1075485 w 1306216"/>
              <a:gd name="connsiteY230" fmla="*/ 0 h 770184"/>
              <a:gd name="connsiteX231" fmla="*/ 1126530 w 1306216"/>
              <a:gd name="connsiteY231" fmla="*/ 51045 h 770184"/>
              <a:gd name="connsiteX232" fmla="*/ 1126530 w 1306216"/>
              <a:gd name="connsiteY232" fmla="*/ 400758 h 770184"/>
              <a:gd name="connsiteX233" fmla="*/ 1111580 w 1306216"/>
              <a:gd name="connsiteY233" fmla="*/ 436852 h 770184"/>
              <a:gd name="connsiteX234" fmla="*/ 1102966 w 1306216"/>
              <a:gd name="connsiteY234" fmla="*/ 442659 h 770184"/>
              <a:gd name="connsiteX235" fmla="*/ 1116324 w 1306216"/>
              <a:gd name="connsiteY235" fmla="*/ 442704 h 770184"/>
              <a:gd name="connsiteX236" fmla="*/ 1304189 w 1306216"/>
              <a:gd name="connsiteY236" fmla="*/ 691555 h 770184"/>
              <a:gd name="connsiteX237" fmla="*/ 1254871 w 1306216"/>
              <a:gd name="connsiteY237" fmla="*/ 770184 h 770184"/>
              <a:gd name="connsiteX238" fmla="*/ 52127 w 1306216"/>
              <a:gd name="connsiteY238" fmla="*/ 770184 h 770184"/>
              <a:gd name="connsiteX239" fmla="*/ 0 w 1306216"/>
              <a:gd name="connsiteY239" fmla="*/ 694364 h 770184"/>
              <a:gd name="connsiteX240" fmla="*/ 223824 w 1306216"/>
              <a:gd name="connsiteY240" fmla="*/ 439672 h 770184"/>
              <a:gd name="connsiteX241" fmla="*/ 239101 w 1306216"/>
              <a:gd name="connsiteY241" fmla="*/ 439724 h 770184"/>
              <a:gd name="connsiteX242" fmla="*/ 234841 w 1306216"/>
              <a:gd name="connsiteY242" fmla="*/ 436852 h 770184"/>
              <a:gd name="connsiteX243" fmla="*/ 219890 w 1306216"/>
              <a:gd name="connsiteY243" fmla="*/ 400758 h 770184"/>
              <a:gd name="connsiteX244" fmla="*/ 219890 w 1306216"/>
              <a:gd name="connsiteY244" fmla="*/ 51045 h 770184"/>
              <a:gd name="connsiteX245" fmla="*/ 270935 w 1306216"/>
              <a:gd name="connsiteY245" fmla="*/ 0 h 770184"/>
              <a:gd name="connsiteX0" fmla="*/ 532211 w 1312751"/>
              <a:gd name="connsiteY0" fmla="*/ 673154 h 770184"/>
              <a:gd name="connsiteX1" fmla="*/ 514017 w 1312751"/>
              <a:gd name="connsiteY1" fmla="*/ 745928 h 770184"/>
              <a:gd name="connsiteX2" fmla="*/ 789950 w 1312751"/>
              <a:gd name="connsiteY2" fmla="*/ 745928 h 770184"/>
              <a:gd name="connsiteX3" fmla="*/ 771757 w 1312751"/>
              <a:gd name="connsiteY3" fmla="*/ 673154 h 770184"/>
              <a:gd name="connsiteX4" fmla="*/ 532211 w 1312751"/>
              <a:gd name="connsiteY4" fmla="*/ 673154 h 770184"/>
              <a:gd name="connsiteX5" fmla="*/ 1184396 w 1312751"/>
              <a:gd name="connsiteY5" fmla="*/ 615493 h 770184"/>
              <a:gd name="connsiteX6" fmla="*/ 995748 w 1312751"/>
              <a:gd name="connsiteY6" fmla="*/ 615493 h 770184"/>
              <a:gd name="connsiteX7" fmla="*/ 1013122 w 1312751"/>
              <a:gd name="connsiteY7" fmla="*/ 650745 h 770184"/>
              <a:gd name="connsiteX8" fmla="*/ 1201173 w 1312751"/>
              <a:gd name="connsiteY8" fmla="*/ 650745 h 770184"/>
              <a:gd name="connsiteX9" fmla="*/ 1184396 w 1312751"/>
              <a:gd name="connsiteY9" fmla="*/ 615493 h 770184"/>
              <a:gd name="connsiteX10" fmla="*/ 877706 w 1312751"/>
              <a:gd name="connsiteY10" fmla="*/ 615493 h 770184"/>
              <a:gd name="connsiteX11" fmla="*/ 883466 w 1312751"/>
              <a:gd name="connsiteY11" fmla="*/ 652301 h 770184"/>
              <a:gd name="connsiteX12" fmla="*/ 987005 w 1312751"/>
              <a:gd name="connsiteY12" fmla="*/ 652300 h 770184"/>
              <a:gd name="connsiteX13" fmla="*/ 970309 w 1312751"/>
              <a:gd name="connsiteY13" fmla="*/ 615493 h 770184"/>
              <a:gd name="connsiteX14" fmla="*/ 877706 w 1312751"/>
              <a:gd name="connsiteY14" fmla="*/ 615493 h 770184"/>
              <a:gd name="connsiteX15" fmla="*/ 863452 w 1312751"/>
              <a:gd name="connsiteY15" fmla="*/ 615493 h 770184"/>
              <a:gd name="connsiteX16" fmla="*/ 359022 w 1312751"/>
              <a:gd name="connsiteY16" fmla="*/ 616132 h 770184"/>
              <a:gd name="connsiteX17" fmla="*/ 347071 w 1312751"/>
              <a:gd name="connsiteY17" fmla="*/ 652421 h 770184"/>
              <a:gd name="connsiteX18" fmla="*/ 864337 w 1312751"/>
              <a:gd name="connsiteY18" fmla="*/ 651213 h 770184"/>
              <a:gd name="connsiteX19" fmla="*/ 863452 w 1312751"/>
              <a:gd name="connsiteY19" fmla="*/ 615493 h 770184"/>
              <a:gd name="connsiteX20" fmla="*/ 127981 w 1312751"/>
              <a:gd name="connsiteY20" fmla="*/ 615493 h 770184"/>
              <a:gd name="connsiteX21" fmla="*/ 109993 w 1312751"/>
              <a:gd name="connsiteY21" fmla="*/ 650745 h 770184"/>
              <a:gd name="connsiteX22" fmla="*/ 323169 w 1312751"/>
              <a:gd name="connsiteY22" fmla="*/ 651901 h 770184"/>
              <a:gd name="connsiteX23" fmla="*/ 340640 w 1312751"/>
              <a:gd name="connsiteY23" fmla="*/ 615493 h 770184"/>
              <a:gd name="connsiteX24" fmla="*/ 127981 w 1312751"/>
              <a:gd name="connsiteY24" fmla="*/ 615493 h 770184"/>
              <a:gd name="connsiteX25" fmla="*/ 169114 w 1312751"/>
              <a:gd name="connsiteY25" fmla="*/ 585700 h 770184"/>
              <a:gd name="connsiteX26" fmla="*/ 135453 w 1312751"/>
              <a:gd name="connsiteY26" fmla="*/ 610506 h 770184"/>
              <a:gd name="connsiteX27" fmla="*/ 239916 w 1312751"/>
              <a:gd name="connsiteY27" fmla="*/ 610506 h 770184"/>
              <a:gd name="connsiteX28" fmla="*/ 252992 w 1312751"/>
              <a:gd name="connsiteY28" fmla="*/ 585700 h 770184"/>
              <a:gd name="connsiteX29" fmla="*/ 169114 w 1312751"/>
              <a:gd name="connsiteY29" fmla="*/ 585700 h 770184"/>
              <a:gd name="connsiteX30" fmla="*/ 1094034 w 1312751"/>
              <a:gd name="connsiteY30" fmla="*/ 585552 h 770184"/>
              <a:gd name="connsiteX31" fmla="*/ 990989 w 1312751"/>
              <a:gd name="connsiteY31" fmla="*/ 585552 h 770184"/>
              <a:gd name="connsiteX32" fmla="*/ 1000083 w 1312751"/>
              <a:gd name="connsiteY32" fmla="*/ 609788 h 770184"/>
              <a:gd name="connsiteX33" fmla="*/ 1105034 w 1312751"/>
              <a:gd name="connsiteY33" fmla="*/ 609788 h 770184"/>
              <a:gd name="connsiteX34" fmla="*/ 1094034 w 1312751"/>
              <a:gd name="connsiteY34" fmla="*/ 585552 h 770184"/>
              <a:gd name="connsiteX35" fmla="*/ 978472 w 1312751"/>
              <a:gd name="connsiteY35" fmla="*/ 585552 h 770184"/>
              <a:gd name="connsiteX36" fmla="*/ 875426 w 1312751"/>
              <a:gd name="connsiteY36" fmla="*/ 585552 h 770184"/>
              <a:gd name="connsiteX37" fmla="*/ 884521 w 1312751"/>
              <a:gd name="connsiteY37" fmla="*/ 609788 h 770184"/>
              <a:gd name="connsiteX38" fmla="*/ 989471 w 1312751"/>
              <a:gd name="connsiteY38" fmla="*/ 609788 h 770184"/>
              <a:gd name="connsiteX39" fmla="*/ 978472 w 1312751"/>
              <a:gd name="connsiteY39" fmla="*/ 585552 h 770184"/>
              <a:gd name="connsiteX40" fmla="*/ 862909 w 1312751"/>
              <a:gd name="connsiteY40" fmla="*/ 585552 h 770184"/>
              <a:gd name="connsiteX41" fmla="*/ 759863 w 1312751"/>
              <a:gd name="connsiteY41" fmla="*/ 585552 h 770184"/>
              <a:gd name="connsiteX42" fmla="*/ 768958 w 1312751"/>
              <a:gd name="connsiteY42" fmla="*/ 609788 h 770184"/>
              <a:gd name="connsiteX43" fmla="*/ 873908 w 1312751"/>
              <a:gd name="connsiteY43" fmla="*/ 609788 h 770184"/>
              <a:gd name="connsiteX44" fmla="*/ 862909 w 1312751"/>
              <a:gd name="connsiteY44" fmla="*/ 585552 h 770184"/>
              <a:gd name="connsiteX45" fmla="*/ 664956 w 1312751"/>
              <a:gd name="connsiteY45" fmla="*/ 585552 h 770184"/>
              <a:gd name="connsiteX46" fmla="*/ 653395 w 1312751"/>
              <a:gd name="connsiteY46" fmla="*/ 609788 h 770184"/>
              <a:gd name="connsiteX47" fmla="*/ 758345 w 1312751"/>
              <a:gd name="connsiteY47" fmla="*/ 609788 h 770184"/>
              <a:gd name="connsiteX48" fmla="*/ 747346 w 1312751"/>
              <a:gd name="connsiteY48" fmla="*/ 585552 h 770184"/>
              <a:gd name="connsiteX49" fmla="*/ 664956 w 1312751"/>
              <a:gd name="connsiteY49" fmla="*/ 585552 h 770184"/>
              <a:gd name="connsiteX50" fmla="*/ 565235 w 1312751"/>
              <a:gd name="connsiteY50" fmla="*/ 585552 h 770184"/>
              <a:gd name="connsiteX51" fmla="*/ 553673 w 1312751"/>
              <a:gd name="connsiteY51" fmla="*/ 609788 h 770184"/>
              <a:gd name="connsiteX52" fmla="*/ 640398 w 1312751"/>
              <a:gd name="connsiteY52" fmla="*/ 609788 h 770184"/>
              <a:gd name="connsiteX53" fmla="*/ 651877 w 1312751"/>
              <a:gd name="connsiteY53" fmla="*/ 585552 h 770184"/>
              <a:gd name="connsiteX54" fmla="*/ 565235 w 1312751"/>
              <a:gd name="connsiteY54" fmla="*/ 585552 h 770184"/>
              <a:gd name="connsiteX55" fmla="*/ 465514 w 1312751"/>
              <a:gd name="connsiteY55" fmla="*/ 585552 h 770184"/>
              <a:gd name="connsiteX56" fmla="*/ 453952 w 1312751"/>
              <a:gd name="connsiteY56" fmla="*/ 609788 h 770184"/>
              <a:gd name="connsiteX57" fmla="*/ 540677 w 1312751"/>
              <a:gd name="connsiteY57" fmla="*/ 609788 h 770184"/>
              <a:gd name="connsiteX58" fmla="*/ 552156 w 1312751"/>
              <a:gd name="connsiteY58" fmla="*/ 585552 h 770184"/>
              <a:gd name="connsiteX59" fmla="*/ 465514 w 1312751"/>
              <a:gd name="connsiteY59" fmla="*/ 585552 h 770184"/>
              <a:gd name="connsiteX60" fmla="*/ 365793 w 1312751"/>
              <a:gd name="connsiteY60" fmla="*/ 585552 h 770184"/>
              <a:gd name="connsiteX61" fmla="*/ 354231 w 1312751"/>
              <a:gd name="connsiteY61" fmla="*/ 609788 h 770184"/>
              <a:gd name="connsiteX62" fmla="*/ 440956 w 1312751"/>
              <a:gd name="connsiteY62" fmla="*/ 609788 h 770184"/>
              <a:gd name="connsiteX63" fmla="*/ 452434 w 1312751"/>
              <a:gd name="connsiteY63" fmla="*/ 585552 h 770184"/>
              <a:gd name="connsiteX64" fmla="*/ 365793 w 1312751"/>
              <a:gd name="connsiteY64" fmla="*/ 585552 h 770184"/>
              <a:gd name="connsiteX65" fmla="*/ 265783 w 1312751"/>
              <a:gd name="connsiteY65" fmla="*/ 585552 h 770184"/>
              <a:gd name="connsiteX66" fmla="*/ 254510 w 1312751"/>
              <a:gd name="connsiteY66" fmla="*/ 609788 h 770184"/>
              <a:gd name="connsiteX67" fmla="*/ 341235 w 1312751"/>
              <a:gd name="connsiteY67" fmla="*/ 609788 h 770184"/>
              <a:gd name="connsiteX68" fmla="*/ 352713 w 1312751"/>
              <a:gd name="connsiteY68" fmla="*/ 585552 h 770184"/>
              <a:gd name="connsiteX69" fmla="*/ 265783 w 1312751"/>
              <a:gd name="connsiteY69" fmla="*/ 585552 h 770184"/>
              <a:gd name="connsiteX70" fmla="*/ 1046910 w 1312751"/>
              <a:gd name="connsiteY70" fmla="*/ 559836 h 770184"/>
              <a:gd name="connsiteX71" fmla="*/ 1059522 w 1312751"/>
              <a:gd name="connsiteY71" fmla="*/ 580212 h 770184"/>
              <a:gd name="connsiteX72" fmla="*/ 1107799 w 1312751"/>
              <a:gd name="connsiteY72" fmla="*/ 579110 h 770184"/>
              <a:gd name="connsiteX73" fmla="*/ 1120958 w 1312751"/>
              <a:gd name="connsiteY73" fmla="*/ 605551 h 770184"/>
              <a:gd name="connsiteX74" fmla="*/ 1185073 w 1312751"/>
              <a:gd name="connsiteY74" fmla="*/ 608132 h 770184"/>
              <a:gd name="connsiteX75" fmla="*/ 1144078 w 1312751"/>
              <a:gd name="connsiteY75" fmla="*/ 559836 h 770184"/>
              <a:gd name="connsiteX76" fmla="*/ 1046910 w 1312751"/>
              <a:gd name="connsiteY76" fmla="*/ 559836 h 770184"/>
              <a:gd name="connsiteX77" fmla="*/ 217843 w 1312751"/>
              <a:gd name="connsiteY77" fmla="*/ 557325 h 770184"/>
              <a:gd name="connsiteX78" fmla="*/ 200453 w 1312751"/>
              <a:gd name="connsiteY78" fmla="*/ 578693 h 770184"/>
              <a:gd name="connsiteX79" fmla="*/ 304917 w 1312751"/>
              <a:gd name="connsiteY79" fmla="*/ 578693 h 770184"/>
              <a:gd name="connsiteX80" fmla="*/ 317992 w 1312751"/>
              <a:gd name="connsiteY80" fmla="*/ 557325 h 770184"/>
              <a:gd name="connsiteX81" fmla="*/ 217843 w 1312751"/>
              <a:gd name="connsiteY81" fmla="*/ 557325 h 770184"/>
              <a:gd name="connsiteX82" fmla="*/ 1040167 w 1312751"/>
              <a:gd name="connsiteY82" fmla="*/ 557138 h 770184"/>
              <a:gd name="connsiteX83" fmla="*/ 937122 w 1312751"/>
              <a:gd name="connsiteY83" fmla="*/ 557139 h 770184"/>
              <a:gd name="connsiteX84" fmla="*/ 946216 w 1312751"/>
              <a:gd name="connsiteY84" fmla="*/ 578014 h 770184"/>
              <a:gd name="connsiteX85" fmla="*/ 1051167 w 1312751"/>
              <a:gd name="connsiteY85" fmla="*/ 578014 h 770184"/>
              <a:gd name="connsiteX86" fmla="*/ 1040167 w 1312751"/>
              <a:gd name="connsiteY86" fmla="*/ 557138 h 770184"/>
              <a:gd name="connsiteX87" fmla="*/ 927909 w 1312751"/>
              <a:gd name="connsiteY87" fmla="*/ 557138 h 770184"/>
              <a:gd name="connsiteX88" fmla="*/ 824864 w 1312751"/>
              <a:gd name="connsiteY88" fmla="*/ 557139 h 770184"/>
              <a:gd name="connsiteX89" fmla="*/ 833958 w 1312751"/>
              <a:gd name="connsiteY89" fmla="*/ 578014 h 770184"/>
              <a:gd name="connsiteX90" fmla="*/ 938909 w 1312751"/>
              <a:gd name="connsiteY90" fmla="*/ 578014 h 770184"/>
              <a:gd name="connsiteX91" fmla="*/ 927909 w 1312751"/>
              <a:gd name="connsiteY91" fmla="*/ 557138 h 770184"/>
              <a:gd name="connsiteX92" fmla="*/ 729956 w 1312751"/>
              <a:gd name="connsiteY92" fmla="*/ 557138 h 770184"/>
              <a:gd name="connsiteX93" fmla="*/ 718395 w 1312751"/>
              <a:gd name="connsiteY93" fmla="*/ 578014 h 770184"/>
              <a:gd name="connsiteX94" fmla="*/ 823346 w 1312751"/>
              <a:gd name="connsiteY94" fmla="*/ 578014 h 770184"/>
              <a:gd name="connsiteX95" fmla="*/ 812346 w 1312751"/>
              <a:gd name="connsiteY95" fmla="*/ 557138 h 770184"/>
              <a:gd name="connsiteX96" fmla="*/ 729956 w 1312751"/>
              <a:gd name="connsiteY96" fmla="*/ 557138 h 770184"/>
              <a:gd name="connsiteX97" fmla="*/ 630235 w 1312751"/>
              <a:gd name="connsiteY97" fmla="*/ 557138 h 770184"/>
              <a:gd name="connsiteX98" fmla="*/ 618674 w 1312751"/>
              <a:gd name="connsiteY98" fmla="*/ 578014 h 770184"/>
              <a:gd name="connsiteX99" fmla="*/ 705399 w 1312751"/>
              <a:gd name="connsiteY99" fmla="*/ 578014 h 770184"/>
              <a:gd name="connsiteX100" fmla="*/ 716877 w 1312751"/>
              <a:gd name="connsiteY100" fmla="*/ 557138 h 770184"/>
              <a:gd name="connsiteX101" fmla="*/ 630235 w 1312751"/>
              <a:gd name="connsiteY101" fmla="*/ 557138 h 770184"/>
              <a:gd name="connsiteX102" fmla="*/ 530514 w 1312751"/>
              <a:gd name="connsiteY102" fmla="*/ 557138 h 770184"/>
              <a:gd name="connsiteX103" fmla="*/ 518953 w 1312751"/>
              <a:gd name="connsiteY103" fmla="*/ 578014 h 770184"/>
              <a:gd name="connsiteX104" fmla="*/ 605677 w 1312751"/>
              <a:gd name="connsiteY104" fmla="*/ 578014 h 770184"/>
              <a:gd name="connsiteX105" fmla="*/ 617156 w 1312751"/>
              <a:gd name="connsiteY105" fmla="*/ 557138 h 770184"/>
              <a:gd name="connsiteX106" fmla="*/ 530514 w 1312751"/>
              <a:gd name="connsiteY106" fmla="*/ 557138 h 770184"/>
              <a:gd name="connsiteX107" fmla="*/ 430793 w 1312751"/>
              <a:gd name="connsiteY107" fmla="*/ 557138 h 770184"/>
              <a:gd name="connsiteX108" fmla="*/ 419232 w 1312751"/>
              <a:gd name="connsiteY108" fmla="*/ 578014 h 770184"/>
              <a:gd name="connsiteX109" fmla="*/ 505956 w 1312751"/>
              <a:gd name="connsiteY109" fmla="*/ 578014 h 770184"/>
              <a:gd name="connsiteX110" fmla="*/ 517435 w 1312751"/>
              <a:gd name="connsiteY110" fmla="*/ 557138 h 770184"/>
              <a:gd name="connsiteX111" fmla="*/ 430793 w 1312751"/>
              <a:gd name="connsiteY111" fmla="*/ 557138 h 770184"/>
              <a:gd name="connsiteX112" fmla="*/ 330783 w 1312751"/>
              <a:gd name="connsiteY112" fmla="*/ 557138 h 770184"/>
              <a:gd name="connsiteX113" fmla="*/ 319510 w 1312751"/>
              <a:gd name="connsiteY113" fmla="*/ 578014 h 770184"/>
              <a:gd name="connsiteX114" fmla="*/ 406235 w 1312751"/>
              <a:gd name="connsiteY114" fmla="*/ 578014 h 770184"/>
              <a:gd name="connsiteX115" fmla="*/ 417714 w 1312751"/>
              <a:gd name="connsiteY115" fmla="*/ 557138 h 770184"/>
              <a:gd name="connsiteX116" fmla="*/ 330783 w 1312751"/>
              <a:gd name="connsiteY116" fmla="*/ 557138 h 770184"/>
              <a:gd name="connsiteX117" fmla="*/ 203849 w 1312751"/>
              <a:gd name="connsiteY117" fmla="*/ 530416 h 770184"/>
              <a:gd name="connsiteX118" fmla="*/ 161375 w 1312751"/>
              <a:gd name="connsiteY118" fmla="*/ 577233 h 770184"/>
              <a:gd name="connsiteX119" fmla="*/ 194427 w 1312751"/>
              <a:gd name="connsiteY119" fmla="*/ 576132 h 770184"/>
              <a:gd name="connsiteX120" fmla="*/ 216461 w 1312751"/>
              <a:gd name="connsiteY120" fmla="*/ 549691 h 770184"/>
              <a:gd name="connsiteX121" fmla="*/ 288406 w 1312751"/>
              <a:gd name="connsiteY121" fmla="*/ 550792 h 770184"/>
              <a:gd name="connsiteX122" fmla="*/ 301017 w 1312751"/>
              <a:gd name="connsiteY122" fmla="*/ 530416 h 770184"/>
              <a:gd name="connsiteX123" fmla="*/ 203849 w 1312751"/>
              <a:gd name="connsiteY123" fmla="*/ 530416 h 770184"/>
              <a:gd name="connsiteX124" fmla="*/ 324630 w 1312751"/>
              <a:gd name="connsiteY124" fmla="*/ 525890 h 770184"/>
              <a:gd name="connsiteX125" fmla="*/ 294157 w 1312751"/>
              <a:gd name="connsiteY125" fmla="*/ 551962 h 770184"/>
              <a:gd name="connsiteX126" fmla="*/ 388727 w 1312751"/>
              <a:gd name="connsiteY126" fmla="*/ 551962 h 770184"/>
              <a:gd name="connsiteX127" fmla="*/ 400564 w 1312751"/>
              <a:gd name="connsiteY127" fmla="*/ 525890 h 770184"/>
              <a:gd name="connsiteX128" fmla="*/ 324630 w 1312751"/>
              <a:gd name="connsiteY128" fmla="*/ 525890 h 770184"/>
              <a:gd name="connsiteX129" fmla="*/ 1127250 w 1312751"/>
              <a:gd name="connsiteY129" fmla="*/ 525757 h 770184"/>
              <a:gd name="connsiteX130" fmla="*/ 1033964 w 1312751"/>
              <a:gd name="connsiteY130" fmla="*/ 525757 h 770184"/>
              <a:gd name="connsiteX131" fmla="*/ 1042198 w 1312751"/>
              <a:gd name="connsiteY131" fmla="*/ 551229 h 770184"/>
              <a:gd name="connsiteX132" fmla="*/ 1137208 w 1312751"/>
              <a:gd name="connsiteY132" fmla="*/ 551229 h 770184"/>
              <a:gd name="connsiteX133" fmla="*/ 1127250 w 1312751"/>
              <a:gd name="connsiteY133" fmla="*/ 525757 h 770184"/>
              <a:gd name="connsiteX134" fmla="*/ 1026970 w 1312751"/>
              <a:gd name="connsiteY134" fmla="*/ 525757 h 770184"/>
              <a:gd name="connsiteX135" fmla="*/ 933684 w 1312751"/>
              <a:gd name="connsiteY135" fmla="*/ 525757 h 770184"/>
              <a:gd name="connsiteX136" fmla="*/ 941918 w 1312751"/>
              <a:gd name="connsiteY136" fmla="*/ 551229 h 770184"/>
              <a:gd name="connsiteX137" fmla="*/ 1036928 w 1312751"/>
              <a:gd name="connsiteY137" fmla="*/ 551229 h 770184"/>
              <a:gd name="connsiteX138" fmla="*/ 1026970 w 1312751"/>
              <a:gd name="connsiteY138" fmla="*/ 525757 h 770184"/>
              <a:gd name="connsiteX139" fmla="*/ 926689 w 1312751"/>
              <a:gd name="connsiteY139" fmla="*/ 525757 h 770184"/>
              <a:gd name="connsiteX140" fmla="*/ 833403 w 1312751"/>
              <a:gd name="connsiteY140" fmla="*/ 525757 h 770184"/>
              <a:gd name="connsiteX141" fmla="*/ 841636 w 1312751"/>
              <a:gd name="connsiteY141" fmla="*/ 551229 h 770184"/>
              <a:gd name="connsiteX142" fmla="*/ 936647 w 1312751"/>
              <a:gd name="connsiteY142" fmla="*/ 551229 h 770184"/>
              <a:gd name="connsiteX143" fmla="*/ 926689 w 1312751"/>
              <a:gd name="connsiteY143" fmla="*/ 525757 h 770184"/>
              <a:gd name="connsiteX144" fmla="*/ 751822 w 1312751"/>
              <a:gd name="connsiteY144" fmla="*/ 525757 h 770184"/>
              <a:gd name="connsiteX145" fmla="*/ 741355 w 1312751"/>
              <a:gd name="connsiteY145" fmla="*/ 551229 h 770184"/>
              <a:gd name="connsiteX146" fmla="*/ 836365 w 1312751"/>
              <a:gd name="connsiteY146" fmla="*/ 551229 h 770184"/>
              <a:gd name="connsiteX147" fmla="*/ 826408 w 1312751"/>
              <a:gd name="connsiteY147" fmla="*/ 525757 h 770184"/>
              <a:gd name="connsiteX148" fmla="*/ 751822 w 1312751"/>
              <a:gd name="connsiteY148" fmla="*/ 525757 h 770184"/>
              <a:gd name="connsiteX149" fmla="*/ 665883 w 1312751"/>
              <a:gd name="connsiteY149" fmla="*/ 525757 h 770184"/>
              <a:gd name="connsiteX150" fmla="*/ 655417 w 1312751"/>
              <a:gd name="connsiteY150" fmla="*/ 551229 h 770184"/>
              <a:gd name="connsiteX151" fmla="*/ 733927 w 1312751"/>
              <a:gd name="connsiteY151" fmla="*/ 551229 h 770184"/>
              <a:gd name="connsiteX152" fmla="*/ 744318 w 1312751"/>
              <a:gd name="connsiteY152" fmla="*/ 525757 h 770184"/>
              <a:gd name="connsiteX153" fmla="*/ 665883 w 1312751"/>
              <a:gd name="connsiteY153" fmla="*/ 525757 h 770184"/>
              <a:gd name="connsiteX154" fmla="*/ 579945 w 1312751"/>
              <a:gd name="connsiteY154" fmla="*/ 525757 h 770184"/>
              <a:gd name="connsiteX155" fmla="*/ 569478 w 1312751"/>
              <a:gd name="connsiteY155" fmla="*/ 551229 h 770184"/>
              <a:gd name="connsiteX156" fmla="*/ 647988 w 1312751"/>
              <a:gd name="connsiteY156" fmla="*/ 551229 h 770184"/>
              <a:gd name="connsiteX157" fmla="*/ 658379 w 1312751"/>
              <a:gd name="connsiteY157" fmla="*/ 525757 h 770184"/>
              <a:gd name="connsiteX158" fmla="*/ 579945 w 1312751"/>
              <a:gd name="connsiteY158" fmla="*/ 525757 h 770184"/>
              <a:gd name="connsiteX159" fmla="*/ 494006 w 1312751"/>
              <a:gd name="connsiteY159" fmla="*/ 525757 h 770184"/>
              <a:gd name="connsiteX160" fmla="*/ 483540 w 1312751"/>
              <a:gd name="connsiteY160" fmla="*/ 551229 h 770184"/>
              <a:gd name="connsiteX161" fmla="*/ 562049 w 1312751"/>
              <a:gd name="connsiteY161" fmla="*/ 551229 h 770184"/>
              <a:gd name="connsiteX162" fmla="*/ 572441 w 1312751"/>
              <a:gd name="connsiteY162" fmla="*/ 525757 h 770184"/>
              <a:gd name="connsiteX163" fmla="*/ 494006 w 1312751"/>
              <a:gd name="connsiteY163" fmla="*/ 525757 h 770184"/>
              <a:gd name="connsiteX164" fmla="*/ 407806 w 1312751"/>
              <a:gd name="connsiteY164" fmla="*/ 525757 h 770184"/>
              <a:gd name="connsiteX165" fmla="*/ 397601 w 1312751"/>
              <a:gd name="connsiteY165" fmla="*/ 551229 h 770184"/>
              <a:gd name="connsiteX166" fmla="*/ 476111 w 1312751"/>
              <a:gd name="connsiteY166" fmla="*/ 551229 h 770184"/>
              <a:gd name="connsiteX167" fmla="*/ 486502 w 1312751"/>
              <a:gd name="connsiteY167" fmla="*/ 525757 h 770184"/>
              <a:gd name="connsiteX168" fmla="*/ 407806 w 1312751"/>
              <a:gd name="connsiteY168" fmla="*/ 525757 h 770184"/>
              <a:gd name="connsiteX169" fmla="*/ 242191 w 1312751"/>
              <a:gd name="connsiteY169" fmla="*/ 499031 h 770184"/>
              <a:gd name="connsiteX170" fmla="*/ 219356 w 1312751"/>
              <a:gd name="connsiteY170" fmla="*/ 517250 h 770184"/>
              <a:gd name="connsiteX171" fmla="*/ 290222 w 1312751"/>
              <a:gd name="connsiteY171" fmla="*/ 517250 h 770184"/>
              <a:gd name="connsiteX172" fmla="*/ 299092 w 1312751"/>
              <a:gd name="connsiteY172" fmla="*/ 499031 h 770184"/>
              <a:gd name="connsiteX173" fmla="*/ 242191 w 1312751"/>
              <a:gd name="connsiteY173" fmla="*/ 499031 h 770184"/>
              <a:gd name="connsiteX174" fmla="*/ 1042300 w 1312751"/>
              <a:gd name="connsiteY174" fmla="*/ 498996 h 770184"/>
              <a:gd name="connsiteX175" fmla="*/ 1048470 w 1312751"/>
              <a:gd name="connsiteY175" fmla="*/ 516798 h 770184"/>
              <a:gd name="connsiteX176" fmla="*/ 1119666 w 1312751"/>
              <a:gd name="connsiteY176" fmla="*/ 516798 h 770184"/>
              <a:gd name="connsiteX177" fmla="*/ 1112204 w 1312751"/>
              <a:gd name="connsiteY177" fmla="*/ 498996 h 770184"/>
              <a:gd name="connsiteX178" fmla="*/ 1042300 w 1312751"/>
              <a:gd name="connsiteY178" fmla="*/ 498996 h 770184"/>
              <a:gd name="connsiteX179" fmla="*/ 955325 w 1312751"/>
              <a:gd name="connsiteY179" fmla="*/ 498996 h 770184"/>
              <a:gd name="connsiteX180" fmla="*/ 961495 w 1312751"/>
              <a:gd name="connsiteY180" fmla="*/ 516798 h 770184"/>
              <a:gd name="connsiteX181" fmla="*/ 1032691 w 1312751"/>
              <a:gd name="connsiteY181" fmla="*/ 516798 h 770184"/>
              <a:gd name="connsiteX182" fmla="*/ 1025229 w 1312751"/>
              <a:gd name="connsiteY182" fmla="*/ 498996 h 770184"/>
              <a:gd name="connsiteX183" fmla="*/ 955325 w 1312751"/>
              <a:gd name="connsiteY183" fmla="*/ 498996 h 770184"/>
              <a:gd name="connsiteX184" fmla="*/ 868352 w 1312751"/>
              <a:gd name="connsiteY184" fmla="*/ 498996 h 770184"/>
              <a:gd name="connsiteX185" fmla="*/ 874521 w 1312751"/>
              <a:gd name="connsiteY185" fmla="*/ 516798 h 770184"/>
              <a:gd name="connsiteX186" fmla="*/ 945718 w 1312751"/>
              <a:gd name="connsiteY186" fmla="*/ 516798 h 770184"/>
              <a:gd name="connsiteX187" fmla="*/ 938255 w 1312751"/>
              <a:gd name="connsiteY187" fmla="*/ 498996 h 770184"/>
              <a:gd name="connsiteX188" fmla="*/ 868352 w 1312751"/>
              <a:gd name="connsiteY188" fmla="*/ 498996 h 770184"/>
              <a:gd name="connsiteX189" fmla="*/ 781378 w 1312751"/>
              <a:gd name="connsiteY189" fmla="*/ 498996 h 770184"/>
              <a:gd name="connsiteX190" fmla="*/ 787548 w 1312751"/>
              <a:gd name="connsiteY190" fmla="*/ 516798 h 770184"/>
              <a:gd name="connsiteX191" fmla="*/ 858744 w 1312751"/>
              <a:gd name="connsiteY191" fmla="*/ 516798 h 770184"/>
              <a:gd name="connsiteX192" fmla="*/ 851282 w 1312751"/>
              <a:gd name="connsiteY192" fmla="*/ 498996 h 770184"/>
              <a:gd name="connsiteX193" fmla="*/ 781378 w 1312751"/>
              <a:gd name="connsiteY193" fmla="*/ 498996 h 770184"/>
              <a:gd name="connsiteX194" fmla="*/ 694405 w 1312751"/>
              <a:gd name="connsiteY194" fmla="*/ 498996 h 770184"/>
              <a:gd name="connsiteX195" fmla="*/ 700574 w 1312751"/>
              <a:gd name="connsiteY195" fmla="*/ 516798 h 770184"/>
              <a:gd name="connsiteX196" fmla="*/ 771771 w 1312751"/>
              <a:gd name="connsiteY196" fmla="*/ 516798 h 770184"/>
              <a:gd name="connsiteX197" fmla="*/ 764308 w 1312751"/>
              <a:gd name="connsiteY197" fmla="*/ 498996 h 770184"/>
              <a:gd name="connsiteX198" fmla="*/ 694405 w 1312751"/>
              <a:gd name="connsiteY198" fmla="*/ 498996 h 770184"/>
              <a:gd name="connsiteX199" fmla="*/ 621444 w 1312751"/>
              <a:gd name="connsiteY199" fmla="*/ 498996 h 770184"/>
              <a:gd name="connsiteX200" fmla="*/ 613601 w 1312751"/>
              <a:gd name="connsiteY200" fmla="*/ 516798 h 770184"/>
              <a:gd name="connsiteX201" fmla="*/ 684797 w 1312751"/>
              <a:gd name="connsiteY201" fmla="*/ 516798 h 770184"/>
              <a:gd name="connsiteX202" fmla="*/ 677335 w 1312751"/>
              <a:gd name="connsiteY202" fmla="*/ 498996 h 770184"/>
              <a:gd name="connsiteX203" fmla="*/ 621444 w 1312751"/>
              <a:gd name="connsiteY203" fmla="*/ 498996 h 770184"/>
              <a:gd name="connsiteX204" fmla="*/ 545219 w 1312751"/>
              <a:gd name="connsiteY204" fmla="*/ 498996 h 770184"/>
              <a:gd name="connsiteX205" fmla="*/ 537376 w 1312751"/>
              <a:gd name="connsiteY205" fmla="*/ 516798 h 770184"/>
              <a:gd name="connsiteX206" fmla="*/ 596207 w 1312751"/>
              <a:gd name="connsiteY206" fmla="*/ 516798 h 770184"/>
              <a:gd name="connsiteX207" fmla="*/ 603994 w 1312751"/>
              <a:gd name="connsiteY207" fmla="*/ 498996 h 770184"/>
              <a:gd name="connsiteX208" fmla="*/ 545219 w 1312751"/>
              <a:gd name="connsiteY208" fmla="*/ 498996 h 770184"/>
              <a:gd name="connsiteX209" fmla="*/ 468993 w 1312751"/>
              <a:gd name="connsiteY209" fmla="*/ 498996 h 770184"/>
              <a:gd name="connsiteX210" fmla="*/ 461150 w 1312751"/>
              <a:gd name="connsiteY210" fmla="*/ 516798 h 770184"/>
              <a:gd name="connsiteX211" fmla="*/ 519982 w 1312751"/>
              <a:gd name="connsiteY211" fmla="*/ 516798 h 770184"/>
              <a:gd name="connsiteX212" fmla="*/ 527768 w 1312751"/>
              <a:gd name="connsiteY212" fmla="*/ 498996 h 770184"/>
              <a:gd name="connsiteX213" fmla="*/ 468993 w 1312751"/>
              <a:gd name="connsiteY213" fmla="*/ 498996 h 770184"/>
              <a:gd name="connsiteX214" fmla="*/ 392768 w 1312751"/>
              <a:gd name="connsiteY214" fmla="*/ 498996 h 770184"/>
              <a:gd name="connsiteX215" fmla="*/ 384925 w 1312751"/>
              <a:gd name="connsiteY215" fmla="*/ 516798 h 770184"/>
              <a:gd name="connsiteX216" fmla="*/ 443756 w 1312751"/>
              <a:gd name="connsiteY216" fmla="*/ 516798 h 770184"/>
              <a:gd name="connsiteX217" fmla="*/ 451543 w 1312751"/>
              <a:gd name="connsiteY217" fmla="*/ 498996 h 770184"/>
              <a:gd name="connsiteX218" fmla="*/ 392768 w 1312751"/>
              <a:gd name="connsiteY218" fmla="*/ 498996 h 770184"/>
              <a:gd name="connsiteX219" fmla="*/ 316347 w 1312751"/>
              <a:gd name="connsiteY219" fmla="*/ 498996 h 770184"/>
              <a:gd name="connsiteX220" fmla="*/ 308699 w 1312751"/>
              <a:gd name="connsiteY220" fmla="*/ 516798 h 770184"/>
              <a:gd name="connsiteX221" fmla="*/ 367531 w 1312751"/>
              <a:gd name="connsiteY221" fmla="*/ 516798 h 770184"/>
              <a:gd name="connsiteX222" fmla="*/ 375317 w 1312751"/>
              <a:gd name="connsiteY222" fmla="*/ 498996 h 770184"/>
              <a:gd name="connsiteX223" fmla="*/ 316347 w 1312751"/>
              <a:gd name="connsiteY223" fmla="*/ 498996 h 770184"/>
              <a:gd name="connsiteX224" fmla="*/ 260826 w 1312751"/>
              <a:gd name="connsiteY224" fmla="*/ 40617 h 770184"/>
              <a:gd name="connsiteX225" fmla="*/ 260826 w 1312751"/>
              <a:gd name="connsiteY225" fmla="*/ 411185 h 770184"/>
              <a:gd name="connsiteX226" fmla="*/ 1085595 w 1312751"/>
              <a:gd name="connsiteY226" fmla="*/ 411185 h 770184"/>
              <a:gd name="connsiteX227" fmla="*/ 1085595 w 1312751"/>
              <a:gd name="connsiteY227" fmla="*/ 40617 h 770184"/>
              <a:gd name="connsiteX228" fmla="*/ 260826 w 1312751"/>
              <a:gd name="connsiteY228" fmla="*/ 40617 h 770184"/>
              <a:gd name="connsiteX229" fmla="*/ 270935 w 1312751"/>
              <a:gd name="connsiteY229" fmla="*/ 0 h 770184"/>
              <a:gd name="connsiteX230" fmla="*/ 1075485 w 1312751"/>
              <a:gd name="connsiteY230" fmla="*/ 0 h 770184"/>
              <a:gd name="connsiteX231" fmla="*/ 1126530 w 1312751"/>
              <a:gd name="connsiteY231" fmla="*/ 51045 h 770184"/>
              <a:gd name="connsiteX232" fmla="*/ 1126530 w 1312751"/>
              <a:gd name="connsiteY232" fmla="*/ 400758 h 770184"/>
              <a:gd name="connsiteX233" fmla="*/ 1111580 w 1312751"/>
              <a:gd name="connsiteY233" fmla="*/ 436852 h 770184"/>
              <a:gd name="connsiteX234" fmla="*/ 1102966 w 1312751"/>
              <a:gd name="connsiteY234" fmla="*/ 442659 h 770184"/>
              <a:gd name="connsiteX235" fmla="*/ 1116324 w 1312751"/>
              <a:gd name="connsiteY235" fmla="*/ 442704 h 770184"/>
              <a:gd name="connsiteX236" fmla="*/ 1304189 w 1312751"/>
              <a:gd name="connsiteY236" fmla="*/ 691555 h 770184"/>
              <a:gd name="connsiteX237" fmla="*/ 1254871 w 1312751"/>
              <a:gd name="connsiteY237" fmla="*/ 770184 h 770184"/>
              <a:gd name="connsiteX238" fmla="*/ 52127 w 1312751"/>
              <a:gd name="connsiteY238" fmla="*/ 770184 h 770184"/>
              <a:gd name="connsiteX239" fmla="*/ 0 w 1312751"/>
              <a:gd name="connsiteY239" fmla="*/ 694364 h 770184"/>
              <a:gd name="connsiteX240" fmla="*/ 223824 w 1312751"/>
              <a:gd name="connsiteY240" fmla="*/ 439672 h 770184"/>
              <a:gd name="connsiteX241" fmla="*/ 239101 w 1312751"/>
              <a:gd name="connsiteY241" fmla="*/ 439724 h 770184"/>
              <a:gd name="connsiteX242" fmla="*/ 234841 w 1312751"/>
              <a:gd name="connsiteY242" fmla="*/ 436852 h 770184"/>
              <a:gd name="connsiteX243" fmla="*/ 219890 w 1312751"/>
              <a:gd name="connsiteY243" fmla="*/ 400758 h 770184"/>
              <a:gd name="connsiteX244" fmla="*/ 219890 w 1312751"/>
              <a:gd name="connsiteY244" fmla="*/ 51045 h 770184"/>
              <a:gd name="connsiteX245" fmla="*/ 270935 w 1312751"/>
              <a:gd name="connsiteY245" fmla="*/ 0 h 770184"/>
              <a:gd name="connsiteX0" fmla="*/ 532211 w 1310462"/>
              <a:gd name="connsiteY0" fmla="*/ 673154 h 770184"/>
              <a:gd name="connsiteX1" fmla="*/ 514017 w 1310462"/>
              <a:gd name="connsiteY1" fmla="*/ 745928 h 770184"/>
              <a:gd name="connsiteX2" fmla="*/ 789950 w 1310462"/>
              <a:gd name="connsiteY2" fmla="*/ 745928 h 770184"/>
              <a:gd name="connsiteX3" fmla="*/ 771757 w 1310462"/>
              <a:gd name="connsiteY3" fmla="*/ 673154 h 770184"/>
              <a:gd name="connsiteX4" fmla="*/ 532211 w 1310462"/>
              <a:gd name="connsiteY4" fmla="*/ 673154 h 770184"/>
              <a:gd name="connsiteX5" fmla="*/ 1184396 w 1310462"/>
              <a:gd name="connsiteY5" fmla="*/ 615493 h 770184"/>
              <a:gd name="connsiteX6" fmla="*/ 995748 w 1310462"/>
              <a:gd name="connsiteY6" fmla="*/ 615493 h 770184"/>
              <a:gd name="connsiteX7" fmla="*/ 1013122 w 1310462"/>
              <a:gd name="connsiteY7" fmla="*/ 650745 h 770184"/>
              <a:gd name="connsiteX8" fmla="*/ 1201173 w 1310462"/>
              <a:gd name="connsiteY8" fmla="*/ 650745 h 770184"/>
              <a:gd name="connsiteX9" fmla="*/ 1184396 w 1310462"/>
              <a:gd name="connsiteY9" fmla="*/ 615493 h 770184"/>
              <a:gd name="connsiteX10" fmla="*/ 877706 w 1310462"/>
              <a:gd name="connsiteY10" fmla="*/ 615493 h 770184"/>
              <a:gd name="connsiteX11" fmla="*/ 883466 w 1310462"/>
              <a:gd name="connsiteY11" fmla="*/ 652301 h 770184"/>
              <a:gd name="connsiteX12" fmla="*/ 987005 w 1310462"/>
              <a:gd name="connsiteY12" fmla="*/ 652300 h 770184"/>
              <a:gd name="connsiteX13" fmla="*/ 970309 w 1310462"/>
              <a:gd name="connsiteY13" fmla="*/ 615493 h 770184"/>
              <a:gd name="connsiteX14" fmla="*/ 877706 w 1310462"/>
              <a:gd name="connsiteY14" fmla="*/ 615493 h 770184"/>
              <a:gd name="connsiteX15" fmla="*/ 863452 w 1310462"/>
              <a:gd name="connsiteY15" fmla="*/ 615493 h 770184"/>
              <a:gd name="connsiteX16" fmla="*/ 359022 w 1310462"/>
              <a:gd name="connsiteY16" fmla="*/ 616132 h 770184"/>
              <a:gd name="connsiteX17" fmla="*/ 347071 w 1310462"/>
              <a:gd name="connsiteY17" fmla="*/ 652421 h 770184"/>
              <a:gd name="connsiteX18" fmla="*/ 864337 w 1310462"/>
              <a:gd name="connsiteY18" fmla="*/ 651213 h 770184"/>
              <a:gd name="connsiteX19" fmla="*/ 863452 w 1310462"/>
              <a:gd name="connsiteY19" fmla="*/ 615493 h 770184"/>
              <a:gd name="connsiteX20" fmla="*/ 127981 w 1310462"/>
              <a:gd name="connsiteY20" fmla="*/ 615493 h 770184"/>
              <a:gd name="connsiteX21" fmla="*/ 109993 w 1310462"/>
              <a:gd name="connsiteY21" fmla="*/ 650745 h 770184"/>
              <a:gd name="connsiteX22" fmla="*/ 323169 w 1310462"/>
              <a:gd name="connsiteY22" fmla="*/ 651901 h 770184"/>
              <a:gd name="connsiteX23" fmla="*/ 340640 w 1310462"/>
              <a:gd name="connsiteY23" fmla="*/ 615493 h 770184"/>
              <a:gd name="connsiteX24" fmla="*/ 127981 w 1310462"/>
              <a:gd name="connsiteY24" fmla="*/ 615493 h 770184"/>
              <a:gd name="connsiteX25" fmla="*/ 169114 w 1310462"/>
              <a:gd name="connsiteY25" fmla="*/ 585700 h 770184"/>
              <a:gd name="connsiteX26" fmla="*/ 135453 w 1310462"/>
              <a:gd name="connsiteY26" fmla="*/ 610506 h 770184"/>
              <a:gd name="connsiteX27" fmla="*/ 239916 w 1310462"/>
              <a:gd name="connsiteY27" fmla="*/ 610506 h 770184"/>
              <a:gd name="connsiteX28" fmla="*/ 252992 w 1310462"/>
              <a:gd name="connsiteY28" fmla="*/ 585700 h 770184"/>
              <a:gd name="connsiteX29" fmla="*/ 169114 w 1310462"/>
              <a:gd name="connsiteY29" fmla="*/ 585700 h 770184"/>
              <a:gd name="connsiteX30" fmla="*/ 1094034 w 1310462"/>
              <a:gd name="connsiteY30" fmla="*/ 585552 h 770184"/>
              <a:gd name="connsiteX31" fmla="*/ 990989 w 1310462"/>
              <a:gd name="connsiteY31" fmla="*/ 585552 h 770184"/>
              <a:gd name="connsiteX32" fmla="*/ 1000083 w 1310462"/>
              <a:gd name="connsiteY32" fmla="*/ 609788 h 770184"/>
              <a:gd name="connsiteX33" fmla="*/ 1105034 w 1310462"/>
              <a:gd name="connsiteY33" fmla="*/ 609788 h 770184"/>
              <a:gd name="connsiteX34" fmla="*/ 1094034 w 1310462"/>
              <a:gd name="connsiteY34" fmla="*/ 585552 h 770184"/>
              <a:gd name="connsiteX35" fmla="*/ 978472 w 1310462"/>
              <a:gd name="connsiteY35" fmla="*/ 585552 h 770184"/>
              <a:gd name="connsiteX36" fmla="*/ 875426 w 1310462"/>
              <a:gd name="connsiteY36" fmla="*/ 585552 h 770184"/>
              <a:gd name="connsiteX37" fmla="*/ 884521 w 1310462"/>
              <a:gd name="connsiteY37" fmla="*/ 609788 h 770184"/>
              <a:gd name="connsiteX38" fmla="*/ 989471 w 1310462"/>
              <a:gd name="connsiteY38" fmla="*/ 609788 h 770184"/>
              <a:gd name="connsiteX39" fmla="*/ 978472 w 1310462"/>
              <a:gd name="connsiteY39" fmla="*/ 585552 h 770184"/>
              <a:gd name="connsiteX40" fmla="*/ 862909 w 1310462"/>
              <a:gd name="connsiteY40" fmla="*/ 585552 h 770184"/>
              <a:gd name="connsiteX41" fmla="*/ 759863 w 1310462"/>
              <a:gd name="connsiteY41" fmla="*/ 585552 h 770184"/>
              <a:gd name="connsiteX42" fmla="*/ 768958 w 1310462"/>
              <a:gd name="connsiteY42" fmla="*/ 609788 h 770184"/>
              <a:gd name="connsiteX43" fmla="*/ 873908 w 1310462"/>
              <a:gd name="connsiteY43" fmla="*/ 609788 h 770184"/>
              <a:gd name="connsiteX44" fmla="*/ 862909 w 1310462"/>
              <a:gd name="connsiteY44" fmla="*/ 585552 h 770184"/>
              <a:gd name="connsiteX45" fmla="*/ 664956 w 1310462"/>
              <a:gd name="connsiteY45" fmla="*/ 585552 h 770184"/>
              <a:gd name="connsiteX46" fmla="*/ 653395 w 1310462"/>
              <a:gd name="connsiteY46" fmla="*/ 609788 h 770184"/>
              <a:gd name="connsiteX47" fmla="*/ 758345 w 1310462"/>
              <a:gd name="connsiteY47" fmla="*/ 609788 h 770184"/>
              <a:gd name="connsiteX48" fmla="*/ 747346 w 1310462"/>
              <a:gd name="connsiteY48" fmla="*/ 585552 h 770184"/>
              <a:gd name="connsiteX49" fmla="*/ 664956 w 1310462"/>
              <a:gd name="connsiteY49" fmla="*/ 585552 h 770184"/>
              <a:gd name="connsiteX50" fmla="*/ 565235 w 1310462"/>
              <a:gd name="connsiteY50" fmla="*/ 585552 h 770184"/>
              <a:gd name="connsiteX51" fmla="*/ 553673 w 1310462"/>
              <a:gd name="connsiteY51" fmla="*/ 609788 h 770184"/>
              <a:gd name="connsiteX52" fmla="*/ 640398 w 1310462"/>
              <a:gd name="connsiteY52" fmla="*/ 609788 h 770184"/>
              <a:gd name="connsiteX53" fmla="*/ 651877 w 1310462"/>
              <a:gd name="connsiteY53" fmla="*/ 585552 h 770184"/>
              <a:gd name="connsiteX54" fmla="*/ 565235 w 1310462"/>
              <a:gd name="connsiteY54" fmla="*/ 585552 h 770184"/>
              <a:gd name="connsiteX55" fmla="*/ 465514 w 1310462"/>
              <a:gd name="connsiteY55" fmla="*/ 585552 h 770184"/>
              <a:gd name="connsiteX56" fmla="*/ 453952 w 1310462"/>
              <a:gd name="connsiteY56" fmla="*/ 609788 h 770184"/>
              <a:gd name="connsiteX57" fmla="*/ 540677 w 1310462"/>
              <a:gd name="connsiteY57" fmla="*/ 609788 h 770184"/>
              <a:gd name="connsiteX58" fmla="*/ 552156 w 1310462"/>
              <a:gd name="connsiteY58" fmla="*/ 585552 h 770184"/>
              <a:gd name="connsiteX59" fmla="*/ 465514 w 1310462"/>
              <a:gd name="connsiteY59" fmla="*/ 585552 h 770184"/>
              <a:gd name="connsiteX60" fmla="*/ 365793 w 1310462"/>
              <a:gd name="connsiteY60" fmla="*/ 585552 h 770184"/>
              <a:gd name="connsiteX61" fmla="*/ 354231 w 1310462"/>
              <a:gd name="connsiteY61" fmla="*/ 609788 h 770184"/>
              <a:gd name="connsiteX62" fmla="*/ 440956 w 1310462"/>
              <a:gd name="connsiteY62" fmla="*/ 609788 h 770184"/>
              <a:gd name="connsiteX63" fmla="*/ 452434 w 1310462"/>
              <a:gd name="connsiteY63" fmla="*/ 585552 h 770184"/>
              <a:gd name="connsiteX64" fmla="*/ 365793 w 1310462"/>
              <a:gd name="connsiteY64" fmla="*/ 585552 h 770184"/>
              <a:gd name="connsiteX65" fmla="*/ 265783 w 1310462"/>
              <a:gd name="connsiteY65" fmla="*/ 585552 h 770184"/>
              <a:gd name="connsiteX66" fmla="*/ 254510 w 1310462"/>
              <a:gd name="connsiteY66" fmla="*/ 609788 h 770184"/>
              <a:gd name="connsiteX67" fmla="*/ 341235 w 1310462"/>
              <a:gd name="connsiteY67" fmla="*/ 609788 h 770184"/>
              <a:gd name="connsiteX68" fmla="*/ 352713 w 1310462"/>
              <a:gd name="connsiteY68" fmla="*/ 585552 h 770184"/>
              <a:gd name="connsiteX69" fmla="*/ 265783 w 1310462"/>
              <a:gd name="connsiteY69" fmla="*/ 585552 h 770184"/>
              <a:gd name="connsiteX70" fmla="*/ 1046910 w 1310462"/>
              <a:gd name="connsiteY70" fmla="*/ 559836 h 770184"/>
              <a:gd name="connsiteX71" fmla="*/ 1059522 w 1310462"/>
              <a:gd name="connsiteY71" fmla="*/ 580212 h 770184"/>
              <a:gd name="connsiteX72" fmla="*/ 1107799 w 1310462"/>
              <a:gd name="connsiteY72" fmla="*/ 579110 h 770184"/>
              <a:gd name="connsiteX73" fmla="*/ 1120958 w 1310462"/>
              <a:gd name="connsiteY73" fmla="*/ 605551 h 770184"/>
              <a:gd name="connsiteX74" fmla="*/ 1185073 w 1310462"/>
              <a:gd name="connsiteY74" fmla="*/ 608132 h 770184"/>
              <a:gd name="connsiteX75" fmla="*/ 1144078 w 1310462"/>
              <a:gd name="connsiteY75" fmla="*/ 559836 h 770184"/>
              <a:gd name="connsiteX76" fmla="*/ 1046910 w 1310462"/>
              <a:gd name="connsiteY76" fmla="*/ 559836 h 770184"/>
              <a:gd name="connsiteX77" fmla="*/ 217843 w 1310462"/>
              <a:gd name="connsiteY77" fmla="*/ 557325 h 770184"/>
              <a:gd name="connsiteX78" fmla="*/ 200453 w 1310462"/>
              <a:gd name="connsiteY78" fmla="*/ 578693 h 770184"/>
              <a:gd name="connsiteX79" fmla="*/ 304917 w 1310462"/>
              <a:gd name="connsiteY79" fmla="*/ 578693 h 770184"/>
              <a:gd name="connsiteX80" fmla="*/ 317992 w 1310462"/>
              <a:gd name="connsiteY80" fmla="*/ 557325 h 770184"/>
              <a:gd name="connsiteX81" fmla="*/ 217843 w 1310462"/>
              <a:gd name="connsiteY81" fmla="*/ 557325 h 770184"/>
              <a:gd name="connsiteX82" fmla="*/ 1040167 w 1310462"/>
              <a:gd name="connsiteY82" fmla="*/ 557138 h 770184"/>
              <a:gd name="connsiteX83" fmla="*/ 937122 w 1310462"/>
              <a:gd name="connsiteY83" fmla="*/ 557139 h 770184"/>
              <a:gd name="connsiteX84" fmla="*/ 946216 w 1310462"/>
              <a:gd name="connsiteY84" fmla="*/ 578014 h 770184"/>
              <a:gd name="connsiteX85" fmla="*/ 1051167 w 1310462"/>
              <a:gd name="connsiteY85" fmla="*/ 578014 h 770184"/>
              <a:gd name="connsiteX86" fmla="*/ 1040167 w 1310462"/>
              <a:gd name="connsiteY86" fmla="*/ 557138 h 770184"/>
              <a:gd name="connsiteX87" fmla="*/ 927909 w 1310462"/>
              <a:gd name="connsiteY87" fmla="*/ 557138 h 770184"/>
              <a:gd name="connsiteX88" fmla="*/ 824864 w 1310462"/>
              <a:gd name="connsiteY88" fmla="*/ 557139 h 770184"/>
              <a:gd name="connsiteX89" fmla="*/ 833958 w 1310462"/>
              <a:gd name="connsiteY89" fmla="*/ 578014 h 770184"/>
              <a:gd name="connsiteX90" fmla="*/ 938909 w 1310462"/>
              <a:gd name="connsiteY90" fmla="*/ 578014 h 770184"/>
              <a:gd name="connsiteX91" fmla="*/ 927909 w 1310462"/>
              <a:gd name="connsiteY91" fmla="*/ 557138 h 770184"/>
              <a:gd name="connsiteX92" fmla="*/ 729956 w 1310462"/>
              <a:gd name="connsiteY92" fmla="*/ 557138 h 770184"/>
              <a:gd name="connsiteX93" fmla="*/ 718395 w 1310462"/>
              <a:gd name="connsiteY93" fmla="*/ 578014 h 770184"/>
              <a:gd name="connsiteX94" fmla="*/ 823346 w 1310462"/>
              <a:gd name="connsiteY94" fmla="*/ 578014 h 770184"/>
              <a:gd name="connsiteX95" fmla="*/ 812346 w 1310462"/>
              <a:gd name="connsiteY95" fmla="*/ 557138 h 770184"/>
              <a:gd name="connsiteX96" fmla="*/ 729956 w 1310462"/>
              <a:gd name="connsiteY96" fmla="*/ 557138 h 770184"/>
              <a:gd name="connsiteX97" fmla="*/ 630235 w 1310462"/>
              <a:gd name="connsiteY97" fmla="*/ 557138 h 770184"/>
              <a:gd name="connsiteX98" fmla="*/ 618674 w 1310462"/>
              <a:gd name="connsiteY98" fmla="*/ 578014 h 770184"/>
              <a:gd name="connsiteX99" fmla="*/ 705399 w 1310462"/>
              <a:gd name="connsiteY99" fmla="*/ 578014 h 770184"/>
              <a:gd name="connsiteX100" fmla="*/ 716877 w 1310462"/>
              <a:gd name="connsiteY100" fmla="*/ 557138 h 770184"/>
              <a:gd name="connsiteX101" fmla="*/ 630235 w 1310462"/>
              <a:gd name="connsiteY101" fmla="*/ 557138 h 770184"/>
              <a:gd name="connsiteX102" fmla="*/ 530514 w 1310462"/>
              <a:gd name="connsiteY102" fmla="*/ 557138 h 770184"/>
              <a:gd name="connsiteX103" fmla="*/ 518953 w 1310462"/>
              <a:gd name="connsiteY103" fmla="*/ 578014 h 770184"/>
              <a:gd name="connsiteX104" fmla="*/ 605677 w 1310462"/>
              <a:gd name="connsiteY104" fmla="*/ 578014 h 770184"/>
              <a:gd name="connsiteX105" fmla="*/ 617156 w 1310462"/>
              <a:gd name="connsiteY105" fmla="*/ 557138 h 770184"/>
              <a:gd name="connsiteX106" fmla="*/ 530514 w 1310462"/>
              <a:gd name="connsiteY106" fmla="*/ 557138 h 770184"/>
              <a:gd name="connsiteX107" fmla="*/ 430793 w 1310462"/>
              <a:gd name="connsiteY107" fmla="*/ 557138 h 770184"/>
              <a:gd name="connsiteX108" fmla="*/ 419232 w 1310462"/>
              <a:gd name="connsiteY108" fmla="*/ 578014 h 770184"/>
              <a:gd name="connsiteX109" fmla="*/ 505956 w 1310462"/>
              <a:gd name="connsiteY109" fmla="*/ 578014 h 770184"/>
              <a:gd name="connsiteX110" fmla="*/ 517435 w 1310462"/>
              <a:gd name="connsiteY110" fmla="*/ 557138 h 770184"/>
              <a:gd name="connsiteX111" fmla="*/ 430793 w 1310462"/>
              <a:gd name="connsiteY111" fmla="*/ 557138 h 770184"/>
              <a:gd name="connsiteX112" fmla="*/ 330783 w 1310462"/>
              <a:gd name="connsiteY112" fmla="*/ 557138 h 770184"/>
              <a:gd name="connsiteX113" fmla="*/ 319510 w 1310462"/>
              <a:gd name="connsiteY113" fmla="*/ 578014 h 770184"/>
              <a:gd name="connsiteX114" fmla="*/ 406235 w 1310462"/>
              <a:gd name="connsiteY114" fmla="*/ 578014 h 770184"/>
              <a:gd name="connsiteX115" fmla="*/ 417714 w 1310462"/>
              <a:gd name="connsiteY115" fmla="*/ 557138 h 770184"/>
              <a:gd name="connsiteX116" fmla="*/ 330783 w 1310462"/>
              <a:gd name="connsiteY116" fmla="*/ 557138 h 770184"/>
              <a:gd name="connsiteX117" fmla="*/ 203849 w 1310462"/>
              <a:gd name="connsiteY117" fmla="*/ 530416 h 770184"/>
              <a:gd name="connsiteX118" fmla="*/ 161375 w 1310462"/>
              <a:gd name="connsiteY118" fmla="*/ 577233 h 770184"/>
              <a:gd name="connsiteX119" fmla="*/ 194427 w 1310462"/>
              <a:gd name="connsiteY119" fmla="*/ 576132 h 770184"/>
              <a:gd name="connsiteX120" fmla="*/ 216461 w 1310462"/>
              <a:gd name="connsiteY120" fmla="*/ 549691 h 770184"/>
              <a:gd name="connsiteX121" fmla="*/ 288406 w 1310462"/>
              <a:gd name="connsiteY121" fmla="*/ 550792 h 770184"/>
              <a:gd name="connsiteX122" fmla="*/ 301017 w 1310462"/>
              <a:gd name="connsiteY122" fmla="*/ 530416 h 770184"/>
              <a:gd name="connsiteX123" fmla="*/ 203849 w 1310462"/>
              <a:gd name="connsiteY123" fmla="*/ 530416 h 770184"/>
              <a:gd name="connsiteX124" fmla="*/ 324630 w 1310462"/>
              <a:gd name="connsiteY124" fmla="*/ 525890 h 770184"/>
              <a:gd name="connsiteX125" fmla="*/ 294157 w 1310462"/>
              <a:gd name="connsiteY125" fmla="*/ 551962 h 770184"/>
              <a:gd name="connsiteX126" fmla="*/ 388727 w 1310462"/>
              <a:gd name="connsiteY126" fmla="*/ 551962 h 770184"/>
              <a:gd name="connsiteX127" fmla="*/ 400564 w 1310462"/>
              <a:gd name="connsiteY127" fmla="*/ 525890 h 770184"/>
              <a:gd name="connsiteX128" fmla="*/ 324630 w 1310462"/>
              <a:gd name="connsiteY128" fmla="*/ 525890 h 770184"/>
              <a:gd name="connsiteX129" fmla="*/ 1127250 w 1310462"/>
              <a:gd name="connsiteY129" fmla="*/ 525757 h 770184"/>
              <a:gd name="connsiteX130" fmla="*/ 1033964 w 1310462"/>
              <a:gd name="connsiteY130" fmla="*/ 525757 h 770184"/>
              <a:gd name="connsiteX131" fmla="*/ 1042198 w 1310462"/>
              <a:gd name="connsiteY131" fmla="*/ 551229 h 770184"/>
              <a:gd name="connsiteX132" fmla="*/ 1137208 w 1310462"/>
              <a:gd name="connsiteY132" fmla="*/ 551229 h 770184"/>
              <a:gd name="connsiteX133" fmla="*/ 1127250 w 1310462"/>
              <a:gd name="connsiteY133" fmla="*/ 525757 h 770184"/>
              <a:gd name="connsiteX134" fmla="*/ 1026970 w 1310462"/>
              <a:gd name="connsiteY134" fmla="*/ 525757 h 770184"/>
              <a:gd name="connsiteX135" fmla="*/ 933684 w 1310462"/>
              <a:gd name="connsiteY135" fmla="*/ 525757 h 770184"/>
              <a:gd name="connsiteX136" fmla="*/ 941918 w 1310462"/>
              <a:gd name="connsiteY136" fmla="*/ 551229 h 770184"/>
              <a:gd name="connsiteX137" fmla="*/ 1036928 w 1310462"/>
              <a:gd name="connsiteY137" fmla="*/ 551229 h 770184"/>
              <a:gd name="connsiteX138" fmla="*/ 1026970 w 1310462"/>
              <a:gd name="connsiteY138" fmla="*/ 525757 h 770184"/>
              <a:gd name="connsiteX139" fmla="*/ 926689 w 1310462"/>
              <a:gd name="connsiteY139" fmla="*/ 525757 h 770184"/>
              <a:gd name="connsiteX140" fmla="*/ 833403 w 1310462"/>
              <a:gd name="connsiteY140" fmla="*/ 525757 h 770184"/>
              <a:gd name="connsiteX141" fmla="*/ 841636 w 1310462"/>
              <a:gd name="connsiteY141" fmla="*/ 551229 h 770184"/>
              <a:gd name="connsiteX142" fmla="*/ 936647 w 1310462"/>
              <a:gd name="connsiteY142" fmla="*/ 551229 h 770184"/>
              <a:gd name="connsiteX143" fmla="*/ 926689 w 1310462"/>
              <a:gd name="connsiteY143" fmla="*/ 525757 h 770184"/>
              <a:gd name="connsiteX144" fmla="*/ 751822 w 1310462"/>
              <a:gd name="connsiteY144" fmla="*/ 525757 h 770184"/>
              <a:gd name="connsiteX145" fmla="*/ 741355 w 1310462"/>
              <a:gd name="connsiteY145" fmla="*/ 551229 h 770184"/>
              <a:gd name="connsiteX146" fmla="*/ 836365 w 1310462"/>
              <a:gd name="connsiteY146" fmla="*/ 551229 h 770184"/>
              <a:gd name="connsiteX147" fmla="*/ 826408 w 1310462"/>
              <a:gd name="connsiteY147" fmla="*/ 525757 h 770184"/>
              <a:gd name="connsiteX148" fmla="*/ 751822 w 1310462"/>
              <a:gd name="connsiteY148" fmla="*/ 525757 h 770184"/>
              <a:gd name="connsiteX149" fmla="*/ 665883 w 1310462"/>
              <a:gd name="connsiteY149" fmla="*/ 525757 h 770184"/>
              <a:gd name="connsiteX150" fmla="*/ 655417 w 1310462"/>
              <a:gd name="connsiteY150" fmla="*/ 551229 h 770184"/>
              <a:gd name="connsiteX151" fmla="*/ 733927 w 1310462"/>
              <a:gd name="connsiteY151" fmla="*/ 551229 h 770184"/>
              <a:gd name="connsiteX152" fmla="*/ 744318 w 1310462"/>
              <a:gd name="connsiteY152" fmla="*/ 525757 h 770184"/>
              <a:gd name="connsiteX153" fmla="*/ 665883 w 1310462"/>
              <a:gd name="connsiteY153" fmla="*/ 525757 h 770184"/>
              <a:gd name="connsiteX154" fmla="*/ 579945 w 1310462"/>
              <a:gd name="connsiteY154" fmla="*/ 525757 h 770184"/>
              <a:gd name="connsiteX155" fmla="*/ 569478 w 1310462"/>
              <a:gd name="connsiteY155" fmla="*/ 551229 h 770184"/>
              <a:gd name="connsiteX156" fmla="*/ 647988 w 1310462"/>
              <a:gd name="connsiteY156" fmla="*/ 551229 h 770184"/>
              <a:gd name="connsiteX157" fmla="*/ 658379 w 1310462"/>
              <a:gd name="connsiteY157" fmla="*/ 525757 h 770184"/>
              <a:gd name="connsiteX158" fmla="*/ 579945 w 1310462"/>
              <a:gd name="connsiteY158" fmla="*/ 525757 h 770184"/>
              <a:gd name="connsiteX159" fmla="*/ 494006 w 1310462"/>
              <a:gd name="connsiteY159" fmla="*/ 525757 h 770184"/>
              <a:gd name="connsiteX160" fmla="*/ 483540 w 1310462"/>
              <a:gd name="connsiteY160" fmla="*/ 551229 h 770184"/>
              <a:gd name="connsiteX161" fmla="*/ 562049 w 1310462"/>
              <a:gd name="connsiteY161" fmla="*/ 551229 h 770184"/>
              <a:gd name="connsiteX162" fmla="*/ 572441 w 1310462"/>
              <a:gd name="connsiteY162" fmla="*/ 525757 h 770184"/>
              <a:gd name="connsiteX163" fmla="*/ 494006 w 1310462"/>
              <a:gd name="connsiteY163" fmla="*/ 525757 h 770184"/>
              <a:gd name="connsiteX164" fmla="*/ 407806 w 1310462"/>
              <a:gd name="connsiteY164" fmla="*/ 525757 h 770184"/>
              <a:gd name="connsiteX165" fmla="*/ 397601 w 1310462"/>
              <a:gd name="connsiteY165" fmla="*/ 551229 h 770184"/>
              <a:gd name="connsiteX166" fmla="*/ 476111 w 1310462"/>
              <a:gd name="connsiteY166" fmla="*/ 551229 h 770184"/>
              <a:gd name="connsiteX167" fmla="*/ 486502 w 1310462"/>
              <a:gd name="connsiteY167" fmla="*/ 525757 h 770184"/>
              <a:gd name="connsiteX168" fmla="*/ 407806 w 1310462"/>
              <a:gd name="connsiteY168" fmla="*/ 525757 h 770184"/>
              <a:gd name="connsiteX169" fmla="*/ 242191 w 1310462"/>
              <a:gd name="connsiteY169" fmla="*/ 499031 h 770184"/>
              <a:gd name="connsiteX170" fmla="*/ 219356 w 1310462"/>
              <a:gd name="connsiteY170" fmla="*/ 517250 h 770184"/>
              <a:gd name="connsiteX171" fmla="*/ 290222 w 1310462"/>
              <a:gd name="connsiteY171" fmla="*/ 517250 h 770184"/>
              <a:gd name="connsiteX172" fmla="*/ 299092 w 1310462"/>
              <a:gd name="connsiteY172" fmla="*/ 499031 h 770184"/>
              <a:gd name="connsiteX173" fmla="*/ 242191 w 1310462"/>
              <a:gd name="connsiteY173" fmla="*/ 499031 h 770184"/>
              <a:gd name="connsiteX174" fmla="*/ 1042300 w 1310462"/>
              <a:gd name="connsiteY174" fmla="*/ 498996 h 770184"/>
              <a:gd name="connsiteX175" fmla="*/ 1048470 w 1310462"/>
              <a:gd name="connsiteY175" fmla="*/ 516798 h 770184"/>
              <a:gd name="connsiteX176" fmla="*/ 1119666 w 1310462"/>
              <a:gd name="connsiteY176" fmla="*/ 516798 h 770184"/>
              <a:gd name="connsiteX177" fmla="*/ 1112204 w 1310462"/>
              <a:gd name="connsiteY177" fmla="*/ 498996 h 770184"/>
              <a:gd name="connsiteX178" fmla="*/ 1042300 w 1310462"/>
              <a:gd name="connsiteY178" fmla="*/ 498996 h 770184"/>
              <a:gd name="connsiteX179" fmla="*/ 955325 w 1310462"/>
              <a:gd name="connsiteY179" fmla="*/ 498996 h 770184"/>
              <a:gd name="connsiteX180" fmla="*/ 961495 w 1310462"/>
              <a:gd name="connsiteY180" fmla="*/ 516798 h 770184"/>
              <a:gd name="connsiteX181" fmla="*/ 1032691 w 1310462"/>
              <a:gd name="connsiteY181" fmla="*/ 516798 h 770184"/>
              <a:gd name="connsiteX182" fmla="*/ 1025229 w 1310462"/>
              <a:gd name="connsiteY182" fmla="*/ 498996 h 770184"/>
              <a:gd name="connsiteX183" fmla="*/ 955325 w 1310462"/>
              <a:gd name="connsiteY183" fmla="*/ 498996 h 770184"/>
              <a:gd name="connsiteX184" fmla="*/ 868352 w 1310462"/>
              <a:gd name="connsiteY184" fmla="*/ 498996 h 770184"/>
              <a:gd name="connsiteX185" fmla="*/ 874521 w 1310462"/>
              <a:gd name="connsiteY185" fmla="*/ 516798 h 770184"/>
              <a:gd name="connsiteX186" fmla="*/ 945718 w 1310462"/>
              <a:gd name="connsiteY186" fmla="*/ 516798 h 770184"/>
              <a:gd name="connsiteX187" fmla="*/ 938255 w 1310462"/>
              <a:gd name="connsiteY187" fmla="*/ 498996 h 770184"/>
              <a:gd name="connsiteX188" fmla="*/ 868352 w 1310462"/>
              <a:gd name="connsiteY188" fmla="*/ 498996 h 770184"/>
              <a:gd name="connsiteX189" fmla="*/ 781378 w 1310462"/>
              <a:gd name="connsiteY189" fmla="*/ 498996 h 770184"/>
              <a:gd name="connsiteX190" fmla="*/ 787548 w 1310462"/>
              <a:gd name="connsiteY190" fmla="*/ 516798 h 770184"/>
              <a:gd name="connsiteX191" fmla="*/ 858744 w 1310462"/>
              <a:gd name="connsiteY191" fmla="*/ 516798 h 770184"/>
              <a:gd name="connsiteX192" fmla="*/ 851282 w 1310462"/>
              <a:gd name="connsiteY192" fmla="*/ 498996 h 770184"/>
              <a:gd name="connsiteX193" fmla="*/ 781378 w 1310462"/>
              <a:gd name="connsiteY193" fmla="*/ 498996 h 770184"/>
              <a:gd name="connsiteX194" fmla="*/ 694405 w 1310462"/>
              <a:gd name="connsiteY194" fmla="*/ 498996 h 770184"/>
              <a:gd name="connsiteX195" fmla="*/ 700574 w 1310462"/>
              <a:gd name="connsiteY195" fmla="*/ 516798 h 770184"/>
              <a:gd name="connsiteX196" fmla="*/ 771771 w 1310462"/>
              <a:gd name="connsiteY196" fmla="*/ 516798 h 770184"/>
              <a:gd name="connsiteX197" fmla="*/ 764308 w 1310462"/>
              <a:gd name="connsiteY197" fmla="*/ 498996 h 770184"/>
              <a:gd name="connsiteX198" fmla="*/ 694405 w 1310462"/>
              <a:gd name="connsiteY198" fmla="*/ 498996 h 770184"/>
              <a:gd name="connsiteX199" fmla="*/ 621444 w 1310462"/>
              <a:gd name="connsiteY199" fmla="*/ 498996 h 770184"/>
              <a:gd name="connsiteX200" fmla="*/ 613601 w 1310462"/>
              <a:gd name="connsiteY200" fmla="*/ 516798 h 770184"/>
              <a:gd name="connsiteX201" fmla="*/ 684797 w 1310462"/>
              <a:gd name="connsiteY201" fmla="*/ 516798 h 770184"/>
              <a:gd name="connsiteX202" fmla="*/ 677335 w 1310462"/>
              <a:gd name="connsiteY202" fmla="*/ 498996 h 770184"/>
              <a:gd name="connsiteX203" fmla="*/ 621444 w 1310462"/>
              <a:gd name="connsiteY203" fmla="*/ 498996 h 770184"/>
              <a:gd name="connsiteX204" fmla="*/ 545219 w 1310462"/>
              <a:gd name="connsiteY204" fmla="*/ 498996 h 770184"/>
              <a:gd name="connsiteX205" fmla="*/ 537376 w 1310462"/>
              <a:gd name="connsiteY205" fmla="*/ 516798 h 770184"/>
              <a:gd name="connsiteX206" fmla="*/ 596207 w 1310462"/>
              <a:gd name="connsiteY206" fmla="*/ 516798 h 770184"/>
              <a:gd name="connsiteX207" fmla="*/ 603994 w 1310462"/>
              <a:gd name="connsiteY207" fmla="*/ 498996 h 770184"/>
              <a:gd name="connsiteX208" fmla="*/ 545219 w 1310462"/>
              <a:gd name="connsiteY208" fmla="*/ 498996 h 770184"/>
              <a:gd name="connsiteX209" fmla="*/ 468993 w 1310462"/>
              <a:gd name="connsiteY209" fmla="*/ 498996 h 770184"/>
              <a:gd name="connsiteX210" fmla="*/ 461150 w 1310462"/>
              <a:gd name="connsiteY210" fmla="*/ 516798 h 770184"/>
              <a:gd name="connsiteX211" fmla="*/ 519982 w 1310462"/>
              <a:gd name="connsiteY211" fmla="*/ 516798 h 770184"/>
              <a:gd name="connsiteX212" fmla="*/ 527768 w 1310462"/>
              <a:gd name="connsiteY212" fmla="*/ 498996 h 770184"/>
              <a:gd name="connsiteX213" fmla="*/ 468993 w 1310462"/>
              <a:gd name="connsiteY213" fmla="*/ 498996 h 770184"/>
              <a:gd name="connsiteX214" fmla="*/ 392768 w 1310462"/>
              <a:gd name="connsiteY214" fmla="*/ 498996 h 770184"/>
              <a:gd name="connsiteX215" fmla="*/ 384925 w 1310462"/>
              <a:gd name="connsiteY215" fmla="*/ 516798 h 770184"/>
              <a:gd name="connsiteX216" fmla="*/ 443756 w 1310462"/>
              <a:gd name="connsiteY216" fmla="*/ 516798 h 770184"/>
              <a:gd name="connsiteX217" fmla="*/ 451543 w 1310462"/>
              <a:gd name="connsiteY217" fmla="*/ 498996 h 770184"/>
              <a:gd name="connsiteX218" fmla="*/ 392768 w 1310462"/>
              <a:gd name="connsiteY218" fmla="*/ 498996 h 770184"/>
              <a:gd name="connsiteX219" fmla="*/ 316347 w 1310462"/>
              <a:gd name="connsiteY219" fmla="*/ 498996 h 770184"/>
              <a:gd name="connsiteX220" fmla="*/ 308699 w 1310462"/>
              <a:gd name="connsiteY220" fmla="*/ 516798 h 770184"/>
              <a:gd name="connsiteX221" fmla="*/ 367531 w 1310462"/>
              <a:gd name="connsiteY221" fmla="*/ 516798 h 770184"/>
              <a:gd name="connsiteX222" fmla="*/ 375317 w 1310462"/>
              <a:gd name="connsiteY222" fmla="*/ 498996 h 770184"/>
              <a:gd name="connsiteX223" fmla="*/ 316347 w 1310462"/>
              <a:gd name="connsiteY223" fmla="*/ 498996 h 770184"/>
              <a:gd name="connsiteX224" fmla="*/ 260826 w 1310462"/>
              <a:gd name="connsiteY224" fmla="*/ 40617 h 770184"/>
              <a:gd name="connsiteX225" fmla="*/ 260826 w 1310462"/>
              <a:gd name="connsiteY225" fmla="*/ 411185 h 770184"/>
              <a:gd name="connsiteX226" fmla="*/ 1085595 w 1310462"/>
              <a:gd name="connsiteY226" fmla="*/ 411185 h 770184"/>
              <a:gd name="connsiteX227" fmla="*/ 1085595 w 1310462"/>
              <a:gd name="connsiteY227" fmla="*/ 40617 h 770184"/>
              <a:gd name="connsiteX228" fmla="*/ 260826 w 1310462"/>
              <a:gd name="connsiteY228" fmla="*/ 40617 h 770184"/>
              <a:gd name="connsiteX229" fmla="*/ 270935 w 1310462"/>
              <a:gd name="connsiteY229" fmla="*/ 0 h 770184"/>
              <a:gd name="connsiteX230" fmla="*/ 1075485 w 1310462"/>
              <a:gd name="connsiteY230" fmla="*/ 0 h 770184"/>
              <a:gd name="connsiteX231" fmla="*/ 1126530 w 1310462"/>
              <a:gd name="connsiteY231" fmla="*/ 51045 h 770184"/>
              <a:gd name="connsiteX232" fmla="*/ 1126530 w 1310462"/>
              <a:gd name="connsiteY232" fmla="*/ 400758 h 770184"/>
              <a:gd name="connsiteX233" fmla="*/ 1111580 w 1310462"/>
              <a:gd name="connsiteY233" fmla="*/ 436852 h 770184"/>
              <a:gd name="connsiteX234" fmla="*/ 1102966 w 1310462"/>
              <a:gd name="connsiteY234" fmla="*/ 442659 h 770184"/>
              <a:gd name="connsiteX235" fmla="*/ 1116324 w 1310462"/>
              <a:gd name="connsiteY235" fmla="*/ 442704 h 770184"/>
              <a:gd name="connsiteX236" fmla="*/ 1304189 w 1310462"/>
              <a:gd name="connsiteY236" fmla="*/ 691555 h 770184"/>
              <a:gd name="connsiteX237" fmla="*/ 1254871 w 1310462"/>
              <a:gd name="connsiteY237" fmla="*/ 770184 h 770184"/>
              <a:gd name="connsiteX238" fmla="*/ 52127 w 1310462"/>
              <a:gd name="connsiteY238" fmla="*/ 770184 h 770184"/>
              <a:gd name="connsiteX239" fmla="*/ 0 w 1310462"/>
              <a:gd name="connsiteY239" fmla="*/ 694364 h 770184"/>
              <a:gd name="connsiteX240" fmla="*/ 223824 w 1310462"/>
              <a:gd name="connsiteY240" fmla="*/ 439672 h 770184"/>
              <a:gd name="connsiteX241" fmla="*/ 239101 w 1310462"/>
              <a:gd name="connsiteY241" fmla="*/ 439724 h 770184"/>
              <a:gd name="connsiteX242" fmla="*/ 234841 w 1310462"/>
              <a:gd name="connsiteY242" fmla="*/ 436852 h 770184"/>
              <a:gd name="connsiteX243" fmla="*/ 219890 w 1310462"/>
              <a:gd name="connsiteY243" fmla="*/ 400758 h 770184"/>
              <a:gd name="connsiteX244" fmla="*/ 219890 w 1310462"/>
              <a:gd name="connsiteY244" fmla="*/ 51045 h 770184"/>
              <a:gd name="connsiteX245" fmla="*/ 270935 w 1310462"/>
              <a:gd name="connsiteY245" fmla="*/ 0 h 770184"/>
              <a:gd name="connsiteX0" fmla="*/ 526594 w 1304845"/>
              <a:gd name="connsiteY0" fmla="*/ 673154 h 770184"/>
              <a:gd name="connsiteX1" fmla="*/ 508400 w 1304845"/>
              <a:gd name="connsiteY1" fmla="*/ 745928 h 770184"/>
              <a:gd name="connsiteX2" fmla="*/ 784333 w 1304845"/>
              <a:gd name="connsiteY2" fmla="*/ 745928 h 770184"/>
              <a:gd name="connsiteX3" fmla="*/ 766140 w 1304845"/>
              <a:gd name="connsiteY3" fmla="*/ 673154 h 770184"/>
              <a:gd name="connsiteX4" fmla="*/ 526594 w 1304845"/>
              <a:gd name="connsiteY4" fmla="*/ 673154 h 770184"/>
              <a:gd name="connsiteX5" fmla="*/ 1178779 w 1304845"/>
              <a:gd name="connsiteY5" fmla="*/ 615493 h 770184"/>
              <a:gd name="connsiteX6" fmla="*/ 990131 w 1304845"/>
              <a:gd name="connsiteY6" fmla="*/ 615493 h 770184"/>
              <a:gd name="connsiteX7" fmla="*/ 1007505 w 1304845"/>
              <a:gd name="connsiteY7" fmla="*/ 650745 h 770184"/>
              <a:gd name="connsiteX8" fmla="*/ 1195556 w 1304845"/>
              <a:gd name="connsiteY8" fmla="*/ 650745 h 770184"/>
              <a:gd name="connsiteX9" fmla="*/ 1178779 w 1304845"/>
              <a:gd name="connsiteY9" fmla="*/ 615493 h 770184"/>
              <a:gd name="connsiteX10" fmla="*/ 872089 w 1304845"/>
              <a:gd name="connsiteY10" fmla="*/ 615493 h 770184"/>
              <a:gd name="connsiteX11" fmla="*/ 877849 w 1304845"/>
              <a:gd name="connsiteY11" fmla="*/ 652301 h 770184"/>
              <a:gd name="connsiteX12" fmla="*/ 981388 w 1304845"/>
              <a:gd name="connsiteY12" fmla="*/ 652300 h 770184"/>
              <a:gd name="connsiteX13" fmla="*/ 964692 w 1304845"/>
              <a:gd name="connsiteY13" fmla="*/ 615493 h 770184"/>
              <a:gd name="connsiteX14" fmla="*/ 872089 w 1304845"/>
              <a:gd name="connsiteY14" fmla="*/ 615493 h 770184"/>
              <a:gd name="connsiteX15" fmla="*/ 857835 w 1304845"/>
              <a:gd name="connsiteY15" fmla="*/ 615493 h 770184"/>
              <a:gd name="connsiteX16" fmla="*/ 353405 w 1304845"/>
              <a:gd name="connsiteY16" fmla="*/ 616132 h 770184"/>
              <a:gd name="connsiteX17" fmla="*/ 341454 w 1304845"/>
              <a:gd name="connsiteY17" fmla="*/ 652421 h 770184"/>
              <a:gd name="connsiteX18" fmla="*/ 858720 w 1304845"/>
              <a:gd name="connsiteY18" fmla="*/ 651213 h 770184"/>
              <a:gd name="connsiteX19" fmla="*/ 857835 w 1304845"/>
              <a:gd name="connsiteY19" fmla="*/ 615493 h 770184"/>
              <a:gd name="connsiteX20" fmla="*/ 122364 w 1304845"/>
              <a:gd name="connsiteY20" fmla="*/ 615493 h 770184"/>
              <a:gd name="connsiteX21" fmla="*/ 104376 w 1304845"/>
              <a:gd name="connsiteY21" fmla="*/ 650745 h 770184"/>
              <a:gd name="connsiteX22" fmla="*/ 317552 w 1304845"/>
              <a:gd name="connsiteY22" fmla="*/ 651901 h 770184"/>
              <a:gd name="connsiteX23" fmla="*/ 335023 w 1304845"/>
              <a:gd name="connsiteY23" fmla="*/ 615493 h 770184"/>
              <a:gd name="connsiteX24" fmla="*/ 122364 w 1304845"/>
              <a:gd name="connsiteY24" fmla="*/ 615493 h 770184"/>
              <a:gd name="connsiteX25" fmla="*/ 163497 w 1304845"/>
              <a:gd name="connsiteY25" fmla="*/ 585700 h 770184"/>
              <a:gd name="connsiteX26" fmla="*/ 129836 w 1304845"/>
              <a:gd name="connsiteY26" fmla="*/ 610506 h 770184"/>
              <a:gd name="connsiteX27" fmla="*/ 234299 w 1304845"/>
              <a:gd name="connsiteY27" fmla="*/ 610506 h 770184"/>
              <a:gd name="connsiteX28" fmla="*/ 247375 w 1304845"/>
              <a:gd name="connsiteY28" fmla="*/ 585700 h 770184"/>
              <a:gd name="connsiteX29" fmla="*/ 163497 w 1304845"/>
              <a:gd name="connsiteY29" fmla="*/ 585700 h 770184"/>
              <a:gd name="connsiteX30" fmla="*/ 1088417 w 1304845"/>
              <a:gd name="connsiteY30" fmla="*/ 585552 h 770184"/>
              <a:gd name="connsiteX31" fmla="*/ 985372 w 1304845"/>
              <a:gd name="connsiteY31" fmla="*/ 585552 h 770184"/>
              <a:gd name="connsiteX32" fmla="*/ 994466 w 1304845"/>
              <a:gd name="connsiteY32" fmla="*/ 609788 h 770184"/>
              <a:gd name="connsiteX33" fmla="*/ 1099417 w 1304845"/>
              <a:gd name="connsiteY33" fmla="*/ 609788 h 770184"/>
              <a:gd name="connsiteX34" fmla="*/ 1088417 w 1304845"/>
              <a:gd name="connsiteY34" fmla="*/ 585552 h 770184"/>
              <a:gd name="connsiteX35" fmla="*/ 972855 w 1304845"/>
              <a:gd name="connsiteY35" fmla="*/ 585552 h 770184"/>
              <a:gd name="connsiteX36" fmla="*/ 869809 w 1304845"/>
              <a:gd name="connsiteY36" fmla="*/ 585552 h 770184"/>
              <a:gd name="connsiteX37" fmla="*/ 878904 w 1304845"/>
              <a:gd name="connsiteY37" fmla="*/ 609788 h 770184"/>
              <a:gd name="connsiteX38" fmla="*/ 983854 w 1304845"/>
              <a:gd name="connsiteY38" fmla="*/ 609788 h 770184"/>
              <a:gd name="connsiteX39" fmla="*/ 972855 w 1304845"/>
              <a:gd name="connsiteY39" fmla="*/ 585552 h 770184"/>
              <a:gd name="connsiteX40" fmla="*/ 857292 w 1304845"/>
              <a:gd name="connsiteY40" fmla="*/ 585552 h 770184"/>
              <a:gd name="connsiteX41" fmla="*/ 754246 w 1304845"/>
              <a:gd name="connsiteY41" fmla="*/ 585552 h 770184"/>
              <a:gd name="connsiteX42" fmla="*/ 763341 w 1304845"/>
              <a:gd name="connsiteY42" fmla="*/ 609788 h 770184"/>
              <a:gd name="connsiteX43" fmla="*/ 868291 w 1304845"/>
              <a:gd name="connsiteY43" fmla="*/ 609788 h 770184"/>
              <a:gd name="connsiteX44" fmla="*/ 857292 w 1304845"/>
              <a:gd name="connsiteY44" fmla="*/ 585552 h 770184"/>
              <a:gd name="connsiteX45" fmla="*/ 659339 w 1304845"/>
              <a:gd name="connsiteY45" fmla="*/ 585552 h 770184"/>
              <a:gd name="connsiteX46" fmla="*/ 647778 w 1304845"/>
              <a:gd name="connsiteY46" fmla="*/ 609788 h 770184"/>
              <a:gd name="connsiteX47" fmla="*/ 752728 w 1304845"/>
              <a:gd name="connsiteY47" fmla="*/ 609788 h 770184"/>
              <a:gd name="connsiteX48" fmla="*/ 741729 w 1304845"/>
              <a:gd name="connsiteY48" fmla="*/ 585552 h 770184"/>
              <a:gd name="connsiteX49" fmla="*/ 659339 w 1304845"/>
              <a:gd name="connsiteY49" fmla="*/ 585552 h 770184"/>
              <a:gd name="connsiteX50" fmla="*/ 559618 w 1304845"/>
              <a:gd name="connsiteY50" fmla="*/ 585552 h 770184"/>
              <a:gd name="connsiteX51" fmla="*/ 548056 w 1304845"/>
              <a:gd name="connsiteY51" fmla="*/ 609788 h 770184"/>
              <a:gd name="connsiteX52" fmla="*/ 634781 w 1304845"/>
              <a:gd name="connsiteY52" fmla="*/ 609788 h 770184"/>
              <a:gd name="connsiteX53" fmla="*/ 646260 w 1304845"/>
              <a:gd name="connsiteY53" fmla="*/ 585552 h 770184"/>
              <a:gd name="connsiteX54" fmla="*/ 559618 w 1304845"/>
              <a:gd name="connsiteY54" fmla="*/ 585552 h 770184"/>
              <a:gd name="connsiteX55" fmla="*/ 459897 w 1304845"/>
              <a:gd name="connsiteY55" fmla="*/ 585552 h 770184"/>
              <a:gd name="connsiteX56" fmla="*/ 448335 w 1304845"/>
              <a:gd name="connsiteY56" fmla="*/ 609788 h 770184"/>
              <a:gd name="connsiteX57" fmla="*/ 535060 w 1304845"/>
              <a:gd name="connsiteY57" fmla="*/ 609788 h 770184"/>
              <a:gd name="connsiteX58" fmla="*/ 546539 w 1304845"/>
              <a:gd name="connsiteY58" fmla="*/ 585552 h 770184"/>
              <a:gd name="connsiteX59" fmla="*/ 459897 w 1304845"/>
              <a:gd name="connsiteY59" fmla="*/ 585552 h 770184"/>
              <a:gd name="connsiteX60" fmla="*/ 360176 w 1304845"/>
              <a:gd name="connsiteY60" fmla="*/ 585552 h 770184"/>
              <a:gd name="connsiteX61" fmla="*/ 348614 w 1304845"/>
              <a:gd name="connsiteY61" fmla="*/ 609788 h 770184"/>
              <a:gd name="connsiteX62" fmla="*/ 435339 w 1304845"/>
              <a:gd name="connsiteY62" fmla="*/ 609788 h 770184"/>
              <a:gd name="connsiteX63" fmla="*/ 446817 w 1304845"/>
              <a:gd name="connsiteY63" fmla="*/ 585552 h 770184"/>
              <a:gd name="connsiteX64" fmla="*/ 360176 w 1304845"/>
              <a:gd name="connsiteY64" fmla="*/ 585552 h 770184"/>
              <a:gd name="connsiteX65" fmla="*/ 260166 w 1304845"/>
              <a:gd name="connsiteY65" fmla="*/ 585552 h 770184"/>
              <a:gd name="connsiteX66" fmla="*/ 248893 w 1304845"/>
              <a:gd name="connsiteY66" fmla="*/ 609788 h 770184"/>
              <a:gd name="connsiteX67" fmla="*/ 335618 w 1304845"/>
              <a:gd name="connsiteY67" fmla="*/ 609788 h 770184"/>
              <a:gd name="connsiteX68" fmla="*/ 347096 w 1304845"/>
              <a:gd name="connsiteY68" fmla="*/ 585552 h 770184"/>
              <a:gd name="connsiteX69" fmla="*/ 260166 w 1304845"/>
              <a:gd name="connsiteY69" fmla="*/ 585552 h 770184"/>
              <a:gd name="connsiteX70" fmla="*/ 1041293 w 1304845"/>
              <a:gd name="connsiteY70" fmla="*/ 559836 h 770184"/>
              <a:gd name="connsiteX71" fmla="*/ 1053905 w 1304845"/>
              <a:gd name="connsiteY71" fmla="*/ 580212 h 770184"/>
              <a:gd name="connsiteX72" fmla="*/ 1102182 w 1304845"/>
              <a:gd name="connsiteY72" fmla="*/ 579110 h 770184"/>
              <a:gd name="connsiteX73" fmla="*/ 1115341 w 1304845"/>
              <a:gd name="connsiteY73" fmla="*/ 605551 h 770184"/>
              <a:gd name="connsiteX74" fmla="*/ 1179456 w 1304845"/>
              <a:gd name="connsiteY74" fmla="*/ 608132 h 770184"/>
              <a:gd name="connsiteX75" fmla="*/ 1138461 w 1304845"/>
              <a:gd name="connsiteY75" fmla="*/ 559836 h 770184"/>
              <a:gd name="connsiteX76" fmla="*/ 1041293 w 1304845"/>
              <a:gd name="connsiteY76" fmla="*/ 559836 h 770184"/>
              <a:gd name="connsiteX77" fmla="*/ 212226 w 1304845"/>
              <a:gd name="connsiteY77" fmla="*/ 557325 h 770184"/>
              <a:gd name="connsiteX78" fmla="*/ 194836 w 1304845"/>
              <a:gd name="connsiteY78" fmla="*/ 578693 h 770184"/>
              <a:gd name="connsiteX79" fmla="*/ 299300 w 1304845"/>
              <a:gd name="connsiteY79" fmla="*/ 578693 h 770184"/>
              <a:gd name="connsiteX80" fmla="*/ 312375 w 1304845"/>
              <a:gd name="connsiteY80" fmla="*/ 557325 h 770184"/>
              <a:gd name="connsiteX81" fmla="*/ 212226 w 1304845"/>
              <a:gd name="connsiteY81" fmla="*/ 557325 h 770184"/>
              <a:gd name="connsiteX82" fmla="*/ 1034550 w 1304845"/>
              <a:gd name="connsiteY82" fmla="*/ 557138 h 770184"/>
              <a:gd name="connsiteX83" fmla="*/ 931505 w 1304845"/>
              <a:gd name="connsiteY83" fmla="*/ 557139 h 770184"/>
              <a:gd name="connsiteX84" fmla="*/ 940599 w 1304845"/>
              <a:gd name="connsiteY84" fmla="*/ 578014 h 770184"/>
              <a:gd name="connsiteX85" fmla="*/ 1045550 w 1304845"/>
              <a:gd name="connsiteY85" fmla="*/ 578014 h 770184"/>
              <a:gd name="connsiteX86" fmla="*/ 1034550 w 1304845"/>
              <a:gd name="connsiteY86" fmla="*/ 557138 h 770184"/>
              <a:gd name="connsiteX87" fmla="*/ 922292 w 1304845"/>
              <a:gd name="connsiteY87" fmla="*/ 557138 h 770184"/>
              <a:gd name="connsiteX88" fmla="*/ 819247 w 1304845"/>
              <a:gd name="connsiteY88" fmla="*/ 557139 h 770184"/>
              <a:gd name="connsiteX89" fmla="*/ 828341 w 1304845"/>
              <a:gd name="connsiteY89" fmla="*/ 578014 h 770184"/>
              <a:gd name="connsiteX90" fmla="*/ 933292 w 1304845"/>
              <a:gd name="connsiteY90" fmla="*/ 578014 h 770184"/>
              <a:gd name="connsiteX91" fmla="*/ 922292 w 1304845"/>
              <a:gd name="connsiteY91" fmla="*/ 557138 h 770184"/>
              <a:gd name="connsiteX92" fmla="*/ 724339 w 1304845"/>
              <a:gd name="connsiteY92" fmla="*/ 557138 h 770184"/>
              <a:gd name="connsiteX93" fmla="*/ 712778 w 1304845"/>
              <a:gd name="connsiteY93" fmla="*/ 578014 h 770184"/>
              <a:gd name="connsiteX94" fmla="*/ 817729 w 1304845"/>
              <a:gd name="connsiteY94" fmla="*/ 578014 h 770184"/>
              <a:gd name="connsiteX95" fmla="*/ 806729 w 1304845"/>
              <a:gd name="connsiteY95" fmla="*/ 557138 h 770184"/>
              <a:gd name="connsiteX96" fmla="*/ 724339 w 1304845"/>
              <a:gd name="connsiteY96" fmla="*/ 557138 h 770184"/>
              <a:gd name="connsiteX97" fmla="*/ 624618 w 1304845"/>
              <a:gd name="connsiteY97" fmla="*/ 557138 h 770184"/>
              <a:gd name="connsiteX98" fmla="*/ 613057 w 1304845"/>
              <a:gd name="connsiteY98" fmla="*/ 578014 h 770184"/>
              <a:gd name="connsiteX99" fmla="*/ 699782 w 1304845"/>
              <a:gd name="connsiteY99" fmla="*/ 578014 h 770184"/>
              <a:gd name="connsiteX100" fmla="*/ 711260 w 1304845"/>
              <a:gd name="connsiteY100" fmla="*/ 557138 h 770184"/>
              <a:gd name="connsiteX101" fmla="*/ 624618 w 1304845"/>
              <a:gd name="connsiteY101" fmla="*/ 557138 h 770184"/>
              <a:gd name="connsiteX102" fmla="*/ 524897 w 1304845"/>
              <a:gd name="connsiteY102" fmla="*/ 557138 h 770184"/>
              <a:gd name="connsiteX103" fmla="*/ 513336 w 1304845"/>
              <a:gd name="connsiteY103" fmla="*/ 578014 h 770184"/>
              <a:gd name="connsiteX104" fmla="*/ 600060 w 1304845"/>
              <a:gd name="connsiteY104" fmla="*/ 578014 h 770184"/>
              <a:gd name="connsiteX105" fmla="*/ 611539 w 1304845"/>
              <a:gd name="connsiteY105" fmla="*/ 557138 h 770184"/>
              <a:gd name="connsiteX106" fmla="*/ 524897 w 1304845"/>
              <a:gd name="connsiteY106" fmla="*/ 557138 h 770184"/>
              <a:gd name="connsiteX107" fmla="*/ 425176 w 1304845"/>
              <a:gd name="connsiteY107" fmla="*/ 557138 h 770184"/>
              <a:gd name="connsiteX108" fmla="*/ 413615 w 1304845"/>
              <a:gd name="connsiteY108" fmla="*/ 578014 h 770184"/>
              <a:gd name="connsiteX109" fmla="*/ 500339 w 1304845"/>
              <a:gd name="connsiteY109" fmla="*/ 578014 h 770184"/>
              <a:gd name="connsiteX110" fmla="*/ 511818 w 1304845"/>
              <a:gd name="connsiteY110" fmla="*/ 557138 h 770184"/>
              <a:gd name="connsiteX111" fmla="*/ 425176 w 1304845"/>
              <a:gd name="connsiteY111" fmla="*/ 557138 h 770184"/>
              <a:gd name="connsiteX112" fmla="*/ 325166 w 1304845"/>
              <a:gd name="connsiteY112" fmla="*/ 557138 h 770184"/>
              <a:gd name="connsiteX113" fmla="*/ 313893 w 1304845"/>
              <a:gd name="connsiteY113" fmla="*/ 578014 h 770184"/>
              <a:gd name="connsiteX114" fmla="*/ 400618 w 1304845"/>
              <a:gd name="connsiteY114" fmla="*/ 578014 h 770184"/>
              <a:gd name="connsiteX115" fmla="*/ 412097 w 1304845"/>
              <a:gd name="connsiteY115" fmla="*/ 557138 h 770184"/>
              <a:gd name="connsiteX116" fmla="*/ 325166 w 1304845"/>
              <a:gd name="connsiteY116" fmla="*/ 557138 h 770184"/>
              <a:gd name="connsiteX117" fmla="*/ 198232 w 1304845"/>
              <a:gd name="connsiteY117" fmla="*/ 530416 h 770184"/>
              <a:gd name="connsiteX118" fmla="*/ 155758 w 1304845"/>
              <a:gd name="connsiteY118" fmla="*/ 577233 h 770184"/>
              <a:gd name="connsiteX119" fmla="*/ 188810 w 1304845"/>
              <a:gd name="connsiteY119" fmla="*/ 576132 h 770184"/>
              <a:gd name="connsiteX120" fmla="*/ 210844 w 1304845"/>
              <a:gd name="connsiteY120" fmla="*/ 549691 h 770184"/>
              <a:gd name="connsiteX121" fmla="*/ 282789 w 1304845"/>
              <a:gd name="connsiteY121" fmla="*/ 550792 h 770184"/>
              <a:gd name="connsiteX122" fmla="*/ 295400 w 1304845"/>
              <a:gd name="connsiteY122" fmla="*/ 530416 h 770184"/>
              <a:gd name="connsiteX123" fmla="*/ 198232 w 1304845"/>
              <a:gd name="connsiteY123" fmla="*/ 530416 h 770184"/>
              <a:gd name="connsiteX124" fmla="*/ 319013 w 1304845"/>
              <a:gd name="connsiteY124" fmla="*/ 525890 h 770184"/>
              <a:gd name="connsiteX125" fmla="*/ 288540 w 1304845"/>
              <a:gd name="connsiteY125" fmla="*/ 551962 h 770184"/>
              <a:gd name="connsiteX126" fmla="*/ 383110 w 1304845"/>
              <a:gd name="connsiteY126" fmla="*/ 551962 h 770184"/>
              <a:gd name="connsiteX127" fmla="*/ 394947 w 1304845"/>
              <a:gd name="connsiteY127" fmla="*/ 525890 h 770184"/>
              <a:gd name="connsiteX128" fmla="*/ 319013 w 1304845"/>
              <a:gd name="connsiteY128" fmla="*/ 525890 h 770184"/>
              <a:gd name="connsiteX129" fmla="*/ 1121633 w 1304845"/>
              <a:gd name="connsiteY129" fmla="*/ 525757 h 770184"/>
              <a:gd name="connsiteX130" fmla="*/ 1028347 w 1304845"/>
              <a:gd name="connsiteY130" fmla="*/ 525757 h 770184"/>
              <a:gd name="connsiteX131" fmla="*/ 1036581 w 1304845"/>
              <a:gd name="connsiteY131" fmla="*/ 551229 h 770184"/>
              <a:gd name="connsiteX132" fmla="*/ 1131591 w 1304845"/>
              <a:gd name="connsiteY132" fmla="*/ 551229 h 770184"/>
              <a:gd name="connsiteX133" fmla="*/ 1121633 w 1304845"/>
              <a:gd name="connsiteY133" fmla="*/ 525757 h 770184"/>
              <a:gd name="connsiteX134" fmla="*/ 1021353 w 1304845"/>
              <a:gd name="connsiteY134" fmla="*/ 525757 h 770184"/>
              <a:gd name="connsiteX135" fmla="*/ 928067 w 1304845"/>
              <a:gd name="connsiteY135" fmla="*/ 525757 h 770184"/>
              <a:gd name="connsiteX136" fmla="*/ 936301 w 1304845"/>
              <a:gd name="connsiteY136" fmla="*/ 551229 h 770184"/>
              <a:gd name="connsiteX137" fmla="*/ 1031311 w 1304845"/>
              <a:gd name="connsiteY137" fmla="*/ 551229 h 770184"/>
              <a:gd name="connsiteX138" fmla="*/ 1021353 w 1304845"/>
              <a:gd name="connsiteY138" fmla="*/ 525757 h 770184"/>
              <a:gd name="connsiteX139" fmla="*/ 921072 w 1304845"/>
              <a:gd name="connsiteY139" fmla="*/ 525757 h 770184"/>
              <a:gd name="connsiteX140" fmla="*/ 827786 w 1304845"/>
              <a:gd name="connsiteY140" fmla="*/ 525757 h 770184"/>
              <a:gd name="connsiteX141" fmla="*/ 836019 w 1304845"/>
              <a:gd name="connsiteY141" fmla="*/ 551229 h 770184"/>
              <a:gd name="connsiteX142" fmla="*/ 931030 w 1304845"/>
              <a:gd name="connsiteY142" fmla="*/ 551229 h 770184"/>
              <a:gd name="connsiteX143" fmla="*/ 921072 w 1304845"/>
              <a:gd name="connsiteY143" fmla="*/ 525757 h 770184"/>
              <a:gd name="connsiteX144" fmla="*/ 746205 w 1304845"/>
              <a:gd name="connsiteY144" fmla="*/ 525757 h 770184"/>
              <a:gd name="connsiteX145" fmla="*/ 735738 w 1304845"/>
              <a:gd name="connsiteY145" fmla="*/ 551229 h 770184"/>
              <a:gd name="connsiteX146" fmla="*/ 830748 w 1304845"/>
              <a:gd name="connsiteY146" fmla="*/ 551229 h 770184"/>
              <a:gd name="connsiteX147" fmla="*/ 820791 w 1304845"/>
              <a:gd name="connsiteY147" fmla="*/ 525757 h 770184"/>
              <a:gd name="connsiteX148" fmla="*/ 746205 w 1304845"/>
              <a:gd name="connsiteY148" fmla="*/ 525757 h 770184"/>
              <a:gd name="connsiteX149" fmla="*/ 660266 w 1304845"/>
              <a:gd name="connsiteY149" fmla="*/ 525757 h 770184"/>
              <a:gd name="connsiteX150" fmla="*/ 649800 w 1304845"/>
              <a:gd name="connsiteY150" fmla="*/ 551229 h 770184"/>
              <a:gd name="connsiteX151" fmla="*/ 728310 w 1304845"/>
              <a:gd name="connsiteY151" fmla="*/ 551229 h 770184"/>
              <a:gd name="connsiteX152" fmla="*/ 738701 w 1304845"/>
              <a:gd name="connsiteY152" fmla="*/ 525757 h 770184"/>
              <a:gd name="connsiteX153" fmla="*/ 660266 w 1304845"/>
              <a:gd name="connsiteY153" fmla="*/ 525757 h 770184"/>
              <a:gd name="connsiteX154" fmla="*/ 574328 w 1304845"/>
              <a:gd name="connsiteY154" fmla="*/ 525757 h 770184"/>
              <a:gd name="connsiteX155" fmla="*/ 563861 w 1304845"/>
              <a:gd name="connsiteY155" fmla="*/ 551229 h 770184"/>
              <a:gd name="connsiteX156" fmla="*/ 642371 w 1304845"/>
              <a:gd name="connsiteY156" fmla="*/ 551229 h 770184"/>
              <a:gd name="connsiteX157" fmla="*/ 652762 w 1304845"/>
              <a:gd name="connsiteY157" fmla="*/ 525757 h 770184"/>
              <a:gd name="connsiteX158" fmla="*/ 574328 w 1304845"/>
              <a:gd name="connsiteY158" fmla="*/ 525757 h 770184"/>
              <a:gd name="connsiteX159" fmla="*/ 488389 w 1304845"/>
              <a:gd name="connsiteY159" fmla="*/ 525757 h 770184"/>
              <a:gd name="connsiteX160" fmla="*/ 477923 w 1304845"/>
              <a:gd name="connsiteY160" fmla="*/ 551229 h 770184"/>
              <a:gd name="connsiteX161" fmla="*/ 556432 w 1304845"/>
              <a:gd name="connsiteY161" fmla="*/ 551229 h 770184"/>
              <a:gd name="connsiteX162" fmla="*/ 566824 w 1304845"/>
              <a:gd name="connsiteY162" fmla="*/ 525757 h 770184"/>
              <a:gd name="connsiteX163" fmla="*/ 488389 w 1304845"/>
              <a:gd name="connsiteY163" fmla="*/ 525757 h 770184"/>
              <a:gd name="connsiteX164" fmla="*/ 402189 w 1304845"/>
              <a:gd name="connsiteY164" fmla="*/ 525757 h 770184"/>
              <a:gd name="connsiteX165" fmla="*/ 391984 w 1304845"/>
              <a:gd name="connsiteY165" fmla="*/ 551229 h 770184"/>
              <a:gd name="connsiteX166" fmla="*/ 470494 w 1304845"/>
              <a:gd name="connsiteY166" fmla="*/ 551229 h 770184"/>
              <a:gd name="connsiteX167" fmla="*/ 480885 w 1304845"/>
              <a:gd name="connsiteY167" fmla="*/ 525757 h 770184"/>
              <a:gd name="connsiteX168" fmla="*/ 402189 w 1304845"/>
              <a:gd name="connsiteY168" fmla="*/ 525757 h 770184"/>
              <a:gd name="connsiteX169" fmla="*/ 236574 w 1304845"/>
              <a:gd name="connsiteY169" fmla="*/ 499031 h 770184"/>
              <a:gd name="connsiteX170" fmla="*/ 213739 w 1304845"/>
              <a:gd name="connsiteY170" fmla="*/ 517250 h 770184"/>
              <a:gd name="connsiteX171" fmla="*/ 284605 w 1304845"/>
              <a:gd name="connsiteY171" fmla="*/ 517250 h 770184"/>
              <a:gd name="connsiteX172" fmla="*/ 293475 w 1304845"/>
              <a:gd name="connsiteY172" fmla="*/ 499031 h 770184"/>
              <a:gd name="connsiteX173" fmla="*/ 236574 w 1304845"/>
              <a:gd name="connsiteY173" fmla="*/ 499031 h 770184"/>
              <a:gd name="connsiteX174" fmla="*/ 1036683 w 1304845"/>
              <a:gd name="connsiteY174" fmla="*/ 498996 h 770184"/>
              <a:gd name="connsiteX175" fmla="*/ 1042853 w 1304845"/>
              <a:gd name="connsiteY175" fmla="*/ 516798 h 770184"/>
              <a:gd name="connsiteX176" fmla="*/ 1114049 w 1304845"/>
              <a:gd name="connsiteY176" fmla="*/ 516798 h 770184"/>
              <a:gd name="connsiteX177" fmla="*/ 1106587 w 1304845"/>
              <a:gd name="connsiteY177" fmla="*/ 498996 h 770184"/>
              <a:gd name="connsiteX178" fmla="*/ 1036683 w 1304845"/>
              <a:gd name="connsiteY178" fmla="*/ 498996 h 770184"/>
              <a:gd name="connsiteX179" fmla="*/ 949708 w 1304845"/>
              <a:gd name="connsiteY179" fmla="*/ 498996 h 770184"/>
              <a:gd name="connsiteX180" fmla="*/ 955878 w 1304845"/>
              <a:gd name="connsiteY180" fmla="*/ 516798 h 770184"/>
              <a:gd name="connsiteX181" fmla="*/ 1027074 w 1304845"/>
              <a:gd name="connsiteY181" fmla="*/ 516798 h 770184"/>
              <a:gd name="connsiteX182" fmla="*/ 1019612 w 1304845"/>
              <a:gd name="connsiteY182" fmla="*/ 498996 h 770184"/>
              <a:gd name="connsiteX183" fmla="*/ 949708 w 1304845"/>
              <a:gd name="connsiteY183" fmla="*/ 498996 h 770184"/>
              <a:gd name="connsiteX184" fmla="*/ 862735 w 1304845"/>
              <a:gd name="connsiteY184" fmla="*/ 498996 h 770184"/>
              <a:gd name="connsiteX185" fmla="*/ 868904 w 1304845"/>
              <a:gd name="connsiteY185" fmla="*/ 516798 h 770184"/>
              <a:gd name="connsiteX186" fmla="*/ 940101 w 1304845"/>
              <a:gd name="connsiteY186" fmla="*/ 516798 h 770184"/>
              <a:gd name="connsiteX187" fmla="*/ 932638 w 1304845"/>
              <a:gd name="connsiteY187" fmla="*/ 498996 h 770184"/>
              <a:gd name="connsiteX188" fmla="*/ 862735 w 1304845"/>
              <a:gd name="connsiteY188" fmla="*/ 498996 h 770184"/>
              <a:gd name="connsiteX189" fmla="*/ 775761 w 1304845"/>
              <a:gd name="connsiteY189" fmla="*/ 498996 h 770184"/>
              <a:gd name="connsiteX190" fmla="*/ 781931 w 1304845"/>
              <a:gd name="connsiteY190" fmla="*/ 516798 h 770184"/>
              <a:gd name="connsiteX191" fmla="*/ 853127 w 1304845"/>
              <a:gd name="connsiteY191" fmla="*/ 516798 h 770184"/>
              <a:gd name="connsiteX192" fmla="*/ 845665 w 1304845"/>
              <a:gd name="connsiteY192" fmla="*/ 498996 h 770184"/>
              <a:gd name="connsiteX193" fmla="*/ 775761 w 1304845"/>
              <a:gd name="connsiteY193" fmla="*/ 498996 h 770184"/>
              <a:gd name="connsiteX194" fmla="*/ 688788 w 1304845"/>
              <a:gd name="connsiteY194" fmla="*/ 498996 h 770184"/>
              <a:gd name="connsiteX195" fmla="*/ 694957 w 1304845"/>
              <a:gd name="connsiteY195" fmla="*/ 516798 h 770184"/>
              <a:gd name="connsiteX196" fmla="*/ 766154 w 1304845"/>
              <a:gd name="connsiteY196" fmla="*/ 516798 h 770184"/>
              <a:gd name="connsiteX197" fmla="*/ 758691 w 1304845"/>
              <a:gd name="connsiteY197" fmla="*/ 498996 h 770184"/>
              <a:gd name="connsiteX198" fmla="*/ 688788 w 1304845"/>
              <a:gd name="connsiteY198" fmla="*/ 498996 h 770184"/>
              <a:gd name="connsiteX199" fmla="*/ 615827 w 1304845"/>
              <a:gd name="connsiteY199" fmla="*/ 498996 h 770184"/>
              <a:gd name="connsiteX200" fmla="*/ 607984 w 1304845"/>
              <a:gd name="connsiteY200" fmla="*/ 516798 h 770184"/>
              <a:gd name="connsiteX201" fmla="*/ 679180 w 1304845"/>
              <a:gd name="connsiteY201" fmla="*/ 516798 h 770184"/>
              <a:gd name="connsiteX202" fmla="*/ 671718 w 1304845"/>
              <a:gd name="connsiteY202" fmla="*/ 498996 h 770184"/>
              <a:gd name="connsiteX203" fmla="*/ 615827 w 1304845"/>
              <a:gd name="connsiteY203" fmla="*/ 498996 h 770184"/>
              <a:gd name="connsiteX204" fmla="*/ 539602 w 1304845"/>
              <a:gd name="connsiteY204" fmla="*/ 498996 h 770184"/>
              <a:gd name="connsiteX205" fmla="*/ 531759 w 1304845"/>
              <a:gd name="connsiteY205" fmla="*/ 516798 h 770184"/>
              <a:gd name="connsiteX206" fmla="*/ 590590 w 1304845"/>
              <a:gd name="connsiteY206" fmla="*/ 516798 h 770184"/>
              <a:gd name="connsiteX207" fmla="*/ 598377 w 1304845"/>
              <a:gd name="connsiteY207" fmla="*/ 498996 h 770184"/>
              <a:gd name="connsiteX208" fmla="*/ 539602 w 1304845"/>
              <a:gd name="connsiteY208" fmla="*/ 498996 h 770184"/>
              <a:gd name="connsiteX209" fmla="*/ 463376 w 1304845"/>
              <a:gd name="connsiteY209" fmla="*/ 498996 h 770184"/>
              <a:gd name="connsiteX210" fmla="*/ 455533 w 1304845"/>
              <a:gd name="connsiteY210" fmla="*/ 516798 h 770184"/>
              <a:gd name="connsiteX211" fmla="*/ 514365 w 1304845"/>
              <a:gd name="connsiteY211" fmla="*/ 516798 h 770184"/>
              <a:gd name="connsiteX212" fmla="*/ 522151 w 1304845"/>
              <a:gd name="connsiteY212" fmla="*/ 498996 h 770184"/>
              <a:gd name="connsiteX213" fmla="*/ 463376 w 1304845"/>
              <a:gd name="connsiteY213" fmla="*/ 498996 h 770184"/>
              <a:gd name="connsiteX214" fmla="*/ 387151 w 1304845"/>
              <a:gd name="connsiteY214" fmla="*/ 498996 h 770184"/>
              <a:gd name="connsiteX215" fmla="*/ 379308 w 1304845"/>
              <a:gd name="connsiteY215" fmla="*/ 516798 h 770184"/>
              <a:gd name="connsiteX216" fmla="*/ 438139 w 1304845"/>
              <a:gd name="connsiteY216" fmla="*/ 516798 h 770184"/>
              <a:gd name="connsiteX217" fmla="*/ 445926 w 1304845"/>
              <a:gd name="connsiteY217" fmla="*/ 498996 h 770184"/>
              <a:gd name="connsiteX218" fmla="*/ 387151 w 1304845"/>
              <a:gd name="connsiteY218" fmla="*/ 498996 h 770184"/>
              <a:gd name="connsiteX219" fmla="*/ 310730 w 1304845"/>
              <a:gd name="connsiteY219" fmla="*/ 498996 h 770184"/>
              <a:gd name="connsiteX220" fmla="*/ 303082 w 1304845"/>
              <a:gd name="connsiteY220" fmla="*/ 516798 h 770184"/>
              <a:gd name="connsiteX221" fmla="*/ 361914 w 1304845"/>
              <a:gd name="connsiteY221" fmla="*/ 516798 h 770184"/>
              <a:gd name="connsiteX222" fmla="*/ 369700 w 1304845"/>
              <a:gd name="connsiteY222" fmla="*/ 498996 h 770184"/>
              <a:gd name="connsiteX223" fmla="*/ 310730 w 1304845"/>
              <a:gd name="connsiteY223" fmla="*/ 498996 h 770184"/>
              <a:gd name="connsiteX224" fmla="*/ 255209 w 1304845"/>
              <a:gd name="connsiteY224" fmla="*/ 40617 h 770184"/>
              <a:gd name="connsiteX225" fmla="*/ 255209 w 1304845"/>
              <a:gd name="connsiteY225" fmla="*/ 411185 h 770184"/>
              <a:gd name="connsiteX226" fmla="*/ 1079978 w 1304845"/>
              <a:gd name="connsiteY226" fmla="*/ 411185 h 770184"/>
              <a:gd name="connsiteX227" fmla="*/ 1079978 w 1304845"/>
              <a:gd name="connsiteY227" fmla="*/ 40617 h 770184"/>
              <a:gd name="connsiteX228" fmla="*/ 255209 w 1304845"/>
              <a:gd name="connsiteY228" fmla="*/ 40617 h 770184"/>
              <a:gd name="connsiteX229" fmla="*/ 265318 w 1304845"/>
              <a:gd name="connsiteY229" fmla="*/ 0 h 770184"/>
              <a:gd name="connsiteX230" fmla="*/ 1069868 w 1304845"/>
              <a:gd name="connsiteY230" fmla="*/ 0 h 770184"/>
              <a:gd name="connsiteX231" fmla="*/ 1120913 w 1304845"/>
              <a:gd name="connsiteY231" fmla="*/ 51045 h 770184"/>
              <a:gd name="connsiteX232" fmla="*/ 1120913 w 1304845"/>
              <a:gd name="connsiteY232" fmla="*/ 400758 h 770184"/>
              <a:gd name="connsiteX233" fmla="*/ 1105963 w 1304845"/>
              <a:gd name="connsiteY233" fmla="*/ 436852 h 770184"/>
              <a:gd name="connsiteX234" fmla="*/ 1097349 w 1304845"/>
              <a:gd name="connsiteY234" fmla="*/ 442659 h 770184"/>
              <a:gd name="connsiteX235" fmla="*/ 1110707 w 1304845"/>
              <a:gd name="connsiteY235" fmla="*/ 442704 h 770184"/>
              <a:gd name="connsiteX236" fmla="*/ 1298572 w 1304845"/>
              <a:gd name="connsiteY236" fmla="*/ 691555 h 770184"/>
              <a:gd name="connsiteX237" fmla="*/ 1249254 w 1304845"/>
              <a:gd name="connsiteY237" fmla="*/ 770184 h 770184"/>
              <a:gd name="connsiteX238" fmla="*/ 46510 w 1304845"/>
              <a:gd name="connsiteY238" fmla="*/ 770184 h 770184"/>
              <a:gd name="connsiteX239" fmla="*/ 0 w 1304845"/>
              <a:gd name="connsiteY239" fmla="*/ 680322 h 770184"/>
              <a:gd name="connsiteX240" fmla="*/ 218207 w 1304845"/>
              <a:gd name="connsiteY240" fmla="*/ 439672 h 770184"/>
              <a:gd name="connsiteX241" fmla="*/ 233484 w 1304845"/>
              <a:gd name="connsiteY241" fmla="*/ 439724 h 770184"/>
              <a:gd name="connsiteX242" fmla="*/ 229224 w 1304845"/>
              <a:gd name="connsiteY242" fmla="*/ 436852 h 770184"/>
              <a:gd name="connsiteX243" fmla="*/ 214273 w 1304845"/>
              <a:gd name="connsiteY243" fmla="*/ 400758 h 770184"/>
              <a:gd name="connsiteX244" fmla="*/ 214273 w 1304845"/>
              <a:gd name="connsiteY244" fmla="*/ 51045 h 770184"/>
              <a:gd name="connsiteX245" fmla="*/ 265318 w 1304845"/>
              <a:gd name="connsiteY245" fmla="*/ 0 h 770184"/>
              <a:gd name="connsiteX0" fmla="*/ 529877 w 1308128"/>
              <a:gd name="connsiteY0" fmla="*/ 673154 h 770184"/>
              <a:gd name="connsiteX1" fmla="*/ 511683 w 1308128"/>
              <a:gd name="connsiteY1" fmla="*/ 745928 h 770184"/>
              <a:gd name="connsiteX2" fmla="*/ 787616 w 1308128"/>
              <a:gd name="connsiteY2" fmla="*/ 745928 h 770184"/>
              <a:gd name="connsiteX3" fmla="*/ 769423 w 1308128"/>
              <a:gd name="connsiteY3" fmla="*/ 673154 h 770184"/>
              <a:gd name="connsiteX4" fmla="*/ 529877 w 1308128"/>
              <a:gd name="connsiteY4" fmla="*/ 673154 h 770184"/>
              <a:gd name="connsiteX5" fmla="*/ 1182062 w 1308128"/>
              <a:gd name="connsiteY5" fmla="*/ 615493 h 770184"/>
              <a:gd name="connsiteX6" fmla="*/ 993414 w 1308128"/>
              <a:gd name="connsiteY6" fmla="*/ 615493 h 770184"/>
              <a:gd name="connsiteX7" fmla="*/ 1010788 w 1308128"/>
              <a:gd name="connsiteY7" fmla="*/ 650745 h 770184"/>
              <a:gd name="connsiteX8" fmla="*/ 1198839 w 1308128"/>
              <a:gd name="connsiteY8" fmla="*/ 650745 h 770184"/>
              <a:gd name="connsiteX9" fmla="*/ 1182062 w 1308128"/>
              <a:gd name="connsiteY9" fmla="*/ 615493 h 770184"/>
              <a:gd name="connsiteX10" fmla="*/ 875372 w 1308128"/>
              <a:gd name="connsiteY10" fmla="*/ 615493 h 770184"/>
              <a:gd name="connsiteX11" fmla="*/ 881132 w 1308128"/>
              <a:gd name="connsiteY11" fmla="*/ 652301 h 770184"/>
              <a:gd name="connsiteX12" fmla="*/ 984671 w 1308128"/>
              <a:gd name="connsiteY12" fmla="*/ 652300 h 770184"/>
              <a:gd name="connsiteX13" fmla="*/ 967975 w 1308128"/>
              <a:gd name="connsiteY13" fmla="*/ 615493 h 770184"/>
              <a:gd name="connsiteX14" fmla="*/ 875372 w 1308128"/>
              <a:gd name="connsiteY14" fmla="*/ 615493 h 770184"/>
              <a:gd name="connsiteX15" fmla="*/ 861118 w 1308128"/>
              <a:gd name="connsiteY15" fmla="*/ 615493 h 770184"/>
              <a:gd name="connsiteX16" fmla="*/ 356688 w 1308128"/>
              <a:gd name="connsiteY16" fmla="*/ 616132 h 770184"/>
              <a:gd name="connsiteX17" fmla="*/ 344737 w 1308128"/>
              <a:gd name="connsiteY17" fmla="*/ 652421 h 770184"/>
              <a:gd name="connsiteX18" fmla="*/ 862003 w 1308128"/>
              <a:gd name="connsiteY18" fmla="*/ 651213 h 770184"/>
              <a:gd name="connsiteX19" fmla="*/ 861118 w 1308128"/>
              <a:gd name="connsiteY19" fmla="*/ 615493 h 770184"/>
              <a:gd name="connsiteX20" fmla="*/ 125647 w 1308128"/>
              <a:gd name="connsiteY20" fmla="*/ 615493 h 770184"/>
              <a:gd name="connsiteX21" fmla="*/ 107659 w 1308128"/>
              <a:gd name="connsiteY21" fmla="*/ 650745 h 770184"/>
              <a:gd name="connsiteX22" fmla="*/ 320835 w 1308128"/>
              <a:gd name="connsiteY22" fmla="*/ 651901 h 770184"/>
              <a:gd name="connsiteX23" fmla="*/ 338306 w 1308128"/>
              <a:gd name="connsiteY23" fmla="*/ 615493 h 770184"/>
              <a:gd name="connsiteX24" fmla="*/ 125647 w 1308128"/>
              <a:gd name="connsiteY24" fmla="*/ 615493 h 770184"/>
              <a:gd name="connsiteX25" fmla="*/ 166780 w 1308128"/>
              <a:gd name="connsiteY25" fmla="*/ 585700 h 770184"/>
              <a:gd name="connsiteX26" fmla="*/ 133119 w 1308128"/>
              <a:gd name="connsiteY26" fmla="*/ 610506 h 770184"/>
              <a:gd name="connsiteX27" fmla="*/ 237582 w 1308128"/>
              <a:gd name="connsiteY27" fmla="*/ 610506 h 770184"/>
              <a:gd name="connsiteX28" fmla="*/ 250658 w 1308128"/>
              <a:gd name="connsiteY28" fmla="*/ 585700 h 770184"/>
              <a:gd name="connsiteX29" fmla="*/ 166780 w 1308128"/>
              <a:gd name="connsiteY29" fmla="*/ 585700 h 770184"/>
              <a:gd name="connsiteX30" fmla="*/ 1091700 w 1308128"/>
              <a:gd name="connsiteY30" fmla="*/ 585552 h 770184"/>
              <a:gd name="connsiteX31" fmla="*/ 988655 w 1308128"/>
              <a:gd name="connsiteY31" fmla="*/ 585552 h 770184"/>
              <a:gd name="connsiteX32" fmla="*/ 997749 w 1308128"/>
              <a:gd name="connsiteY32" fmla="*/ 609788 h 770184"/>
              <a:gd name="connsiteX33" fmla="*/ 1102700 w 1308128"/>
              <a:gd name="connsiteY33" fmla="*/ 609788 h 770184"/>
              <a:gd name="connsiteX34" fmla="*/ 1091700 w 1308128"/>
              <a:gd name="connsiteY34" fmla="*/ 585552 h 770184"/>
              <a:gd name="connsiteX35" fmla="*/ 976138 w 1308128"/>
              <a:gd name="connsiteY35" fmla="*/ 585552 h 770184"/>
              <a:gd name="connsiteX36" fmla="*/ 873092 w 1308128"/>
              <a:gd name="connsiteY36" fmla="*/ 585552 h 770184"/>
              <a:gd name="connsiteX37" fmla="*/ 882187 w 1308128"/>
              <a:gd name="connsiteY37" fmla="*/ 609788 h 770184"/>
              <a:gd name="connsiteX38" fmla="*/ 987137 w 1308128"/>
              <a:gd name="connsiteY38" fmla="*/ 609788 h 770184"/>
              <a:gd name="connsiteX39" fmla="*/ 976138 w 1308128"/>
              <a:gd name="connsiteY39" fmla="*/ 585552 h 770184"/>
              <a:gd name="connsiteX40" fmla="*/ 860575 w 1308128"/>
              <a:gd name="connsiteY40" fmla="*/ 585552 h 770184"/>
              <a:gd name="connsiteX41" fmla="*/ 757529 w 1308128"/>
              <a:gd name="connsiteY41" fmla="*/ 585552 h 770184"/>
              <a:gd name="connsiteX42" fmla="*/ 766624 w 1308128"/>
              <a:gd name="connsiteY42" fmla="*/ 609788 h 770184"/>
              <a:gd name="connsiteX43" fmla="*/ 871574 w 1308128"/>
              <a:gd name="connsiteY43" fmla="*/ 609788 h 770184"/>
              <a:gd name="connsiteX44" fmla="*/ 860575 w 1308128"/>
              <a:gd name="connsiteY44" fmla="*/ 585552 h 770184"/>
              <a:gd name="connsiteX45" fmla="*/ 662622 w 1308128"/>
              <a:gd name="connsiteY45" fmla="*/ 585552 h 770184"/>
              <a:gd name="connsiteX46" fmla="*/ 651061 w 1308128"/>
              <a:gd name="connsiteY46" fmla="*/ 609788 h 770184"/>
              <a:gd name="connsiteX47" fmla="*/ 756011 w 1308128"/>
              <a:gd name="connsiteY47" fmla="*/ 609788 h 770184"/>
              <a:gd name="connsiteX48" fmla="*/ 745012 w 1308128"/>
              <a:gd name="connsiteY48" fmla="*/ 585552 h 770184"/>
              <a:gd name="connsiteX49" fmla="*/ 662622 w 1308128"/>
              <a:gd name="connsiteY49" fmla="*/ 585552 h 770184"/>
              <a:gd name="connsiteX50" fmla="*/ 562901 w 1308128"/>
              <a:gd name="connsiteY50" fmla="*/ 585552 h 770184"/>
              <a:gd name="connsiteX51" fmla="*/ 551339 w 1308128"/>
              <a:gd name="connsiteY51" fmla="*/ 609788 h 770184"/>
              <a:gd name="connsiteX52" fmla="*/ 638064 w 1308128"/>
              <a:gd name="connsiteY52" fmla="*/ 609788 h 770184"/>
              <a:gd name="connsiteX53" fmla="*/ 649543 w 1308128"/>
              <a:gd name="connsiteY53" fmla="*/ 585552 h 770184"/>
              <a:gd name="connsiteX54" fmla="*/ 562901 w 1308128"/>
              <a:gd name="connsiteY54" fmla="*/ 585552 h 770184"/>
              <a:gd name="connsiteX55" fmla="*/ 463180 w 1308128"/>
              <a:gd name="connsiteY55" fmla="*/ 585552 h 770184"/>
              <a:gd name="connsiteX56" fmla="*/ 451618 w 1308128"/>
              <a:gd name="connsiteY56" fmla="*/ 609788 h 770184"/>
              <a:gd name="connsiteX57" fmla="*/ 538343 w 1308128"/>
              <a:gd name="connsiteY57" fmla="*/ 609788 h 770184"/>
              <a:gd name="connsiteX58" fmla="*/ 549822 w 1308128"/>
              <a:gd name="connsiteY58" fmla="*/ 585552 h 770184"/>
              <a:gd name="connsiteX59" fmla="*/ 463180 w 1308128"/>
              <a:gd name="connsiteY59" fmla="*/ 585552 h 770184"/>
              <a:gd name="connsiteX60" fmla="*/ 363459 w 1308128"/>
              <a:gd name="connsiteY60" fmla="*/ 585552 h 770184"/>
              <a:gd name="connsiteX61" fmla="*/ 351897 w 1308128"/>
              <a:gd name="connsiteY61" fmla="*/ 609788 h 770184"/>
              <a:gd name="connsiteX62" fmla="*/ 438622 w 1308128"/>
              <a:gd name="connsiteY62" fmla="*/ 609788 h 770184"/>
              <a:gd name="connsiteX63" fmla="*/ 450100 w 1308128"/>
              <a:gd name="connsiteY63" fmla="*/ 585552 h 770184"/>
              <a:gd name="connsiteX64" fmla="*/ 363459 w 1308128"/>
              <a:gd name="connsiteY64" fmla="*/ 585552 h 770184"/>
              <a:gd name="connsiteX65" fmla="*/ 263449 w 1308128"/>
              <a:gd name="connsiteY65" fmla="*/ 585552 h 770184"/>
              <a:gd name="connsiteX66" fmla="*/ 252176 w 1308128"/>
              <a:gd name="connsiteY66" fmla="*/ 609788 h 770184"/>
              <a:gd name="connsiteX67" fmla="*/ 338901 w 1308128"/>
              <a:gd name="connsiteY67" fmla="*/ 609788 h 770184"/>
              <a:gd name="connsiteX68" fmla="*/ 350379 w 1308128"/>
              <a:gd name="connsiteY68" fmla="*/ 585552 h 770184"/>
              <a:gd name="connsiteX69" fmla="*/ 263449 w 1308128"/>
              <a:gd name="connsiteY69" fmla="*/ 585552 h 770184"/>
              <a:gd name="connsiteX70" fmla="*/ 1044576 w 1308128"/>
              <a:gd name="connsiteY70" fmla="*/ 559836 h 770184"/>
              <a:gd name="connsiteX71" fmla="*/ 1057188 w 1308128"/>
              <a:gd name="connsiteY71" fmla="*/ 580212 h 770184"/>
              <a:gd name="connsiteX72" fmla="*/ 1105465 w 1308128"/>
              <a:gd name="connsiteY72" fmla="*/ 579110 h 770184"/>
              <a:gd name="connsiteX73" fmla="*/ 1118624 w 1308128"/>
              <a:gd name="connsiteY73" fmla="*/ 605551 h 770184"/>
              <a:gd name="connsiteX74" fmla="*/ 1182739 w 1308128"/>
              <a:gd name="connsiteY74" fmla="*/ 608132 h 770184"/>
              <a:gd name="connsiteX75" fmla="*/ 1141744 w 1308128"/>
              <a:gd name="connsiteY75" fmla="*/ 559836 h 770184"/>
              <a:gd name="connsiteX76" fmla="*/ 1044576 w 1308128"/>
              <a:gd name="connsiteY76" fmla="*/ 559836 h 770184"/>
              <a:gd name="connsiteX77" fmla="*/ 215509 w 1308128"/>
              <a:gd name="connsiteY77" fmla="*/ 557325 h 770184"/>
              <a:gd name="connsiteX78" fmla="*/ 198119 w 1308128"/>
              <a:gd name="connsiteY78" fmla="*/ 578693 h 770184"/>
              <a:gd name="connsiteX79" fmla="*/ 302583 w 1308128"/>
              <a:gd name="connsiteY79" fmla="*/ 578693 h 770184"/>
              <a:gd name="connsiteX80" fmla="*/ 315658 w 1308128"/>
              <a:gd name="connsiteY80" fmla="*/ 557325 h 770184"/>
              <a:gd name="connsiteX81" fmla="*/ 215509 w 1308128"/>
              <a:gd name="connsiteY81" fmla="*/ 557325 h 770184"/>
              <a:gd name="connsiteX82" fmla="*/ 1037833 w 1308128"/>
              <a:gd name="connsiteY82" fmla="*/ 557138 h 770184"/>
              <a:gd name="connsiteX83" fmla="*/ 934788 w 1308128"/>
              <a:gd name="connsiteY83" fmla="*/ 557139 h 770184"/>
              <a:gd name="connsiteX84" fmla="*/ 943882 w 1308128"/>
              <a:gd name="connsiteY84" fmla="*/ 578014 h 770184"/>
              <a:gd name="connsiteX85" fmla="*/ 1048833 w 1308128"/>
              <a:gd name="connsiteY85" fmla="*/ 578014 h 770184"/>
              <a:gd name="connsiteX86" fmla="*/ 1037833 w 1308128"/>
              <a:gd name="connsiteY86" fmla="*/ 557138 h 770184"/>
              <a:gd name="connsiteX87" fmla="*/ 925575 w 1308128"/>
              <a:gd name="connsiteY87" fmla="*/ 557138 h 770184"/>
              <a:gd name="connsiteX88" fmla="*/ 822530 w 1308128"/>
              <a:gd name="connsiteY88" fmla="*/ 557139 h 770184"/>
              <a:gd name="connsiteX89" fmla="*/ 831624 w 1308128"/>
              <a:gd name="connsiteY89" fmla="*/ 578014 h 770184"/>
              <a:gd name="connsiteX90" fmla="*/ 936575 w 1308128"/>
              <a:gd name="connsiteY90" fmla="*/ 578014 h 770184"/>
              <a:gd name="connsiteX91" fmla="*/ 925575 w 1308128"/>
              <a:gd name="connsiteY91" fmla="*/ 557138 h 770184"/>
              <a:gd name="connsiteX92" fmla="*/ 727622 w 1308128"/>
              <a:gd name="connsiteY92" fmla="*/ 557138 h 770184"/>
              <a:gd name="connsiteX93" fmla="*/ 716061 w 1308128"/>
              <a:gd name="connsiteY93" fmla="*/ 578014 h 770184"/>
              <a:gd name="connsiteX94" fmla="*/ 821012 w 1308128"/>
              <a:gd name="connsiteY94" fmla="*/ 578014 h 770184"/>
              <a:gd name="connsiteX95" fmla="*/ 810012 w 1308128"/>
              <a:gd name="connsiteY95" fmla="*/ 557138 h 770184"/>
              <a:gd name="connsiteX96" fmla="*/ 727622 w 1308128"/>
              <a:gd name="connsiteY96" fmla="*/ 557138 h 770184"/>
              <a:gd name="connsiteX97" fmla="*/ 627901 w 1308128"/>
              <a:gd name="connsiteY97" fmla="*/ 557138 h 770184"/>
              <a:gd name="connsiteX98" fmla="*/ 616340 w 1308128"/>
              <a:gd name="connsiteY98" fmla="*/ 578014 h 770184"/>
              <a:gd name="connsiteX99" fmla="*/ 703065 w 1308128"/>
              <a:gd name="connsiteY99" fmla="*/ 578014 h 770184"/>
              <a:gd name="connsiteX100" fmla="*/ 714543 w 1308128"/>
              <a:gd name="connsiteY100" fmla="*/ 557138 h 770184"/>
              <a:gd name="connsiteX101" fmla="*/ 627901 w 1308128"/>
              <a:gd name="connsiteY101" fmla="*/ 557138 h 770184"/>
              <a:gd name="connsiteX102" fmla="*/ 528180 w 1308128"/>
              <a:gd name="connsiteY102" fmla="*/ 557138 h 770184"/>
              <a:gd name="connsiteX103" fmla="*/ 516619 w 1308128"/>
              <a:gd name="connsiteY103" fmla="*/ 578014 h 770184"/>
              <a:gd name="connsiteX104" fmla="*/ 603343 w 1308128"/>
              <a:gd name="connsiteY104" fmla="*/ 578014 h 770184"/>
              <a:gd name="connsiteX105" fmla="*/ 614822 w 1308128"/>
              <a:gd name="connsiteY105" fmla="*/ 557138 h 770184"/>
              <a:gd name="connsiteX106" fmla="*/ 528180 w 1308128"/>
              <a:gd name="connsiteY106" fmla="*/ 557138 h 770184"/>
              <a:gd name="connsiteX107" fmla="*/ 428459 w 1308128"/>
              <a:gd name="connsiteY107" fmla="*/ 557138 h 770184"/>
              <a:gd name="connsiteX108" fmla="*/ 416898 w 1308128"/>
              <a:gd name="connsiteY108" fmla="*/ 578014 h 770184"/>
              <a:gd name="connsiteX109" fmla="*/ 503622 w 1308128"/>
              <a:gd name="connsiteY109" fmla="*/ 578014 h 770184"/>
              <a:gd name="connsiteX110" fmla="*/ 515101 w 1308128"/>
              <a:gd name="connsiteY110" fmla="*/ 557138 h 770184"/>
              <a:gd name="connsiteX111" fmla="*/ 428459 w 1308128"/>
              <a:gd name="connsiteY111" fmla="*/ 557138 h 770184"/>
              <a:gd name="connsiteX112" fmla="*/ 328449 w 1308128"/>
              <a:gd name="connsiteY112" fmla="*/ 557138 h 770184"/>
              <a:gd name="connsiteX113" fmla="*/ 317176 w 1308128"/>
              <a:gd name="connsiteY113" fmla="*/ 578014 h 770184"/>
              <a:gd name="connsiteX114" fmla="*/ 403901 w 1308128"/>
              <a:gd name="connsiteY114" fmla="*/ 578014 h 770184"/>
              <a:gd name="connsiteX115" fmla="*/ 415380 w 1308128"/>
              <a:gd name="connsiteY115" fmla="*/ 557138 h 770184"/>
              <a:gd name="connsiteX116" fmla="*/ 328449 w 1308128"/>
              <a:gd name="connsiteY116" fmla="*/ 557138 h 770184"/>
              <a:gd name="connsiteX117" fmla="*/ 201515 w 1308128"/>
              <a:gd name="connsiteY117" fmla="*/ 530416 h 770184"/>
              <a:gd name="connsiteX118" fmla="*/ 159041 w 1308128"/>
              <a:gd name="connsiteY118" fmla="*/ 577233 h 770184"/>
              <a:gd name="connsiteX119" fmla="*/ 192093 w 1308128"/>
              <a:gd name="connsiteY119" fmla="*/ 576132 h 770184"/>
              <a:gd name="connsiteX120" fmla="*/ 214127 w 1308128"/>
              <a:gd name="connsiteY120" fmla="*/ 549691 h 770184"/>
              <a:gd name="connsiteX121" fmla="*/ 286072 w 1308128"/>
              <a:gd name="connsiteY121" fmla="*/ 550792 h 770184"/>
              <a:gd name="connsiteX122" fmla="*/ 298683 w 1308128"/>
              <a:gd name="connsiteY122" fmla="*/ 530416 h 770184"/>
              <a:gd name="connsiteX123" fmla="*/ 201515 w 1308128"/>
              <a:gd name="connsiteY123" fmla="*/ 530416 h 770184"/>
              <a:gd name="connsiteX124" fmla="*/ 322296 w 1308128"/>
              <a:gd name="connsiteY124" fmla="*/ 525890 h 770184"/>
              <a:gd name="connsiteX125" fmla="*/ 291823 w 1308128"/>
              <a:gd name="connsiteY125" fmla="*/ 551962 h 770184"/>
              <a:gd name="connsiteX126" fmla="*/ 386393 w 1308128"/>
              <a:gd name="connsiteY126" fmla="*/ 551962 h 770184"/>
              <a:gd name="connsiteX127" fmla="*/ 398230 w 1308128"/>
              <a:gd name="connsiteY127" fmla="*/ 525890 h 770184"/>
              <a:gd name="connsiteX128" fmla="*/ 322296 w 1308128"/>
              <a:gd name="connsiteY128" fmla="*/ 525890 h 770184"/>
              <a:gd name="connsiteX129" fmla="*/ 1124916 w 1308128"/>
              <a:gd name="connsiteY129" fmla="*/ 525757 h 770184"/>
              <a:gd name="connsiteX130" fmla="*/ 1031630 w 1308128"/>
              <a:gd name="connsiteY130" fmla="*/ 525757 h 770184"/>
              <a:gd name="connsiteX131" fmla="*/ 1039864 w 1308128"/>
              <a:gd name="connsiteY131" fmla="*/ 551229 h 770184"/>
              <a:gd name="connsiteX132" fmla="*/ 1134874 w 1308128"/>
              <a:gd name="connsiteY132" fmla="*/ 551229 h 770184"/>
              <a:gd name="connsiteX133" fmla="*/ 1124916 w 1308128"/>
              <a:gd name="connsiteY133" fmla="*/ 525757 h 770184"/>
              <a:gd name="connsiteX134" fmla="*/ 1024636 w 1308128"/>
              <a:gd name="connsiteY134" fmla="*/ 525757 h 770184"/>
              <a:gd name="connsiteX135" fmla="*/ 931350 w 1308128"/>
              <a:gd name="connsiteY135" fmla="*/ 525757 h 770184"/>
              <a:gd name="connsiteX136" fmla="*/ 939584 w 1308128"/>
              <a:gd name="connsiteY136" fmla="*/ 551229 h 770184"/>
              <a:gd name="connsiteX137" fmla="*/ 1034594 w 1308128"/>
              <a:gd name="connsiteY137" fmla="*/ 551229 h 770184"/>
              <a:gd name="connsiteX138" fmla="*/ 1024636 w 1308128"/>
              <a:gd name="connsiteY138" fmla="*/ 525757 h 770184"/>
              <a:gd name="connsiteX139" fmla="*/ 924355 w 1308128"/>
              <a:gd name="connsiteY139" fmla="*/ 525757 h 770184"/>
              <a:gd name="connsiteX140" fmla="*/ 831069 w 1308128"/>
              <a:gd name="connsiteY140" fmla="*/ 525757 h 770184"/>
              <a:gd name="connsiteX141" fmla="*/ 839302 w 1308128"/>
              <a:gd name="connsiteY141" fmla="*/ 551229 h 770184"/>
              <a:gd name="connsiteX142" fmla="*/ 934313 w 1308128"/>
              <a:gd name="connsiteY142" fmla="*/ 551229 h 770184"/>
              <a:gd name="connsiteX143" fmla="*/ 924355 w 1308128"/>
              <a:gd name="connsiteY143" fmla="*/ 525757 h 770184"/>
              <a:gd name="connsiteX144" fmla="*/ 749488 w 1308128"/>
              <a:gd name="connsiteY144" fmla="*/ 525757 h 770184"/>
              <a:gd name="connsiteX145" fmla="*/ 739021 w 1308128"/>
              <a:gd name="connsiteY145" fmla="*/ 551229 h 770184"/>
              <a:gd name="connsiteX146" fmla="*/ 834031 w 1308128"/>
              <a:gd name="connsiteY146" fmla="*/ 551229 h 770184"/>
              <a:gd name="connsiteX147" fmla="*/ 824074 w 1308128"/>
              <a:gd name="connsiteY147" fmla="*/ 525757 h 770184"/>
              <a:gd name="connsiteX148" fmla="*/ 749488 w 1308128"/>
              <a:gd name="connsiteY148" fmla="*/ 525757 h 770184"/>
              <a:gd name="connsiteX149" fmla="*/ 663549 w 1308128"/>
              <a:gd name="connsiteY149" fmla="*/ 525757 h 770184"/>
              <a:gd name="connsiteX150" fmla="*/ 653083 w 1308128"/>
              <a:gd name="connsiteY150" fmla="*/ 551229 h 770184"/>
              <a:gd name="connsiteX151" fmla="*/ 731593 w 1308128"/>
              <a:gd name="connsiteY151" fmla="*/ 551229 h 770184"/>
              <a:gd name="connsiteX152" fmla="*/ 741984 w 1308128"/>
              <a:gd name="connsiteY152" fmla="*/ 525757 h 770184"/>
              <a:gd name="connsiteX153" fmla="*/ 663549 w 1308128"/>
              <a:gd name="connsiteY153" fmla="*/ 525757 h 770184"/>
              <a:gd name="connsiteX154" fmla="*/ 577611 w 1308128"/>
              <a:gd name="connsiteY154" fmla="*/ 525757 h 770184"/>
              <a:gd name="connsiteX155" fmla="*/ 567144 w 1308128"/>
              <a:gd name="connsiteY155" fmla="*/ 551229 h 770184"/>
              <a:gd name="connsiteX156" fmla="*/ 645654 w 1308128"/>
              <a:gd name="connsiteY156" fmla="*/ 551229 h 770184"/>
              <a:gd name="connsiteX157" fmla="*/ 656045 w 1308128"/>
              <a:gd name="connsiteY157" fmla="*/ 525757 h 770184"/>
              <a:gd name="connsiteX158" fmla="*/ 577611 w 1308128"/>
              <a:gd name="connsiteY158" fmla="*/ 525757 h 770184"/>
              <a:gd name="connsiteX159" fmla="*/ 491672 w 1308128"/>
              <a:gd name="connsiteY159" fmla="*/ 525757 h 770184"/>
              <a:gd name="connsiteX160" fmla="*/ 481206 w 1308128"/>
              <a:gd name="connsiteY160" fmla="*/ 551229 h 770184"/>
              <a:gd name="connsiteX161" fmla="*/ 559715 w 1308128"/>
              <a:gd name="connsiteY161" fmla="*/ 551229 h 770184"/>
              <a:gd name="connsiteX162" fmla="*/ 570107 w 1308128"/>
              <a:gd name="connsiteY162" fmla="*/ 525757 h 770184"/>
              <a:gd name="connsiteX163" fmla="*/ 491672 w 1308128"/>
              <a:gd name="connsiteY163" fmla="*/ 525757 h 770184"/>
              <a:gd name="connsiteX164" fmla="*/ 405472 w 1308128"/>
              <a:gd name="connsiteY164" fmla="*/ 525757 h 770184"/>
              <a:gd name="connsiteX165" fmla="*/ 395267 w 1308128"/>
              <a:gd name="connsiteY165" fmla="*/ 551229 h 770184"/>
              <a:gd name="connsiteX166" fmla="*/ 473777 w 1308128"/>
              <a:gd name="connsiteY166" fmla="*/ 551229 h 770184"/>
              <a:gd name="connsiteX167" fmla="*/ 484168 w 1308128"/>
              <a:gd name="connsiteY167" fmla="*/ 525757 h 770184"/>
              <a:gd name="connsiteX168" fmla="*/ 405472 w 1308128"/>
              <a:gd name="connsiteY168" fmla="*/ 525757 h 770184"/>
              <a:gd name="connsiteX169" fmla="*/ 239857 w 1308128"/>
              <a:gd name="connsiteY169" fmla="*/ 499031 h 770184"/>
              <a:gd name="connsiteX170" fmla="*/ 217022 w 1308128"/>
              <a:gd name="connsiteY170" fmla="*/ 517250 h 770184"/>
              <a:gd name="connsiteX171" fmla="*/ 287888 w 1308128"/>
              <a:gd name="connsiteY171" fmla="*/ 517250 h 770184"/>
              <a:gd name="connsiteX172" fmla="*/ 296758 w 1308128"/>
              <a:gd name="connsiteY172" fmla="*/ 499031 h 770184"/>
              <a:gd name="connsiteX173" fmla="*/ 239857 w 1308128"/>
              <a:gd name="connsiteY173" fmla="*/ 499031 h 770184"/>
              <a:gd name="connsiteX174" fmla="*/ 1039966 w 1308128"/>
              <a:gd name="connsiteY174" fmla="*/ 498996 h 770184"/>
              <a:gd name="connsiteX175" fmla="*/ 1046136 w 1308128"/>
              <a:gd name="connsiteY175" fmla="*/ 516798 h 770184"/>
              <a:gd name="connsiteX176" fmla="*/ 1117332 w 1308128"/>
              <a:gd name="connsiteY176" fmla="*/ 516798 h 770184"/>
              <a:gd name="connsiteX177" fmla="*/ 1109870 w 1308128"/>
              <a:gd name="connsiteY177" fmla="*/ 498996 h 770184"/>
              <a:gd name="connsiteX178" fmla="*/ 1039966 w 1308128"/>
              <a:gd name="connsiteY178" fmla="*/ 498996 h 770184"/>
              <a:gd name="connsiteX179" fmla="*/ 952991 w 1308128"/>
              <a:gd name="connsiteY179" fmla="*/ 498996 h 770184"/>
              <a:gd name="connsiteX180" fmla="*/ 959161 w 1308128"/>
              <a:gd name="connsiteY180" fmla="*/ 516798 h 770184"/>
              <a:gd name="connsiteX181" fmla="*/ 1030357 w 1308128"/>
              <a:gd name="connsiteY181" fmla="*/ 516798 h 770184"/>
              <a:gd name="connsiteX182" fmla="*/ 1022895 w 1308128"/>
              <a:gd name="connsiteY182" fmla="*/ 498996 h 770184"/>
              <a:gd name="connsiteX183" fmla="*/ 952991 w 1308128"/>
              <a:gd name="connsiteY183" fmla="*/ 498996 h 770184"/>
              <a:gd name="connsiteX184" fmla="*/ 866018 w 1308128"/>
              <a:gd name="connsiteY184" fmla="*/ 498996 h 770184"/>
              <a:gd name="connsiteX185" fmla="*/ 872187 w 1308128"/>
              <a:gd name="connsiteY185" fmla="*/ 516798 h 770184"/>
              <a:gd name="connsiteX186" fmla="*/ 943384 w 1308128"/>
              <a:gd name="connsiteY186" fmla="*/ 516798 h 770184"/>
              <a:gd name="connsiteX187" fmla="*/ 935921 w 1308128"/>
              <a:gd name="connsiteY187" fmla="*/ 498996 h 770184"/>
              <a:gd name="connsiteX188" fmla="*/ 866018 w 1308128"/>
              <a:gd name="connsiteY188" fmla="*/ 498996 h 770184"/>
              <a:gd name="connsiteX189" fmla="*/ 779044 w 1308128"/>
              <a:gd name="connsiteY189" fmla="*/ 498996 h 770184"/>
              <a:gd name="connsiteX190" fmla="*/ 785214 w 1308128"/>
              <a:gd name="connsiteY190" fmla="*/ 516798 h 770184"/>
              <a:gd name="connsiteX191" fmla="*/ 856410 w 1308128"/>
              <a:gd name="connsiteY191" fmla="*/ 516798 h 770184"/>
              <a:gd name="connsiteX192" fmla="*/ 848948 w 1308128"/>
              <a:gd name="connsiteY192" fmla="*/ 498996 h 770184"/>
              <a:gd name="connsiteX193" fmla="*/ 779044 w 1308128"/>
              <a:gd name="connsiteY193" fmla="*/ 498996 h 770184"/>
              <a:gd name="connsiteX194" fmla="*/ 692071 w 1308128"/>
              <a:gd name="connsiteY194" fmla="*/ 498996 h 770184"/>
              <a:gd name="connsiteX195" fmla="*/ 698240 w 1308128"/>
              <a:gd name="connsiteY195" fmla="*/ 516798 h 770184"/>
              <a:gd name="connsiteX196" fmla="*/ 769437 w 1308128"/>
              <a:gd name="connsiteY196" fmla="*/ 516798 h 770184"/>
              <a:gd name="connsiteX197" fmla="*/ 761974 w 1308128"/>
              <a:gd name="connsiteY197" fmla="*/ 498996 h 770184"/>
              <a:gd name="connsiteX198" fmla="*/ 692071 w 1308128"/>
              <a:gd name="connsiteY198" fmla="*/ 498996 h 770184"/>
              <a:gd name="connsiteX199" fmla="*/ 619110 w 1308128"/>
              <a:gd name="connsiteY199" fmla="*/ 498996 h 770184"/>
              <a:gd name="connsiteX200" fmla="*/ 611267 w 1308128"/>
              <a:gd name="connsiteY200" fmla="*/ 516798 h 770184"/>
              <a:gd name="connsiteX201" fmla="*/ 682463 w 1308128"/>
              <a:gd name="connsiteY201" fmla="*/ 516798 h 770184"/>
              <a:gd name="connsiteX202" fmla="*/ 675001 w 1308128"/>
              <a:gd name="connsiteY202" fmla="*/ 498996 h 770184"/>
              <a:gd name="connsiteX203" fmla="*/ 619110 w 1308128"/>
              <a:gd name="connsiteY203" fmla="*/ 498996 h 770184"/>
              <a:gd name="connsiteX204" fmla="*/ 542885 w 1308128"/>
              <a:gd name="connsiteY204" fmla="*/ 498996 h 770184"/>
              <a:gd name="connsiteX205" fmla="*/ 535042 w 1308128"/>
              <a:gd name="connsiteY205" fmla="*/ 516798 h 770184"/>
              <a:gd name="connsiteX206" fmla="*/ 593873 w 1308128"/>
              <a:gd name="connsiteY206" fmla="*/ 516798 h 770184"/>
              <a:gd name="connsiteX207" fmla="*/ 601660 w 1308128"/>
              <a:gd name="connsiteY207" fmla="*/ 498996 h 770184"/>
              <a:gd name="connsiteX208" fmla="*/ 542885 w 1308128"/>
              <a:gd name="connsiteY208" fmla="*/ 498996 h 770184"/>
              <a:gd name="connsiteX209" fmla="*/ 466659 w 1308128"/>
              <a:gd name="connsiteY209" fmla="*/ 498996 h 770184"/>
              <a:gd name="connsiteX210" fmla="*/ 458816 w 1308128"/>
              <a:gd name="connsiteY210" fmla="*/ 516798 h 770184"/>
              <a:gd name="connsiteX211" fmla="*/ 517648 w 1308128"/>
              <a:gd name="connsiteY211" fmla="*/ 516798 h 770184"/>
              <a:gd name="connsiteX212" fmla="*/ 525434 w 1308128"/>
              <a:gd name="connsiteY212" fmla="*/ 498996 h 770184"/>
              <a:gd name="connsiteX213" fmla="*/ 466659 w 1308128"/>
              <a:gd name="connsiteY213" fmla="*/ 498996 h 770184"/>
              <a:gd name="connsiteX214" fmla="*/ 390434 w 1308128"/>
              <a:gd name="connsiteY214" fmla="*/ 498996 h 770184"/>
              <a:gd name="connsiteX215" fmla="*/ 382591 w 1308128"/>
              <a:gd name="connsiteY215" fmla="*/ 516798 h 770184"/>
              <a:gd name="connsiteX216" fmla="*/ 441422 w 1308128"/>
              <a:gd name="connsiteY216" fmla="*/ 516798 h 770184"/>
              <a:gd name="connsiteX217" fmla="*/ 449209 w 1308128"/>
              <a:gd name="connsiteY217" fmla="*/ 498996 h 770184"/>
              <a:gd name="connsiteX218" fmla="*/ 390434 w 1308128"/>
              <a:gd name="connsiteY218" fmla="*/ 498996 h 770184"/>
              <a:gd name="connsiteX219" fmla="*/ 314013 w 1308128"/>
              <a:gd name="connsiteY219" fmla="*/ 498996 h 770184"/>
              <a:gd name="connsiteX220" fmla="*/ 306365 w 1308128"/>
              <a:gd name="connsiteY220" fmla="*/ 516798 h 770184"/>
              <a:gd name="connsiteX221" fmla="*/ 365197 w 1308128"/>
              <a:gd name="connsiteY221" fmla="*/ 516798 h 770184"/>
              <a:gd name="connsiteX222" fmla="*/ 372983 w 1308128"/>
              <a:gd name="connsiteY222" fmla="*/ 498996 h 770184"/>
              <a:gd name="connsiteX223" fmla="*/ 314013 w 1308128"/>
              <a:gd name="connsiteY223" fmla="*/ 498996 h 770184"/>
              <a:gd name="connsiteX224" fmla="*/ 258492 w 1308128"/>
              <a:gd name="connsiteY224" fmla="*/ 40617 h 770184"/>
              <a:gd name="connsiteX225" fmla="*/ 258492 w 1308128"/>
              <a:gd name="connsiteY225" fmla="*/ 411185 h 770184"/>
              <a:gd name="connsiteX226" fmla="*/ 1083261 w 1308128"/>
              <a:gd name="connsiteY226" fmla="*/ 411185 h 770184"/>
              <a:gd name="connsiteX227" fmla="*/ 1083261 w 1308128"/>
              <a:gd name="connsiteY227" fmla="*/ 40617 h 770184"/>
              <a:gd name="connsiteX228" fmla="*/ 258492 w 1308128"/>
              <a:gd name="connsiteY228" fmla="*/ 40617 h 770184"/>
              <a:gd name="connsiteX229" fmla="*/ 268601 w 1308128"/>
              <a:gd name="connsiteY229" fmla="*/ 0 h 770184"/>
              <a:gd name="connsiteX230" fmla="*/ 1073151 w 1308128"/>
              <a:gd name="connsiteY230" fmla="*/ 0 h 770184"/>
              <a:gd name="connsiteX231" fmla="*/ 1124196 w 1308128"/>
              <a:gd name="connsiteY231" fmla="*/ 51045 h 770184"/>
              <a:gd name="connsiteX232" fmla="*/ 1124196 w 1308128"/>
              <a:gd name="connsiteY232" fmla="*/ 400758 h 770184"/>
              <a:gd name="connsiteX233" fmla="*/ 1109246 w 1308128"/>
              <a:gd name="connsiteY233" fmla="*/ 436852 h 770184"/>
              <a:gd name="connsiteX234" fmla="*/ 1100632 w 1308128"/>
              <a:gd name="connsiteY234" fmla="*/ 442659 h 770184"/>
              <a:gd name="connsiteX235" fmla="*/ 1113990 w 1308128"/>
              <a:gd name="connsiteY235" fmla="*/ 442704 h 770184"/>
              <a:gd name="connsiteX236" fmla="*/ 1301855 w 1308128"/>
              <a:gd name="connsiteY236" fmla="*/ 691555 h 770184"/>
              <a:gd name="connsiteX237" fmla="*/ 1252537 w 1308128"/>
              <a:gd name="connsiteY237" fmla="*/ 770184 h 770184"/>
              <a:gd name="connsiteX238" fmla="*/ 49793 w 1308128"/>
              <a:gd name="connsiteY238" fmla="*/ 770184 h 770184"/>
              <a:gd name="connsiteX239" fmla="*/ 3283 w 1308128"/>
              <a:gd name="connsiteY239" fmla="*/ 680322 h 770184"/>
              <a:gd name="connsiteX240" fmla="*/ 221490 w 1308128"/>
              <a:gd name="connsiteY240" fmla="*/ 439672 h 770184"/>
              <a:gd name="connsiteX241" fmla="*/ 236767 w 1308128"/>
              <a:gd name="connsiteY241" fmla="*/ 439724 h 770184"/>
              <a:gd name="connsiteX242" fmla="*/ 232507 w 1308128"/>
              <a:gd name="connsiteY242" fmla="*/ 436852 h 770184"/>
              <a:gd name="connsiteX243" fmla="*/ 217556 w 1308128"/>
              <a:gd name="connsiteY243" fmla="*/ 400758 h 770184"/>
              <a:gd name="connsiteX244" fmla="*/ 217556 w 1308128"/>
              <a:gd name="connsiteY244" fmla="*/ 51045 h 770184"/>
              <a:gd name="connsiteX245" fmla="*/ 268601 w 1308128"/>
              <a:gd name="connsiteY245" fmla="*/ 0 h 770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Lst>
            <a:rect l="l" t="t" r="r" b="b"/>
            <a:pathLst>
              <a:path w="1308128" h="770184">
                <a:moveTo>
                  <a:pt x="529877" y="673154"/>
                </a:moveTo>
                <a:lnTo>
                  <a:pt x="511683" y="745928"/>
                </a:lnTo>
                <a:lnTo>
                  <a:pt x="787616" y="745928"/>
                </a:lnTo>
                <a:lnTo>
                  <a:pt x="769423" y="673154"/>
                </a:lnTo>
                <a:lnTo>
                  <a:pt x="529877" y="673154"/>
                </a:lnTo>
                <a:close/>
                <a:moveTo>
                  <a:pt x="1182062" y="615493"/>
                </a:moveTo>
                <a:lnTo>
                  <a:pt x="993414" y="615493"/>
                </a:lnTo>
                <a:lnTo>
                  <a:pt x="1010788" y="650745"/>
                </a:lnTo>
                <a:lnTo>
                  <a:pt x="1198839" y="650745"/>
                </a:lnTo>
                <a:lnTo>
                  <a:pt x="1182062" y="615493"/>
                </a:lnTo>
                <a:close/>
                <a:moveTo>
                  <a:pt x="875372" y="615493"/>
                </a:moveTo>
                <a:lnTo>
                  <a:pt x="881132" y="652301"/>
                </a:lnTo>
                <a:lnTo>
                  <a:pt x="984671" y="652300"/>
                </a:lnTo>
                <a:lnTo>
                  <a:pt x="967975" y="615493"/>
                </a:lnTo>
                <a:lnTo>
                  <a:pt x="875372" y="615493"/>
                </a:lnTo>
                <a:close/>
                <a:moveTo>
                  <a:pt x="861118" y="615493"/>
                </a:moveTo>
                <a:lnTo>
                  <a:pt x="356688" y="616132"/>
                </a:lnTo>
                <a:lnTo>
                  <a:pt x="344737" y="652421"/>
                </a:lnTo>
                <a:lnTo>
                  <a:pt x="862003" y="651213"/>
                </a:lnTo>
                <a:cubicBezTo>
                  <a:pt x="862094" y="638098"/>
                  <a:pt x="861028" y="628608"/>
                  <a:pt x="861118" y="615493"/>
                </a:cubicBezTo>
                <a:close/>
                <a:moveTo>
                  <a:pt x="125647" y="615493"/>
                </a:moveTo>
                <a:lnTo>
                  <a:pt x="107659" y="650745"/>
                </a:lnTo>
                <a:lnTo>
                  <a:pt x="320835" y="651901"/>
                </a:lnTo>
                <a:lnTo>
                  <a:pt x="338306" y="615493"/>
                </a:lnTo>
                <a:lnTo>
                  <a:pt x="125647" y="615493"/>
                </a:lnTo>
                <a:close/>
                <a:moveTo>
                  <a:pt x="166780" y="585700"/>
                </a:moveTo>
                <a:lnTo>
                  <a:pt x="133119" y="610506"/>
                </a:lnTo>
                <a:lnTo>
                  <a:pt x="237582" y="610506"/>
                </a:lnTo>
                <a:lnTo>
                  <a:pt x="250658" y="585700"/>
                </a:lnTo>
                <a:lnTo>
                  <a:pt x="166780" y="585700"/>
                </a:lnTo>
                <a:close/>
                <a:moveTo>
                  <a:pt x="1091700" y="585552"/>
                </a:moveTo>
                <a:lnTo>
                  <a:pt x="988655" y="585552"/>
                </a:lnTo>
                <a:lnTo>
                  <a:pt x="997749" y="609788"/>
                </a:lnTo>
                <a:lnTo>
                  <a:pt x="1102700" y="609788"/>
                </a:lnTo>
                <a:lnTo>
                  <a:pt x="1091700" y="585552"/>
                </a:lnTo>
                <a:close/>
                <a:moveTo>
                  <a:pt x="976138" y="585552"/>
                </a:moveTo>
                <a:lnTo>
                  <a:pt x="873092" y="585552"/>
                </a:lnTo>
                <a:lnTo>
                  <a:pt x="882187" y="609788"/>
                </a:lnTo>
                <a:lnTo>
                  <a:pt x="987137" y="609788"/>
                </a:lnTo>
                <a:lnTo>
                  <a:pt x="976138" y="585552"/>
                </a:lnTo>
                <a:close/>
                <a:moveTo>
                  <a:pt x="860575" y="585552"/>
                </a:moveTo>
                <a:lnTo>
                  <a:pt x="757529" y="585552"/>
                </a:lnTo>
                <a:lnTo>
                  <a:pt x="766624" y="609788"/>
                </a:lnTo>
                <a:lnTo>
                  <a:pt x="871574" y="609788"/>
                </a:lnTo>
                <a:lnTo>
                  <a:pt x="860575" y="585552"/>
                </a:lnTo>
                <a:close/>
                <a:moveTo>
                  <a:pt x="662622" y="585552"/>
                </a:moveTo>
                <a:lnTo>
                  <a:pt x="651061" y="609788"/>
                </a:lnTo>
                <a:lnTo>
                  <a:pt x="756011" y="609788"/>
                </a:lnTo>
                <a:lnTo>
                  <a:pt x="745012" y="585552"/>
                </a:lnTo>
                <a:lnTo>
                  <a:pt x="662622" y="585552"/>
                </a:lnTo>
                <a:close/>
                <a:moveTo>
                  <a:pt x="562901" y="585552"/>
                </a:moveTo>
                <a:lnTo>
                  <a:pt x="551339" y="609788"/>
                </a:lnTo>
                <a:lnTo>
                  <a:pt x="638064" y="609788"/>
                </a:lnTo>
                <a:lnTo>
                  <a:pt x="649543" y="585552"/>
                </a:lnTo>
                <a:lnTo>
                  <a:pt x="562901" y="585552"/>
                </a:lnTo>
                <a:close/>
                <a:moveTo>
                  <a:pt x="463180" y="585552"/>
                </a:moveTo>
                <a:lnTo>
                  <a:pt x="451618" y="609788"/>
                </a:lnTo>
                <a:lnTo>
                  <a:pt x="538343" y="609788"/>
                </a:lnTo>
                <a:lnTo>
                  <a:pt x="549822" y="585552"/>
                </a:lnTo>
                <a:lnTo>
                  <a:pt x="463180" y="585552"/>
                </a:lnTo>
                <a:close/>
                <a:moveTo>
                  <a:pt x="363459" y="585552"/>
                </a:moveTo>
                <a:lnTo>
                  <a:pt x="351897" y="609788"/>
                </a:lnTo>
                <a:lnTo>
                  <a:pt x="438622" y="609788"/>
                </a:lnTo>
                <a:lnTo>
                  <a:pt x="450100" y="585552"/>
                </a:lnTo>
                <a:lnTo>
                  <a:pt x="363459" y="585552"/>
                </a:lnTo>
                <a:close/>
                <a:moveTo>
                  <a:pt x="263449" y="585552"/>
                </a:moveTo>
                <a:lnTo>
                  <a:pt x="252176" y="609788"/>
                </a:lnTo>
                <a:lnTo>
                  <a:pt x="338901" y="609788"/>
                </a:lnTo>
                <a:lnTo>
                  <a:pt x="350379" y="585552"/>
                </a:lnTo>
                <a:lnTo>
                  <a:pt x="263449" y="585552"/>
                </a:lnTo>
                <a:close/>
                <a:moveTo>
                  <a:pt x="1044576" y="559836"/>
                </a:moveTo>
                <a:lnTo>
                  <a:pt x="1057188" y="580212"/>
                </a:lnTo>
                <a:cubicBezTo>
                  <a:pt x="1077497" y="580212"/>
                  <a:pt x="1084054" y="580212"/>
                  <a:pt x="1105465" y="579110"/>
                </a:cubicBezTo>
                <a:lnTo>
                  <a:pt x="1118624" y="605551"/>
                </a:lnTo>
                <a:lnTo>
                  <a:pt x="1182739" y="608132"/>
                </a:lnTo>
                <a:lnTo>
                  <a:pt x="1141744" y="559836"/>
                </a:lnTo>
                <a:lnTo>
                  <a:pt x="1044576" y="559836"/>
                </a:lnTo>
                <a:close/>
                <a:moveTo>
                  <a:pt x="215509" y="557325"/>
                </a:moveTo>
                <a:lnTo>
                  <a:pt x="198119" y="578693"/>
                </a:lnTo>
                <a:lnTo>
                  <a:pt x="302583" y="578693"/>
                </a:lnTo>
                <a:lnTo>
                  <a:pt x="315658" y="557325"/>
                </a:lnTo>
                <a:lnTo>
                  <a:pt x="215509" y="557325"/>
                </a:lnTo>
                <a:close/>
                <a:moveTo>
                  <a:pt x="1037833" y="557138"/>
                </a:moveTo>
                <a:lnTo>
                  <a:pt x="934788" y="557139"/>
                </a:lnTo>
                <a:lnTo>
                  <a:pt x="943882" y="578014"/>
                </a:lnTo>
                <a:lnTo>
                  <a:pt x="1048833" y="578014"/>
                </a:lnTo>
                <a:lnTo>
                  <a:pt x="1037833" y="557138"/>
                </a:lnTo>
                <a:close/>
                <a:moveTo>
                  <a:pt x="925575" y="557138"/>
                </a:moveTo>
                <a:lnTo>
                  <a:pt x="822530" y="557139"/>
                </a:lnTo>
                <a:lnTo>
                  <a:pt x="831624" y="578014"/>
                </a:lnTo>
                <a:lnTo>
                  <a:pt x="936575" y="578014"/>
                </a:lnTo>
                <a:lnTo>
                  <a:pt x="925575" y="557138"/>
                </a:lnTo>
                <a:close/>
                <a:moveTo>
                  <a:pt x="727622" y="557138"/>
                </a:moveTo>
                <a:lnTo>
                  <a:pt x="716061" y="578014"/>
                </a:lnTo>
                <a:lnTo>
                  <a:pt x="821012" y="578014"/>
                </a:lnTo>
                <a:lnTo>
                  <a:pt x="810012" y="557138"/>
                </a:lnTo>
                <a:lnTo>
                  <a:pt x="727622" y="557138"/>
                </a:lnTo>
                <a:close/>
                <a:moveTo>
                  <a:pt x="627901" y="557138"/>
                </a:moveTo>
                <a:lnTo>
                  <a:pt x="616340" y="578014"/>
                </a:lnTo>
                <a:lnTo>
                  <a:pt x="703065" y="578014"/>
                </a:lnTo>
                <a:lnTo>
                  <a:pt x="714543" y="557138"/>
                </a:lnTo>
                <a:lnTo>
                  <a:pt x="627901" y="557138"/>
                </a:lnTo>
                <a:close/>
                <a:moveTo>
                  <a:pt x="528180" y="557138"/>
                </a:moveTo>
                <a:lnTo>
                  <a:pt x="516619" y="578014"/>
                </a:lnTo>
                <a:lnTo>
                  <a:pt x="603343" y="578014"/>
                </a:lnTo>
                <a:lnTo>
                  <a:pt x="614822" y="557138"/>
                </a:lnTo>
                <a:lnTo>
                  <a:pt x="528180" y="557138"/>
                </a:lnTo>
                <a:close/>
                <a:moveTo>
                  <a:pt x="428459" y="557138"/>
                </a:moveTo>
                <a:lnTo>
                  <a:pt x="416898" y="578014"/>
                </a:lnTo>
                <a:lnTo>
                  <a:pt x="503622" y="578014"/>
                </a:lnTo>
                <a:lnTo>
                  <a:pt x="515101" y="557138"/>
                </a:lnTo>
                <a:lnTo>
                  <a:pt x="428459" y="557138"/>
                </a:lnTo>
                <a:close/>
                <a:moveTo>
                  <a:pt x="328449" y="557138"/>
                </a:moveTo>
                <a:lnTo>
                  <a:pt x="317176" y="578014"/>
                </a:lnTo>
                <a:lnTo>
                  <a:pt x="403901" y="578014"/>
                </a:lnTo>
                <a:lnTo>
                  <a:pt x="415380" y="557138"/>
                </a:lnTo>
                <a:lnTo>
                  <a:pt x="328449" y="557138"/>
                </a:lnTo>
                <a:close/>
                <a:moveTo>
                  <a:pt x="201515" y="530416"/>
                </a:moveTo>
                <a:lnTo>
                  <a:pt x="159041" y="577233"/>
                </a:lnTo>
                <a:lnTo>
                  <a:pt x="192093" y="576132"/>
                </a:lnTo>
                <a:lnTo>
                  <a:pt x="214127" y="549691"/>
                </a:lnTo>
                <a:cubicBezTo>
                  <a:pt x="235538" y="550793"/>
                  <a:pt x="265762" y="550792"/>
                  <a:pt x="286072" y="550792"/>
                </a:cubicBezTo>
                <a:lnTo>
                  <a:pt x="298683" y="530416"/>
                </a:lnTo>
                <a:lnTo>
                  <a:pt x="201515" y="530416"/>
                </a:lnTo>
                <a:close/>
                <a:moveTo>
                  <a:pt x="322296" y="525890"/>
                </a:moveTo>
                <a:lnTo>
                  <a:pt x="291823" y="551962"/>
                </a:lnTo>
                <a:lnTo>
                  <a:pt x="386393" y="551962"/>
                </a:lnTo>
                <a:lnTo>
                  <a:pt x="398230" y="525890"/>
                </a:lnTo>
                <a:lnTo>
                  <a:pt x="322296" y="525890"/>
                </a:lnTo>
                <a:close/>
                <a:moveTo>
                  <a:pt x="1124916" y="525757"/>
                </a:moveTo>
                <a:lnTo>
                  <a:pt x="1031630" y="525757"/>
                </a:lnTo>
                <a:lnTo>
                  <a:pt x="1039864" y="551229"/>
                </a:lnTo>
                <a:lnTo>
                  <a:pt x="1134874" y="551229"/>
                </a:lnTo>
                <a:lnTo>
                  <a:pt x="1124916" y="525757"/>
                </a:lnTo>
                <a:close/>
                <a:moveTo>
                  <a:pt x="1024636" y="525757"/>
                </a:moveTo>
                <a:lnTo>
                  <a:pt x="931350" y="525757"/>
                </a:lnTo>
                <a:lnTo>
                  <a:pt x="939584" y="551229"/>
                </a:lnTo>
                <a:lnTo>
                  <a:pt x="1034594" y="551229"/>
                </a:lnTo>
                <a:lnTo>
                  <a:pt x="1024636" y="525757"/>
                </a:lnTo>
                <a:close/>
                <a:moveTo>
                  <a:pt x="924355" y="525757"/>
                </a:moveTo>
                <a:lnTo>
                  <a:pt x="831069" y="525757"/>
                </a:lnTo>
                <a:lnTo>
                  <a:pt x="839302" y="551229"/>
                </a:lnTo>
                <a:lnTo>
                  <a:pt x="934313" y="551229"/>
                </a:lnTo>
                <a:lnTo>
                  <a:pt x="924355" y="525757"/>
                </a:lnTo>
                <a:close/>
                <a:moveTo>
                  <a:pt x="749488" y="525757"/>
                </a:moveTo>
                <a:lnTo>
                  <a:pt x="739021" y="551229"/>
                </a:lnTo>
                <a:lnTo>
                  <a:pt x="834031" y="551229"/>
                </a:lnTo>
                <a:lnTo>
                  <a:pt x="824074" y="525757"/>
                </a:lnTo>
                <a:lnTo>
                  <a:pt x="749488" y="525757"/>
                </a:lnTo>
                <a:close/>
                <a:moveTo>
                  <a:pt x="663549" y="525757"/>
                </a:moveTo>
                <a:lnTo>
                  <a:pt x="653083" y="551229"/>
                </a:lnTo>
                <a:lnTo>
                  <a:pt x="731593" y="551229"/>
                </a:lnTo>
                <a:lnTo>
                  <a:pt x="741984" y="525757"/>
                </a:lnTo>
                <a:lnTo>
                  <a:pt x="663549" y="525757"/>
                </a:lnTo>
                <a:close/>
                <a:moveTo>
                  <a:pt x="577611" y="525757"/>
                </a:moveTo>
                <a:lnTo>
                  <a:pt x="567144" y="551229"/>
                </a:lnTo>
                <a:lnTo>
                  <a:pt x="645654" y="551229"/>
                </a:lnTo>
                <a:lnTo>
                  <a:pt x="656045" y="525757"/>
                </a:lnTo>
                <a:lnTo>
                  <a:pt x="577611" y="525757"/>
                </a:lnTo>
                <a:close/>
                <a:moveTo>
                  <a:pt x="491672" y="525757"/>
                </a:moveTo>
                <a:lnTo>
                  <a:pt x="481206" y="551229"/>
                </a:lnTo>
                <a:lnTo>
                  <a:pt x="559715" y="551229"/>
                </a:lnTo>
                <a:lnTo>
                  <a:pt x="570107" y="525757"/>
                </a:lnTo>
                <a:lnTo>
                  <a:pt x="491672" y="525757"/>
                </a:lnTo>
                <a:close/>
                <a:moveTo>
                  <a:pt x="405472" y="525757"/>
                </a:moveTo>
                <a:lnTo>
                  <a:pt x="395267" y="551229"/>
                </a:lnTo>
                <a:lnTo>
                  <a:pt x="473777" y="551229"/>
                </a:lnTo>
                <a:lnTo>
                  <a:pt x="484168" y="525757"/>
                </a:lnTo>
                <a:lnTo>
                  <a:pt x="405472" y="525757"/>
                </a:lnTo>
                <a:close/>
                <a:moveTo>
                  <a:pt x="239857" y="499031"/>
                </a:moveTo>
                <a:lnTo>
                  <a:pt x="217022" y="517250"/>
                </a:lnTo>
                <a:lnTo>
                  <a:pt x="287888" y="517250"/>
                </a:lnTo>
                <a:lnTo>
                  <a:pt x="296758" y="499031"/>
                </a:lnTo>
                <a:lnTo>
                  <a:pt x="239857" y="499031"/>
                </a:lnTo>
                <a:close/>
                <a:moveTo>
                  <a:pt x="1039966" y="498996"/>
                </a:moveTo>
                <a:lnTo>
                  <a:pt x="1046136" y="516798"/>
                </a:lnTo>
                <a:lnTo>
                  <a:pt x="1117332" y="516798"/>
                </a:lnTo>
                <a:lnTo>
                  <a:pt x="1109870" y="498996"/>
                </a:lnTo>
                <a:lnTo>
                  <a:pt x="1039966" y="498996"/>
                </a:lnTo>
                <a:close/>
                <a:moveTo>
                  <a:pt x="952991" y="498996"/>
                </a:moveTo>
                <a:lnTo>
                  <a:pt x="959161" y="516798"/>
                </a:lnTo>
                <a:lnTo>
                  <a:pt x="1030357" y="516798"/>
                </a:lnTo>
                <a:lnTo>
                  <a:pt x="1022895" y="498996"/>
                </a:lnTo>
                <a:lnTo>
                  <a:pt x="952991" y="498996"/>
                </a:lnTo>
                <a:close/>
                <a:moveTo>
                  <a:pt x="866018" y="498996"/>
                </a:moveTo>
                <a:lnTo>
                  <a:pt x="872187" y="516798"/>
                </a:lnTo>
                <a:lnTo>
                  <a:pt x="943384" y="516798"/>
                </a:lnTo>
                <a:lnTo>
                  <a:pt x="935921" y="498996"/>
                </a:lnTo>
                <a:lnTo>
                  <a:pt x="866018" y="498996"/>
                </a:lnTo>
                <a:close/>
                <a:moveTo>
                  <a:pt x="779044" y="498996"/>
                </a:moveTo>
                <a:lnTo>
                  <a:pt x="785214" y="516798"/>
                </a:lnTo>
                <a:lnTo>
                  <a:pt x="856410" y="516798"/>
                </a:lnTo>
                <a:lnTo>
                  <a:pt x="848948" y="498996"/>
                </a:lnTo>
                <a:lnTo>
                  <a:pt x="779044" y="498996"/>
                </a:lnTo>
                <a:close/>
                <a:moveTo>
                  <a:pt x="692071" y="498996"/>
                </a:moveTo>
                <a:lnTo>
                  <a:pt x="698240" y="516798"/>
                </a:lnTo>
                <a:lnTo>
                  <a:pt x="769437" y="516798"/>
                </a:lnTo>
                <a:lnTo>
                  <a:pt x="761974" y="498996"/>
                </a:lnTo>
                <a:lnTo>
                  <a:pt x="692071" y="498996"/>
                </a:lnTo>
                <a:close/>
                <a:moveTo>
                  <a:pt x="619110" y="498996"/>
                </a:moveTo>
                <a:lnTo>
                  <a:pt x="611267" y="516798"/>
                </a:lnTo>
                <a:lnTo>
                  <a:pt x="682463" y="516798"/>
                </a:lnTo>
                <a:lnTo>
                  <a:pt x="675001" y="498996"/>
                </a:lnTo>
                <a:lnTo>
                  <a:pt x="619110" y="498996"/>
                </a:lnTo>
                <a:close/>
                <a:moveTo>
                  <a:pt x="542885" y="498996"/>
                </a:moveTo>
                <a:lnTo>
                  <a:pt x="535042" y="516798"/>
                </a:lnTo>
                <a:lnTo>
                  <a:pt x="593873" y="516798"/>
                </a:lnTo>
                <a:lnTo>
                  <a:pt x="601660" y="498996"/>
                </a:lnTo>
                <a:lnTo>
                  <a:pt x="542885" y="498996"/>
                </a:lnTo>
                <a:close/>
                <a:moveTo>
                  <a:pt x="466659" y="498996"/>
                </a:moveTo>
                <a:lnTo>
                  <a:pt x="458816" y="516798"/>
                </a:lnTo>
                <a:lnTo>
                  <a:pt x="517648" y="516798"/>
                </a:lnTo>
                <a:lnTo>
                  <a:pt x="525434" y="498996"/>
                </a:lnTo>
                <a:lnTo>
                  <a:pt x="466659" y="498996"/>
                </a:lnTo>
                <a:close/>
                <a:moveTo>
                  <a:pt x="390434" y="498996"/>
                </a:moveTo>
                <a:lnTo>
                  <a:pt x="382591" y="516798"/>
                </a:lnTo>
                <a:lnTo>
                  <a:pt x="441422" y="516798"/>
                </a:lnTo>
                <a:lnTo>
                  <a:pt x="449209" y="498996"/>
                </a:lnTo>
                <a:lnTo>
                  <a:pt x="390434" y="498996"/>
                </a:lnTo>
                <a:close/>
                <a:moveTo>
                  <a:pt x="314013" y="498996"/>
                </a:moveTo>
                <a:lnTo>
                  <a:pt x="306365" y="516798"/>
                </a:lnTo>
                <a:lnTo>
                  <a:pt x="365197" y="516798"/>
                </a:lnTo>
                <a:lnTo>
                  <a:pt x="372983" y="498996"/>
                </a:lnTo>
                <a:lnTo>
                  <a:pt x="314013" y="498996"/>
                </a:lnTo>
                <a:close/>
                <a:moveTo>
                  <a:pt x="258492" y="40617"/>
                </a:moveTo>
                <a:lnTo>
                  <a:pt x="258492" y="411185"/>
                </a:lnTo>
                <a:lnTo>
                  <a:pt x="1083261" y="411185"/>
                </a:lnTo>
                <a:lnTo>
                  <a:pt x="1083261" y="40617"/>
                </a:lnTo>
                <a:lnTo>
                  <a:pt x="258492" y="40617"/>
                </a:lnTo>
                <a:close/>
                <a:moveTo>
                  <a:pt x="268601" y="0"/>
                </a:moveTo>
                <a:lnTo>
                  <a:pt x="1073151" y="0"/>
                </a:lnTo>
                <a:cubicBezTo>
                  <a:pt x="1101343" y="0"/>
                  <a:pt x="1124196" y="22854"/>
                  <a:pt x="1124196" y="51045"/>
                </a:cubicBezTo>
                <a:lnTo>
                  <a:pt x="1124196" y="400758"/>
                </a:lnTo>
                <a:cubicBezTo>
                  <a:pt x="1124196" y="414853"/>
                  <a:pt x="1118483" y="427614"/>
                  <a:pt x="1109246" y="436852"/>
                </a:cubicBezTo>
                <a:lnTo>
                  <a:pt x="1100632" y="442659"/>
                </a:lnTo>
                <a:lnTo>
                  <a:pt x="1113990" y="442704"/>
                </a:lnTo>
                <a:cubicBezTo>
                  <a:pt x="1115580" y="453585"/>
                  <a:pt x="1253665" y="635964"/>
                  <a:pt x="1301855" y="691555"/>
                </a:cubicBezTo>
                <a:cubicBezTo>
                  <a:pt x="1321514" y="712595"/>
                  <a:pt x="1292185" y="770184"/>
                  <a:pt x="1252537" y="770184"/>
                </a:cubicBezTo>
                <a:lnTo>
                  <a:pt x="49793" y="770184"/>
                </a:lnTo>
                <a:cubicBezTo>
                  <a:pt x="10147" y="770184"/>
                  <a:pt x="-7951" y="709788"/>
                  <a:pt x="3283" y="680322"/>
                </a:cubicBezTo>
                <a:lnTo>
                  <a:pt x="221490" y="439672"/>
                </a:lnTo>
                <a:lnTo>
                  <a:pt x="236767" y="439724"/>
                </a:lnTo>
                <a:lnTo>
                  <a:pt x="232507" y="436852"/>
                </a:lnTo>
                <a:cubicBezTo>
                  <a:pt x="223270" y="427614"/>
                  <a:pt x="217556" y="414853"/>
                  <a:pt x="217556" y="400758"/>
                </a:cubicBezTo>
                <a:lnTo>
                  <a:pt x="217556" y="51045"/>
                </a:lnTo>
                <a:cubicBezTo>
                  <a:pt x="217556" y="22854"/>
                  <a:pt x="240410" y="0"/>
                  <a:pt x="268601" y="0"/>
                </a:cubicBezTo>
                <a:close/>
              </a:path>
            </a:pathLst>
          </a:custGeom>
          <a:solidFill>
            <a:srgbClr val="008789"/>
          </a:solidFill>
          <a:ln w="12700" cap="flat" cmpd="sng" algn="ctr">
            <a:noFill/>
            <a:prstDash val="solid"/>
            <a:miter lim="800000"/>
          </a:ln>
          <a:effectLst/>
        </p:spPr>
        <p:txBody>
          <a:bodyPr rtlCol="0" anchor="ctr"/>
          <a:lstStyle/>
          <a:p>
            <a:pPr marL="0" marR="0" lvl="0" indent="0" algn="ctr" defTabSz="467539"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white"/>
              </a:solidFill>
              <a:effectLst/>
              <a:uLnTx/>
              <a:uFillTx/>
              <a:latin typeface="Arial"/>
              <a:ea typeface="+mn-ea"/>
              <a:cs typeface="+mn-cs"/>
            </a:endParaRPr>
          </a:p>
        </p:txBody>
      </p:sp>
      <p:grpSp>
        <p:nvGrpSpPr>
          <p:cNvPr id="421" name="Group 53">
            <a:extLst>
              <a:ext uri="{FF2B5EF4-FFF2-40B4-BE49-F238E27FC236}">
                <a16:creationId xmlns:a16="http://schemas.microsoft.com/office/drawing/2014/main" id="{C3BB0908-969C-11FC-A69C-D8D73DED2B72}"/>
              </a:ext>
            </a:extLst>
          </p:cNvPr>
          <p:cNvGrpSpPr/>
          <p:nvPr/>
        </p:nvGrpSpPr>
        <p:grpSpPr>
          <a:xfrm>
            <a:off x="517697" y="3554791"/>
            <a:ext cx="370417" cy="294739"/>
            <a:chOff x="2899648" y="3195439"/>
            <a:chExt cx="932172" cy="664929"/>
          </a:xfrm>
          <a:solidFill>
            <a:srgbClr val="008789"/>
          </a:solidFill>
          <a:effectLst/>
        </p:grpSpPr>
        <p:sp>
          <p:nvSpPr>
            <p:cNvPr id="422" name="Freeform 54">
              <a:extLst>
                <a:ext uri="{FF2B5EF4-FFF2-40B4-BE49-F238E27FC236}">
                  <a16:creationId xmlns:a16="http://schemas.microsoft.com/office/drawing/2014/main" id="{739F04BE-2B01-3116-9477-C954773CA60A}"/>
                </a:ext>
              </a:extLst>
            </p:cNvPr>
            <p:cNvSpPr/>
            <p:nvPr/>
          </p:nvSpPr>
          <p:spPr>
            <a:xfrm>
              <a:off x="3075407" y="3389374"/>
              <a:ext cx="580648" cy="470994"/>
            </a:xfrm>
            <a:custGeom>
              <a:avLst/>
              <a:gdLst>
                <a:gd name="connsiteX0" fmla="*/ 297444 w 580648"/>
                <a:gd name="connsiteY0" fmla="*/ 344196 h 470994"/>
                <a:gd name="connsiteX1" fmla="*/ 316576 w 580648"/>
                <a:gd name="connsiteY1" fmla="*/ 363327 h 470994"/>
                <a:gd name="connsiteX2" fmla="*/ 297444 w 580648"/>
                <a:gd name="connsiteY2" fmla="*/ 382458 h 470994"/>
                <a:gd name="connsiteX3" fmla="*/ 278312 w 580648"/>
                <a:gd name="connsiteY3" fmla="*/ 363327 h 470994"/>
                <a:gd name="connsiteX4" fmla="*/ 297444 w 580648"/>
                <a:gd name="connsiteY4" fmla="*/ 344196 h 470994"/>
                <a:gd name="connsiteX5" fmla="*/ 213692 w 580648"/>
                <a:gd name="connsiteY5" fmla="*/ 306293 h 470994"/>
                <a:gd name="connsiteX6" fmla="*/ 232824 w 580648"/>
                <a:gd name="connsiteY6" fmla="*/ 325424 h 470994"/>
                <a:gd name="connsiteX7" fmla="*/ 213692 w 580648"/>
                <a:gd name="connsiteY7" fmla="*/ 344555 h 470994"/>
                <a:gd name="connsiteX8" fmla="*/ 194560 w 580648"/>
                <a:gd name="connsiteY8" fmla="*/ 325424 h 470994"/>
                <a:gd name="connsiteX9" fmla="*/ 213692 w 580648"/>
                <a:gd name="connsiteY9" fmla="*/ 306293 h 470994"/>
                <a:gd name="connsiteX10" fmla="*/ 389224 w 580648"/>
                <a:gd name="connsiteY10" fmla="*/ 303458 h 470994"/>
                <a:gd name="connsiteX11" fmla="*/ 408356 w 580648"/>
                <a:gd name="connsiteY11" fmla="*/ 322589 h 470994"/>
                <a:gd name="connsiteX12" fmla="*/ 389224 w 580648"/>
                <a:gd name="connsiteY12" fmla="*/ 341720 h 470994"/>
                <a:gd name="connsiteX13" fmla="*/ 370092 w 580648"/>
                <a:gd name="connsiteY13" fmla="*/ 322589 h 470994"/>
                <a:gd name="connsiteX14" fmla="*/ 389224 w 580648"/>
                <a:gd name="connsiteY14" fmla="*/ 303458 h 470994"/>
                <a:gd name="connsiteX15" fmla="*/ 174590 w 580648"/>
                <a:gd name="connsiteY15" fmla="*/ 243782 h 470994"/>
                <a:gd name="connsiteX16" fmla="*/ 193722 w 580648"/>
                <a:gd name="connsiteY16" fmla="*/ 262913 h 470994"/>
                <a:gd name="connsiteX17" fmla="*/ 174590 w 580648"/>
                <a:gd name="connsiteY17" fmla="*/ 282044 h 470994"/>
                <a:gd name="connsiteX18" fmla="*/ 155458 w 580648"/>
                <a:gd name="connsiteY18" fmla="*/ 262913 h 470994"/>
                <a:gd name="connsiteX19" fmla="*/ 174590 w 580648"/>
                <a:gd name="connsiteY19" fmla="*/ 243782 h 470994"/>
                <a:gd name="connsiteX20" fmla="*/ 419937 w 580648"/>
                <a:gd name="connsiteY20" fmla="*/ 242785 h 470994"/>
                <a:gd name="connsiteX21" fmla="*/ 439069 w 580648"/>
                <a:gd name="connsiteY21" fmla="*/ 261916 h 470994"/>
                <a:gd name="connsiteX22" fmla="*/ 419937 w 580648"/>
                <a:gd name="connsiteY22" fmla="*/ 281047 h 470994"/>
                <a:gd name="connsiteX23" fmla="*/ 400805 w 580648"/>
                <a:gd name="connsiteY23" fmla="*/ 261916 h 470994"/>
                <a:gd name="connsiteX24" fmla="*/ 419937 w 580648"/>
                <a:gd name="connsiteY24" fmla="*/ 242785 h 470994"/>
                <a:gd name="connsiteX25" fmla="*/ 298673 w 580648"/>
                <a:gd name="connsiteY25" fmla="*/ 174142 h 470994"/>
                <a:gd name="connsiteX26" fmla="*/ 389119 w 580648"/>
                <a:gd name="connsiteY26" fmla="*/ 251970 h 470994"/>
                <a:gd name="connsiteX27" fmla="*/ 298673 w 580648"/>
                <a:gd name="connsiteY27" fmla="*/ 329798 h 470994"/>
                <a:gd name="connsiteX28" fmla="*/ 208227 w 580648"/>
                <a:gd name="connsiteY28" fmla="*/ 251970 h 470994"/>
                <a:gd name="connsiteX29" fmla="*/ 298673 w 580648"/>
                <a:gd name="connsiteY29" fmla="*/ 174142 h 470994"/>
                <a:gd name="connsiteX30" fmla="*/ 207631 w 580648"/>
                <a:gd name="connsiteY30" fmla="*/ 156795 h 470994"/>
                <a:gd name="connsiteX31" fmla="*/ 226763 w 580648"/>
                <a:gd name="connsiteY31" fmla="*/ 175926 h 470994"/>
                <a:gd name="connsiteX32" fmla="*/ 207631 w 580648"/>
                <a:gd name="connsiteY32" fmla="*/ 195057 h 470994"/>
                <a:gd name="connsiteX33" fmla="*/ 188499 w 580648"/>
                <a:gd name="connsiteY33" fmla="*/ 175926 h 470994"/>
                <a:gd name="connsiteX34" fmla="*/ 207631 w 580648"/>
                <a:gd name="connsiteY34" fmla="*/ 156795 h 470994"/>
                <a:gd name="connsiteX35" fmla="*/ 388947 w 580648"/>
                <a:gd name="connsiteY35" fmla="*/ 154552 h 470994"/>
                <a:gd name="connsiteX36" fmla="*/ 408079 w 580648"/>
                <a:gd name="connsiteY36" fmla="*/ 173683 h 470994"/>
                <a:gd name="connsiteX37" fmla="*/ 388947 w 580648"/>
                <a:gd name="connsiteY37" fmla="*/ 192814 h 470994"/>
                <a:gd name="connsiteX38" fmla="*/ 369815 w 580648"/>
                <a:gd name="connsiteY38" fmla="*/ 173683 h 470994"/>
                <a:gd name="connsiteX39" fmla="*/ 388947 w 580648"/>
                <a:gd name="connsiteY39" fmla="*/ 154552 h 470994"/>
                <a:gd name="connsiteX40" fmla="*/ 297444 w 580648"/>
                <a:gd name="connsiteY40" fmla="*/ 128367 h 470994"/>
                <a:gd name="connsiteX41" fmla="*/ 316576 w 580648"/>
                <a:gd name="connsiteY41" fmla="*/ 147498 h 470994"/>
                <a:gd name="connsiteX42" fmla="*/ 297444 w 580648"/>
                <a:gd name="connsiteY42" fmla="*/ 166629 h 470994"/>
                <a:gd name="connsiteX43" fmla="*/ 278312 w 580648"/>
                <a:gd name="connsiteY43" fmla="*/ 147498 h 470994"/>
                <a:gd name="connsiteX44" fmla="*/ 297444 w 580648"/>
                <a:gd name="connsiteY44" fmla="*/ 128367 h 470994"/>
                <a:gd name="connsiteX45" fmla="*/ 297407 w 580648"/>
                <a:gd name="connsiteY45" fmla="*/ 111459 h 470994"/>
                <a:gd name="connsiteX46" fmla="*/ 136615 w 580648"/>
                <a:gd name="connsiteY46" fmla="*/ 249820 h 470994"/>
                <a:gd name="connsiteX47" fmla="*/ 297407 w 580648"/>
                <a:gd name="connsiteY47" fmla="*/ 388181 h 470994"/>
                <a:gd name="connsiteX48" fmla="*/ 458199 w 580648"/>
                <a:gd name="connsiteY48" fmla="*/ 249820 h 470994"/>
                <a:gd name="connsiteX49" fmla="*/ 297407 w 580648"/>
                <a:gd name="connsiteY49" fmla="*/ 111459 h 470994"/>
                <a:gd name="connsiteX50" fmla="*/ 57245 w 580648"/>
                <a:gd name="connsiteY50" fmla="*/ 0 h 470994"/>
                <a:gd name="connsiteX51" fmla="*/ 527083 w 580648"/>
                <a:gd name="connsiteY51" fmla="*/ 0 h 470994"/>
                <a:gd name="connsiteX52" fmla="*/ 537796 w 580648"/>
                <a:gd name="connsiteY52" fmla="*/ 10713 h 470994"/>
                <a:gd name="connsiteX53" fmla="*/ 537796 w 580648"/>
                <a:gd name="connsiteY53" fmla="*/ 53564 h 470994"/>
                <a:gd name="connsiteX54" fmla="*/ 527083 w 580648"/>
                <a:gd name="connsiteY54" fmla="*/ 64277 h 470994"/>
                <a:gd name="connsiteX55" fmla="*/ 484664 w 580648"/>
                <a:gd name="connsiteY55" fmla="*/ 64277 h 470994"/>
                <a:gd name="connsiteX56" fmla="*/ 515717 w 580648"/>
                <a:gd name="connsiteY56" fmla="*/ 247973 h 470994"/>
                <a:gd name="connsiteX57" fmla="*/ 533207 w 580648"/>
                <a:gd name="connsiteY57" fmla="*/ 247973 h 470994"/>
                <a:gd name="connsiteX58" fmla="*/ 580648 w 580648"/>
                <a:gd name="connsiteY58" fmla="*/ 295414 h 470994"/>
                <a:gd name="connsiteX59" fmla="*/ 580648 w 580648"/>
                <a:gd name="connsiteY59" fmla="*/ 427701 h 470994"/>
                <a:gd name="connsiteX60" fmla="*/ 537355 w 580648"/>
                <a:gd name="connsiteY60" fmla="*/ 470994 h 470994"/>
                <a:gd name="connsiteX61" fmla="*/ 43293 w 580648"/>
                <a:gd name="connsiteY61" fmla="*/ 470994 h 470994"/>
                <a:gd name="connsiteX62" fmla="*/ 0 w 580648"/>
                <a:gd name="connsiteY62" fmla="*/ 427701 h 470994"/>
                <a:gd name="connsiteX63" fmla="*/ 0 w 580648"/>
                <a:gd name="connsiteY63" fmla="*/ 295414 h 470994"/>
                <a:gd name="connsiteX64" fmla="*/ 47441 w 580648"/>
                <a:gd name="connsiteY64" fmla="*/ 247973 h 470994"/>
                <a:gd name="connsiteX65" fmla="*/ 67228 w 580648"/>
                <a:gd name="connsiteY65" fmla="*/ 247973 h 470994"/>
                <a:gd name="connsiteX66" fmla="*/ 91048 w 580648"/>
                <a:gd name="connsiteY66" fmla="*/ 64277 h 470994"/>
                <a:gd name="connsiteX67" fmla="*/ 57245 w 580648"/>
                <a:gd name="connsiteY67" fmla="*/ 64277 h 470994"/>
                <a:gd name="connsiteX68" fmla="*/ 46532 w 580648"/>
                <a:gd name="connsiteY68" fmla="*/ 53564 h 470994"/>
                <a:gd name="connsiteX69" fmla="*/ 46532 w 580648"/>
                <a:gd name="connsiteY69" fmla="*/ 10713 h 470994"/>
                <a:gd name="connsiteX70" fmla="*/ 57245 w 580648"/>
                <a:gd name="connsiteY70" fmla="*/ 0 h 470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580648" h="470994">
                  <a:moveTo>
                    <a:pt x="297444" y="344196"/>
                  </a:moveTo>
                  <a:cubicBezTo>
                    <a:pt x="308010" y="344196"/>
                    <a:pt x="316576" y="352761"/>
                    <a:pt x="316576" y="363327"/>
                  </a:cubicBezTo>
                  <a:cubicBezTo>
                    <a:pt x="316576" y="373893"/>
                    <a:pt x="308010" y="382458"/>
                    <a:pt x="297444" y="382458"/>
                  </a:cubicBezTo>
                  <a:cubicBezTo>
                    <a:pt x="286878" y="382458"/>
                    <a:pt x="278312" y="373893"/>
                    <a:pt x="278312" y="363327"/>
                  </a:cubicBezTo>
                  <a:cubicBezTo>
                    <a:pt x="278312" y="352761"/>
                    <a:pt x="286878" y="344196"/>
                    <a:pt x="297444" y="344196"/>
                  </a:cubicBezTo>
                  <a:close/>
                  <a:moveTo>
                    <a:pt x="213692" y="306293"/>
                  </a:moveTo>
                  <a:cubicBezTo>
                    <a:pt x="224258" y="306293"/>
                    <a:pt x="232824" y="314858"/>
                    <a:pt x="232824" y="325424"/>
                  </a:cubicBezTo>
                  <a:cubicBezTo>
                    <a:pt x="232824" y="335990"/>
                    <a:pt x="224258" y="344555"/>
                    <a:pt x="213692" y="344555"/>
                  </a:cubicBezTo>
                  <a:cubicBezTo>
                    <a:pt x="203126" y="344555"/>
                    <a:pt x="194560" y="335990"/>
                    <a:pt x="194560" y="325424"/>
                  </a:cubicBezTo>
                  <a:cubicBezTo>
                    <a:pt x="194560" y="314858"/>
                    <a:pt x="203126" y="306293"/>
                    <a:pt x="213692" y="306293"/>
                  </a:cubicBezTo>
                  <a:close/>
                  <a:moveTo>
                    <a:pt x="389224" y="303458"/>
                  </a:moveTo>
                  <a:cubicBezTo>
                    <a:pt x="399790" y="303458"/>
                    <a:pt x="408356" y="312023"/>
                    <a:pt x="408356" y="322589"/>
                  </a:cubicBezTo>
                  <a:cubicBezTo>
                    <a:pt x="408356" y="333155"/>
                    <a:pt x="399790" y="341720"/>
                    <a:pt x="389224" y="341720"/>
                  </a:cubicBezTo>
                  <a:cubicBezTo>
                    <a:pt x="378658" y="341720"/>
                    <a:pt x="370092" y="333155"/>
                    <a:pt x="370092" y="322589"/>
                  </a:cubicBezTo>
                  <a:cubicBezTo>
                    <a:pt x="370092" y="312023"/>
                    <a:pt x="378658" y="303458"/>
                    <a:pt x="389224" y="303458"/>
                  </a:cubicBezTo>
                  <a:close/>
                  <a:moveTo>
                    <a:pt x="174590" y="243782"/>
                  </a:moveTo>
                  <a:cubicBezTo>
                    <a:pt x="185156" y="243782"/>
                    <a:pt x="193722" y="252347"/>
                    <a:pt x="193722" y="262913"/>
                  </a:cubicBezTo>
                  <a:cubicBezTo>
                    <a:pt x="193722" y="273479"/>
                    <a:pt x="185156" y="282044"/>
                    <a:pt x="174590" y="282044"/>
                  </a:cubicBezTo>
                  <a:cubicBezTo>
                    <a:pt x="164024" y="282044"/>
                    <a:pt x="155458" y="273479"/>
                    <a:pt x="155458" y="262913"/>
                  </a:cubicBezTo>
                  <a:cubicBezTo>
                    <a:pt x="155458" y="252347"/>
                    <a:pt x="164024" y="243782"/>
                    <a:pt x="174590" y="243782"/>
                  </a:cubicBezTo>
                  <a:close/>
                  <a:moveTo>
                    <a:pt x="419937" y="242785"/>
                  </a:moveTo>
                  <a:cubicBezTo>
                    <a:pt x="430503" y="242785"/>
                    <a:pt x="439069" y="251350"/>
                    <a:pt x="439069" y="261916"/>
                  </a:cubicBezTo>
                  <a:cubicBezTo>
                    <a:pt x="439069" y="272482"/>
                    <a:pt x="430503" y="281047"/>
                    <a:pt x="419937" y="281047"/>
                  </a:cubicBezTo>
                  <a:cubicBezTo>
                    <a:pt x="409371" y="281047"/>
                    <a:pt x="400805" y="272482"/>
                    <a:pt x="400805" y="261916"/>
                  </a:cubicBezTo>
                  <a:cubicBezTo>
                    <a:pt x="400805" y="251350"/>
                    <a:pt x="409371" y="242785"/>
                    <a:pt x="419937" y="242785"/>
                  </a:cubicBezTo>
                  <a:close/>
                  <a:moveTo>
                    <a:pt x="298673" y="174142"/>
                  </a:moveTo>
                  <a:cubicBezTo>
                    <a:pt x="348625" y="174142"/>
                    <a:pt x="389119" y="208987"/>
                    <a:pt x="389119" y="251970"/>
                  </a:cubicBezTo>
                  <a:cubicBezTo>
                    <a:pt x="389119" y="294953"/>
                    <a:pt x="348625" y="329798"/>
                    <a:pt x="298673" y="329798"/>
                  </a:cubicBezTo>
                  <a:cubicBezTo>
                    <a:pt x="248721" y="329798"/>
                    <a:pt x="208227" y="294953"/>
                    <a:pt x="208227" y="251970"/>
                  </a:cubicBezTo>
                  <a:cubicBezTo>
                    <a:pt x="208227" y="208987"/>
                    <a:pt x="248721" y="174142"/>
                    <a:pt x="298673" y="174142"/>
                  </a:cubicBezTo>
                  <a:close/>
                  <a:moveTo>
                    <a:pt x="207631" y="156795"/>
                  </a:moveTo>
                  <a:cubicBezTo>
                    <a:pt x="218197" y="156795"/>
                    <a:pt x="226763" y="165360"/>
                    <a:pt x="226763" y="175926"/>
                  </a:cubicBezTo>
                  <a:cubicBezTo>
                    <a:pt x="226763" y="186492"/>
                    <a:pt x="218197" y="195057"/>
                    <a:pt x="207631" y="195057"/>
                  </a:cubicBezTo>
                  <a:cubicBezTo>
                    <a:pt x="197065" y="195057"/>
                    <a:pt x="188499" y="186492"/>
                    <a:pt x="188499" y="175926"/>
                  </a:cubicBezTo>
                  <a:cubicBezTo>
                    <a:pt x="188499" y="165360"/>
                    <a:pt x="197065" y="156795"/>
                    <a:pt x="207631" y="156795"/>
                  </a:cubicBezTo>
                  <a:close/>
                  <a:moveTo>
                    <a:pt x="388947" y="154552"/>
                  </a:moveTo>
                  <a:cubicBezTo>
                    <a:pt x="399513" y="154552"/>
                    <a:pt x="408079" y="163117"/>
                    <a:pt x="408079" y="173683"/>
                  </a:cubicBezTo>
                  <a:cubicBezTo>
                    <a:pt x="408079" y="184249"/>
                    <a:pt x="399513" y="192814"/>
                    <a:pt x="388947" y="192814"/>
                  </a:cubicBezTo>
                  <a:cubicBezTo>
                    <a:pt x="378381" y="192814"/>
                    <a:pt x="369815" y="184249"/>
                    <a:pt x="369815" y="173683"/>
                  </a:cubicBezTo>
                  <a:cubicBezTo>
                    <a:pt x="369815" y="163117"/>
                    <a:pt x="378381" y="154552"/>
                    <a:pt x="388947" y="154552"/>
                  </a:cubicBezTo>
                  <a:close/>
                  <a:moveTo>
                    <a:pt x="297444" y="128367"/>
                  </a:moveTo>
                  <a:cubicBezTo>
                    <a:pt x="308010" y="128367"/>
                    <a:pt x="316576" y="136932"/>
                    <a:pt x="316576" y="147498"/>
                  </a:cubicBezTo>
                  <a:cubicBezTo>
                    <a:pt x="316576" y="158064"/>
                    <a:pt x="308010" y="166629"/>
                    <a:pt x="297444" y="166629"/>
                  </a:cubicBezTo>
                  <a:cubicBezTo>
                    <a:pt x="286878" y="166629"/>
                    <a:pt x="278312" y="158064"/>
                    <a:pt x="278312" y="147498"/>
                  </a:cubicBezTo>
                  <a:cubicBezTo>
                    <a:pt x="278312" y="136932"/>
                    <a:pt x="286878" y="128367"/>
                    <a:pt x="297444" y="128367"/>
                  </a:cubicBezTo>
                  <a:close/>
                  <a:moveTo>
                    <a:pt x="297407" y="111459"/>
                  </a:moveTo>
                  <a:cubicBezTo>
                    <a:pt x="208604" y="111459"/>
                    <a:pt x="136615" y="173405"/>
                    <a:pt x="136615" y="249820"/>
                  </a:cubicBezTo>
                  <a:cubicBezTo>
                    <a:pt x="136615" y="326235"/>
                    <a:pt x="208604" y="388181"/>
                    <a:pt x="297407" y="388181"/>
                  </a:cubicBezTo>
                  <a:cubicBezTo>
                    <a:pt x="386210" y="388181"/>
                    <a:pt x="458199" y="326235"/>
                    <a:pt x="458199" y="249820"/>
                  </a:cubicBezTo>
                  <a:cubicBezTo>
                    <a:pt x="458199" y="173405"/>
                    <a:pt x="386210" y="111459"/>
                    <a:pt x="297407" y="111459"/>
                  </a:cubicBezTo>
                  <a:close/>
                  <a:moveTo>
                    <a:pt x="57245" y="0"/>
                  </a:moveTo>
                  <a:lnTo>
                    <a:pt x="527083" y="0"/>
                  </a:lnTo>
                  <a:cubicBezTo>
                    <a:pt x="533000" y="0"/>
                    <a:pt x="537796" y="4796"/>
                    <a:pt x="537796" y="10713"/>
                  </a:cubicBezTo>
                  <a:lnTo>
                    <a:pt x="537796" y="53564"/>
                  </a:lnTo>
                  <a:cubicBezTo>
                    <a:pt x="537796" y="59481"/>
                    <a:pt x="533000" y="64277"/>
                    <a:pt x="527083" y="64277"/>
                  </a:cubicBezTo>
                  <a:lnTo>
                    <a:pt x="484664" y="64277"/>
                  </a:lnTo>
                  <a:lnTo>
                    <a:pt x="515717" y="247973"/>
                  </a:lnTo>
                  <a:lnTo>
                    <a:pt x="533207" y="247973"/>
                  </a:lnTo>
                  <a:cubicBezTo>
                    <a:pt x="559408" y="247973"/>
                    <a:pt x="580648" y="269213"/>
                    <a:pt x="580648" y="295414"/>
                  </a:cubicBezTo>
                  <a:lnTo>
                    <a:pt x="580648" y="427701"/>
                  </a:lnTo>
                  <a:cubicBezTo>
                    <a:pt x="580648" y="451611"/>
                    <a:pt x="561265" y="470994"/>
                    <a:pt x="537355" y="470994"/>
                  </a:cubicBezTo>
                  <a:lnTo>
                    <a:pt x="43293" y="470994"/>
                  </a:lnTo>
                  <a:cubicBezTo>
                    <a:pt x="19383" y="470994"/>
                    <a:pt x="0" y="451611"/>
                    <a:pt x="0" y="427701"/>
                  </a:cubicBezTo>
                  <a:lnTo>
                    <a:pt x="0" y="295414"/>
                  </a:lnTo>
                  <a:cubicBezTo>
                    <a:pt x="0" y="269213"/>
                    <a:pt x="21240" y="247973"/>
                    <a:pt x="47441" y="247973"/>
                  </a:cubicBezTo>
                  <a:lnTo>
                    <a:pt x="67228" y="247973"/>
                  </a:lnTo>
                  <a:lnTo>
                    <a:pt x="91048" y="64277"/>
                  </a:lnTo>
                  <a:lnTo>
                    <a:pt x="57245" y="64277"/>
                  </a:lnTo>
                  <a:cubicBezTo>
                    <a:pt x="51328" y="64277"/>
                    <a:pt x="46532" y="59481"/>
                    <a:pt x="46532" y="53564"/>
                  </a:cubicBezTo>
                  <a:lnTo>
                    <a:pt x="46532" y="10713"/>
                  </a:lnTo>
                  <a:cubicBezTo>
                    <a:pt x="46532" y="4796"/>
                    <a:pt x="51328" y="0"/>
                    <a:pt x="57245" y="0"/>
                  </a:cubicBezTo>
                  <a:close/>
                </a:path>
              </a:pathLst>
            </a:custGeom>
            <a:grpFill/>
            <a:ln w="12700" cap="flat" cmpd="sng" algn="ctr">
              <a:noFill/>
              <a:prstDash val="solid"/>
              <a:miter lim="800000"/>
            </a:ln>
            <a:effectLst/>
          </p:spPr>
          <p:txBody>
            <a:bodyPr wrap="square" rtlCol="0" anchor="ctr">
              <a:noAutofit/>
            </a:bodyPr>
            <a:lstStyle/>
            <a:p>
              <a:pPr marL="0" marR="0" lvl="0" indent="0" algn="ctr" defTabSz="467539"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23" name="Freeform 127">
              <a:extLst>
                <a:ext uri="{FF2B5EF4-FFF2-40B4-BE49-F238E27FC236}">
                  <a16:creationId xmlns:a16="http://schemas.microsoft.com/office/drawing/2014/main" id="{73774F3D-DCF6-C130-B3E9-D97155532642}"/>
                </a:ext>
              </a:extLst>
            </p:cNvPr>
            <p:cNvSpPr>
              <a:spLocks/>
            </p:cNvSpPr>
            <p:nvPr/>
          </p:nvSpPr>
          <p:spPr bwMode="auto">
            <a:xfrm>
              <a:off x="2899648" y="3195439"/>
              <a:ext cx="932172" cy="323504"/>
            </a:xfrm>
            <a:custGeom>
              <a:avLst/>
              <a:gdLst>
                <a:gd name="T0" fmla="*/ 379 w 388"/>
                <a:gd name="T1" fmla="*/ 78 h 143"/>
                <a:gd name="T2" fmla="*/ 367 w 388"/>
                <a:gd name="T3" fmla="*/ 60 h 143"/>
                <a:gd name="T4" fmla="*/ 348 w 388"/>
                <a:gd name="T5" fmla="*/ 43 h 143"/>
                <a:gd name="T6" fmla="*/ 324 w 388"/>
                <a:gd name="T7" fmla="*/ 28 h 143"/>
                <a:gd name="T8" fmla="*/ 296 w 388"/>
                <a:gd name="T9" fmla="*/ 17 h 143"/>
                <a:gd name="T10" fmla="*/ 265 w 388"/>
                <a:gd name="T11" fmla="*/ 7 h 143"/>
                <a:gd name="T12" fmla="*/ 231 w 388"/>
                <a:gd name="T13" fmla="*/ 3 h 143"/>
                <a:gd name="T14" fmla="*/ 193 w 388"/>
                <a:gd name="T15" fmla="*/ 0 h 143"/>
                <a:gd name="T16" fmla="*/ 157 w 388"/>
                <a:gd name="T17" fmla="*/ 3 h 143"/>
                <a:gd name="T18" fmla="*/ 121 w 388"/>
                <a:gd name="T19" fmla="*/ 7 h 143"/>
                <a:gd name="T20" fmla="*/ 90 w 388"/>
                <a:gd name="T21" fmla="*/ 17 h 143"/>
                <a:gd name="T22" fmla="*/ 62 w 388"/>
                <a:gd name="T23" fmla="*/ 29 h 143"/>
                <a:gd name="T24" fmla="*/ 39 w 388"/>
                <a:gd name="T25" fmla="*/ 44 h 143"/>
                <a:gd name="T26" fmla="*/ 19 w 388"/>
                <a:gd name="T27" fmla="*/ 61 h 143"/>
                <a:gd name="T28" fmla="*/ 7 w 388"/>
                <a:gd name="T29" fmla="*/ 79 h 143"/>
                <a:gd name="T30" fmla="*/ 3 w 388"/>
                <a:gd name="T31" fmla="*/ 84 h 143"/>
                <a:gd name="T32" fmla="*/ 1 w 388"/>
                <a:gd name="T33" fmla="*/ 89 h 143"/>
                <a:gd name="T34" fmla="*/ 0 w 388"/>
                <a:gd name="T35" fmla="*/ 95 h 143"/>
                <a:gd name="T36" fmla="*/ 0 w 388"/>
                <a:gd name="T37" fmla="*/ 118 h 143"/>
                <a:gd name="T38" fmla="*/ 3 w 388"/>
                <a:gd name="T39" fmla="*/ 130 h 143"/>
                <a:gd name="T40" fmla="*/ 12 w 388"/>
                <a:gd name="T41" fmla="*/ 139 h 143"/>
                <a:gd name="T42" fmla="*/ 24 w 388"/>
                <a:gd name="T43" fmla="*/ 143 h 143"/>
                <a:gd name="T44" fmla="*/ 65 w 388"/>
                <a:gd name="T45" fmla="*/ 143 h 143"/>
                <a:gd name="T46" fmla="*/ 77 w 388"/>
                <a:gd name="T47" fmla="*/ 139 h 143"/>
                <a:gd name="T48" fmla="*/ 86 w 388"/>
                <a:gd name="T49" fmla="*/ 130 h 143"/>
                <a:gd name="T50" fmla="*/ 90 w 388"/>
                <a:gd name="T51" fmla="*/ 118 h 143"/>
                <a:gd name="T52" fmla="*/ 90 w 388"/>
                <a:gd name="T53" fmla="*/ 95 h 143"/>
                <a:gd name="T54" fmla="*/ 86 w 388"/>
                <a:gd name="T55" fmla="*/ 85 h 143"/>
                <a:gd name="T56" fmla="*/ 80 w 388"/>
                <a:gd name="T57" fmla="*/ 77 h 143"/>
                <a:gd name="T58" fmla="*/ 70 w 388"/>
                <a:gd name="T59" fmla="*/ 72 h 143"/>
                <a:gd name="T60" fmla="*/ 77 w 388"/>
                <a:gd name="T61" fmla="*/ 68 h 143"/>
                <a:gd name="T62" fmla="*/ 102 w 388"/>
                <a:gd name="T63" fmla="*/ 57 h 143"/>
                <a:gd name="T64" fmla="*/ 130 w 388"/>
                <a:gd name="T65" fmla="*/ 49 h 143"/>
                <a:gd name="T66" fmla="*/ 161 w 388"/>
                <a:gd name="T67" fmla="*/ 44 h 143"/>
                <a:gd name="T68" fmla="*/ 193 w 388"/>
                <a:gd name="T69" fmla="*/ 43 h 143"/>
                <a:gd name="T70" fmla="*/ 226 w 388"/>
                <a:gd name="T71" fmla="*/ 44 h 143"/>
                <a:gd name="T72" fmla="*/ 257 w 388"/>
                <a:gd name="T73" fmla="*/ 49 h 143"/>
                <a:gd name="T74" fmla="*/ 285 w 388"/>
                <a:gd name="T75" fmla="*/ 57 h 143"/>
                <a:gd name="T76" fmla="*/ 310 w 388"/>
                <a:gd name="T77" fmla="*/ 68 h 143"/>
                <a:gd name="T78" fmla="*/ 317 w 388"/>
                <a:gd name="T79" fmla="*/ 72 h 143"/>
                <a:gd name="T80" fmla="*/ 307 w 388"/>
                <a:gd name="T81" fmla="*/ 77 h 143"/>
                <a:gd name="T82" fmla="*/ 301 w 388"/>
                <a:gd name="T83" fmla="*/ 85 h 143"/>
                <a:gd name="T84" fmla="*/ 299 w 388"/>
                <a:gd name="T85" fmla="*/ 95 h 143"/>
                <a:gd name="T86" fmla="*/ 299 w 388"/>
                <a:gd name="T87" fmla="*/ 118 h 143"/>
                <a:gd name="T88" fmla="*/ 301 w 388"/>
                <a:gd name="T89" fmla="*/ 130 h 143"/>
                <a:gd name="T90" fmla="*/ 310 w 388"/>
                <a:gd name="T91" fmla="*/ 139 h 143"/>
                <a:gd name="T92" fmla="*/ 322 w 388"/>
                <a:gd name="T93" fmla="*/ 143 h 143"/>
                <a:gd name="T94" fmla="*/ 363 w 388"/>
                <a:gd name="T95" fmla="*/ 143 h 143"/>
                <a:gd name="T96" fmla="*/ 375 w 388"/>
                <a:gd name="T97" fmla="*/ 139 h 143"/>
                <a:gd name="T98" fmla="*/ 384 w 388"/>
                <a:gd name="T99" fmla="*/ 130 h 143"/>
                <a:gd name="T100" fmla="*/ 388 w 388"/>
                <a:gd name="T101" fmla="*/ 118 h 143"/>
                <a:gd name="T102" fmla="*/ 388 w 388"/>
                <a:gd name="T103" fmla="*/ 95 h 143"/>
                <a:gd name="T104" fmla="*/ 386 w 388"/>
                <a:gd name="T105" fmla="*/ 90 h 143"/>
                <a:gd name="T106" fmla="*/ 385 w 388"/>
                <a:gd name="T107" fmla="*/ 85 h 143"/>
                <a:gd name="T108" fmla="*/ 383 w 388"/>
                <a:gd name="T109" fmla="*/ 82 h 143"/>
                <a:gd name="T110" fmla="*/ 379 w 388"/>
                <a:gd name="T111" fmla="*/ 78 h 143"/>
                <a:gd name="connsiteX0" fmla="*/ 9768 w 10000"/>
                <a:gd name="connsiteY0" fmla="*/ 5455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1985 w 10000"/>
                <a:gd name="connsiteY23" fmla="*/ 9720 h 10000"/>
                <a:gd name="connsiteX24" fmla="*/ 2216 w 10000"/>
                <a:gd name="connsiteY24" fmla="*/ 9091 h 10000"/>
                <a:gd name="connsiteX25" fmla="*/ 2320 w 10000"/>
                <a:gd name="connsiteY25" fmla="*/ 8252 h 10000"/>
                <a:gd name="connsiteX26" fmla="*/ 2320 w 10000"/>
                <a:gd name="connsiteY26" fmla="*/ 6643 h 10000"/>
                <a:gd name="connsiteX27" fmla="*/ 2216 w 10000"/>
                <a:gd name="connsiteY27" fmla="*/ 5944 h 10000"/>
                <a:gd name="connsiteX28" fmla="*/ 2062 w 10000"/>
                <a:gd name="connsiteY28" fmla="*/ 5385 h 10000"/>
                <a:gd name="connsiteX29" fmla="*/ 1804 w 10000"/>
                <a:gd name="connsiteY29" fmla="*/ 5035 h 10000"/>
                <a:gd name="connsiteX30" fmla="*/ 1985 w 10000"/>
                <a:gd name="connsiteY30" fmla="*/ 4755 h 10000"/>
                <a:gd name="connsiteX31" fmla="*/ 2629 w 10000"/>
                <a:gd name="connsiteY31" fmla="*/ 3986 h 10000"/>
                <a:gd name="connsiteX32" fmla="*/ 3351 w 10000"/>
                <a:gd name="connsiteY32" fmla="*/ 3427 h 10000"/>
                <a:gd name="connsiteX33" fmla="*/ 4149 w 10000"/>
                <a:gd name="connsiteY33" fmla="*/ 3077 h 10000"/>
                <a:gd name="connsiteX34" fmla="*/ 4974 w 10000"/>
                <a:gd name="connsiteY34" fmla="*/ 3007 h 10000"/>
                <a:gd name="connsiteX35" fmla="*/ 5825 w 10000"/>
                <a:gd name="connsiteY35" fmla="*/ 3077 h 10000"/>
                <a:gd name="connsiteX36" fmla="*/ 6624 w 10000"/>
                <a:gd name="connsiteY36" fmla="*/ 3427 h 10000"/>
                <a:gd name="connsiteX37" fmla="*/ 7345 w 10000"/>
                <a:gd name="connsiteY37" fmla="*/ 3986 h 10000"/>
                <a:gd name="connsiteX38" fmla="*/ 7990 w 10000"/>
                <a:gd name="connsiteY38" fmla="*/ 4755 h 10000"/>
                <a:gd name="connsiteX39" fmla="*/ 8170 w 10000"/>
                <a:gd name="connsiteY39" fmla="*/ 5035 h 10000"/>
                <a:gd name="connsiteX40" fmla="*/ 7758 w 10000"/>
                <a:gd name="connsiteY40" fmla="*/ 5944 h 10000"/>
                <a:gd name="connsiteX41" fmla="*/ 7706 w 10000"/>
                <a:gd name="connsiteY41" fmla="*/ 6643 h 10000"/>
                <a:gd name="connsiteX42" fmla="*/ 7706 w 10000"/>
                <a:gd name="connsiteY42" fmla="*/ 8252 h 10000"/>
                <a:gd name="connsiteX43" fmla="*/ 7758 w 10000"/>
                <a:gd name="connsiteY43" fmla="*/ 9091 h 10000"/>
                <a:gd name="connsiteX44" fmla="*/ 7990 w 10000"/>
                <a:gd name="connsiteY44" fmla="*/ 9720 h 10000"/>
                <a:gd name="connsiteX45" fmla="*/ 8299 w 10000"/>
                <a:gd name="connsiteY45" fmla="*/ 10000 h 10000"/>
                <a:gd name="connsiteX46" fmla="*/ 9356 w 10000"/>
                <a:gd name="connsiteY46" fmla="*/ 10000 h 10000"/>
                <a:gd name="connsiteX47" fmla="*/ 9665 w 10000"/>
                <a:gd name="connsiteY47" fmla="*/ 9720 h 10000"/>
                <a:gd name="connsiteX48" fmla="*/ 9897 w 10000"/>
                <a:gd name="connsiteY48" fmla="*/ 9091 h 10000"/>
                <a:gd name="connsiteX49" fmla="*/ 10000 w 10000"/>
                <a:gd name="connsiteY49" fmla="*/ 8252 h 10000"/>
                <a:gd name="connsiteX50" fmla="*/ 10000 w 10000"/>
                <a:gd name="connsiteY50" fmla="*/ 6643 h 10000"/>
                <a:gd name="connsiteX51" fmla="*/ 9948 w 10000"/>
                <a:gd name="connsiteY51" fmla="*/ 6294 h 10000"/>
                <a:gd name="connsiteX52" fmla="*/ 9923 w 10000"/>
                <a:gd name="connsiteY52" fmla="*/ 5944 h 10000"/>
                <a:gd name="connsiteX53" fmla="*/ 9871 w 10000"/>
                <a:gd name="connsiteY53" fmla="*/ 5734 h 10000"/>
                <a:gd name="connsiteX54" fmla="*/ 9768 w 10000"/>
                <a:gd name="connsiteY54" fmla="*/ 5455 h 10000"/>
                <a:gd name="connsiteX0" fmla="*/ 9768 w 10000"/>
                <a:gd name="connsiteY0" fmla="*/ 5455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1985 w 10000"/>
                <a:gd name="connsiteY23" fmla="*/ 9720 h 10000"/>
                <a:gd name="connsiteX24" fmla="*/ 2216 w 10000"/>
                <a:gd name="connsiteY24" fmla="*/ 9091 h 10000"/>
                <a:gd name="connsiteX25" fmla="*/ 2320 w 10000"/>
                <a:gd name="connsiteY25" fmla="*/ 8252 h 10000"/>
                <a:gd name="connsiteX26" fmla="*/ 2320 w 10000"/>
                <a:gd name="connsiteY26" fmla="*/ 6643 h 10000"/>
                <a:gd name="connsiteX27" fmla="*/ 2216 w 10000"/>
                <a:gd name="connsiteY27" fmla="*/ 5944 h 10000"/>
                <a:gd name="connsiteX28" fmla="*/ 2062 w 10000"/>
                <a:gd name="connsiteY28" fmla="*/ 5385 h 10000"/>
                <a:gd name="connsiteX29" fmla="*/ 1804 w 10000"/>
                <a:gd name="connsiteY29" fmla="*/ 5035 h 10000"/>
                <a:gd name="connsiteX30" fmla="*/ 1985 w 10000"/>
                <a:gd name="connsiteY30" fmla="*/ 4755 h 10000"/>
                <a:gd name="connsiteX31" fmla="*/ 2629 w 10000"/>
                <a:gd name="connsiteY31" fmla="*/ 3986 h 10000"/>
                <a:gd name="connsiteX32" fmla="*/ 3351 w 10000"/>
                <a:gd name="connsiteY32" fmla="*/ 3427 h 10000"/>
                <a:gd name="connsiteX33" fmla="*/ 4149 w 10000"/>
                <a:gd name="connsiteY33" fmla="*/ 3077 h 10000"/>
                <a:gd name="connsiteX34" fmla="*/ 4974 w 10000"/>
                <a:gd name="connsiteY34" fmla="*/ 3007 h 10000"/>
                <a:gd name="connsiteX35" fmla="*/ 5825 w 10000"/>
                <a:gd name="connsiteY35" fmla="*/ 3077 h 10000"/>
                <a:gd name="connsiteX36" fmla="*/ 6624 w 10000"/>
                <a:gd name="connsiteY36" fmla="*/ 3427 h 10000"/>
                <a:gd name="connsiteX37" fmla="*/ 7345 w 10000"/>
                <a:gd name="connsiteY37" fmla="*/ 3986 h 10000"/>
                <a:gd name="connsiteX38" fmla="*/ 7990 w 10000"/>
                <a:gd name="connsiteY38" fmla="*/ 4755 h 10000"/>
                <a:gd name="connsiteX39" fmla="*/ 8170 w 10000"/>
                <a:gd name="connsiteY39" fmla="*/ 5035 h 10000"/>
                <a:gd name="connsiteX40" fmla="*/ 7706 w 10000"/>
                <a:gd name="connsiteY40" fmla="*/ 6643 h 10000"/>
                <a:gd name="connsiteX41" fmla="*/ 7706 w 10000"/>
                <a:gd name="connsiteY41" fmla="*/ 8252 h 10000"/>
                <a:gd name="connsiteX42" fmla="*/ 7758 w 10000"/>
                <a:gd name="connsiteY42" fmla="*/ 9091 h 10000"/>
                <a:gd name="connsiteX43" fmla="*/ 7990 w 10000"/>
                <a:gd name="connsiteY43" fmla="*/ 9720 h 10000"/>
                <a:gd name="connsiteX44" fmla="*/ 8299 w 10000"/>
                <a:gd name="connsiteY44" fmla="*/ 10000 h 10000"/>
                <a:gd name="connsiteX45" fmla="*/ 9356 w 10000"/>
                <a:gd name="connsiteY45" fmla="*/ 10000 h 10000"/>
                <a:gd name="connsiteX46" fmla="*/ 9665 w 10000"/>
                <a:gd name="connsiteY46" fmla="*/ 9720 h 10000"/>
                <a:gd name="connsiteX47" fmla="*/ 9897 w 10000"/>
                <a:gd name="connsiteY47" fmla="*/ 9091 h 10000"/>
                <a:gd name="connsiteX48" fmla="*/ 10000 w 10000"/>
                <a:gd name="connsiteY48" fmla="*/ 8252 h 10000"/>
                <a:gd name="connsiteX49" fmla="*/ 10000 w 10000"/>
                <a:gd name="connsiteY49" fmla="*/ 6643 h 10000"/>
                <a:gd name="connsiteX50" fmla="*/ 9948 w 10000"/>
                <a:gd name="connsiteY50" fmla="*/ 6294 h 10000"/>
                <a:gd name="connsiteX51" fmla="*/ 9923 w 10000"/>
                <a:gd name="connsiteY51" fmla="*/ 5944 h 10000"/>
                <a:gd name="connsiteX52" fmla="*/ 9871 w 10000"/>
                <a:gd name="connsiteY52" fmla="*/ 5734 h 10000"/>
                <a:gd name="connsiteX53" fmla="*/ 9768 w 10000"/>
                <a:gd name="connsiteY53" fmla="*/ 5455 h 10000"/>
                <a:gd name="connsiteX0" fmla="*/ 9768 w 10000"/>
                <a:gd name="connsiteY0" fmla="*/ 5455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1985 w 10000"/>
                <a:gd name="connsiteY23" fmla="*/ 9720 h 10000"/>
                <a:gd name="connsiteX24" fmla="*/ 2216 w 10000"/>
                <a:gd name="connsiteY24" fmla="*/ 9091 h 10000"/>
                <a:gd name="connsiteX25" fmla="*/ 2320 w 10000"/>
                <a:gd name="connsiteY25" fmla="*/ 8252 h 10000"/>
                <a:gd name="connsiteX26" fmla="*/ 2320 w 10000"/>
                <a:gd name="connsiteY26" fmla="*/ 6643 h 10000"/>
                <a:gd name="connsiteX27" fmla="*/ 2216 w 10000"/>
                <a:gd name="connsiteY27" fmla="*/ 5944 h 10000"/>
                <a:gd name="connsiteX28" fmla="*/ 2062 w 10000"/>
                <a:gd name="connsiteY28" fmla="*/ 5385 h 10000"/>
                <a:gd name="connsiteX29" fmla="*/ 1804 w 10000"/>
                <a:gd name="connsiteY29" fmla="*/ 5035 h 10000"/>
                <a:gd name="connsiteX30" fmla="*/ 1985 w 10000"/>
                <a:gd name="connsiteY30" fmla="*/ 4755 h 10000"/>
                <a:gd name="connsiteX31" fmla="*/ 2629 w 10000"/>
                <a:gd name="connsiteY31" fmla="*/ 3986 h 10000"/>
                <a:gd name="connsiteX32" fmla="*/ 3351 w 10000"/>
                <a:gd name="connsiteY32" fmla="*/ 3427 h 10000"/>
                <a:gd name="connsiteX33" fmla="*/ 4149 w 10000"/>
                <a:gd name="connsiteY33" fmla="*/ 3077 h 10000"/>
                <a:gd name="connsiteX34" fmla="*/ 4974 w 10000"/>
                <a:gd name="connsiteY34" fmla="*/ 3007 h 10000"/>
                <a:gd name="connsiteX35" fmla="*/ 5825 w 10000"/>
                <a:gd name="connsiteY35" fmla="*/ 3077 h 10000"/>
                <a:gd name="connsiteX36" fmla="*/ 6624 w 10000"/>
                <a:gd name="connsiteY36" fmla="*/ 3427 h 10000"/>
                <a:gd name="connsiteX37" fmla="*/ 7345 w 10000"/>
                <a:gd name="connsiteY37" fmla="*/ 3986 h 10000"/>
                <a:gd name="connsiteX38" fmla="*/ 7990 w 10000"/>
                <a:gd name="connsiteY38" fmla="*/ 4755 h 10000"/>
                <a:gd name="connsiteX39" fmla="*/ 8170 w 10000"/>
                <a:gd name="connsiteY39" fmla="*/ 5035 h 10000"/>
                <a:gd name="connsiteX40" fmla="*/ 7706 w 10000"/>
                <a:gd name="connsiteY40" fmla="*/ 6643 h 10000"/>
                <a:gd name="connsiteX41" fmla="*/ 7706 w 10000"/>
                <a:gd name="connsiteY41" fmla="*/ 8252 h 10000"/>
                <a:gd name="connsiteX42" fmla="*/ 7990 w 10000"/>
                <a:gd name="connsiteY42" fmla="*/ 9720 h 10000"/>
                <a:gd name="connsiteX43" fmla="*/ 8299 w 10000"/>
                <a:gd name="connsiteY43" fmla="*/ 10000 h 10000"/>
                <a:gd name="connsiteX44" fmla="*/ 9356 w 10000"/>
                <a:gd name="connsiteY44" fmla="*/ 10000 h 10000"/>
                <a:gd name="connsiteX45" fmla="*/ 9665 w 10000"/>
                <a:gd name="connsiteY45" fmla="*/ 9720 h 10000"/>
                <a:gd name="connsiteX46" fmla="*/ 9897 w 10000"/>
                <a:gd name="connsiteY46" fmla="*/ 9091 h 10000"/>
                <a:gd name="connsiteX47" fmla="*/ 10000 w 10000"/>
                <a:gd name="connsiteY47" fmla="*/ 8252 h 10000"/>
                <a:gd name="connsiteX48" fmla="*/ 10000 w 10000"/>
                <a:gd name="connsiteY48" fmla="*/ 6643 h 10000"/>
                <a:gd name="connsiteX49" fmla="*/ 9948 w 10000"/>
                <a:gd name="connsiteY49" fmla="*/ 6294 h 10000"/>
                <a:gd name="connsiteX50" fmla="*/ 9923 w 10000"/>
                <a:gd name="connsiteY50" fmla="*/ 5944 h 10000"/>
                <a:gd name="connsiteX51" fmla="*/ 9871 w 10000"/>
                <a:gd name="connsiteY51" fmla="*/ 5734 h 10000"/>
                <a:gd name="connsiteX52" fmla="*/ 9768 w 10000"/>
                <a:gd name="connsiteY52" fmla="*/ 5455 h 10000"/>
                <a:gd name="connsiteX0" fmla="*/ 9768 w 10000"/>
                <a:gd name="connsiteY0" fmla="*/ 5455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1985 w 10000"/>
                <a:gd name="connsiteY23" fmla="*/ 9720 h 10000"/>
                <a:gd name="connsiteX24" fmla="*/ 2216 w 10000"/>
                <a:gd name="connsiteY24" fmla="*/ 9091 h 10000"/>
                <a:gd name="connsiteX25" fmla="*/ 2320 w 10000"/>
                <a:gd name="connsiteY25" fmla="*/ 8252 h 10000"/>
                <a:gd name="connsiteX26" fmla="*/ 2320 w 10000"/>
                <a:gd name="connsiteY26" fmla="*/ 6643 h 10000"/>
                <a:gd name="connsiteX27" fmla="*/ 2216 w 10000"/>
                <a:gd name="connsiteY27" fmla="*/ 5944 h 10000"/>
                <a:gd name="connsiteX28" fmla="*/ 2062 w 10000"/>
                <a:gd name="connsiteY28" fmla="*/ 5385 h 10000"/>
                <a:gd name="connsiteX29" fmla="*/ 1804 w 10000"/>
                <a:gd name="connsiteY29" fmla="*/ 5035 h 10000"/>
                <a:gd name="connsiteX30" fmla="*/ 1985 w 10000"/>
                <a:gd name="connsiteY30" fmla="*/ 4755 h 10000"/>
                <a:gd name="connsiteX31" fmla="*/ 2629 w 10000"/>
                <a:gd name="connsiteY31" fmla="*/ 3986 h 10000"/>
                <a:gd name="connsiteX32" fmla="*/ 3351 w 10000"/>
                <a:gd name="connsiteY32" fmla="*/ 3427 h 10000"/>
                <a:gd name="connsiteX33" fmla="*/ 4149 w 10000"/>
                <a:gd name="connsiteY33" fmla="*/ 3077 h 10000"/>
                <a:gd name="connsiteX34" fmla="*/ 4974 w 10000"/>
                <a:gd name="connsiteY34" fmla="*/ 3007 h 10000"/>
                <a:gd name="connsiteX35" fmla="*/ 5825 w 10000"/>
                <a:gd name="connsiteY35" fmla="*/ 3077 h 10000"/>
                <a:gd name="connsiteX36" fmla="*/ 6624 w 10000"/>
                <a:gd name="connsiteY36" fmla="*/ 3427 h 10000"/>
                <a:gd name="connsiteX37" fmla="*/ 7345 w 10000"/>
                <a:gd name="connsiteY37" fmla="*/ 3986 h 10000"/>
                <a:gd name="connsiteX38" fmla="*/ 7990 w 10000"/>
                <a:gd name="connsiteY38" fmla="*/ 4755 h 10000"/>
                <a:gd name="connsiteX39" fmla="*/ 8170 w 10000"/>
                <a:gd name="connsiteY39" fmla="*/ 5035 h 10000"/>
                <a:gd name="connsiteX40" fmla="*/ 7706 w 10000"/>
                <a:gd name="connsiteY40" fmla="*/ 6643 h 10000"/>
                <a:gd name="connsiteX41" fmla="*/ 7706 w 10000"/>
                <a:gd name="connsiteY41" fmla="*/ 8252 h 10000"/>
                <a:gd name="connsiteX42" fmla="*/ 8299 w 10000"/>
                <a:gd name="connsiteY42" fmla="*/ 10000 h 10000"/>
                <a:gd name="connsiteX43" fmla="*/ 9356 w 10000"/>
                <a:gd name="connsiteY43" fmla="*/ 10000 h 10000"/>
                <a:gd name="connsiteX44" fmla="*/ 9665 w 10000"/>
                <a:gd name="connsiteY44" fmla="*/ 9720 h 10000"/>
                <a:gd name="connsiteX45" fmla="*/ 9897 w 10000"/>
                <a:gd name="connsiteY45" fmla="*/ 9091 h 10000"/>
                <a:gd name="connsiteX46" fmla="*/ 10000 w 10000"/>
                <a:gd name="connsiteY46" fmla="*/ 8252 h 10000"/>
                <a:gd name="connsiteX47" fmla="*/ 10000 w 10000"/>
                <a:gd name="connsiteY47" fmla="*/ 6643 h 10000"/>
                <a:gd name="connsiteX48" fmla="*/ 9948 w 10000"/>
                <a:gd name="connsiteY48" fmla="*/ 6294 h 10000"/>
                <a:gd name="connsiteX49" fmla="*/ 9923 w 10000"/>
                <a:gd name="connsiteY49" fmla="*/ 5944 h 10000"/>
                <a:gd name="connsiteX50" fmla="*/ 9871 w 10000"/>
                <a:gd name="connsiteY50" fmla="*/ 5734 h 10000"/>
                <a:gd name="connsiteX51" fmla="*/ 9768 w 10000"/>
                <a:gd name="connsiteY51" fmla="*/ 5455 h 10000"/>
                <a:gd name="connsiteX0" fmla="*/ 9768 w 10000"/>
                <a:gd name="connsiteY0" fmla="*/ 5455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1985 w 10000"/>
                <a:gd name="connsiteY23" fmla="*/ 9720 h 10000"/>
                <a:gd name="connsiteX24" fmla="*/ 2216 w 10000"/>
                <a:gd name="connsiteY24" fmla="*/ 9091 h 10000"/>
                <a:gd name="connsiteX25" fmla="*/ 2320 w 10000"/>
                <a:gd name="connsiteY25" fmla="*/ 8252 h 10000"/>
                <a:gd name="connsiteX26" fmla="*/ 2320 w 10000"/>
                <a:gd name="connsiteY26" fmla="*/ 6643 h 10000"/>
                <a:gd name="connsiteX27" fmla="*/ 2216 w 10000"/>
                <a:gd name="connsiteY27" fmla="*/ 5944 h 10000"/>
                <a:gd name="connsiteX28" fmla="*/ 2062 w 10000"/>
                <a:gd name="connsiteY28" fmla="*/ 5385 h 10000"/>
                <a:gd name="connsiteX29" fmla="*/ 1804 w 10000"/>
                <a:gd name="connsiteY29" fmla="*/ 5035 h 10000"/>
                <a:gd name="connsiteX30" fmla="*/ 1985 w 10000"/>
                <a:gd name="connsiteY30" fmla="*/ 4755 h 10000"/>
                <a:gd name="connsiteX31" fmla="*/ 2629 w 10000"/>
                <a:gd name="connsiteY31" fmla="*/ 3986 h 10000"/>
                <a:gd name="connsiteX32" fmla="*/ 3351 w 10000"/>
                <a:gd name="connsiteY32" fmla="*/ 3427 h 10000"/>
                <a:gd name="connsiteX33" fmla="*/ 4149 w 10000"/>
                <a:gd name="connsiteY33" fmla="*/ 3077 h 10000"/>
                <a:gd name="connsiteX34" fmla="*/ 4974 w 10000"/>
                <a:gd name="connsiteY34" fmla="*/ 3007 h 10000"/>
                <a:gd name="connsiteX35" fmla="*/ 5825 w 10000"/>
                <a:gd name="connsiteY35" fmla="*/ 3077 h 10000"/>
                <a:gd name="connsiteX36" fmla="*/ 6624 w 10000"/>
                <a:gd name="connsiteY36" fmla="*/ 3427 h 10000"/>
                <a:gd name="connsiteX37" fmla="*/ 7345 w 10000"/>
                <a:gd name="connsiteY37" fmla="*/ 3986 h 10000"/>
                <a:gd name="connsiteX38" fmla="*/ 7990 w 10000"/>
                <a:gd name="connsiteY38" fmla="*/ 4755 h 10000"/>
                <a:gd name="connsiteX39" fmla="*/ 8170 w 10000"/>
                <a:gd name="connsiteY39" fmla="*/ 5035 h 10000"/>
                <a:gd name="connsiteX40" fmla="*/ 7706 w 10000"/>
                <a:gd name="connsiteY40" fmla="*/ 6643 h 10000"/>
                <a:gd name="connsiteX41" fmla="*/ 7706 w 10000"/>
                <a:gd name="connsiteY41" fmla="*/ 8252 h 10000"/>
                <a:gd name="connsiteX42" fmla="*/ 8299 w 10000"/>
                <a:gd name="connsiteY42" fmla="*/ 10000 h 10000"/>
                <a:gd name="connsiteX43" fmla="*/ 9356 w 10000"/>
                <a:gd name="connsiteY43" fmla="*/ 10000 h 10000"/>
                <a:gd name="connsiteX44" fmla="*/ 9897 w 10000"/>
                <a:gd name="connsiteY44" fmla="*/ 9091 h 10000"/>
                <a:gd name="connsiteX45" fmla="*/ 10000 w 10000"/>
                <a:gd name="connsiteY45" fmla="*/ 8252 h 10000"/>
                <a:gd name="connsiteX46" fmla="*/ 10000 w 10000"/>
                <a:gd name="connsiteY46" fmla="*/ 6643 h 10000"/>
                <a:gd name="connsiteX47" fmla="*/ 9948 w 10000"/>
                <a:gd name="connsiteY47" fmla="*/ 6294 h 10000"/>
                <a:gd name="connsiteX48" fmla="*/ 9923 w 10000"/>
                <a:gd name="connsiteY48" fmla="*/ 5944 h 10000"/>
                <a:gd name="connsiteX49" fmla="*/ 9871 w 10000"/>
                <a:gd name="connsiteY49" fmla="*/ 5734 h 10000"/>
                <a:gd name="connsiteX50" fmla="*/ 9768 w 10000"/>
                <a:gd name="connsiteY50" fmla="*/ 5455 h 10000"/>
                <a:gd name="connsiteX0" fmla="*/ 9768 w 10000"/>
                <a:gd name="connsiteY0" fmla="*/ 5455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1985 w 10000"/>
                <a:gd name="connsiteY23" fmla="*/ 9720 h 10000"/>
                <a:gd name="connsiteX24" fmla="*/ 2216 w 10000"/>
                <a:gd name="connsiteY24" fmla="*/ 9091 h 10000"/>
                <a:gd name="connsiteX25" fmla="*/ 2320 w 10000"/>
                <a:gd name="connsiteY25" fmla="*/ 8252 h 10000"/>
                <a:gd name="connsiteX26" fmla="*/ 2320 w 10000"/>
                <a:gd name="connsiteY26" fmla="*/ 6643 h 10000"/>
                <a:gd name="connsiteX27" fmla="*/ 2216 w 10000"/>
                <a:gd name="connsiteY27" fmla="*/ 5944 h 10000"/>
                <a:gd name="connsiteX28" fmla="*/ 2062 w 10000"/>
                <a:gd name="connsiteY28" fmla="*/ 5385 h 10000"/>
                <a:gd name="connsiteX29" fmla="*/ 1804 w 10000"/>
                <a:gd name="connsiteY29" fmla="*/ 5035 h 10000"/>
                <a:gd name="connsiteX30" fmla="*/ 1985 w 10000"/>
                <a:gd name="connsiteY30" fmla="*/ 4755 h 10000"/>
                <a:gd name="connsiteX31" fmla="*/ 2629 w 10000"/>
                <a:gd name="connsiteY31" fmla="*/ 3986 h 10000"/>
                <a:gd name="connsiteX32" fmla="*/ 3351 w 10000"/>
                <a:gd name="connsiteY32" fmla="*/ 3427 h 10000"/>
                <a:gd name="connsiteX33" fmla="*/ 4149 w 10000"/>
                <a:gd name="connsiteY33" fmla="*/ 3077 h 10000"/>
                <a:gd name="connsiteX34" fmla="*/ 4974 w 10000"/>
                <a:gd name="connsiteY34" fmla="*/ 3007 h 10000"/>
                <a:gd name="connsiteX35" fmla="*/ 5825 w 10000"/>
                <a:gd name="connsiteY35" fmla="*/ 3077 h 10000"/>
                <a:gd name="connsiteX36" fmla="*/ 6624 w 10000"/>
                <a:gd name="connsiteY36" fmla="*/ 3427 h 10000"/>
                <a:gd name="connsiteX37" fmla="*/ 7345 w 10000"/>
                <a:gd name="connsiteY37" fmla="*/ 3986 h 10000"/>
                <a:gd name="connsiteX38" fmla="*/ 7990 w 10000"/>
                <a:gd name="connsiteY38" fmla="*/ 4755 h 10000"/>
                <a:gd name="connsiteX39" fmla="*/ 8170 w 10000"/>
                <a:gd name="connsiteY39" fmla="*/ 5035 h 10000"/>
                <a:gd name="connsiteX40" fmla="*/ 7706 w 10000"/>
                <a:gd name="connsiteY40" fmla="*/ 6643 h 10000"/>
                <a:gd name="connsiteX41" fmla="*/ 7706 w 10000"/>
                <a:gd name="connsiteY41" fmla="*/ 8252 h 10000"/>
                <a:gd name="connsiteX42" fmla="*/ 8299 w 10000"/>
                <a:gd name="connsiteY42" fmla="*/ 10000 h 10000"/>
                <a:gd name="connsiteX43" fmla="*/ 9356 w 10000"/>
                <a:gd name="connsiteY43" fmla="*/ 10000 h 10000"/>
                <a:gd name="connsiteX44" fmla="*/ 10000 w 10000"/>
                <a:gd name="connsiteY44" fmla="*/ 8252 h 10000"/>
                <a:gd name="connsiteX45" fmla="*/ 10000 w 10000"/>
                <a:gd name="connsiteY45" fmla="*/ 6643 h 10000"/>
                <a:gd name="connsiteX46" fmla="*/ 9948 w 10000"/>
                <a:gd name="connsiteY46" fmla="*/ 6294 h 10000"/>
                <a:gd name="connsiteX47" fmla="*/ 9923 w 10000"/>
                <a:gd name="connsiteY47" fmla="*/ 5944 h 10000"/>
                <a:gd name="connsiteX48" fmla="*/ 9871 w 10000"/>
                <a:gd name="connsiteY48" fmla="*/ 5734 h 10000"/>
                <a:gd name="connsiteX49" fmla="*/ 9768 w 10000"/>
                <a:gd name="connsiteY49" fmla="*/ 5455 h 10000"/>
                <a:gd name="connsiteX0" fmla="*/ 9768 w 10000"/>
                <a:gd name="connsiteY0" fmla="*/ 5455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1985 w 10000"/>
                <a:gd name="connsiteY23" fmla="*/ 9720 h 10000"/>
                <a:gd name="connsiteX24" fmla="*/ 2216 w 10000"/>
                <a:gd name="connsiteY24" fmla="*/ 9091 h 10000"/>
                <a:gd name="connsiteX25" fmla="*/ 2320 w 10000"/>
                <a:gd name="connsiteY25" fmla="*/ 8252 h 10000"/>
                <a:gd name="connsiteX26" fmla="*/ 2320 w 10000"/>
                <a:gd name="connsiteY26" fmla="*/ 6643 h 10000"/>
                <a:gd name="connsiteX27" fmla="*/ 2216 w 10000"/>
                <a:gd name="connsiteY27" fmla="*/ 5944 h 10000"/>
                <a:gd name="connsiteX28" fmla="*/ 2062 w 10000"/>
                <a:gd name="connsiteY28" fmla="*/ 5385 h 10000"/>
                <a:gd name="connsiteX29" fmla="*/ 1804 w 10000"/>
                <a:gd name="connsiteY29" fmla="*/ 5035 h 10000"/>
                <a:gd name="connsiteX30" fmla="*/ 1985 w 10000"/>
                <a:gd name="connsiteY30" fmla="*/ 4755 h 10000"/>
                <a:gd name="connsiteX31" fmla="*/ 2629 w 10000"/>
                <a:gd name="connsiteY31" fmla="*/ 3986 h 10000"/>
                <a:gd name="connsiteX32" fmla="*/ 3351 w 10000"/>
                <a:gd name="connsiteY32" fmla="*/ 3427 h 10000"/>
                <a:gd name="connsiteX33" fmla="*/ 4149 w 10000"/>
                <a:gd name="connsiteY33" fmla="*/ 3077 h 10000"/>
                <a:gd name="connsiteX34" fmla="*/ 4974 w 10000"/>
                <a:gd name="connsiteY34" fmla="*/ 3007 h 10000"/>
                <a:gd name="connsiteX35" fmla="*/ 5825 w 10000"/>
                <a:gd name="connsiteY35" fmla="*/ 3077 h 10000"/>
                <a:gd name="connsiteX36" fmla="*/ 6624 w 10000"/>
                <a:gd name="connsiteY36" fmla="*/ 3427 h 10000"/>
                <a:gd name="connsiteX37" fmla="*/ 7345 w 10000"/>
                <a:gd name="connsiteY37" fmla="*/ 3986 h 10000"/>
                <a:gd name="connsiteX38" fmla="*/ 7990 w 10000"/>
                <a:gd name="connsiteY38" fmla="*/ 4755 h 10000"/>
                <a:gd name="connsiteX39" fmla="*/ 8170 w 10000"/>
                <a:gd name="connsiteY39" fmla="*/ 5035 h 10000"/>
                <a:gd name="connsiteX40" fmla="*/ 7706 w 10000"/>
                <a:gd name="connsiteY40" fmla="*/ 6643 h 10000"/>
                <a:gd name="connsiteX41" fmla="*/ 7706 w 10000"/>
                <a:gd name="connsiteY41" fmla="*/ 8252 h 10000"/>
                <a:gd name="connsiteX42" fmla="*/ 8299 w 10000"/>
                <a:gd name="connsiteY42" fmla="*/ 10000 h 10000"/>
                <a:gd name="connsiteX43" fmla="*/ 9356 w 10000"/>
                <a:gd name="connsiteY43" fmla="*/ 10000 h 10000"/>
                <a:gd name="connsiteX44" fmla="*/ 10000 w 10000"/>
                <a:gd name="connsiteY44" fmla="*/ 8252 h 10000"/>
                <a:gd name="connsiteX45" fmla="*/ 10000 w 10000"/>
                <a:gd name="connsiteY45" fmla="*/ 6643 h 10000"/>
                <a:gd name="connsiteX46" fmla="*/ 9948 w 10000"/>
                <a:gd name="connsiteY46" fmla="*/ 6294 h 10000"/>
                <a:gd name="connsiteX47" fmla="*/ 9923 w 10000"/>
                <a:gd name="connsiteY47" fmla="*/ 5944 h 10000"/>
                <a:gd name="connsiteX48" fmla="*/ 9871 w 10000"/>
                <a:gd name="connsiteY48" fmla="*/ 5734 h 10000"/>
                <a:gd name="connsiteX49" fmla="*/ 9768 w 10000"/>
                <a:gd name="connsiteY49" fmla="*/ 5455 h 10000"/>
                <a:gd name="connsiteX0" fmla="*/ 9768 w 10000"/>
                <a:gd name="connsiteY0" fmla="*/ 5455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1985 w 10000"/>
                <a:gd name="connsiteY23" fmla="*/ 9720 h 10000"/>
                <a:gd name="connsiteX24" fmla="*/ 2216 w 10000"/>
                <a:gd name="connsiteY24" fmla="*/ 9091 h 10000"/>
                <a:gd name="connsiteX25" fmla="*/ 2320 w 10000"/>
                <a:gd name="connsiteY25" fmla="*/ 8252 h 10000"/>
                <a:gd name="connsiteX26" fmla="*/ 2320 w 10000"/>
                <a:gd name="connsiteY26" fmla="*/ 6643 h 10000"/>
                <a:gd name="connsiteX27" fmla="*/ 2216 w 10000"/>
                <a:gd name="connsiteY27" fmla="*/ 5944 h 10000"/>
                <a:gd name="connsiteX28" fmla="*/ 2062 w 10000"/>
                <a:gd name="connsiteY28" fmla="*/ 5385 h 10000"/>
                <a:gd name="connsiteX29" fmla="*/ 1804 w 10000"/>
                <a:gd name="connsiteY29" fmla="*/ 5035 h 10000"/>
                <a:gd name="connsiteX30" fmla="*/ 1985 w 10000"/>
                <a:gd name="connsiteY30" fmla="*/ 4755 h 10000"/>
                <a:gd name="connsiteX31" fmla="*/ 2629 w 10000"/>
                <a:gd name="connsiteY31" fmla="*/ 3986 h 10000"/>
                <a:gd name="connsiteX32" fmla="*/ 3351 w 10000"/>
                <a:gd name="connsiteY32" fmla="*/ 3427 h 10000"/>
                <a:gd name="connsiteX33" fmla="*/ 4149 w 10000"/>
                <a:gd name="connsiteY33" fmla="*/ 3077 h 10000"/>
                <a:gd name="connsiteX34" fmla="*/ 4974 w 10000"/>
                <a:gd name="connsiteY34" fmla="*/ 3007 h 10000"/>
                <a:gd name="connsiteX35" fmla="*/ 5825 w 10000"/>
                <a:gd name="connsiteY35" fmla="*/ 3077 h 10000"/>
                <a:gd name="connsiteX36" fmla="*/ 6624 w 10000"/>
                <a:gd name="connsiteY36" fmla="*/ 3427 h 10000"/>
                <a:gd name="connsiteX37" fmla="*/ 7345 w 10000"/>
                <a:gd name="connsiteY37" fmla="*/ 3986 h 10000"/>
                <a:gd name="connsiteX38" fmla="*/ 7990 w 10000"/>
                <a:gd name="connsiteY38" fmla="*/ 4755 h 10000"/>
                <a:gd name="connsiteX39" fmla="*/ 8170 w 10000"/>
                <a:gd name="connsiteY39" fmla="*/ 5035 h 10000"/>
                <a:gd name="connsiteX40" fmla="*/ 7706 w 10000"/>
                <a:gd name="connsiteY40" fmla="*/ 6643 h 10000"/>
                <a:gd name="connsiteX41" fmla="*/ 7706 w 10000"/>
                <a:gd name="connsiteY41" fmla="*/ 8252 h 10000"/>
                <a:gd name="connsiteX42" fmla="*/ 8299 w 10000"/>
                <a:gd name="connsiteY42" fmla="*/ 10000 h 10000"/>
                <a:gd name="connsiteX43" fmla="*/ 9356 w 10000"/>
                <a:gd name="connsiteY43" fmla="*/ 10000 h 10000"/>
                <a:gd name="connsiteX44" fmla="*/ 10000 w 10000"/>
                <a:gd name="connsiteY44" fmla="*/ 8252 h 10000"/>
                <a:gd name="connsiteX45" fmla="*/ 10000 w 10000"/>
                <a:gd name="connsiteY45" fmla="*/ 6643 h 10000"/>
                <a:gd name="connsiteX46" fmla="*/ 9948 w 10000"/>
                <a:gd name="connsiteY46" fmla="*/ 6294 h 10000"/>
                <a:gd name="connsiteX47" fmla="*/ 9923 w 10000"/>
                <a:gd name="connsiteY47" fmla="*/ 5944 h 10000"/>
                <a:gd name="connsiteX48" fmla="*/ 9871 w 10000"/>
                <a:gd name="connsiteY48" fmla="*/ 5734 h 10000"/>
                <a:gd name="connsiteX49" fmla="*/ 9768 w 10000"/>
                <a:gd name="connsiteY49" fmla="*/ 5455 h 10000"/>
                <a:gd name="connsiteX0" fmla="*/ 9768 w 10000"/>
                <a:gd name="connsiteY0" fmla="*/ 5455 h 10044"/>
                <a:gd name="connsiteX1" fmla="*/ 9459 w 10000"/>
                <a:gd name="connsiteY1" fmla="*/ 4196 h 10044"/>
                <a:gd name="connsiteX2" fmla="*/ 8969 w 10000"/>
                <a:gd name="connsiteY2" fmla="*/ 3007 h 10044"/>
                <a:gd name="connsiteX3" fmla="*/ 8351 w 10000"/>
                <a:gd name="connsiteY3" fmla="*/ 1958 h 10044"/>
                <a:gd name="connsiteX4" fmla="*/ 7629 w 10000"/>
                <a:gd name="connsiteY4" fmla="*/ 1189 h 10044"/>
                <a:gd name="connsiteX5" fmla="*/ 6830 w 10000"/>
                <a:gd name="connsiteY5" fmla="*/ 490 h 10044"/>
                <a:gd name="connsiteX6" fmla="*/ 5954 w 10000"/>
                <a:gd name="connsiteY6" fmla="*/ 210 h 10044"/>
                <a:gd name="connsiteX7" fmla="*/ 4974 w 10000"/>
                <a:gd name="connsiteY7" fmla="*/ 0 h 10044"/>
                <a:gd name="connsiteX8" fmla="*/ 4046 w 10000"/>
                <a:gd name="connsiteY8" fmla="*/ 210 h 10044"/>
                <a:gd name="connsiteX9" fmla="*/ 3119 w 10000"/>
                <a:gd name="connsiteY9" fmla="*/ 490 h 10044"/>
                <a:gd name="connsiteX10" fmla="*/ 2320 w 10000"/>
                <a:gd name="connsiteY10" fmla="*/ 1189 h 10044"/>
                <a:gd name="connsiteX11" fmla="*/ 1598 w 10000"/>
                <a:gd name="connsiteY11" fmla="*/ 2028 h 10044"/>
                <a:gd name="connsiteX12" fmla="*/ 1005 w 10000"/>
                <a:gd name="connsiteY12" fmla="*/ 3077 h 10044"/>
                <a:gd name="connsiteX13" fmla="*/ 490 w 10000"/>
                <a:gd name="connsiteY13" fmla="*/ 4266 h 10044"/>
                <a:gd name="connsiteX14" fmla="*/ 180 w 10000"/>
                <a:gd name="connsiteY14" fmla="*/ 5524 h 10044"/>
                <a:gd name="connsiteX15" fmla="*/ 77 w 10000"/>
                <a:gd name="connsiteY15" fmla="*/ 5874 h 10044"/>
                <a:gd name="connsiteX16" fmla="*/ 26 w 10000"/>
                <a:gd name="connsiteY16" fmla="*/ 6224 h 10044"/>
                <a:gd name="connsiteX17" fmla="*/ 0 w 10000"/>
                <a:gd name="connsiteY17" fmla="*/ 6643 h 10044"/>
                <a:gd name="connsiteX18" fmla="*/ 0 w 10000"/>
                <a:gd name="connsiteY18" fmla="*/ 8252 h 10044"/>
                <a:gd name="connsiteX19" fmla="*/ 77 w 10000"/>
                <a:gd name="connsiteY19" fmla="*/ 9091 h 10044"/>
                <a:gd name="connsiteX20" fmla="*/ 309 w 10000"/>
                <a:gd name="connsiteY20" fmla="*/ 9720 h 10044"/>
                <a:gd name="connsiteX21" fmla="*/ 619 w 10000"/>
                <a:gd name="connsiteY21" fmla="*/ 10000 h 10044"/>
                <a:gd name="connsiteX22" fmla="*/ 1675 w 10000"/>
                <a:gd name="connsiteY22" fmla="*/ 10000 h 10044"/>
                <a:gd name="connsiteX23" fmla="*/ 1985 w 10000"/>
                <a:gd name="connsiteY23" fmla="*/ 9720 h 10044"/>
                <a:gd name="connsiteX24" fmla="*/ 2216 w 10000"/>
                <a:gd name="connsiteY24" fmla="*/ 9091 h 10044"/>
                <a:gd name="connsiteX25" fmla="*/ 2320 w 10000"/>
                <a:gd name="connsiteY25" fmla="*/ 8252 h 10044"/>
                <a:gd name="connsiteX26" fmla="*/ 2320 w 10000"/>
                <a:gd name="connsiteY26" fmla="*/ 6643 h 10044"/>
                <a:gd name="connsiteX27" fmla="*/ 2216 w 10000"/>
                <a:gd name="connsiteY27" fmla="*/ 5944 h 10044"/>
                <a:gd name="connsiteX28" fmla="*/ 2062 w 10000"/>
                <a:gd name="connsiteY28" fmla="*/ 5385 h 10044"/>
                <a:gd name="connsiteX29" fmla="*/ 1804 w 10000"/>
                <a:gd name="connsiteY29" fmla="*/ 5035 h 10044"/>
                <a:gd name="connsiteX30" fmla="*/ 1985 w 10000"/>
                <a:gd name="connsiteY30" fmla="*/ 4755 h 10044"/>
                <a:gd name="connsiteX31" fmla="*/ 2629 w 10000"/>
                <a:gd name="connsiteY31" fmla="*/ 3986 h 10044"/>
                <a:gd name="connsiteX32" fmla="*/ 3351 w 10000"/>
                <a:gd name="connsiteY32" fmla="*/ 3427 h 10044"/>
                <a:gd name="connsiteX33" fmla="*/ 4149 w 10000"/>
                <a:gd name="connsiteY33" fmla="*/ 3077 h 10044"/>
                <a:gd name="connsiteX34" fmla="*/ 4974 w 10000"/>
                <a:gd name="connsiteY34" fmla="*/ 3007 h 10044"/>
                <a:gd name="connsiteX35" fmla="*/ 5825 w 10000"/>
                <a:gd name="connsiteY35" fmla="*/ 3077 h 10044"/>
                <a:gd name="connsiteX36" fmla="*/ 6624 w 10000"/>
                <a:gd name="connsiteY36" fmla="*/ 3427 h 10044"/>
                <a:gd name="connsiteX37" fmla="*/ 7345 w 10000"/>
                <a:gd name="connsiteY37" fmla="*/ 3986 h 10044"/>
                <a:gd name="connsiteX38" fmla="*/ 7990 w 10000"/>
                <a:gd name="connsiteY38" fmla="*/ 4755 h 10044"/>
                <a:gd name="connsiteX39" fmla="*/ 8170 w 10000"/>
                <a:gd name="connsiteY39" fmla="*/ 5035 h 10044"/>
                <a:gd name="connsiteX40" fmla="*/ 7706 w 10000"/>
                <a:gd name="connsiteY40" fmla="*/ 6643 h 10044"/>
                <a:gd name="connsiteX41" fmla="*/ 7706 w 10000"/>
                <a:gd name="connsiteY41" fmla="*/ 8252 h 10044"/>
                <a:gd name="connsiteX42" fmla="*/ 8299 w 10000"/>
                <a:gd name="connsiteY42" fmla="*/ 10000 h 10044"/>
                <a:gd name="connsiteX43" fmla="*/ 9356 w 10000"/>
                <a:gd name="connsiteY43" fmla="*/ 10000 h 10044"/>
                <a:gd name="connsiteX44" fmla="*/ 10000 w 10000"/>
                <a:gd name="connsiteY44" fmla="*/ 8252 h 10044"/>
                <a:gd name="connsiteX45" fmla="*/ 10000 w 10000"/>
                <a:gd name="connsiteY45" fmla="*/ 6643 h 10044"/>
                <a:gd name="connsiteX46" fmla="*/ 9948 w 10000"/>
                <a:gd name="connsiteY46" fmla="*/ 6294 h 10044"/>
                <a:gd name="connsiteX47" fmla="*/ 9923 w 10000"/>
                <a:gd name="connsiteY47" fmla="*/ 5944 h 10044"/>
                <a:gd name="connsiteX48" fmla="*/ 9871 w 10000"/>
                <a:gd name="connsiteY48" fmla="*/ 5734 h 10044"/>
                <a:gd name="connsiteX49" fmla="*/ 9768 w 10000"/>
                <a:gd name="connsiteY49" fmla="*/ 5455 h 10044"/>
                <a:gd name="connsiteX0" fmla="*/ 9768 w 10000"/>
                <a:gd name="connsiteY0" fmla="*/ 5455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1985 w 10000"/>
                <a:gd name="connsiteY23" fmla="*/ 9720 h 10000"/>
                <a:gd name="connsiteX24" fmla="*/ 2216 w 10000"/>
                <a:gd name="connsiteY24" fmla="*/ 9091 h 10000"/>
                <a:gd name="connsiteX25" fmla="*/ 2320 w 10000"/>
                <a:gd name="connsiteY25" fmla="*/ 8252 h 10000"/>
                <a:gd name="connsiteX26" fmla="*/ 2320 w 10000"/>
                <a:gd name="connsiteY26" fmla="*/ 6643 h 10000"/>
                <a:gd name="connsiteX27" fmla="*/ 2216 w 10000"/>
                <a:gd name="connsiteY27" fmla="*/ 5944 h 10000"/>
                <a:gd name="connsiteX28" fmla="*/ 2062 w 10000"/>
                <a:gd name="connsiteY28" fmla="*/ 5385 h 10000"/>
                <a:gd name="connsiteX29" fmla="*/ 1804 w 10000"/>
                <a:gd name="connsiteY29" fmla="*/ 5035 h 10000"/>
                <a:gd name="connsiteX30" fmla="*/ 1985 w 10000"/>
                <a:gd name="connsiteY30" fmla="*/ 4755 h 10000"/>
                <a:gd name="connsiteX31" fmla="*/ 2629 w 10000"/>
                <a:gd name="connsiteY31" fmla="*/ 3986 h 10000"/>
                <a:gd name="connsiteX32" fmla="*/ 3351 w 10000"/>
                <a:gd name="connsiteY32" fmla="*/ 3427 h 10000"/>
                <a:gd name="connsiteX33" fmla="*/ 4149 w 10000"/>
                <a:gd name="connsiteY33" fmla="*/ 3077 h 10000"/>
                <a:gd name="connsiteX34" fmla="*/ 4974 w 10000"/>
                <a:gd name="connsiteY34" fmla="*/ 3007 h 10000"/>
                <a:gd name="connsiteX35" fmla="*/ 5825 w 10000"/>
                <a:gd name="connsiteY35" fmla="*/ 3077 h 10000"/>
                <a:gd name="connsiteX36" fmla="*/ 6624 w 10000"/>
                <a:gd name="connsiteY36" fmla="*/ 3427 h 10000"/>
                <a:gd name="connsiteX37" fmla="*/ 7345 w 10000"/>
                <a:gd name="connsiteY37" fmla="*/ 3986 h 10000"/>
                <a:gd name="connsiteX38" fmla="*/ 7990 w 10000"/>
                <a:gd name="connsiteY38" fmla="*/ 4755 h 10000"/>
                <a:gd name="connsiteX39" fmla="*/ 8170 w 10000"/>
                <a:gd name="connsiteY39" fmla="*/ 5035 h 10000"/>
                <a:gd name="connsiteX40" fmla="*/ 7706 w 10000"/>
                <a:gd name="connsiteY40" fmla="*/ 6643 h 10000"/>
                <a:gd name="connsiteX41" fmla="*/ 7706 w 10000"/>
                <a:gd name="connsiteY41" fmla="*/ 8252 h 10000"/>
                <a:gd name="connsiteX42" fmla="*/ 8299 w 10000"/>
                <a:gd name="connsiteY42" fmla="*/ 10000 h 10000"/>
                <a:gd name="connsiteX43" fmla="*/ 9356 w 10000"/>
                <a:gd name="connsiteY43" fmla="*/ 10000 h 10000"/>
                <a:gd name="connsiteX44" fmla="*/ 10000 w 10000"/>
                <a:gd name="connsiteY44" fmla="*/ 8252 h 10000"/>
                <a:gd name="connsiteX45" fmla="*/ 10000 w 10000"/>
                <a:gd name="connsiteY45" fmla="*/ 6643 h 10000"/>
                <a:gd name="connsiteX46" fmla="*/ 9948 w 10000"/>
                <a:gd name="connsiteY46" fmla="*/ 6294 h 10000"/>
                <a:gd name="connsiteX47" fmla="*/ 9923 w 10000"/>
                <a:gd name="connsiteY47" fmla="*/ 5944 h 10000"/>
                <a:gd name="connsiteX48" fmla="*/ 9871 w 10000"/>
                <a:gd name="connsiteY48" fmla="*/ 5734 h 10000"/>
                <a:gd name="connsiteX49" fmla="*/ 9768 w 10000"/>
                <a:gd name="connsiteY49" fmla="*/ 5455 h 10000"/>
                <a:gd name="connsiteX0" fmla="*/ 9871 w 10000"/>
                <a:gd name="connsiteY0" fmla="*/ 5734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1985 w 10000"/>
                <a:gd name="connsiteY23" fmla="*/ 9720 h 10000"/>
                <a:gd name="connsiteX24" fmla="*/ 2216 w 10000"/>
                <a:gd name="connsiteY24" fmla="*/ 9091 h 10000"/>
                <a:gd name="connsiteX25" fmla="*/ 2320 w 10000"/>
                <a:gd name="connsiteY25" fmla="*/ 8252 h 10000"/>
                <a:gd name="connsiteX26" fmla="*/ 2320 w 10000"/>
                <a:gd name="connsiteY26" fmla="*/ 6643 h 10000"/>
                <a:gd name="connsiteX27" fmla="*/ 2216 w 10000"/>
                <a:gd name="connsiteY27" fmla="*/ 5944 h 10000"/>
                <a:gd name="connsiteX28" fmla="*/ 2062 w 10000"/>
                <a:gd name="connsiteY28" fmla="*/ 5385 h 10000"/>
                <a:gd name="connsiteX29" fmla="*/ 1804 w 10000"/>
                <a:gd name="connsiteY29" fmla="*/ 5035 h 10000"/>
                <a:gd name="connsiteX30" fmla="*/ 1985 w 10000"/>
                <a:gd name="connsiteY30" fmla="*/ 4755 h 10000"/>
                <a:gd name="connsiteX31" fmla="*/ 2629 w 10000"/>
                <a:gd name="connsiteY31" fmla="*/ 3986 h 10000"/>
                <a:gd name="connsiteX32" fmla="*/ 3351 w 10000"/>
                <a:gd name="connsiteY32" fmla="*/ 3427 h 10000"/>
                <a:gd name="connsiteX33" fmla="*/ 4149 w 10000"/>
                <a:gd name="connsiteY33" fmla="*/ 3077 h 10000"/>
                <a:gd name="connsiteX34" fmla="*/ 4974 w 10000"/>
                <a:gd name="connsiteY34" fmla="*/ 3007 h 10000"/>
                <a:gd name="connsiteX35" fmla="*/ 5825 w 10000"/>
                <a:gd name="connsiteY35" fmla="*/ 3077 h 10000"/>
                <a:gd name="connsiteX36" fmla="*/ 6624 w 10000"/>
                <a:gd name="connsiteY36" fmla="*/ 3427 h 10000"/>
                <a:gd name="connsiteX37" fmla="*/ 7345 w 10000"/>
                <a:gd name="connsiteY37" fmla="*/ 3986 h 10000"/>
                <a:gd name="connsiteX38" fmla="*/ 7990 w 10000"/>
                <a:gd name="connsiteY38" fmla="*/ 4755 h 10000"/>
                <a:gd name="connsiteX39" fmla="*/ 8170 w 10000"/>
                <a:gd name="connsiteY39" fmla="*/ 5035 h 10000"/>
                <a:gd name="connsiteX40" fmla="*/ 7706 w 10000"/>
                <a:gd name="connsiteY40" fmla="*/ 6643 h 10000"/>
                <a:gd name="connsiteX41" fmla="*/ 7706 w 10000"/>
                <a:gd name="connsiteY41" fmla="*/ 8252 h 10000"/>
                <a:gd name="connsiteX42" fmla="*/ 8299 w 10000"/>
                <a:gd name="connsiteY42" fmla="*/ 10000 h 10000"/>
                <a:gd name="connsiteX43" fmla="*/ 9356 w 10000"/>
                <a:gd name="connsiteY43" fmla="*/ 10000 h 10000"/>
                <a:gd name="connsiteX44" fmla="*/ 10000 w 10000"/>
                <a:gd name="connsiteY44" fmla="*/ 8252 h 10000"/>
                <a:gd name="connsiteX45" fmla="*/ 10000 w 10000"/>
                <a:gd name="connsiteY45" fmla="*/ 6643 h 10000"/>
                <a:gd name="connsiteX46" fmla="*/ 9948 w 10000"/>
                <a:gd name="connsiteY46" fmla="*/ 6294 h 10000"/>
                <a:gd name="connsiteX47" fmla="*/ 9923 w 10000"/>
                <a:gd name="connsiteY47" fmla="*/ 5944 h 10000"/>
                <a:gd name="connsiteX48" fmla="*/ 9871 w 10000"/>
                <a:gd name="connsiteY48" fmla="*/ 5734 h 10000"/>
                <a:gd name="connsiteX0" fmla="*/ 9923 w 10000"/>
                <a:gd name="connsiteY0" fmla="*/ 5944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1985 w 10000"/>
                <a:gd name="connsiteY23" fmla="*/ 9720 h 10000"/>
                <a:gd name="connsiteX24" fmla="*/ 2216 w 10000"/>
                <a:gd name="connsiteY24" fmla="*/ 9091 h 10000"/>
                <a:gd name="connsiteX25" fmla="*/ 2320 w 10000"/>
                <a:gd name="connsiteY25" fmla="*/ 8252 h 10000"/>
                <a:gd name="connsiteX26" fmla="*/ 2320 w 10000"/>
                <a:gd name="connsiteY26" fmla="*/ 6643 h 10000"/>
                <a:gd name="connsiteX27" fmla="*/ 2216 w 10000"/>
                <a:gd name="connsiteY27" fmla="*/ 5944 h 10000"/>
                <a:gd name="connsiteX28" fmla="*/ 2062 w 10000"/>
                <a:gd name="connsiteY28" fmla="*/ 5385 h 10000"/>
                <a:gd name="connsiteX29" fmla="*/ 1804 w 10000"/>
                <a:gd name="connsiteY29" fmla="*/ 5035 h 10000"/>
                <a:gd name="connsiteX30" fmla="*/ 1985 w 10000"/>
                <a:gd name="connsiteY30" fmla="*/ 4755 h 10000"/>
                <a:gd name="connsiteX31" fmla="*/ 2629 w 10000"/>
                <a:gd name="connsiteY31" fmla="*/ 3986 h 10000"/>
                <a:gd name="connsiteX32" fmla="*/ 3351 w 10000"/>
                <a:gd name="connsiteY32" fmla="*/ 3427 h 10000"/>
                <a:gd name="connsiteX33" fmla="*/ 4149 w 10000"/>
                <a:gd name="connsiteY33" fmla="*/ 3077 h 10000"/>
                <a:gd name="connsiteX34" fmla="*/ 4974 w 10000"/>
                <a:gd name="connsiteY34" fmla="*/ 3007 h 10000"/>
                <a:gd name="connsiteX35" fmla="*/ 5825 w 10000"/>
                <a:gd name="connsiteY35" fmla="*/ 3077 h 10000"/>
                <a:gd name="connsiteX36" fmla="*/ 6624 w 10000"/>
                <a:gd name="connsiteY36" fmla="*/ 3427 h 10000"/>
                <a:gd name="connsiteX37" fmla="*/ 7345 w 10000"/>
                <a:gd name="connsiteY37" fmla="*/ 3986 h 10000"/>
                <a:gd name="connsiteX38" fmla="*/ 7990 w 10000"/>
                <a:gd name="connsiteY38" fmla="*/ 4755 h 10000"/>
                <a:gd name="connsiteX39" fmla="*/ 8170 w 10000"/>
                <a:gd name="connsiteY39" fmla="*/ 5035 h 10000"/>
                <a:gd name="connsiteX40" fmla="*/ 7706 w 10000"/>
                <a:gd name="connsiteY40" fmla="*/ 6643 h 10000"/>
                <a:gd name="connsiteX41" fmla="*/ 7706 w 10000"/>
                <a:gd name="connsiteY41" fmla="*/ 8252 h 10000"/>
                <a:gd name="connsiteX42" fmla="*/ 8299 w 10000"/>
                <a:gd name="connsiteY42" fmla="*/ 10000 h 10000"/>
                <a:gd name="connsiteX43" fmla="*/ 9356 w 10000"/>
                <a:gd name="connsiteY43" fmla="*/ 10000 h 10000"/>
                <a:gd name="connsiteX44" fmla="*/ 10000 w 10000"/>
                <a:gd name="connsiteY44" fmla="*/ 8252 h 10000"/>
                <a:gd name="connsiteX45" fmla="*/ 10000 w 10000"/>
                <a:gd name="connsiteY45" fmla="*/ 6643 h 10000"/>
                <a:gd name="connsiteX46" fmla="*/ 9948 w 10000"/>
                <a:gd name="connsiteY46" fmla="*/ 6294 h 10000"/>
                <a:gd name="connsiteX47" fmla="*/ 9923 w 10000"/>
                <a:gd name="connsiteY47" fmla="*/ 5944 h 10000"/>
                <a:gd name="connsiteX0" fmla="*/ 9948 w 10000"/>
                <a:gd name="connsiteY0" fmla="*/ 6294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1985 w 10000"/>
                <a:gd name="connsiteY23" fmla="*/ 9720 h 10000"/>
                <a:gd name="connsiteX24" fmla="*/ 2216 w 10000"/>
                <a:gd name="connsiteY24" fmla="*/ 9091 h 10000"/>
                <a:gd name="connsiteX25" fmla="*/ 2320 w 10000"/>
                <a:gd name="connsiteY25" fmla="*/ 8252 h 10000"/>
                <a:gd name="connsiteX26" fmla="*/ 2320 w 10000"/>
                <a:gd name="connsiteY26" fmla="*/ 6643 h 10000"/>
                <a:gd name="connsiteX27" fmla="*/ 2216 w 10000"/>
                <a:gd name="connsiteY27" fmla="*/ 5944 h 10000"/>
                <a:gd name="connsiteX28" fmla="*/ 2062 w 10000"/>
                <a:gd name="connsiteY28" fmla="*/ 5385 h 10000"/>
                <a:gd name="connsiteX29" fmla="*/ 1804 w 10000"/>
                <a:gd name="connsiteY29" fmla="*/ 5035 h 10000"/>
                <a:gd name="connsiteX30" fmla="*/ 1985 w 10000"/>
                <a:gd name="connsiteY30" fmla="*/ 4755 h 10000"/>
                <a:gd name="connsiteX31" fmla="*/ 2629 w 10000"/>
                <a:gd name="connsiteY31" fmla="*/ 3986 h 10000"/>
                <a:gd name="connsiteX32" fmla="*/ 3351 w 10000"/>
                <a:gd name="connsiteY32" fmla="*/ 3427 h 10000"/>
                <a:gd name="connsiteX33" fmla="*/ 4149 w 10000"/>
                <a:gd name="connsiteY33" fmla="*/ 3077 h 10000"/>
                <a:gd name="connsiteX34" fmla="*/ 4974 w 10000"/>
                <a:gd name="connsiteY34" fmla="*/ 3007 h 10000"/>
                <a:gd name="connsiteX35" fmla="*/ 5825 w 10000"/>
                <a:gd name="connsiteY35" fmla="*/ 3077 h 10000"/>
                <a:gd name="connsiteX36" fmla="*/ 6624 w 10000"/>
                <a:gd name="connsiteY36" fmla="*/ 3427 h 10000"/>
                <a:gd name="connsiteX37" fmla="*/ 7345 w 10000"/>
                <a:gd name="connsiteY37" fmla="*/ 3986 h 10000"/>
                <a:gd name="connsiteX38" fmla="*/ 7990 w 10000"/>
                <a:gd name="connsiteY38" fmla="*/ 4755 h 10000"/>
                <a:gd name="connsiteX39" fmla="*/ 8170 w 10000"/>
                <a:gd name="connsiteY39" fmla="*/ 5035 h 10000"/>
                <a:gd name="connsiteX40" fmla="*/ 7706 w 10000"/>
                <a:gd name="connsiteY40" fmla="*/ 6643 h 10000"/>
                <a:gd name="connsiteX41" fmla="*/ 7706 w 10000"/>
                <a:gd name="connsiteY41" fmla="*/ 8252 h 10000"/>
                <a:gd name="connsiteX42" fmla="*/ 8299 w 10000"/>
                <a:gd name="connsiteY42" fmla="*/ 10000 h 10000"/>
                <a:gd name="connsiteX43" fmla="*/ 9356 w 10000"/>
                <a:gd name="connsiteY43" fmla="*/ 10000 h 10000"/>
                <a:gd name="connsiteX44" fmla="*/ 10000 w 10000"/>
                <a:gd name="connsiteY44" fmla="*/ 8252 h 10000"/>
                <a:gd name="connsiteX45" fmla="*/ 10000 w 10000"/>
                <a:gd name="connsiteY45" fmla="*/ 6643 h 10000"/>
                <a:gd name="connsiteX46" fmla="*/ 9948 w 10000"/>
                <a:gd name="connsiteY46" fmla="*/ 6294 h 10000"/>
                <a:gd name="connsiteX0" fmla="*/ 10000 w 10000"/>
                <a:gd name="connsiteY0" fmla="*/ 6643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1985 w 10000"/>
                <a:gd name="connsiteY23" fmla="*/ 9720 h 10000"/>
                <a:gd name="connsiteX24" fmla="*/ 2216 w 10000"/>
                <a:gd name="connsiteY24" fmla="*/ 9091 h 10000"/>
                <a:gd name="connsiteX25" fmla="*/ 2320 w 10000"/>
                <a:gd name="connsiteY25" fmla="*/ 8252 h 10000"/>
                <a:gd name="connsiteX26" fmla="*/ 2320 w 10000"/>
                <a:gd name="connsiteY26" fmla="*/ 6643 h 10000"/>
                <a:gd name="connsiteX27" fmla="*/ 2216 w 10000"/>
                <a:gd name="connsiteY27" fmla="*/ 5944 h 10000"/>
                <a:gd name="connsiteX28" fmla="*/ 2062 w 10000"/>
                <a:gd name="connsiteY28" fmla="*/ 5385 h 10000"/>
                <a:gd name="connsiteX29" fmla="*/ 1804 w 10000"/>
                <a:gd name="connsiteY29" fmla="*/ 5035 h 10000"/>
                <a:gd name="connsiteX30" fmla="*/ 1985 w 10000"/>
                <a:gd name="connsiteY30" fmla="*/ 4755 h 10000"/>
                <a:gd name="connsiteX31" fmla="*/ 2629 w 10000"/>
                <a:gd name="connsiteY31" fmla="*/ 3986 h 10000"/>
                <a:gd name="connsiteX32" fmla="*/ 3351 w 10000"/>
                <a:gd name="connsiteY32" fmla="*/ 3427 h 10000"/>
                <a:gd name="connsiteX33" fmla="*/ 4149 w 10000"/>
                <a:gd name="connsiteY33" fmla="*/ 3077 h 10000"/>
                <a:gd name="connsiteX34" fmla="*/ 4974 w 10000"/>
                <a:gd name="connsiteY34" fmla="*/ 3007 h 10000"/>
                <a:gd name="connsiteX35" fmla="*/ 5825 w 10000"/>
                <a:gd name="connsiteY35" fmla="*/ 3077 h 10000"/>
                <a:gd name="connsiteX36" fmla="*/ 6624 w 10000"/>
                <a:gd name="connsiteY36" fmla="*/ 3427 h 10000"/>
                <a:gd name="connsiteX37" fmla="*/ 7345 w 10000"/>
                <a:gd name="connsiteY37" fmla="*/ 3986 h 10000"/>
                <a:gd name="connsiteX38" fmla="*/ 7990 w 10000"/>
                <a:gd name="connsiteY38" fmla="*/ 4755 h 10000"/>
                <a:gd name="connsiteX39" fmla="*/ 8170 w 10000"/>
                <a:gd name="connsiteY39" fmla="*/ 5035 h 10000"/>
                <a:gd name="connsiteX40" fmla="*/ 7706 w 10000"/>
                <a:gd name="connsiteY40" fmla="*/ 6643 h 10000"/>
                <a:gd name="connsiteX41" fmla="*/ 7706 w 10000"/>
                <a:gd name="connsiteY41" fmla="*/ 8252 h 10000"/>
                <a:gd name="connsiteX42" fmla="*/ 8299 w 10000"/>
                <a:gd name="connsiteY42" fmla="*/ 10000 h 10000"/>
                <a:gd name="connsiteX43" fmla="*/ 9356 w 10000"/>
                <a:gd name="connsiteY43" fmla="*/ 10000 h 10000"/>
                <a:gd name="connsiteX44" fmla="*/ 10000 w 10000"/>
                <a:gd name="connsiteY44" fmla="*/ 8252 h 10000"/>
                <a:gd name="connsiteX45" fmla="*/ 10000 w 10000"/>
                <a:gd name="connsiteY45" fmla="*/ 6643 h 10000"/>
                <a:gd name="connsiteX0" fmla="*/ 10000 w 10000"/>
                <a:gd name="connsiteY0" fmla="*/ 6643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1985 w 10000"/>
                <a:gd name="connsiteY23" fmla="*/ 9720 h 10000"/>
                <a:gd name="connsiteX24" fmla="*/ 2216 w 10000"/>
                <a:gd name="connsiteY24" fmla="*/ 9091 h 10000"/>
                <a:gd name="connsiteX25" fmla="*/ 2320 w 10000"/>
                <a:gd name="connsiteY25" fmla="*/ 8252 h 10000"/>
                <a:gd name="connsiteX26" fmla="*/ 2320 w 10000"/>
                <a:gd name="connsiteY26" fmla="*/ 6643 h 10000"/>
                <a:gd name="connsiteX27" fmla="*/ 2216 w 10000"/>
                <a:gd name="connsiteY27" fmla="*/ 5944 h 10000"/>
                <a:gd name="connsiteX28" fmla="*/ 2062 w 10000"/>
                <a:gd name="connsiteY28" fmla="*/ 5385 h 10000"/>
                <a:gd name="connsiteX29" fmla="*/ 1804 w 10000"/>
                <a:gd name="connsiteY29" fmla="*/ 5035 h 10000"/>
                <a:gd name="connsiteX30" fmla="*/ 1985 w 10000"/>
                <a:gd name="connsiteY30" fmla="*/ 4755 h 10000"/>
                <a:gd name="connsiteX31" fmla="*/ 2629 w 10000"/>
                <a:gd name="connsiteY31" fmla="*/ 3986 h 10000"/>
                <a:gd name="connsiteX32" fmla="*/ 3351 w 10000"/>
                <a:gd name="connsiteY32" fmla="*/ 3427 h 10000"/>
                <a:gd name="connsiteX33" fmla="*/ 4149 w 10000"/>
                <a:gd name="connsiteY33" fmla="*/ 3077 h 10000"/>
                <a:gd name="connsiteX34" fmla="*/ 4974 w 10000"/>
                <a:gd name="connsiteY34" fmla="*/ 3007 h 10000"/>
                <a:gd name="connsiteX35" fmla="*/ 5825 w 10000"/>
                <a:gd name="connsiteY35" fmla="*/ 3077 h 10000"/>
                <a:gd name="connsiteX36" fmla="*/ 6624 w 10000"/>
                <a:gd name="connsiteY36" fmla="*/ 3427 h 10000"/>
                <a:gd name="connsiteX37" fmla="*/ 7990 w 10000"/>
                <a:gd name="connsiteY37" fmla="*/ 4755 h 10000"/>
                <a:gd name="connsiteX38" fmla="*/ 8170 w 10000"/>
                <a:gd name="connsiteY38" fmla="*/ 5035 h 10000"/>
                <a:gd name="connsiteX39" fmla="*/ 7706 w 10000"/>
                <a:gd name="connsiteY39" fmla="*/ 6643 h 10000"/>
                <a:gd name="connsiteX40" fmla="*/ 7706 w 10000"/>
                <a:gd name="connsiteY40" fmla="*/ 8252 h 10000"/>
                <a:gd name="connsiteX41" fmla="*/ 8299 w 10000"/>
                <a:gd name="connsiteY41" fmla="*/ 10000 h 10000"/>
                <a:gd name="connsiteX42" fmla="*/ 9356 w 10000"/>
                <a:gd name="connsiteY42" fmla="*/ 10000 h 10000"/>
                <a:gd name="connsiteX43" fmla="*/ 10000 w 10000"/>
                <a:gd name="connsiteY43" fmla="*/ 8252 h 10000"/>
                <a:gd name="connsiteX44" fmla="*/ 10000 w 10000"/>
                <a:gd name="connsiteY44" fmla="*/ 6643 h 10000"/>
                <a:gd name="connsiteX0" fmla="*/ 10000 w 10000"/>
                <a:gd name="connsiteY0" fmla="*/ 6643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1985 w 10000"/>
                <a:gd name="connsiteY23" fmla="*/ 9720 h 10000"/>
                <a:gd name="connsiteX24" fmla="*/ 2216 w 10000"/>
                <a:gd name="connsiteY24" fmla="*/ 9091 h 10000"/>
                <a:gd name="connsiteX25" fmla="*/ 2320 w 10000"/>
                <a:gd name="connsiteY25" fmla="*/ 8252 h 10000"/>
                <a:gd name="connsiteX26" fmla="*/ 2320 w 10000"/>
                <a:gd name="connsiteY26" fmla="*/ 6643 h 10000"/>
                <a:gd name="connsiteX27" fmla="*/ 2216 w 10000"/>
                <a:gd name="connsiteY27" fmla="*/ 5944 h 10000"/>
                <a:gd name="connsiteX28" fmla="*/ 2062 w 10000"/>
                <a:gd name="connsiteY28" fmla="*/ 5385 h 10000"/>
                <a:gd name="connsiteX29" fmla="*/ 1804 w 10000"/>
                <a:gd name="connsiteY29" fmla="*/ 5035 h 10000"/>
                <a:gd name="connsiteX30" fmla="*/ 1985 w 10000"/>
                <a:gd name="connsiteY30" fmla="*/ 4755 h 10000"/>
                <a:gd name="connsiteX31" fmla="*/ 2629 w 10000"/>
                <a:gd name="connsiteY31" fmla="*/ 3986 h 10000"/>
                <a:gd name="connsiteX32" fmla="*/ 3351 w 10000"/>
                <a:gd name="connsiteY32" fmla="*/ 3427 h 10000"/>
                <a:gd name="connsiteX33" fmla="*/ 4149 w 10000"/>
                <a:gd name="connsiteY33" fmla="*/ 3077 h 10000"/>
                <a:gd name="connsiteX34" fmla="*/ 4974 w 10000"/>
                <a:gd name="connsiteY34" fmla="*/ 3007 h 10000"/>
                <a:gd name="connsiteX35" fmla="*/ 5825 w 10000"/>
                <a:gd name="connsiteY35" fmla="*/ 3077 h 10000"/>
                <a:gd name="connsiteX36" fmla="*/ 7990 w 10000"/>
                <a:gd name="connsiteY36" fmla="*/ 4755 h 10000"/>
                <a:gd name="connsiteX37" fmla="*/ 8170 w 10000"/>
                <a:gd name="connsiteY37" fmla="*/ 5035 h 10000"/>
                <a:gd name="connsiteX38" fmla="*/ 7706 w 10000"/>
                <a:gd name="connsiteY38" fmla="*/ 6643 h 10000"/>
                <a:gd name="connsiteX39" fmla="*/ 7706 w 10000"/>
                <a:gd name="connsiteY39" fmla="*/ 8252 h 10000"/>
                <a:gd name="connsiteX40" fmla="*/ 8299 w 10000"/>
                <a:gd name="connsiteY40" fmla="*/ 10000 h 10000"/>
                <a:gd name="connsiteX41" fmla="*/ 9356 w 10000"/>
                <a:gd name="connsiteY41" fmla="*/ 10000 h 10000"/>
                <a:gd name="connsiteX42" fmla="*/ 10000 w 10000"/>
                <a:gd name="connsiteY42" fmla="*/ 8252 h 10000"/>
                <a:gd name="connsiteX43" fmla="*/ 10000 w 10000"/>
                <a:gd name="connsiteY43" fmla="*/ 6643 h 10000"/>
                <a:gd name="connsiteX0" fmla="*/ 10000 w 10000"/>
                <a:gd name="connsiteY0" fmla="*/ 6643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1985 w 10000"/>
                <a:gd name="connsiteY23" fmla="*/ 9720 h 10000"/>
                <a:gd name="connsiteX24" fmla="*/ 2216 w 10000"/>
                <a:gd name="connsiteY24" fmla="*/ 9091 h 10000"/>
                <a:gd name="connsiteX25" fmla="*/ 2320 w 10000"/>
                <a:gd name="connsiteY25" fmla="*/ 8252 h 10000"/>
                <a:gd name="connsiteX26" fmla="*/ 2320 w 10000"/>
                <a:gd name="connsiteY26" fmla="*/ 6643 h 10000"/>
                <a:gd name="connsiteX27" fmla="*/ 2216 w 10000"/>
                <a:gd name="connsiteY27" fmla="*/ 5944 h 10000"/>
                <a:gd name="connsiteX28" fmla="*/ 2062 w 10000"/>
                <a:gd name="connsiteY28" fmla="*/ 5385 h 10000"/>
                <a:gd name="connsiteX29" fmla="*/ 1804 w 10000"/>
                <a:gd name="connsiteY29" fmla="*/ 5035 h 10000"/>
                <a:gd name="connsiteX30" fmla="*/ 1985 w 10000"/>
                <a:gd name="connsiteY30" fmla="*/ 4755 h 10000"/>
                <a:gd name="connsiteX31" fmla="*/ 2629 w 10000"/>
                <a:gd name="connsiteY31" fmla="*/ 3986 h 10000"/>
                <a:gd name="connsiteX32" fmla="*/ 3351 w 10000"/>
                <a:gd name="connsiteY32" fmla="*/ 3427 h 10000"/>
                <a:gd name="connsiteX33" fmla="*/ 4149 w 10000"/>
                <a:gd name="connsiteY33" fmla="*/ 3077 h 10000"/>
                <a:gd name="connsiteX34" fmla="*/ 4974 w 10000"/>
                <a:gd name="connsiteY34" fmla="*/ 3007 h 10000"/>
                <a:gd name="connsiteX35" fmla="*/ 7990 w 10000"/>
                <a:gd name="connsiteY35" fmla="*/ 4755 h 10000"/>
                <a:gd name="connsiteX36" fmla="*/ 8170 w 10000"/>
                <a:gd name="connsiteY36" fmla="*/ 5035 h 10000"/>
                <a:gd name="connsiteX37" fmla="*/ 7706 w 10000"/>
                <a:gd name="connsiteY37" fmla="*/ 6643 h 10000"/>
                <a:gd name="connsiteX38" fmla="*/ 7706 w 10000"/>
                <a:gd name="connsiteY38" fmla="*/ 8252 h 10000"/>
                <a:gd name="connsiteX39" fmla="*/ 8299 w 10000"/>
                <a:gd name="connsiteY39" fmla="*/ 10000 h 10000"/>
                <a:gd name="connsiteX40" fmla="*/ 9356 w 10000"/>
                <a:gd name="connsiteY40" fmla="*/ 10000 h 10000"/>
                <a:gd name="connsiteX41" fmla="*/ 10000 w 10000"/>
                <a:gd name="connsiteY41" fmla="*/ 8252 h 10000"/>
                <a:gd name="connsiteX42" fmla="*/ 10000 w 10000"/>
                <a:gd name="connsiteY42" fmla="*/ 6643 h 10000"/>
                <a:gd name="connsiteX0" fmla="*/ 10000 w 10000"/>
                <a:gd name="connsiteY0" fmla="*/ 6643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1985 w 10000"/>
                <a:gd name="connsiteY23" fmla="*/ 9720 h 10000"/>
                <a:gd name="connsiteX24" fmla="*/ 2216 w 10000"/>
                <a:gd name="connsiteY24" fmla="*/ 9091 h 10000"/>
                <a:gd name="connsiteX25" fmla="*/ 2320 w 10000"/>
                <a:gd name="connsiteY25" fmla="*/ 8252 h 10000"/>
                <a:gd name="connsiteX26" fmla="*/ 2320 w 10000"/>
                <a:gd name="connsiteY26" fmla="*/ 6643 h 10000"/>
                <a:gd name="connsiteX27" fmla="*/ 2216 w 10000"/>
                <a:gd name="connsiteY27" fmla="*/ 5944 h 10000"/>
                <a:gd name="connsiteX28" fmla="*/ 2062 w 10000"/>
                <a:gd name="connsiteY28" fmla="*/ 5385 h 10000"/>
                <a:gd name="connsiteX29" fmla="*/ 1804 w 10000"/>
                <a:gd name="connsiteY29" fmla="*/ 5035 h 10000"/>
                <a:gd name="connsiteX30" fmla="*/ 1985 w 10000"/>
                <a:gd name="connsiteY30" fmla="*/ 4755 h 10000"/>
                <a:gd name="connsiteX31" fmla="*/ 2629 w 10000"/>
                <a:gd name="connsiteY31" fmla="*/ 3986 h 10000"/>
                <a:gd name="connsiteX32" fmla="*/ 3351 w 10000"/>
                <a:gd name="connsiteY32" fmla="*/ 3427 h 10000"/>
                <a:gd name="connsiteX33" fmla="*/ 4149 w 10000"/>
                <a:gd name="connsiteY33" fmla="*/ 3077 h 10000"/>
                <a:gd name="connsiteX34" fmla="*/ 7990 w 10000"/>
                <a:gd name="connsiteY34" fmla="*/ 4755 h 10000"/>
                <a:gd name="connsiteX35" fmla="*/ 8170 w 10000"/>
                <a:gd name="connsiteY35" fmla="*/ 5035 h 10000"/>
                <a:gd name="connsiteX36" fmla="*/ 7706 w 10000"/>
                <a:gd name="connsiteY36" fmla="*/ 6643 h 10000"/>
                <a:gd name="connsiteX37" fmla="*/ 7706 w 10000"/>
                <a:gd name="connsiteY37" fmla="*/ 8252 h 10000"/>
                <a:gd name="connsiteX38" fmla="*/ 8299 w 10000"/>
                <a:gd name="connsiteY38" fmla="*/ 10000 h 10000"/>
                <a:gd name="connsiteX39" fmla="*/ 9356 w 10000"/>
                <a:gd name="connsiteY39" fmla="*/ 10000 h 10000"/>
                <a:gd name="connsiteX40" fmla="*/ 10000 w 10000"/>
                <a:gd name="connsiteY40" fmla="*/ 8252 h 10000"/>
                <a:gd name="connsiteX41" fmla="*/ 10000 w 10000"/>
                <a:gd name="connsiteY41" fmla="*/ 6643 h 10000"/>
                <a:gd name="connsiteX0" fmla="*/ 10000 w 10000"/>
                <a:gd name="connsiteY0" fmla="*/ 6643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1985 w 10000"/>
                <a:gd name="connsiteY23" fmla="*/ 9720 h 10000"/>
                <a:gd name="connsiteX24" fmla="*/ 2216 w 10000"/>
                <a:gd name="connsiteY24" fmla="*/ 9091 h 10000"/>
                <a:gd name="connsiteX25" fmla="*/ 2320 w 10000"/>
                <a:gd name="connsiteY25" fmla="*/ 8252 h 10000"/>
                <a:gd name="connsiteX26" fmla="*/ 2320 w 10000"/>
                <a:gd name="connsiteY26" fmla="*/ 6643 h 10000"/>
                <a:gd name="connsiteX27" fmla="*/ 2216 w 10000"/>
                <a:gd name="connsiteY27" fmla="*/ 5944 h 10000"/>
                <a:gd name="connsiteX28" fmla="*/ 2062 w 10000"/>
                <a:gd name="connsiteY28" fmla="*/ 5385 h 10000"/>
                <a:gd name="connsiteX29" fmla="*/ 1804 w 10000"/>
                <a:gd name="connsiteY29" fmla="*/ 5035 h 10000"/>
                <a:gd name="connsiteX30" fmla="*/ 1985 w 10000"/>
                <a:gd name="connsiteY30" fmla="*/ 4755 h 10000"/>
                <a:gd name="connsiteX31" fmla="*/ 2629 w 10000"/>
                <a:gd name="connsiteY31" fmla="*/ 3986 h 10000"/>
                <a:gd name="connsiteX32" fmla="*/ 3351 w 10000"/>
                <a:gd name="connsiteY32" fmla="*/ 3427 h 10000"/>
                <a:gd name="connsiteX33" fmla="*/ 7990 w 10000"/>
                <a:gd name="connsiteY33" fmla="*/ 4755 h 10000"/>
                <a:gd name="connsiteX34" fmla="*/ 8170 w 10000"/>
                <a:gd name="connsiteY34" fmla="*/ 5035 h 10000"/>
                <a:gd name="connsiteX35" fmla="*/ 7706 w 10000"/>
                <a:gd name="connsiteY35" fmla="*/ 6643 h 10000"/>
                <a:gd name="connsiteX36" fmla="*/ 7706 w 10000"/>
                <a:gd name="connsiteY36" fmla="*/ 8252 h 10000"/>
                <a:gd name="connsiteX37" fmla="*/ 8299 w 10000"/>
                <a:gd name="connsiteY37" fmla="*/ 10000 h 10000"/>
                <a:gd name="connsiteX38" fmla="*/ 9356 w 10000"/>
                <a:gd name="connsiteY38" fmla="*/ 10000 h 10000"/>
                <a:gd name="connsiteX39" fmla="*/ 10000 w 10000"/>
                <a:gd name="connsiteY39" fmla="*/ 8252 h 10000"/>
                <a:gd name="connsiteX40" fmla="*/ 10000 w 10000"/>
                <a:gd name="connsiteY40" fmla="*/ 6643 h 10000"/>
                <a:gd name="connsiteX0" fmla="*/ 10000 w 10000"/>
                <a:gd name="connsiteY0" fmla="*/ 6643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1985 w 10000"/>
                <a:gd name="connsiteY23" fmla="*/ 9720 h 10000"/>
                <a:gd name="connsiteX24" fmla="*/ 2216 w 10000"/>
                <a:gd name="connsiteY24" fmla="*/ 9091 h 10000"/>
                <a:gd name="connsiteX25" fmla="*/ 2320 w 10000"/>
                <a:gd name="connsiteY25" fmla="*/ 8252 h 10000"/>
                <a:gd name="connsiteX26" fmla="*/ 2320 w 10000"/>
                <a:gd name="connsiteY26" fmla="*/ 6643 h 10000"/>
                <a:gd name="connsiteX27" fmla="*/ 2216 w 10000"/>
                <a:gd name="connsiteY27" fmla="*/ 5944 h 10000"/>
                <a:gd name="connsiteX28" fmla="*/ 2062 w 10000"/>
                <a:gd name="connsiteY28" fmla="*/ 5385 h 10000"/>
                <a:gd name="connsiteX29" fmla="*/ 1804 w 10000"/>
                <a:gd name="connsiteY29" fmla="*/ 5035 h 10000"/>
                <a:gd name="connsiteX30" fmla="*/ 1985 w 10000"/>
                <a:gd name="connsiteY30" fmla="*/ 4755 h 10000"/>
                <a:gd name="connsiteX31" fmla="*/ 2629 w 10000"/>
                <a:gd name="connsiteY31" fmla="*/ 3986 h 10000"/>
                <a:gd name="connsiteX32" fmla="*/ 7990 w 10000"/>
                <a:gd name="connsiteY32" fmla="*/ 4755 h 10000"/>
                <a:gd name="connsiteX33" fmla="*/ 8170 w 10000"/>
                <a:gd name="connsiteY33" fmla="*/ 5035 h 10000"/>
                <a:gd name="connsiteX34" fmla="*/ 7706 w 10000"/>
                <a:gd name="connsiteY34" fmla="*/ 6643 h 10000"/>
                <a:gd name="connsiteX35" fmla="*/ 7706 w 10000"/>
                <a:gd name="connsiteY35" fmla="*/ 8252 h 10000"/>
                <a:gd name="connsiteX36" fmla="*/ 8299 w 10000"/>
                <a:gd name="connsiteY36" fmla="*/ 10000 h 10000"/>
                <a:gd name="connsiteX37" fmla="*/ 9356 w 10000"/>
                <a:gd name="connsiteY37" fmla="*/ 10000 h 10000"/>
                <a:gd name="connsiteX38" fmla="*/ 10000 w 10000"/>
                <a:gd name="connsiteY38" fmla="*/ 8252 h 10000"/>
                <a:gd name="connsiteX39" fmla="*/ 10000 w 10000"/>
                <a:gd name="connsiteY39" fmla="*/ 6643 h 10000"/>
                <a:gd name="connsiteX0" fmla="*/ 10000 w 10000"/>
                <a:gd name="connsiteY0" fmla="*/ 6643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1985 w 10000"/>
                <a:gd name="connsiteY23" fmla="*/ 9720 h 10000"/>
                <a:gd name="connsiteX24" fmla="*/ 2216 w 10000"/>
                <a:gd name="connsiteY24" fmla="*/ 9091 h 10000"/>
                <a:gd name="connsiteX25" fmla="*/ 2320 w 10000"/>
                <a:gd name="connsiteY25" fmla="*/ 8252 h 10000"/>
                <a:gd name="connsiteX26" fmla="*/ 2320 w 10000"/>
                <a:gd name="connsiteY26" fmla="*/ 6643 h 10000"/>
                <a:gd name="connsiteX27" fmla="*/ 2216 w 10000"/>
                <a:gd name="connsiteY27" fmla="*/ 5944 h 10000"/>
                <a:gd name="connsiteX28" fmla="*/ 2062 w 10000"/>
                <a:gd name="connsiteY28" fmla="*/ 5385 h 10000"/>
                <a:gd name="connsiteX29" fmla="*/ 1804 w 10000"/>
                <a:gd name="connsiteY29" fmla="*/ 5035 h 10000"/>
                <a:gd name="connsiteX30" fmla="*/ 1985 w 10000"/>
                <a:gd name="connsiteY30" fmla="*/ 4755 h 10000"/>
                <a:gd name="connsiteX31" fmla="*/ 7990 w 10000"/>
                <a:gd name="connsiteY31" fmla="*/ 4755 h 10000"/>
                <a:gd name="connsiteX32" fmla="*/ 8170 w 10000"/>
                <a:gd name="connsiteY32" fmla="*/ 5035 h 10000"/>
                <a:gd name="connsiteX33" fmla="*/ 7706 w 10000"/>
                <a:gd name="connsiteY33" fmla="*/ 6643 h 10000"/>
                <a:gd name="connsiteX34" fmla="*/ 7706 w 10000"/>
                <a:gd name="connsiteY34" fmla="*/ 8252 h 10000"/>
                <a:gd name="connsiteX35" fmla="*/ 8299 w 10000"/>
                <a:gd name="connsiteY35" fmla="*/ 10000 h 10000"/>
                <a:gd name="connsiteX36" fmla="*/ 9356 w 10000"/>
                <a:gd name="connsiteY36" fmla="*/ 10000 h 10000"/>
                <a:gd name="connsiteX37" fmla="*/ 10000 w 10000"/>
                <a:gd name="connsiteY37" fmla="*/ 8252 h 10000"/>
                <a:gd name="connsiteX38" fmla="*/ 10000 w 10000"/>
                <a:gd name="connsiteY38" fmla="*/ 6643 h 10000"/>
                <a:gd name="connsiteX0" fmla="*/ 10000 w 10000"/>
                <a:gd name="connsiteY0" fmla="*/ 6643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1985 w 10000"/>
                <a:gd name="connsiteY23" fmla="*/ 9720 h 10000"/>
                <a:gd name="connsiteX24" fmla="*/ 2216 w 10000"/>
                <a:gd name="connsiteY24" fmla="*/ 9091 h 10000"/>
                <a:gd name="connsiteX25" fmla="*/ 2320 w 10000"/>
                <a:gd name="connsiteY25" fmla="*/ 8252 h 10000"/>
                <a:gd name="connsiteX26" fmla="*/ 2320 w 10000"/>
                <a:gd name="connsiteY26" fmla="*/ 6643 h 10000"/>
                <a:gd name="connsiteX27" fmla="*/ 2216 w 10000"/>
                <a:gd name="connsiteY27" fmla="*/ 5944 h 10000"/>
                <a:gd name="connsiteX28" fmla="*/ 2062 w 10000"/>
                <a:gd name="connsiteY28" fmla="*/ 5385 h 10000"/>
                <a:gd name="connsiteX29" fmla="*/ 1804 w 10000"/>
                <a:gd name="connsiteY29" fmla="*/ 5035 h 10000"/>
                <a:gd name="connsiteX30" fmla="*/ 1985 w 10000"/>
                <a:gd name="connsiteY30" fmla="*/ 4755 h 10000"/>
                <a:gd name="connsiteX31" fmla="*/ 7990 w 10000"/>
                <a:gd name="connsiteY31" fmla="*/ 4755 h 10000"/>
                <a:gd name="connsiteX32" fmla="*/ 8170 w 10000"/>
                <a:gd name="connsiteY32" fmla="*/ 5035 h 10000"/>
                <a:gd name="connsiteX33" fmla="*/ 7706 w 10000"/>
                <a:gd name="connsiteY33" fmla="*/ 6643 h 10000"/>
                <a:gd name="connsiteX34" fmla="*/ 7706 w 10000"/>
                <a:gd name="connsiteY34" fmla="*/ 8252 h 10000"/>
                <a:gd name="connsiteX35" fmla="*/ 8299 w 10000"/>
                <a:gd name="connsiteY35" fmla="*/ 10000 h 10000"/>
                <a:gd name="connsiteX36" fmla="*/ 9356 w 10000"/>
                <a:gd name="connsiteY36" fmla="*/ 10000 h 10000"/>
                <a:gd name="connsiteX37" fmla="*/ 10000 w 10000"/>
                <a:gd name="connsiteY37" fmla="*/ 8252 h 10000"/>
                <a:gd name="connsiteX38" fmla="*/ 10000 w 10000"/>
                <a:gd name="connsiteY38" fmla="*/ 6643 h 10000"/>
                <a:gd name="connsiteX0" fmla="*/ 10000 w 10000"/>
                <a:gd name="connsiteY0" fmla="*/ 6643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1985 w 10000"/>
                <a:gd name="connsiteY23" fmla="*/ 9720 h 10000"/>
                <a:gd name="connsiteX24" fmla="*/ 2216 w 10000"/>
                <a:gd name="connsiteY24" fmla="*/ 9091 h 10000"/>
                <a:gd name="connsiteX25" fmla="*/ 2320 w 10000"/>
                <a:gd name="connsiteY25" fmla="*/ 8252 h 10000"/>
                <a:gd name="connsiteX26" fmla="*/ 2320 w 10000"/>
                <a:gd name="connsiteY26" fmla="*/ 6643 h 10000"/>
                <a:gd name="connsiteX27" fmla="*/ 2216 w 10000"/>
                <a:gd name="connsiteY27" fmla="*/ 5944 h 10000"/>
                <a:gd name="connsiteX28" fmla="*/ 2062 w 10000"/>
                <a:gd name="connsiteY28" fmla="*/ 5385 h 10000"/>
                <a:gd name="connsiteX29" fmla="*/ 1804 w 10000"/>
                <a:gd name="connsiteY29" fmla="*/ 5035 h 10000"/>
                <a:gd name="connsiteX30" fmla="*/ 1985 w 10000"/>
                <a:gd name="connsiteY30" fmla="*/ 4755 h 10000"/>
                <a:gd name="connsiteX31" fmla="*/ 7990 w 10000"/>
                <a:gd name="connsiteY31" fmla="*/ 4755 h 10000"/>
                <a:gd name="connsiteX32" fmla="*/ 8170 w 10000"/>
                <a:gd name="connsiteY32" fmla="*/ 5035 h 10000"/>
                <a:gd name="connsiteX33" fmla="*/ 7706 w 10000"/>
                <a:gd name="connsiteY33" fmla="*/ 6643 h 10000"/>
                <a:gd name="connsiteX34" fmla="*/ 7706 w 10000"/>
                <a:gd name="connsiteY34" fmla="*/ 8252 h 10000"/>
                <a:gd name="connsiteX35" fmla="*/ 8299 w 10000"/>
                <a:gd name="connsiteY35" fmla="*/ 10000 h 10000"/>
                <a:gd name="connsiteX36" fmla="*/ 9356 w 10000"/>
                <a:gd name="connsiteY36" fmla="*/ 10000 h 10000"/>
                <a:gd name="connsiteX37" fmla="*/ 10000 w 10000"/>
                <a:gd name="connsiteY37" fmla="*/ 8252 h 10000"/>
                <a:gd name="connsiteX38" fmla="*/ 10000 w 10000"/>
                <a:gd name="connsiteY38" fmla="*/ 6643 h 10000"/>
                <a:gd name="connsiteX0" fmla="*/ 10000 w 10000"/>
                <a:gd name="connsiteY0" fmla="*/ 6643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1985 w 10000"/>
                <a:gd name="connsiteY23" fmla="*/ 9720 h 10000"/>
                <a:gd name="connsiteX24" fmla="*/ 2216 w 10000"/>
                <a:gd name="connsiteY24" fmla="*/ 9091 h 10000"/>
                <a:gd name="connsiteX25" fmla="*/ 2320 w 10000"/>
                <a:gd name="connsiteY25" fmla="*/ 8252 h 10000"/>
                <a:gd name="connsiteX26" fmla="*/ 2320 w 10000"/>
                <a:gd name="connsiteY26" fmla="*/ 6643 h 10000"/>
                <a:gd name="connsiteX27" fmla="*/ 2216 w 10000"/>
                <a:gd name="connsiteY27" fmla="*/ 5944 h 10000"/>
                <a:gd name="connsiteX28" fmla="*/ 2062 w 10000"/>
                <a:gd name="connsiteY28" fmla="*/ 5385 h 10000"/>
                <a:gd name="connsiteX29" fmla="*/ 1804 w 10000"/>
                <a:gd name="connsiteY29" fmla="*/ 5035 h 10000"/>
                <a:gd name="connsiteX30" fmla="*/ 1985 w 10000"/>
                <a:gd name="connsiteY30" fmla="*/ 4755 h 10000"/>
                <a:gd name="connsiteX31" fmla="*/ 7990 w 10000"/>
                <a:gd name="connsiteY31" fmla="*/ 4755 h 10000"/>
                <a:gd name="connsiteX32" fmla="*/ 8170 w 10000"/>
                <a:gd name="connsiteY32" fmla="*/ 5035 h 10000"/>
                <a:gd name="connsiteX33" fmla="*/ 7706 w 10000"/>
                <a:gd name="connsiteY33" fmla="*/ 6643 h 10000"/>
                <a:gd name="connsiteX34" fmla="*/ 7706 w 10000"/>
                <a:gd name="connsiteY34" fmla="*/ 8252 h 10000"/>
                <a:gd name="connsiteX35" fmla="*/ 8299 w 10000"/>
                <a:gd name="connsiteY35" fmla="*/ 10000 h 10000"/>
                <a:gd name="connsiteX36" fmla="*/ 9356 w 10000"/>
                <a:gd name="connsiteY36" fmla="*/ 10000 h 10000"/>
                <a:gd name="connsiteX37" fmla="*/ 10000 w 10000"/>
                <a:gd name="connsiteY37" fmla="*/ 8252 h 10000"/>
                <a:gd name="connsiteX38" fmla="*/ 10000 w 10000"/>
                <a:gd name="connsiteY38" fmla="*/ 6643 h 10000"/>
                <a:gd name="connsiteX0" fmla="*/ 10000 w 10000"/>
                <a:gd name="connsiteY0" fmla="*/ 6643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1985 w 10000"/>
                <a:gd name="connsiteY23" fmla="*/ 9720 h 10000"/>
                <a:gd name="connsiteX24" fmla="*/ 2216 w 10000"/>
                <a:gd name="connsiteY24" fmla="*/ 9091 h 10000"/>
                <a:gd name="connsiteX25" fmla="*/ 2320 w 10000"/>
                <a:gd name="connsiteY25" fmla="*/ 8252 h 10000"/>
                <a:gd name="connsiteX26" fmla="*/ 2320 w 10000"/>
                <a:gd name="connsiteY26" fmla="*/ 6643 h 10000"/>
                <a:gd name="connsiteX27" fmla="*/ 2216 w 10000"/>
                <a:gd name="connsiteY27" fmla="*/ 5944 h 10000"/>
                <a:gd name="connsiteX28" fmla="*/ 2062 w 10000"/>
                <a:gd name="connsiteY28" fmla="*/ 5385 h 10000"/>
                <a:gd name="connsiteX29" fmla="*/ 1804 w 10000"/>
                <a:gd name="connsiteY29" fmla="*/ 5035 h 10000"/>
                <a:gd name="connsiteX30" fmla="*/ 1985 w 10000"/>
                <a:gd name="connsiteY30" fmla="*/ 4755 h 10000"/>
                <a:gd name="connsiteX31" fmla="*/ 7990 w 10000"/>
                <a:gd name="connsiteY31" fmla="*/ 4755 h 10000"/>
                <a:gd name="connsiteX32" fmla="*/ 8170 w 10000"/>
                <a:gd name="connsiteY32" fmla="*/ 5035 h 10000"/>
                <a:gd name="connsiteX33" fmla="*/ 7706 w 10000"/>
                <a:gd name="connsiteY33" fmla="*/ 6643 h 10000"/>
                <a:gd name="connsiteX34" fmla="*/ 7706 w 10000"/>
                <a:gd name="connsiteY34" fmla="*/ 8252 h 10000"/>
                <a:gd name="connsiteX35" fmla="*/ 8299 w 10000"/>
                <a:gd name="connsiteY35" fmla="*/ 10000 h 10000"/>
                <a:gd name="connsiteX36" fmla="*/ 9356 w 10000"/>
                <a:gd name="connsiteY36" fmla="*/ 10000 h 10000"/>
                <a:gd name="connsiteX37" fmla="*/ 10000 w 10000"/>
                <a:gd name="connsiteY37" fmla="*/ 8252 h 10000"/>
                <a:gd name="connsiteX38" fmla="*/ 10000 w 10000"/>
                <a:gd name="connsiteY38" fmla="*/ 6643 h 10000"/>
                <a:gd name="connsiteX0" fmla="*/ 10000 w 10000"/>
                <a:gd name="connsiteY0" fmla="*/ 6643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1985 w 10000"/>
                <a:gd name="connsiteY23" fmla="*/ 9720 h 10000"/>
                <a:gd name="connsiteX24" fmla="*/ 2216 w 10000"/>
                <a:gd name="connsiteY24" fmla="*/ 9091 h 10000"/>
                <a:gd name="connsiteX25" fmla="*/ 2320 w 10000"/>
                <a:gd name="connsiteY25" fmla="*/ 8252 h 10000"/>
                <a:gd name="connsiteX26" fmla="*/ 2320 w 10000"/>
                <a:gd name="connsiteY26" fmla="*/ 6643 h 10000"/>
                <a:gd name="connsiteX27" fmla="*/ 2216 w 10000"/>
                <a:gd name="connsiteY27" fmla="*/ 5944 h 10000"/>
                <a:gd name="connsiteX28" fmla="*/ 2062 w 10000"/>
                <a:gd name="connsiteY28" fmla="*/ 5385 h 10000"/>
                <a:gd name="connsiteX29" fmla="*/ 1804 w 10000"/>
                <a:gd name="connsiteY29" fmla="*/ 5035 h 10000"/>
                <a:gd name="connsiteX30" fmla="*/ 1985 w 10000"/>
                <a:gd name="connsiteY30" fmla="*/ 4755 h 10000"/>
                <a:gd name="connsiteX31" fmla="*/ 7990 w 10000"/>
                <a:gd name="connsiteY31" fmla="*/ 4755 h 10000"/>
                <a:gd name="connsiteX32" fmla="*/ 8170 w 10000"/>
                <a:gd name="connsiteY32" fmla="*/ 5035 h 10000"/>
                <a:gd name="connsiteX33" fmla="*/ 7706 w 10000"/>
                <a:gd name="connsiteY33" fmla="*/ 6643 h 10000"/>
                <a:gd name="connsiteX34" fmla="*/ 7706 w 10000"/>
                <a:gd name="connsiteY34" fmla="*/ 8252 h 10000"/>
                <a:gd name="connsiteX35" fmla="*/ 8299 w 10000"/>
                <a:gd name="connsiteY35" fmla="*/ 10000 h 10000"/>
                <a:gd name="connsiteX36" fmla="*/ 9356 w 10000"/>
                <a:gd name="connsiteY36" fmla="*/ 10000 h 10000"/>
                <a:gd name="connsiteX37" fmla="*/ 10000 w 10000"/>
                <a:gd name="connsiteY37" fmla="*/ 8252 h 10000"/>
                <a:gd name="connsiteX38" fmla="*/ 10000 w 10000"/>
                <a:gd name="connsiteY38" fmla="*/ 6643 h 10000"/>
                <a:gd name="connsiteX0" fmla="*/ 10000 w 10000"/>
                <a:gd name="connsiteY0" fmla="*/ 6643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1985 w 10000"/>
                <a:gd name="connsiteY23" fmla="*/ 9720 h 10000"/>
                <a:gd name="connsiteX24" fmla="*/ 2216 w 10000"/>
                <a:gd name="connsiteY24" fmla="*/ 9091 h 10000"/>
                <a:gd name="connsiteX25" fmla="*/ 2320 w 10000"/>
                <a:gd name="connsiteY25" fmla="*/ 8252 h 10000"/>
                <a:gd name="connsiteX26" fmla="*/ 2320 w 10000"/>
                <a:gd name="connsiteY26" fmla="*/ 6643 h 10000"/>
                <a:gd name="connsiteX27" fmla="*/ 2216 w 10000"/>
                <a:gd name="connsiteY27" fmla="*/ 5944 h 10000"/>
                <a:gd name="connsiteX28" fmla="*/ 2062 w 10000"/>
                <a:gd name="connsiteY28" fmla="*/ 5385 h 10000"/>
                <a:gd name="connsiteX29" fmla="*/ 1804 w 10000"/>
                <a:gd name="connsiteY29" fmla="*/ 5035 h 10000"/>
                <a:gd name="connsiteX30" fmla="*/ 1985 w 10000"/>
                <a:gd name="connsiteY30" fmla="*/ 4755 h 10000"/>
                <a:gd name="connsiteX31" fmla="*/ 7990 w 10000"/>
                <a:gd name="connsiteY31" fmla="*/ 4755 h 10000"/>
                <a:gd name="connsiteX32" fmla="*/ 8170 w 10000"/>
                <a:gd name="connsiteY32" fmla="*/ 5035 h 10000"/>
                <a:gd name="connsiteX33" fmla="*/ 7706 w 10000"/>
                <a:gd name="connsiteY33" fmla="*/ 6643 h 10000"/>
                <a:gd name="connsiteX34" fmla="*/ 7706 w 10000"/>
                <a:gd name="connsiteY34" fmla="*/ 8252 h 10000"/>
                <a:gd name="connsiteX35" fmla="*/ 8299 w 10000"/>
                <a:gd name="connsiteY35" fmla="*/ 10000 h 10000"/>
                <a:gd name="connsiteX36" fmla="*/ 9356 w 10000"/>
                <a:gd name="connsiteY36" fmla="*/ 10000 h 10000"/>
                <a:gd name="connsiteX37" fmla="*/ 10000 w 10000"/>
                <a:gd name="connsiteY37" fmla="*/ 8252 h 10000"/>
                <a:gd name="connsiteX38" fmla="*/ 10000 w 10000"/>
                <a:gd name="connsiteY38" fmla="*/ 6643 h 10000"/>
                <a:gd name="connsiteX0" fmla="*/ 10000 w 10000"/>
                <a:gd name="connsiteY0" fmla="*/ 6643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1985 w 10000"/>
                <a:gd name="connsiteY23" fmla="*/ 9720 h 10000"/>
                <a:gd name="connsiteX24" fmla="*/ 2216 w 10000"/>
                <a:gd name="connsiteY24" fmla="*/ 9091 h 10000"/>
                <a:gd name="connsiteX25" fmla="*/ 2320 w 10000"/>
                <a:gd name="connsiteY25" fmla="*/ 8252 h 10000"/>
                <a:gd name="connsiteX26" fmla="*/ 2320 w 10000"/>
                <a:gd name="connsiteY26" fmla="*/ 6643 h 10000"/>
                <a:gd name="connsiteX27" fmla="*/ 2216 w 10000"/>
                <a:gd name="connsiteY27" fmla="*/ 5944 h 10000"/>
                <a:gd name="connsiteX28" fmla="*/ 2062 w 10000"/>
                <a:gd name="connsiteY28" fmla="*/ 5385 h 10000"/>
                <a:gd name="connsiteX29" fmla="*/ 1804 w 10000"/>
                <a:gd name="connsiteY29" fmla="*/ 5035 h 10000"/>
                <a:gd name="connsiteX30" fmla="*/ 1985 w 10000"/>
                <a:gd name="connsiteY30" fmla="*/ 4755 h 10000"/>
                <a:gd name="connsiteX31" fmla="*/ 7990 w 10000"/>
                <a:gd name="connsiteY31" fmla="*/ 4755 h 10000"/>
                <a:gd name="connsiteX32" fmla="*/ 8170 w 10000"/>
                <a:gd name="connsiteY32" fmla="*/ 5035 h 10000"/>
                <a:gd name="connsiteX33" fmla="*/ 7706 w 10000"/>
                <a:gd name="connsiteY33" fmla="*/ 6643 h 10000"/>
                <a:gd name="connsiteX34" fmla="*/ 7706 w 10000"/>
                <a:gd name="connsiteY34" fmla="*/ 8252 h 10000"/>
                <a:gd name="connsiteX35" fmla="*/ 8299 w 10000"/>
                <a:gd name="connsiteY35" fmla="*/ 10000 h 10000"/>
                <a:gd name="connsiteX36" fmla="*/ 9356 w 10000"/>
                <a:gd name="connsiteY36" fmla="*/ 10000 h 10000"/>
                <a:gd name="connsiteX37" fmla="*/ 10000 w 10000"/>
                <a:gd name="connsiteY37" fmla="*/ 8252 h 10000"/>
                <a:gd name="connsiteX38" fmla="*/ 10000 w 10000"/>
                <a:gd name="connsiteY38" fmla="*/ 6643 h 10000"/>
                <a:gd name="connsiteX0" fmla="*/ 10000 w 10000"/>
                <a:gd name="connsiteY0" fmla="*/ 6643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1985 w 10000"/>
                <a:gd name="connsiteY23" fmla="*/ 9720 h 10000"/>
                <a:gd name="connsiteX24" fmla="*/ 2216 w 10000"/>
                <a:gd name="connsiteY24" fmla="*/ 9091 h 10000"/>
                <a:gd name="connsiteX25" fmla="*/ 2320 w 10000"/>
                <a:gd name="connsiteY25" fmla="*/ 8252 h 10000"/>
                <a:gd name="connsiteX26" fmla="*/ 2320 w 10000"/>
                <a:gd name="connsiteY26" fmla="*/ 6643 h 10000"/>
                <a:gd name="connsiteX27" fmla="*/ 2216 w 10000"/>
                <a:gd name="connsiteY27" fmla="*/ 5944 h 10000"/>
                <a:gd name="connsiteX28" fmla="*/ 2062 w 10000"/>
                <a:gd name="connsiteY28" fmla="*/ 5385 h 10000"/>
                <a:gd name="connsiteX29" fmla="*/ 1804 w 10000"/>
                <a:gd name="connsiteY29" fmla="*/ 5035 h 10000"/>
                <a:gd name="connsiteX30" fmla="*/ 1985 w 10000"/>
                <a:gd name="connsiteY30" fmla="*/ 4755 h 10000"/>
                <a:gd name="connsiteX31" fmla="*/ 7990 w 10000"/>
                <a:gd name="connsiteY31" fmla="*/ 4755 h 10000"/>
                <a:gd name="connsiteX32" fmla="*/ 8170 w 10000"/>
                <a:gd name="connsiteY32" fmla="*/ 5035 h 10000"/>
                <a:gd name="connsiteX33" fmla="*/ 7706 w 10000"/>
                <a:gd name="connsiteY33" fmla="*/ 6643 h 10000"/>
                <a:gd name="connsiteX34" fmla="*/ 7706 w 10000"/>
                <a:gd name="connsiteY34" fmla="*/ 8252 h 10000"/>
                <a:gd name="connsiteX35" fmla="*/ 8299 w 10000"/>
                <a:gd name="connsiteY35" fmla="*/ 10000 h 10000"/>
                <a:gd name="connsiteX36" fmla="*/ 9356 w 10000"/>
                <a:gd name="connsiteY36" fmla="*/ 10000 h 10000"/>
                <a:gd name="connsiteX37" fmla="*/ 10000 w 10000"/>
                <a:gd name="connsiteY37" fmla="*/ 8252 h 10000"/>
                <a:gd name="connsiteX38" fmla="*/ 10000 w 10000"/>
                <a:gd name="connsiteY38" fmla="*/ 6643 h 10000"/>
                <a:gd name="connsiteX0" fmla="*/ 10000 w 10000"/>
                <a:gd name="connsiteY0" fmla="*/ 6643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1985 w 10000"/>
                <a:gd name="connsiteY23" fmla="*/ 9720 h 10000"/>
                <a:gd name="connsiteX24" fmla="*/ 2216 w 10000"/>
                <a:gd name="connsiteY24" fmla="*/ 9091 h 10000"/>
                <a:gd name="connsiteX25" fmla="*/ 2320 w 10000"/>
                <a:gd name="connsiteY25" fmla="*/ 8252 h 10000"/>
                <a:gd name="connsiteX26" fmla="*/ 2320 w 10000"/>
                <a:gd name="connsiteY26" fmla="*/ 6643 h 10000"/>
                <a:gd name="connsiteX27" fmla="*/ 2062 w 10000"/>
                <a:gd name="connsiteY27" fmla="*/ 5385 h 10000"/>
                <a:gd name="connsiteX28" fmla="*/ 1804 w 10000"/>
                <a:gd name="connsiteY28" fmla="*/ 5035 h 10000"/>
                <a:gd name="connsiteX29" fmla="*/ 1985 w 10000"/>
                <a:gd name="connsiteY29" fmla="*/ 4755 h 10000"/>
                <a:gd name="connsiteX30" fmla="*/ 7990 w 10000"/>
                <a:gd name="connsiteY30" fmla="*/ 4755 h 10000"/>
                <a:gd name="connsiteX31" fmla="*/ 8170 w 10000"/>
                <a:gd name="connsiteY31" fmla="*/ 5035 h 10000"/>
                <a:gd name="connsiteX32" fmla="*/ 7706 w 10000"/>
                <a:gd name="connsiteY32" fmla="*/ 6643 h 10000"/>
                <a:gd name="connsiteX33" fmla="*/ 7706 w 10000"/>
                <a:gd name="connsiteY33" fmla="*/ 8252 h 10000"/>
                <a:gd name="connsiteX34" fmla="*/ 8299 w 10000"/>
                <a:gd name="connsiteY34" fmla="*/ 10000 h 10000"/>
                <a:gd name="connsiteX35" fmla="*/ 9356 w 10000"/>
                <a:gd name="connsiteY35" fmla="*/ 10000 h 10000"/>
                <a:gd name="connsiteX36" fmla="*/ 10000 w 10000"/>
                <a:gd name="connsiteY36" fmla="*/ 8252 h 10000"/>
                <a:gd name="connsiteX37" fmla="*/ 10000 w 10000"/>
                <a:gd name="connsiteY37" fmla="*/ 6643 h 10000"/>
                <a:gd name="connsiteX0" fmla="*/ 10000 w 10000"/>
                <a:gd name="connsiteY0" fmla="*/ 6643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1985 w 10000"/>
                <a:gd name="connsiteY23" fmla="*/ 9720 h 10000"/>
                <a:gd name="connsiteX24" fmla="*/ 2216 w 10000"/>
                <a:gd name="connsiteY24" fmla="*/ 9091 h 10000"/>
                <a:gd name="connsiteX25" fmla="*/ 2320 w 10000"/>
                <a:gd name="connsiteY25" fmla="*/ 8252 h 10000"/>
                <a:gd name="connsiteX26" fmla="*/ 2320 w 10000"/>
                <a:gd name="connsiteY26" fmla="*/ 6643 h 10000"/>
                <a:gd name="connsiteX27" fmla="*/ 1804 w 10000"/>
                <a:gd name="connsiteY27" fmla="*/ 5035 h 10000"/>
                <a:gd name="connsiteX28" fmla="*/ 1985 w 10000"/>
                <a:gd name="connsiteY28" fmla="*/ 4755 h 10000"/>
                <a:gd name="connsiteX29" fmla="*/ 7990 w 10000"/>
                <a:gd name="connsiteY29" fmla="*/ 4755 h 10000"/>
                <a:gd name="connsiteX30" fmla="*/ 8170 w 10000"/>
                <a:gd name="connsiteY30" fmla="*/ 5035 h 10000"/>
                <a:gd name="connsiteX31" fmla="*/ 7706 w 10000"/>
                <a:gd name="connsiteY31" fmla="*/ 6643 h 10000"/>
                <a:gd name="connsiteX32" fmla="*/ 7706 w 10000"/>
                <a:gd name="connsiteY32" fmla="*/ 8252 h 10000"/>
                <a:gd name="connsiteX33" fmla="*/ 8299 w 10000"/>
                <a:gd name="connsiteY33" fmla="*/ 10000 h 10000"/>
                <a:gd name="connsiteX34" fmla="*/ 9356 w 10000"/>
                <a:gd name="connsiteY34" fmla="*/ 10000 h 10000"/>
                <a:gd name="connsiteX35" fmla="*/ 10000 w 10000"/>
                <a:gd name="connsiteY35" fmla="*/ 8252 h 10000"/>
                <a:gd name="connsiteX36" fmla="*/ 10000 w 10000"/>
                <a:gd name="connsiteY36" fmla="*/ 6643 h 10000"/>
                <a:gd name="connsiteX0" fmla="*/ 10000 w 10000"/>
                <a:gd name="connsiteY0" fmla="*/ 6643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1985 w 10000"/>
                <a:gd name="connsiteY23" fmla="*/ 9720 h 10000"/>
                <a:gd name="connsiteX24" fmla="*/ 2216 w 10000"/>
                <a:gd name="connsiteY24" fmla="*/ 9091 h 10000"/>
                <a:gd name="connsiteX25" fmla="*/ 2320 w 10000"/>
                <a:gd name="connsiteY25" fmla="*/ 8252 h 10000"/>
                <a:gd name="connsiteX26" fmla="*/ 2320 w 10000"/>
                <a:gd name="connsiteY26" fmla="*/ 6643 h 10000"/>
                <a:gd name="connsiteX27" fmla="*/ 1804 w 10000"/>
                <a:gd name="connsiteY27" fmla="*/ 5035 h 10000"/>
                <a:gd name="connsiteX28" fmla="*/ 1985 w 10000"/>
                <a:gd name="connsiteY28" fmla="*/ 4755 h 10000"/>
                <a:gd name="connsiteX29" fmla="*/ 7990 w 10000"/>
                <a:gd name="connsiteY29" fmla="*/ 4755 h 10000"/>
                <a:gd name="connsiteX30" fmla="*/ 8170 w 10000"/>
                <a:gd name="connsiteY30" fmla="*/ 5035 h 10000"/>
                <a:gd name="connsiteX31" fmla="*/ 7706 w 10000"/>
                <a:gd name="connsiteY31" fmla="*/ 6643 h 10000"/>
                <a:gd name="connsiteX32" fmla="*/ 7706 w 10000"/>
                <a:gd name="connsiteY32" fmla="*/ 8252 h 10000"/>
                <a:gd name="connsiteX33" fmla="*/ 8299 w 10000"/>
                <a:gd name="connsiteY33" fmla="*/ 10000 h 10000"/>
                <a:gd name="connsiteX34" fmla="*/ 9356 w 10000"/>
                <a:gd name="connsiteY34" fmla="*/ 10000 h 10000"/>
                <a:gd name="connsiteX35" fmla="*/ 10000 w 10000"/>
                <a:gd name="connsiteY35" fmla="*/ 8252 h 10000"/>
                <a:gd name="connsiteX36" fmla="*/ 10000 w 10000"/>
                <a:gd name="connsiteY36" fmla="*/ 6643 h 10000"/>
                <a:gd name="connsiteX0" fmla="*/ 10000 w 10000"/>
                <a:gd name="connsiteY0" fmla="*/ 6643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1985 w 10000"/>
                <a:gd name="connsiteY23" fmla="*/ 9720 h 10000"/>
                <a:gd name="connsiteX24" fmla="*/ 2320 w 10000"/>
                <a:gd name="connsiteY24" fmla="*/ 8252 h 10000"/>
                <a:gd name="connsiteX25" fmla="*/ 2320 w 10000"/>
                <a:gd name="connsiteY25" fmla="*/ 6643 h 10000"/>
                <a:gd name="connsiteX26" fmla="*/ 1804 w 10000"/>
                <a:gd name="connsiteY26" fmla="*/ 5035 h 10000"/>
                <a:gd name="connsiteX27" fmla="*/ 1985 w 10000"/>
                <a:gd name="connsiteY27" fmla="*/ 4755 h 10000"/>
                <a:gd name="connsiteX28" fmla="*/ 7990 w 10000"/>
                <a:gd name="connsiteY28" fmla="*/ 4755 h 10000"/>
                <a:gd name="connsiteX29" fmla="*/ 8170 w 10000"/>
                <a:gd name="connsiteY29" fmla="*/ 5035 h 10000"/>
                <a:gd name="connsiteX30" fmla="*/ 7706 w 10000"/>
                <a:gd name="connsiteY30" fmla="*/ 6643 h 10000"/>
                <a:gd name="connsiteX31" fmla="*/ 7706 w 10000"/>
                <a:gd name="connsiteY31" fmla="*/ 8252 h 10000"/>
                <a:gd name="connsiteX32" fmla="*/ 8299 w 10000"/>
                <a:gd name="connsiteY32" fmla="*/ 10000 h 10000"/>
                <a:gd name="connsiteX33" fmla="*/ 9356 w 10000"/>
                <a:gd name="connsiteY33" fmla="*/ 10000 h 10000"/>
                <a:gd name="connsiteX34" fmla="*/ 10000 w 10000"/>
                <a:gd name="connsiteY34" fmla="*/ 8252 h 10000"/>
                <a:gd name="connsiteX35" fmla="*/ 10000 w 10000"/>
                <a:gd name="connsiteY35" fmla="*/ 6643 h 10000"/>
                <a:gd name="connsiteX0" fmla="*/ 10000 w 10000"/>
                <a:gd name="connsiteY0" fmla="*/ 6643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2320 w 10000"/>
                <a:gd name="connsiteY23" fmla="*/ 8252 h 10000"/>
                <a:gd name="connsiteX24" fmla="*/ 2320 w 10000"/>
                <a:gd name="connsiteY24" fmla="*/ 6643 h 10000"/>
                <a:gd name="connsiteX25" fmla="*/ 1804 w 10000"/>
                <a:gd name="connsiteY25" fmla="*/ 5035 h 10000"/>
                <a:gd name="connsiteX26" fmla="*/ 1985 w 10000"/>
                <a:gd name="connsiteY26" fmla="*/ 4755 h 10000"/>
                <a:gd name="connsiteX27" fmla="*/ 7990 w 10000"/>
                <a:gd name="connsiteY27" fmla="*/ 4755 h 10000"/>
                <a:gd name="connsiteX28" fmla="*/ 8170 w 10000"/>
                <a:gd name="connsiteY28" fmla="*/ 5035 h 10000"/>
                <a:gd name="connsiteX29" fmla="*/ 7706 w 10000"/>
                <a:gd name="connsiteY29" fmla="*/ 6643 h 10000"/>
                <a:gd name="connsiteX30" fmla="*/ 7706 w 10000"/>
                <a:gd name="connsiteY30" fmla="*/ 8252 h 10000"/>
                <a:gd name="connsiteX31" fmla="*/ 8299 w 10000"/>
                <a:gd name="connsiteY31" fmla="*/ 10000 h 10000"/>
                <a:gd name="connsiteX32" fmla="*/ 9356 w 10000"/>
                <a:gd name="connsiteY32" fmla="*/ 10000 h 10000"/>
                <a:gd name="connsiteX33" fmla="*/ 10000 w 10000"/>
                <a:gd name="connsiteY33" fmla="*/ 8252 h 10000"/>
                <a:gd name="connsiteX34" fmla="*/ 10000 w 10000"/>
                <a:gd name="connsiteY34" fmla="*/ 6643 h 10000"/>
                <a:gd name="connsiteX0" fmla="*/ 10000 w 10000"/>
                <a:gd name="connsiteY0" fmla="*/ 6643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2320 w 10000"/>
                <a:gd name="connsiteY23" fmla="*/ 8252 h 10000"/>
                <a:gd name="connsiteX24" fmla="*/ 2320 w 10000"/>
                <a:gd name="connsiteY24" fmla="*/ 6643 h 10000"/>
                <a:gd name="connsiteX25" fmla="*/ 1804 w 10000"/>
                <a:gd name="connsiteY25" fmla="*/ 5035 h 10000"/>
                <a:gd name="connsiteX26" fmla="*/ 1985 w 10000"/>
                <a:gd name="connsiteY26" fmla="*/ 4755 h 10000"/>
                <a:gd name="connsiteX27" fmla="*/ 7990 w 10000"/>
                <a:gd name="connsiteY27" fmla="*/ 4755 h 10000"/>
                <a:gd name="connsiteX28" fmla="*/ 8170 w 10000"/>
                <a:gd name="connsiteY28" fmla="*/ 5035 h 10000"/>
                <a:gd name="connsiteX29" fmla="*/ 7706 w 10000"/>
                <a:gd name="connsiteY29" fmla="*/ 6643 h 10000"/>
                <a:gd name="connsiteX30" fmla="*/ 7706 w 10000"/>
                <a:gd name="connsiteY30" fmla="*/ 8252 h 10000"/>
                <a:gd name="connsiteX31" fmla="*/ 8299 w 10000"/>
                <a:gd name="connsiteY31" fmla="*/ 10000 h 10000"/>
                <a:gd name="connsiteX32" fmla="*/ 9356 w 10000"/>
                <a:gd name="connsiteY32" fmla="*/ 10000 h 10000"/>
                <a:gd name="connsiteX33" fmla="*/ 10000 w 10000"/>
                <a:gd name="connsiteY33" fmla="*/ 8252 h 10000"/>
                <a:gd name="connsiteX34" fmla="*/ 10000 w 10000"/>
                <a:gd name="connsiteY34" fmla="*/ 6643 h 10000"/>
                <a:gd name="connsiteX0" fmla="*/ 10000 w 10000"/>
                <a:gd name="connsiteY0" fmla="*/ 6643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2320 w 10000"/>
                <a:gd name="connsiteY22" fmla="*/ 8252 h 10000"/>
                <a:gd name="connsiteX23" fmla="*/ 2320 w 10000"/>
                <a:gd name="connsiteY23" fmla="*/ 6643 h 10000"/>
                <a:gd name="connsiteX24" fmla="*/ 1804 w 10000"/>
                <a:gd name="connsiteY24" fmla="*/ 5035 h 10000"/>
                <a:gd name="connsiteX25" fmla="*/ 1985 w 10000"/>
                <a:gd name="connsiteY25" fmla="*/ 4755 h 10000"/>
                <a:gd name="connsiteX26" fmla="*/ 7990 w 10000"/>
                <a:gd name="connsiteY26" fmla="*/ 4755 h 10000"/>
                <a:gd name="connsiteX27" fmla="*/ 8170 w 10000"/>
                <a:gd name="connsiteY27" fmla="*/ 5035 h 10000"/>
                <a:gd name="connsiteX28" fmla="*/ 7706 w 10000"/>
                <a:gd name="connsiteY28" fmla="*/ 6643 h 10000"/>
                <a:gd name="connsiteX29" fmla="*/ 7706 w 10000"/>
                <a:gd name="connsiteY29" fmla="*/ 8252 h 10000"/>
                <a:gd name="connsiteX30" fmla="*/ 8299 w 10000"/>
                <a:gd name="connsiteY30" fmla="*/ 10000 h 10000"/>
                <a:gd name="connsiteX31" fmla="*/ 9356 w 10000"/>
                <a:gd name="connsiteY31" fmla="*/ 10000 h 10000"/>
                <a:gd name="connsiteX32" fmla="*/ 10000 w 10000"/>
                <a:gd name="connsiteY32" fmla="*/ 8252 h 10000"/>
                <a:gd name="connsiteX33" fmla="*/ 10000 w 10000"/>
                <a:gd name="connsiteY33" fmla="*/ 6643 h 10000"/>
                <a:gd name="connsiteX0" fmla="*/ 10000 w 10000"/>
                <a:gd name="connsiteY0" fmla="*/ 6643 h 10064"/>
                <a:gd name="connsiteX1" fmla="*/ 9459 w 10000"/>
                <a:gd name="connsiteY1" fmla="*/ 4196 h 10064"/>
                <a:gd name="connsiteX2" fmla="*/ 8969 w 10000"/>
                <a:gd name="connsiteY2" fmla="*/ 3007 h 10064"/>
                <a:gd name="connsiteX3" fmla="*/ 8351 w 10000"/>
                <a:gd name="connsiteY3" fmla="*/ 1958 h 10064"/>
                <a:gd name="connsiteX4" fmla="*/ 7629 w 10000"/>
                <a:gd name="connsiteY4" fmla="*/ 1189 h 10064"/>
                <a:gd name="connsiteX5" fmla="*/ 6830 w 10000"/>
                <a:gd name="connsiteY5" fmla="*/ 490 h 10064"/>
                <a:gd name="connsiteX6" fmla="*/ 5954 w 10000"/>
                <a:gd name="connsiteY6" fmla="*/ 210 h 10064"/>
                <a:gd name="connsiteX7" fmla="*/ 4974 w 10000"/>
                <a:gd name="connsiteY7" fmla="*/ 0 h 10064"/>
                <a:gd name="connsiteX8" fmla="*/ 4046 w 10000"/>
                <a:gd name="connsiteY8" fmla="*/ 210 h 10064"/>
                <a:gd name="connsiteX9" fmla="*/ 3119 w 10000"/>
                <a:gd name="connsiteY9" fmla="*/ 490 h 10064"/>
                <a:gd name="connsiteX10" fmla="*/ 2320 w 10000"/>
                <a:gd name="connsiteY10" fmla="*/ 1189 h 10064"/>
                <a:gd name="connsiteX11" fmla="*/ 1598 w 10000"/>
                <a:gd name="connsiteY11" fmla="*/ 2028 h 10064"/>
                <a:gd name="connsiteX12" fmla="*/ 1005 w 10000"/>
                <a:gd name="connsiteY12" fmla="*/ 3077 h 10064"/>
                <a:gd name="connsiteX13" fmla="*/ 490 w 10000"/>
                <a:gd name="connsiteY13" fmla="*/ 4266 h 10064"/>
                <a:gd name="connsiteX14" fmla="*/ 180 w 10000"/>
                <a:gd name="connsiteY14" fmla="*/ 5524 h 10064"/>
                <a:gd name="connsiteX15" fmla="*/ 77 w 10000"/>
                <a:gd name="connsiteY15" fmla="*/ 5874 h 10064"/>
                <a:gd name="connsiteX16" fmla="*/ 26 w 10000"/>
                <a:gd name="connsiteY16" fmla="*/ 6224 h 10064"/>
                <a:gd name="connsiteX17" fmla="*/ 0 w 10000"/>
                <a:gd name="connsiteY17" fmla="*/ 6643 h 10064"/>
                <a:gd name="connsiteX18" fmla="*/ 0 w 10000"/>
                <a:gd name="connsiteY18" fmla="*/ 8252 h 10064"/>
                <a:gd name="connsiteX19" fmla="*/ 77 w 10000"/>
                <a:gd name="connsiteY19" fmla="*/ 9091 h 10064"/>
                <a:gd name="connsiteX20" fmla="*/ 309 w 10000"/>
                <a:gd name="connsiteY20" fmla="*/ 9720 h 10064"/>
                <a:gd name="connsiteX21" fmla="*/ 619 w 10000"/>
                <a:gd name="connsiteY21" fmla="*/ 10000 h 10064"/>
                <a:gd name="connsiteX22" fmla="*/ 2320 w 10000"/>
                <a:gd name="connsiteY22" fmla="*/ 8252 h 10064"/>
                <a:gd name="connsiteX23" fmla="*/ 2320 w 10000"/>
                <a:gd name="connsiteY23" fmla="*/ 6643 h 10064"/>
                <a:gd name="connsiteX24" fmla="*/ 1804 w 10000"/>
                <a:gd name="connsiteY24" fmla="*/ 5035 h 10064"/>
                <a:gd name="connsiteX25" fmla="*/ 1985 w 10000"/>
                <a:gd name="connsiteY25" fmla="*/ 4755 h 10064"/>
                <a:gd name="connsiteX26" fmla="*/ 7990 w 10000"/>
                <a:gd name="connsiteY26" fmla="*/ 4755 h 10064"/>
                <a:gd name="connsiteX27" fmla="*/ 8170 w 10000"/>
                <a:gd name="connsiteY27" fmla="*/ 5035 h 10064"/>
                <a:gd name="connsiteX28" fmla="*/ 7706 w 10000"/>
                <a:gd name="connsiteY28" fmla="*/ 6643 h 10064"/>
                <a:gd name="connsiteX29" fmla="*/ 7706 w 10000"/>
                <a:gd name="connsiteY29" fmla="*/ 8252 h 10064"/>
                <a:gd name="connsiteX30" fmla="*/ 8299 w 10000"/>
                <a:gd name="connsiteY30" fmla="*/ 10000 h 10064"/>
                <a:gd name="connsiteX31" fmla="*/ 9356 w 10000"/>
                <a:gd name="connsiteY31" fmla="*/ 10000 h 10064"/>
                <a:gd name="connsiteX32" fmla="*/ 10000 w 10000"/>
                <a:gd name="connsiteY32" fmla="*/ 8252 h 10064"/>
                <a:gd name="connsiteX33" fmla="*/ 10000 w 10000"/>
                <a:gd name="connsiteY33" fmla="*/ 6643 h 10064"/>
                <a:gd name="connsiteX0" fmla="*/ 10000 w 10000"/>
                <a:gd name="connsiteY0" fmla="*/ 6643 h 10090"/>
                <a:gd name="connsiteX1" fmla="*/ 9459 w 10000"/>
                <a:gd name="connsiteY1" fmla="*/ 4196 h 10090"/>
                <a:gd name="connsiteX2" fmla="*/ 8969 w 10000"/>
                <a:gd name="connsiteY2" fmla="*/ 3007 h 10090"/>
                <a:gd name="connsiteX3" fmla="*/ 8351 w 10000"/>
                <a:gd name="connsiteY3" fmla="*/ 1958 h 10090"/>
                <a:gd name="connsiteX4" fmla="*/ 7629 w 10000"/>
                <a:gd name="connsiteY4" fmla="*/ 1189 h 10090"/>
                <a:gd name="connsiteX5" fmla="*/ 6830 w 10000"/>
                <a:gd name="connsiteY5" fmla="*/ 490 h 10090"/>
                <a:gd name="connsiteX6" fmla="*/ 5954 w 10000"/>
                <a:gd name="connsiteY6" fmla="*/ 210 h 10090"/>
                <a:gd name="connsiteX7" fmla="*/ 4974 w 10000"/>
                <a:gd name="connsiteY7" fmla="*/ 0 h 10090"/>
                <a:gd name="connsiteX8" fmla="*/ 4046 w 10000"/>
                <a:gd name="connsiteY8" fmla="*/ 210 h 10090"/>
                <a:gd name="connsiteX9" fmla="*/ 3119 w 10000"/>
                <a:gd name="connsiteY9" fmla="*/ 490 h 10090"/>
                <a:gd name="connsiteX10" fmla="*/ 2320 w 10000"/>
                <a:gd name="connsiteY10" fmla="*/ 1189 h 10090"/>
                <a:gd name="connsiteX11" fmla="*/ 1598 w 10000"/>
                <a:gd name="connsiteY11" fmla="*/ 2028 h 10090"/>
                <a:gd name="connsiteX12" fmla="*/ 1005 w 10000"/>
                <a:gd name="connsiteY12" fmla="*/ 3077 h 10090"/>
                <a:gd name="connsiteX13" fmla="*/ 490 w 10000"/>
                <a:gd name="connsiteY13" fmla="*/ 4266 h 10090"/>
                <a:gd name="connsiteX14" fmla="*/ 180 w 10000"/>
                <a:gd name="connsiteY14" fmla="*/ 5524 h 10090"/>
                <a:gd name="connsiteX15" fmla="*/ 77 w 10000"/>
                <a:gd name="connsiteY15" fmla="*/ 5874 h 10090"/>
                <a:gd name="connsiteX16" fmla="*/ 26 w 10000"/>
                <a:gd name="connsiteY16" fmla="*/ 6224 h 10090"/>
                <a:gd name="connsiteX17" fmla="*/ 0 w 10000"/>
                <a:gd name="connsiteY17" fmla="*/ 6643 h 10090"/>
                <a:gd name="connsiteX18" fmla="*/ 0 w 10000"/>
                <a:gd name="connsiteY18" fmla="*/ 8252 h 10090"/>
                <a:gd name="connsiteX19" fmla="*/ 77 w 10000"/>
                <a:gd name="connsiteY19" fmla="*/ 9091 h 10090"/>
                <a:gd name="connsiteX20" fmla="*/ 309 w 10000"/>
                <a:gd name="connsiteY20" fmla="*/ 9720 h 10090"/>
                <a:gd name="connsiteX21" fmla="*/ 619 w 10000"/>
                <a:gd name="connsiteY21" fmla="*/ 10000 h 10090"/>
                <a:gd name="connsiteX22" fmla="*/ 2320 w 10000"/>
                <a:gd name="connsiteY22" fmla="*/ 8252 h 10090"/>
                <a:gd name="connsiteX23" fmla="*/ 2320 w 10000"/>
                <a:gd name="connsiteY23" fmla="*/ 6643 h 10090"/>
                <a:gd name="connsiteX24" fmla="*/ 1804 w 10000"/>
                <a:gd name="connsiteY24" fmla="*/ 5035 h 10090"/>
                <a:gd name="connsiteX25" fmla="*/ 1985 w 10000"/>
                <a:gd name="connsiteY25" fmla="*/ 4755 h 10090"/>
                <a:gd name="connsiteX26" fmla="*/ 7990 w 10000"/>
                <a:gd name="connsiteY26" fmla="*/ 4755 h 10090"/>
                <a:gd name="connsiteX27" fmla="*/ 8170 w 10000"/>
                <a:gd name="connsiteY27" fmla="*/ 5035 h 10090"/>
                <a:gd name="connsiteX28" fmla="*/ 7706 w 10000"/>
                <a:gd name="connsiteY28" fmla="*/ 6643 h 10090"/>
                <a:gd name="connsiteX29" fmla="*/ 7706 w 10000"/>
                <a:gd name="connsiteY29" fmla="*/ 8252 h 10090"/>
                <a:gd name="connsiteX30" fmla="*/ 8299 w 10000"/>
                <a:gd name="connsiteY30" fmla="*/ 10000 h 10090"/>
                <a:gd name="connsiteX31" fmla="*/ 9356 w 10000"/>
                <a:gd name="connsiteY31" fmla="*/ 10000 h 10090"/>
                <a:gd name="connsiteX32" fmla="*/ 10000 w 10000"/>
                <a:gd name="connsiteY32" fmla="*/ 8252 h 10090"/>
                <a:gd name="connsiteX33" fmla="*/ 10000 w 10000"/>
                <a:gd name="connsiteY33" fmla="*/ 6643 h 10090"/>
                <a:gd name="connsiteX0" fmla="*/ 10000 w 10000"/>
                <a:gd name="connsiteY0" fmla="*/ 6643 h 10137"/>
                <a:gd name="connsiteX1" fmla="*/ 9459 w 10000"/>
                <a:gd name="connsiteY1" fmla="*/ 4196 h 10137"/>
                <a:gd name="connsiteX2" fmla="*/ 8969 w 10000"/>
                <a:gd name="connsiteY2" fmla="*/ 3007 h 10137"/>
                <a:gd name="connsiteX3" fmla="*/ 8351 w 10000"/>
                <a:gd name="connsiteY3" fmla="*/ 1958 h 10137"/>
                <a:gd name="connsiteX4" fmla="*/ 7629 w 10000"/>
                <a:gd name="connsiteY4" fmla="*/ 1189 h 10137"/>
                <a:gd name="connsiteX5" fmla="*/ 6830 w 10000"/>
                <a:gd name="connsiteY5" fmla="*/ 490 h 10137"/>
                <a:gd name="connsiteX6" fmla="*/ 5954 w 10000"/>
                <a:gd name="connsiteY6" fmla="*/ 210 h 10137"/>
                <a:gd name="connsiteX7" fmla="*/ 4974 w 10000"/>
                <a:gd name="connsiteY7" fmla="*/ 0 h 10137"/>
                <a:gd name="connsiteX8" fmla="*/ 4046 w 10000"/>
                <a:gd name="connsiteY8" fmla="*/ 210 h 10137"/>
                <a:gd name="connsiteX9" fmla="*/ 3119 w 10000"/>
                <a:gd name="connsiteY9" fmla="*/ 490 h 10137"/>
                <a:gd name="connsiteX10" fmla="*/ 2320 w 10000"/>
                <a:gd name="connsiteY10" fmla="*/ 1189 h 10137"/>
                <a:gd name="connsiteX11" fmla="*/ 1598 w 10000"/>
                <a:gd name="connsiteY11" fmla="*/ 2028 h 10137"/>
                <a:gd name="connsiteX12" fmla="*/ 1005 w 10000"/>
                <a:gd name="connsiteY12" fmla="*/ 3077 h 10137"/>
                <a:gd name="connsiteX13" fmla="*/ 490 w 10000"/>
                <a:gd name="connsiteY13" fmla="*/ 4266 h 10137"/>
                <a:gd name="connsiteX14" fmla="*/ 180 w 10000"/>
                <a:gd name="connsiteY14" fmla="*/ 5524 h 10137"/>
                <a:gd name="connsiteX15" fmla="*/ 77 w 10000"/>
                <a:gd name="connsiteY15" fmla="*/ 5874 h 10137"/>
                <a:gd name="connsiteX16" fmla="*/ 26 w 10000"/>
                <a:gd name="connsiteY16" fmla="*/ 6224 h 10137"/>
                <a:gd name="connsiteX17" fmla="*/ 0 w 10000"/>
                <a:gd name="connsiteY17" fmla="*/ 6643 h 10137"/>
                <a:gd name="connsiteX18" fmla="*/ 0 w 10000"/>
                <a:gd name="connsiteY18" fmla="*/ 8252 h 10137"/>
                <a:gd name="connsiteX19" fmla="*/ 77 w 10000"/>
                <a:gd name="connsiteY19" fmla="*/ 9091 h 10137"/>
                <a:gd name="connsiteX20" fmla="*/ 309 w 10000"/>
                <a:gd name="connsiteY20" fmla="*/ 9720 h 10137"/>
                <a:gd name="connsiteX21" fmla="*/ 619 w 10000"/>
                <a:gd name="connsiteY21" fmla="*/ 10000 h 10137"/>
                <a:gd name="connsiteX22" fmla="*/ 2320 w 10000"/>
                <a:gd name="connsiteY22" fmla="*/ 8252 h 10137"/>
                <a:gd name="connsiteX23" fmla="*/ 2320 w 10000"/>
                <a:gd name="connsiteY23" fmla="*/ 6643 h 10137"/>
                <a:gd name="connsiteX24" fmla="*/ 1804 w 10000"/>
                <a:gd name="connsiteY24" fmla="*/ 5035 h 10137"/>
                <a:gd name="connsiteX25" fmla="*/ 1985 w 10000"/>
                <a:gd name="connsiteY25" fmla="*/ 4755 h 10137"/>
                <a:gd name="connsiteX26" fmla="*/ 7990 w 10000"/>
                <a:gd name="connsiteY26" fmla="*/ 4755 h 10137"/>
                <a:gd name="connsiteX27" fmla="*/ 8170 w 10000"/>
                <a:gd name="connsiteY27" fmla="*/ 5035 h 10137"/>
                <a:gd name="connsiteX28" fmla="*/ 7706 w 10000"/>
                <a:gd name="connsiteY28" fmla="*/ 6643 h 10137"/>
                <a:gd name="connsiteX29" fmla="*/ 7706 w 10000"/>
                <a:gd name="connsiteY29" fmla="*/ 8252 h 10137"/>
                <a:gd name="connsiteX30" fmla="*/ 8299 w 10000"/>
                <a:gd name="connsiteY30" fmla="*/ 10000 h 10137"/>
                <a:gd name="connsiteX31" fmla="*/ 9356 w 10000"/>
                <a:gd name="connsiteY31" fmla="*/ 10000 h 10137"/>
                <a:gd name="connsiteX32" fmla="*/ 10000 w 10000"/>
                <a:gd name="connsiteY32" fmla="*/ 8252 h 10137"/>
                <a:gd name="connsiteX33" fmla="*/ 10000 w 10000"/>
                <a:gd name="connsiteY33" fmla="*/ 6643 h 10137"/>
                <a:gd name="connsiteX0" fmla="*/ 10000 w 10000"/>
                <a:gd name="connsiteY0" fmla="*/ 6643 h 10105"/>
                <a:gd name="connsiteX1" fmla="*/ 9459 w 10000"/>
                <a:gd name="connsiteY1" fmla="*/ 4196 h 10105"/>
                <a:gd name="connsiteX2" fmla="*/ 8969 w 10000"/>
                <a:gd name="connsiteY2" fmla="*/ 3007 h 10105"/>
                <a:gd name="connsiteX3" fmla="*/ 8351 w 10000"/>
                <a:gd name="connsiteY3" fmla="*/ 1958 h 10105"/>
                <a:gd name="connsiteX4" fmla="*/ 7629 w 10000"/>
                <a:gd name="connsiteY4" fmla="*/ 1189 h 10105"/>
                <a:gd name="connsiteX5" fmla="*/ 6830 w 10000"/>
                <a:gd name="connsiteY5" fmla="*/ 490 h 10105"/>
                <a:gd name="connsiteX6" fmla="*/ 5954 w 10000"/>
                <a:gd name="connsiteY6" fmla="*/ 210 h 10105"/>
                <a:gd name="connsiteX7" fmla="*/ 4974 w 10000"/>
                <a:gd name="connsiteY7" fmla="*/ 0 h 10105"/>
                <a:gd name="connsiteX8" fmla="*/ 4046 w 10000"/>
                <a:gd name="connsiteY8" fmla="*/ 210 h 10105"/>
                <a:gd name="connsiteX9" fmla="*/ 3119 w 10000"/>
                <a:gd name="connsiteY9" fmla="*/ 490 h 10105"/>
                <a:gd name="connsiteX10" fmla="*/ 2320 w 10000"/>
                <a:gd name="connsiteY10" fmla="*/ 1189 h 10105"/>
                <a:gd name="connsiteX11" fmla="*/ 1598 w 10000"/>
                <a:gd name="connsiteY11" fmla="*/ 2028 h 10105"/>
                <a:gd name="connsiteX12" fmla="*/ 1005 w 10000"/>
                <a:gd name="connsiteY12" fmla="*/ 3077 h 10105"/>
                <a:gd name="connsiteX13" fmla="*/ 490 w 10000"/>
                <a:gd name="connsiteY13" fmla="*/ 4266 h 10105"/>
                <a:gd name="connsiteX14" fmla="*/ 180 w 10000"/>
                <a:gd name="connsiteY14" fmla="*/ 5524 h 10105"/>
                <a:gd name="connsiteX15" fmla="*/ 77 w 10000"/>
                <a:gd name="connsiteY15" fmla="*/ 5874 h 10105"/>
                <a:gd name="connsiteX16" fmla="*/ 26 w 10000"/>
                <a:gd name="connsiteY16" fmla="*/ 6224 h 10105"/>
                <a:gd name="connsiteX17" fmla="*/ 0 w 10000"/>
                <a:gd name="connsiteY17" fmla="*/ 6643 h 10105"/>
                <a:gd name="connsiteX18" fmla="*/ 0 w 10000"/>
                <a:gd name="connsiteY18" fmla="*/ 8252 h 10105"/>
                <a:gd name="connsiteX19" fmla="*/ 77 w 10000"/>
                <a:gd name="connsiteY19" fmla="*/ 9091 h 10105"/>
                <a:gd name="connsiteX20" fmla="*/ 309 w 10000"/>
                <a:gd name="connsiteY20" fmla="*/ 9720 h 10105"/>
                <a:gd name="connsiteX21" fmla="*/ 619 w 10000"/>
                <a:gd name="connsiteY21" fmla="*/ 10000 h 10105"/>
                <a:gd name="connsiteX22" fmla="*/ 2320 w 10000"/>
                <a:gd name="connsiteY22" fmla="*/ 8252 h 10105"/>
                <a:gd name="connsiteX23" fmla="*/ 2320 w 10000"/>
                <a:gd name="connsiteY23" fmla="*/ 6643 h 10105"/>
                <a:gd name="connsiteX24" fmla="*/ 1804 w 10000"/>
                <a:gd name="connsiteY24" fmla="*/ 5035 h 10105"/>
                <a:gd name="connsiteX25" fmla="*/ 1985 w 10000"/>
                <a:gd name="connsiteY25" fmla="*/ 4755 h 10105"/>
                <a:gd name="connsiteX26" fmla="*/ 7990 w 10000"/>
                <a:gd name="connsiteY26" fmla="*/ 4755 h 10105"/>
                <a:gd name="connsiteX27" fmla="*/ 8170 w 10000"/>
                <a:gd name="connsiteY27" fmla="*/ 5035 h 10105"/>
                <a:gd name="connsiteX28" fmla="*/ 7706 w 10000"/>
                <a:gd name="connsiteY28" fmla="*/ 6643 h 10105"/>
                <a:gd name="connsiteX29" fmla="*/ 7706 w 10000"/>
                <a:gd name="connsiteY29" fmla="*/ 8252 h 10105"/>
                <a:gd name="connsiteX30" fmla="*/ 8299 w 10000"/>
                <a:gd name="connsiteY30" fmla="*/ 10000 h 10105"/>
                <a:gd name="connsiteX31" fmla="*/ 9356 w 10000"/>
                <a:gd name="connsiteY31" fmla="*/ 10000 h 10105"/>
                <a:gd name="connsiteX32" fmla="*/ 10000 w 10000"/>
                <a:gd name="connsiteY32" fmla="*/ 8252 h 10105"/>
                <a:gd name="connsiteX33" fmla="*/ 10000 w 10000"/>
                <a:gd name="connsiteY33" fmla="*/ 6643 h 10105"/>
                <a:gd name="connsiteX0" fmla="*/ 10001 w 10001"/>
                <a:gd name="connsiteY0" fmla="*/ 6643 h 10105"/>
                <a:gd name="connsiteX1" fmla="*/ 9460 w 10001"/>
                <a:gd name="connsiteY1" fmla="*/ 4196 h 10105"/>
                <a:gd name="connsiteX2" fmla="*/ 8970 w 10001"/>
                <a:gd name="connsiteY2" fmla="*/ 3007 h 10105"/>
                <a:gd name="connsiteX3" fmla="*/ 8352 w 10001"/>
                <a:gd name="connsiteY3" fmla="*/ 1958 h 10105"/>
                <a:gd name="connsiteX4" fmla="*/ 7630 w 10001"/>
                <a:gd name="connsiteY4" fmla="*/ 1189 h 10105"/>
                <a:gd name="connsiteX5" fmla="*/ 6831 w 10001"/>
                <a:gd name="connsiteY5" fmla="*/ 490 h 10105"/>
                <a:gd name="connsiteX6" fmla="*/ 5955 w 10001"/>
                <a:gd name="connsiteY6" fmla="*/ 210 h 10105"/>
                <a:gd name="connsiteX7" fmla="*/ 4975 w 10001"/>
                <a:gd name="connsiteY7" fmla="*/ 0 h 10105"/>
                <a:gd name="connsiteX8" fmla="*/ 4047 w 10001"/>
                <a:gd name="connsiteY8" fmla="*/ 210 h 10105"/>
                <a:gd name="connsiteX9" fmla="*/ 3120 w 10001"/>
                <a:gd name="connsiteY9" fmla="*/ 490 h 10105"/>
                <a:gd name="connsiteX10" fmla="*/ 2321 w 10001"/>
                <a:gd name="connsiteY10" fmla="*/ 1189 h 10105"/>
                <a:gd name="connsiteX11" fmla="*/ 1599 w 10001"/>
                <a:gd name="connsiteY11" fmla="*/ 2028 h 10105"/>
                <a:gd name="connsiteX12" fmla="*/ 1006 w 10001"/>
                <a:gd name="connsiteY12" fmla="*/ 3077 h 10105"/>
                <a:gd name="connsiteX13" fmla="*/ 491 w 10001"/>
                <a:gd name="connsiteY13" fmla="*/ 4266 h 10105"/>
                <a:gd name="connsiteX14" fmla="*/ 181 w 10001"/>
                <a:gd name="connsiteY14" fmla="*/ 5524 h 10105"/>
                <a:gd name="connsiteX15" fmla="*/ 78 w 10001"/>
                <a:gd name="connsiteY15" fmla="*/ 5874 h 10105"/>
                <a:gd name="connsiteX16" fmla="*/ 27 w 10001"/>
                <a:gd name="connsiteY16" fmla="*/ 6224 h 10105"/>
                <a:gd name="connsiteX17" fmla="*/ 1 w 10001"/>
                <a:gd name="connsiteY17" fmla="*/ 8252 h 10105"/>
                <a:gd name="connsiteX18" fmla="*/ 78 w 10001"/>
                <a:gd name="connsiteY18" fmla="*/ 9091 h 10105"/>
                <a:gd name="connsiteX19" fmla="*/ 310 w 10001"/>
                <a:gd name="connsiteY19" fmla="*/ 9720 h 10105"/>
                <a:gd name="connsiteX20" fmla="*/ 620 w 10001"/>
                <a:gd name="connsiteY20" fmla="*/ 10000 h 10105"/>
                <a:gd name="connsiteX21" fmla="*/ 2321 w 10001"/>
                <a:gd name="connsiteY21" fmla="*/ 8252 h 10105"/>
                <a:gd name="connsiteX22" fmla="*/ 2321 w 10001"/>
                <a:gd name="connsiteY22" fmla="*/ 6643 h 10105"/>
                <a:gd name="connsiteX23" fmla="*/ 1805 w 10001"/>
                <a:gd name="connsiteY23" fmla="*/ 5035 h 10105"/>
                <a:gd name="connsiteX24" fmla="*/ 1986 w 10001"/>
                <a:gd name="connsiteY24" fmla="*/ 4755 h 10105"/>
                <a:gd name="connsiteX25" fmla="*/ 7991 w 10001"/>
                <a:gd name="connsiteY25" fmla="*/ 4755 h 10105"/>
                <a:gd name="connsiteX26" fmla="*/ 8171 w 10001"/>
                <a:gd name="connsiteY26" fmla="*/ 5035 h 10105"/>
                <a:gd name="connsiteX27" fmla="*/ 7707 w 10001"/>
                <a:gd name="connsiteY27" fmla="*/ 6643 h 10105"/>
                <a:gd name="connsiteX28" fmla="*/ 7707 w 10001"/>
                <a:gd name="connsiteY28" fmla="*/ 8252 h 10105"/>
                <a:gd name="connsiteX29" fmla="*/ 8300 w 10001"/>
                <a:gd name="connsiteY29" fmla="*/ 10000 h 10105"/>
                <a:gd name="connsiteX30" fmla="*/ 9357 w 10001"/>
                <a:gd name="connsiteY30" fmla="*/ 10000 h 10105"/>
                <a:gd name="connsiteX31" fmla="*/ 10001 w 10001"/>
                <a:gd name="connsiteY31" fmla="*/ 8252 h 10105"/>
                <a:gd name="connsiteX32" fmla="*/ 10001 w 10001"/>
                <a:gd name="connsiteY32" fmla="*/ 6643 h 10105"/>
                <a:gd name="connsiteX0" fmla="*/ 10001 w 10001"/>
                <a:gd name="connsiteY0" fmla="*/ 6643 h 10105"/>
                <a:gd name="connsiteX1" fmla="*/ 9460 w 10001"/>
                <a:gd name="connsiteY1" fmla="*/ 4196 h 10105"/>
                <a:gd name="connsiteX2" fmla="*/ 8970 w 10001"/>
                <a:gd name="connsiteY2" fmla="*/ 3007 h 10105"/>
                <a:gd name="connsiteX3" fmla="*/ 8352 w 10001"/>
                <a:gd name="connsiteY3" fmla="*/ 1958 h 10105"/>
                <a:gd name="connsiteX4" fmla="*/ 7630 w 10001"/>
                <a:gd name="connsiteY4" fmla="*/ 1189 h 10105"/>
                <a:gd name="connsiteX5" fmla="*/ 6831 w 10001"/>
                <a:gd name="connsiteY5" fmla="*/ 490 h 10105"/>
                <a:gd name="connsiteX6" fmla="*/ 5955 w 10001"/>
                <a:gd name="connsiteY6" fmla="*/ 210 h 10105"/>
                <a:gd name="connsiteX7" fmla="*/ 4975 w 10001"/>
                <a:gd name="connsiteY7" fmla="*/ 0 h 10105"/>
                <a:gd name="connsiteX8" fmla="*/ 4047 w 10001"/>
                <a:gd name="connsiteY8" fmla="*/ 210 h 10105"/>
                <a:gd name="connsiteX9" fmla="*/ 3120 w 10001"/>
                <a:gd name="connsiteY9" fmla="*/ 490 h 10105"/>
                <a:gd name="connsiteX10" fmla="*/ 2321 w 10001"/>
                <a:gd name="connsiteY10" fmla="*/ 1189 h 10105"/>
                <a:gd name="connsiteX11" fmla="*/ 1599 w 10001"/>
                <a:gd name="connsiteY11" fmla="*/ 2028 h 10105"/>
                <a:gd name="connsiteX12" fmla="*/ 1006 w 10001"/>
                <a:gd name="connsiteY12" fmla="*/ 3077 h 10105"/>
                <a:gd name="connsiteX13" fmla="*/ 491 w 10001"/>
                <a:gd name="connsiteY13" fmla="*/ 4266 h 10105"/>
                <a:gd name="connsiteX14" fmla="*/ 181 w 10001"/>
                <a:gd name="connsiteY14" fmla="*/ 5524 h 10105"/>
                <a:gd name="connsiteX15" fmla="*/ 27 w 10001"/>
                <a:gd name="connsiteY15" fmla="*/ 6224 h 10105"/>
                <a:gd name="connsiteX16" fmla="*/ 1 w 10001"/>
                <a:gd name="connsiteY16" fmla="*/ 8252 h 10105"/>
                <a:gd name="connsiteX17" fmla="*/ 78 w 10001"/>
                <a:gd name="connsiteY17" fmla="*/ 9091 h 10105"/>
                <a:gd name="connsiteX18" fmla="*/ 310 w 10001"/>
                <a:gd name="connsiteY18" fmla="*/ 9720 h 10105"/>
                <a:gd name="connsiteX19" fmla="*/ 620 w 10001"/>
                <a:gd name="connsiteY19" fmla="*/ 10000 h 10105"/>
                <a:gd name="connsiteX20" fmla="*/ 2321 w 10001"/>
                <a:gd name="connsiteY20" fmla="*/ 8252 h 10105"/>
                <a:gd name="connsiteX21" fmla="*/ 2321 w 10001"/>
                <a:gd name="connsiteY21" fmla="*/ 6643 h 10105"/>
                <a:gd name="connsiteX22" fmla="*/ 1805 w 10001"/>
                <a:gd name="connsiteY22" fmla="*/ 5035 h 10105"/>
                <a:gd name="connsiteX23" fmla="*/ 1986 w 10001"/>
                <a:gd name="connsiteY23" fmla="*/ 4755 h 10105"/>
                <a:gd name="connsiteX24" fmla="*/ 7991 w 10001"/>
                <a:gd name="connsiteY24" fmla="*/ 4755 h 10105"/>
                <a:gd name="connsiteX25" fmla="*/ 8171 w 10001"/>
                <a:gd name="connsiteY25" fmla="*/ 5035 h 10105"/>
                <a:gd name="connsiteX26" fmla="*/ 7707 w 10001"/>
                <a:gd name="connsiteY26" fmla="*/ 6643 h 10105"/>
                <a:gd name="connsiteX27" fmla="*/ 7707 w 10001"/>
                <a:gd name="connsiteY27" fmla="*/ 8252 h 10105"/>
                <a:gd name="connsiteX28" fmla="*/ 8300 w 10001"/>
                <a:gd name="connsiteY28" fmla="*/ 10000 h 10105"/>
                <a:gd name="connsiteX29" fmla="*/ 9357 w 10001"/>
                <a:gd name="connsiteY29" fmla="*/ 10000 h 10105"/>
                <a:gd name="connsiteX30" fmla="*/ 10001 w 10001"/>
                <a:gd name="connsiteY30" fmla="*/ 8252 h 10105"/>
                <a:gd name="connsiteX31" fmla="*/ 10001 w 10001"/>
                <a:gd name="connsiteY31" fmla="*/ 6643 h 10105"/>
                <a:gd name="connsiteX0" fmla="*/ 10001 w 10001"/>
                <a:gd name="connsiteY0" fmla="*/ 6643 h 10105"/>
                <a:gd name="connsiteX1" fmla="*/ 9460 w 10001"/>
                <a:gd name="connsiteY1" fmla="*/ 4196 h 10105"/>
                <a:gd name="connsiteX2" fmla="*/ 8970 w 10001"/>
                <a:gd name="connsiteY2" fmla="*/ 3007 h 10105"/>
                <a:gd name="connsiteX3" fmla="*/ 8352 w 10001"/>
                <a:gd name="connsiteY3" fmla="*/ 1958 h 10105"/>
                <a:gd name="connsiteX4" fmla="*/ 7630 w 10001"/>
                <a:gd name="connsiteY4" fmla="*/ 1189 h 10105"/>
                <a:gd name="connsiteX5" fmla="*/ 6831 w 10001"/>
                <a:gd name="connsiteY5" fmla="*/ 490 h 10105"/>
                <a:gd name="connsiteX6" fmla="*/ 5955 w 10001"/>
                <a:gd name="connsiteY6" fmla="*/ 210 h 10105"/>
                <a:gd name="connsiteX7" fmla="*/ 4975 w 10001"/>
                <a:gd name="connsiteY7" fmla="*/ 0 h 10105"/>
                <a:gd name="connsiteX8" fmla="*/ 4047 w 10001"/>
                <a:gd name="connsiteY8" fmla="*/ 210 h 10105"/>
                <a:gd name="connsiteX9" fmla="*/ 3120 w 10001"/>
                <a:gd name="connsiteY9" fmla="*/ 490 h 10105"/>
                <a:gd name="connsiteX10" fmla="*/ 2321 w 10001"/>
                <a:gd name="connsiteY10" fmla="*/ 1189 h 10105"/>
                <a:gd name="connsiteX11" fmla="*/ 1599 w 10001"/>
                <a:gd name="connsiteY11" fmla="*/ 2028 h 10105"/>
                <a:gd name="connsiteX12" fmla="*/ 1006 w 10001"/>
                <a:gd name="connsiteY12" fmla="*/ 3077 h 10105"/>
                <a:gd name="connsiteX13" fmla="*/ 181 w 10001"/>
                <a:gd name="connsiteY13" fmla="*/ 5524 h 10105"/>
                <a:gd name="connsiteX14" fmla="*/ 27 w 10001"/>
                <a:gd name="connsiteY14" fmla="*/ 6224 h 10105"/>
                <a:gd name="connsiteX15" fmla="*/ 1 w 10001"/>
                <a:gd name="connsiteY15" fmla="*/ 8252 h 10105"/>
                <a:gd name="connsiteX16" fmla="*/ 78 w 10001"/>
                <a:gd name="connsiteY16" fmla="*/ 9091 h 10105"/>
                <a:gd name="connsiteX17" fmla="*/ 310 w 10001"/>
                <a:gd name="connsiteY17" fmla="*/ 9720 h 10105"/>
                <a:gd name="connsiteX18" fmla="*/ 620 w 10001"/>
                <a:gd name="connsiteY18" fmla="*/ 10000 h 10105"/>
                <a:gd name="connsiteX19" fmla="*/ 2321 w 10001"/>
                <a:gd name="connsiteY19" fmla="*/ 8252 h 10105"/>
                <a:gd name="connsiteX20" fmla="*/ 2321 w 10001"/>
                <a:gd name="connsiteY20" fmla="*/ 6643 h 10105"/>
                <a:gd name="connsiteX21" fmla="*/ 1805 w 10001"/>
                <a:gd name="connsiteY21" fmla="*/ 5035 h 10105"/>
                <a:gd name="connsiteX22" fmla="*/ 1986 w 10001"/>
                <a:gd name="connsiteY22" fmla="*/ 4755 h 10105"/>
                <a:gd name="connsiteX23" fmla="*/ 7991 w 10001"/>
                <a:gd name="connsiteY23" fmla="*/ 4755 h 10105"/>
                <a:gd name="connsiteX24" fmla="*/ 8171 w 10001"/>
                <a:gd name="connsiteY24" fmla="*/ 5035 h 10105"/>
                <a:gd name="connsiteX25" fmla="*/ 7707 w 10001"/>
                <a:gd name="connsiteY25" fmla="*/ 6643 h 10105"/>
                <a:gd name="connsiteX26" fmla="*/ 7707 w 10001"/>
                <a:gd name="connsiteY26" fmla="*/ 8252 h 10105"/>
                <a:gd name="connsiteX27" fmla="*/ 8300 w 10001"/>
                <a:gd name="connsiteY27" fmla="*/ 10000 h 10105"/>
                <a:gd name="connsiteX28" fmla="*/ 9357 w 10001"/>
                <a:gd name="connsiteY28" fmla="*/ 10000 h 10105"/>
                <a:gd name="connsiteX29" fmla="*/ 10001 w 10001"/>
                <a:gd name="connsiteY29" fmla="*/ 8252 h 10105"/>
                <a:gd name="connsiteX30" fmla="*/ 10001 w 10001"/>
                <a:gd name="connsiteY30" fmla="*/ 6643 h 10105"/>
                <a:gd name="connsiteX0" fmla="*/ 10001 w 10001"/>
                <a:gd name="connsiteY0" fmla="*/ 6643 h 10105"/>
                <a:gd name="connsiteX1" fmla="*/ 9460 w 10001"/>
                <a:gd name="connsiteY1" fmla="*/ 4196 h 10105"/>
                <a:gd name="connsiteX2" fmla="*/ 8970 w 10001"/>
                <a:gd name="connsiteY2" fmla="*/ 3007 h 10105"/>
                <a:gd name="connsiteX3" fmla="*/ 8352 w 10001"/>
                <a:gd name="connsiteY3" fmla="*/ 1958 h 10105"/>
                <a:gd name="connsiteX4" fmla="*/ 7630 w 10001"/>
                <a:gd name="connsiteY4" fmla="*/ 1189 h 10105"/>
                <a:gd name="connsiteX5" fmla="*/ 6831 w 10001"/>
                <a:gd name="connsiteY5" fmla="*/ 490 h 10105"/>
                <a:gd name="connsiteX6" fmla="*/ 5955 w 10001"/>
                <a:gd name="connsiteY6" fmla="*/ 210 h 10105"/>
                <a:gd name="connsiteX7" fmla="*/ 4975 w 10001"/>
                <a:gd name="connsiteY7" fmla="*/ 0 h 10105"/>
                <a:gd name="connsiteX8" fmla="*/ 4047 w 10001"/>
                <a:gd name="connsiteY8" fmla="*/ 210 h 10105"/>
                <a:gd name="connsiteX9" fmla="*/ 3120 w 10001"/>
                <a:gd name="connsiteY9" fmla="*/ 490 h 10105"/>
                <a:gd name="connsiteX10" fmla="*/ 2321 w 10001"/>
                <a:gd name="connsiteY10" fmla="*/ 1189 h 10105"/>
                <a:gd name="connsiteX11" fmla="*/ 1599 w 10001"/>
                <a:gd name="connsiteY11" fmla="*/ 2028 h 10105"/>
                <a:gd name="connsiteX12" fmla="*/ 181 w 10001"/>
                <a:gd name="connsiteY12" fmla="*/ 5524 h 10105"/>
                <a:gd name="connsiteX13" fmla="*/ 27 w 10001"/>
                <a:gd name="connsiteY13" fmla="*/ 6224 h 10105"/>
                <a:gd name="connsiteX14" fmla="*/ 1 w 10001"/>
                <a:gd name="connsiteY14" fmla="*/ 8252 h 10105"/>
                <a:gd name="connsiteX15" fmla="*/ 78 w 10001"/>
                <a:gd name="connsiteY15" fmla="*/ 9091 h 10105"/>
                <a:gd name="connsiteX16" fmla="*/ 310 w 10001"/>
                <a:gd name="connsiteY16" fmla="*/ 9720 h 10105"/>
                <a:gd name="connsiteX17" fmla="*/ 620 w 10001"/>
                <a:gd name="connsiteY17" fmla="*/ 10000 h 10105"/>
                <a:gd name="connsiteX18" fmla="*/ 2321 w 10001"/>
                <a:gd name="connsiteY18" fmla="*/ 8252 h 10105"/>
                <a:gd name="connsiteX19" fmla="*/ 2321 w 10001"/>
                <a:gd name="connsiteY19" fmla="*/ 6643 h 10105"/>
                <a:gd name="connsiteX20" fmla="*/ 1805 w 10001"/>
                <a:gd name="connsiteY20" fmla="*/ 5035 h 10105"/>
                <a:gd name="connsiteX21" fmla="*/ 1986 w 10001"/>
                <a:gd name="connsiteY21" fmla="*/ 4755 h 10105"/>
                <a:gd name="connsiteX22" fmla="*/ 7991 w 10001"/>
                <a:gd name="connsiteY22" fmla="*/ 4755 h 10105"/>
                <a:gd name="connsiteX23" fmla="*/ 8171 w 10001"/>
                <a:gd name="connsiteY23" fmla="*/ 5035 h 10105"/>
                <a:gd name="connsiteX24" fmla="*/ 7707 w 10001"/>
                <a:gd name="connsiteY24" fmla="*/ 6643 h 10105"/>
                <a:gd name="connsiteX25" fmla="*/ 7707 w 10001"/>
                <a:gd name="connsiteY25" fmla="*/ 8252 h 10105"/>
                <a:gd name="connsiteX26" fmla="*/ 8300 w 10001"/>
                <a:gd name="connsiteY26" fmla="*/ 10000 h 10105"/>
                <a:gd name="connsiteX27" fmla="*/ 9357 w 10001"/>
                <a:gd name="connsiteY27" fmla="*/ 10000 h 10105"/>
                <a:gd name="connsiteX28" fmla="*/ 10001 w 10001"/>
                <a:gd name="connsiteY28" fmla="*/ 8252 h 10105"/>
                <a:gd name="connsiteX29" fmla="*/ 10001 w 10001"/>
                <a:gd name="connsiteY29" fmla="*/ 6643 h 10105"/>
                <a:gd name="connsiteX0" fmla="*/ 10001 w 10001"/>
                <a:gd name="connsiteY0" fmla="*/ 6643 h 10105"/>
                <a:gd name="connsiteX1" fmla="*/ 9460 w 10001"/>
                <a:gd name="connsiteY1" fmla="*/ 4196 h 10105"/>
                <a:gd name="connsiteX2" fmla="*/ 8970 w 10001"/>
                <a:gd name="connsiteY2" fmla="*/ 3007 h 10105"/>
                <a:gd name="connsiteX3" fmla="*/ 8352 w 10001"/>
                <a:gd name="connsiteY3" fmla="*/ 1958 h 10105"/>
                <a:gd name="connsiteX4" fmla="*/ 7630 w 10001"/>
                <a:gd name="connsiteY4" fmla="*/ 1189 h 10105"/>
                <a:gd name="connsiteX5" fmla="*/ 6831 w 10001"/>
                <a:gd name="connsiteY5" fmla="*/ 490 h 10105"/>
                <a:gd name="connsiteX6" fmla="*/ 5955 w 10001"/>
                <a:gd name="connsiteY6" fmla="*/ 210 h 10105"/>
                <a:gd name="connsiteX7" fmla="*/ 4975 w 10001"/>
                <a:gd name="connsiteY7" fmla="*/ 0 h 10105"/>
                <a:gd name="connsiteX8" fmla="*/ 4047 w 10001"/>
                <a:gd name="connsiteY8" fmla="*/ 210 h 10105"/>
                <a:gd name="connsiteX9" fmla="*/ 3120 w 10001"/>
                <a:gd name="connsiteY9" fmla="*/ 490 h 10105"/>
                <a:gd name="connsiteX10" fmla="*/ 2321 w 10001"/>
                <a:gd name="connsiteY10" fmla="*/ 1189 h 10105"/>
                <a:gd name="connsiteX11" fmla="*/ 181 w 10001"/>
                <a:gd name="connsiteY11" fmla="*/ 5524 h 10105"/>
                <a:gd name="connsiteX12" fmla="*/ 27 w 10001"/>
                <a:gd name="connsiteY12" fmla="*/ 6224 h 10105"/>
                <a:gd name="connsiteX13" fmla="*/ 1 w 10001"/>
                <a:gd name="connsiteY13" fmla="*/ 8252 h 10105"/>
                <a:gd name="connsiteX14" fmla="*/ 78 w 10001"/>
                <a:gd name="connsiteY14" fmla="*/ 9091 h 10105"/>
                <a:gd name="connsiteX15" fmla="*/ 310 w 10001"/>
                <a:gd name="connsiteY15" fmla="*/ 9720 h 10105"/>
                <a:gd name="connsiteX16" fmla="*/ 620 w 10001"/>
                <a:gd name="connsiteY16" fmla="*/ 10000 h 10105"/>
                <a:gd name="connsiteX17" fmla="*/ 2321 w 10001"/>
                <a:gd name="connsiteY17" fmla="*/ 8252 h 10105"/>
                <a:gd name="connsiteX18" fmla="*/ 2321 w 10001"/>
                <a:gd name="connsiteY18" fmla="*/ 6643 h 10105"/>
                <a:gd name="connsiteX19" fmla="*/ 1805 w 10001"/>
                <a:gd name="connsiteY19" fmla="*/ 5035 h 10105"/>
                <a:gd name="connsiteX20" fmla="*/ 1986 w 10001"/>
                <a:gd name="connsiteY20" fmla="*/ 4755 h 10105"/>
                <a:gd name="connsiteX21" fmla="*/ 7991 w 10001"/>
                <a:gd name="connsiteY21" fmla="*/ 4755 h 10105"/>
                <a:gd name="connsiteX22" fmla="*/ 8171 w 10001"/>
                <a:gd name="connsiteY22" fmla="*/ 5035 h 10105"/>
                <a:gd name="connsiteX23" fmla="*/ 7707 w 10001"/>
                <a:gd name="connsiteY23" fmla="*/ 6643 h 10105"/>
                <a:gd name="connsiteX24" fmla="*/ 7707 w 10001"/>
                <a:gd name="connsiteY24" fmla="*/ 8252 h 10105"/>
                <a:gd name="connsiteX25" fmla="*/ 8300 w 10001"/>
                <a:gd name="connsiteY25" fmla="*/ 10000 h 10105"/>
                <a:gd name="connsiteX26" fmla="*/ 9357 w 10001"/>
                <a:gd name="connsiteY26" fmla="*/ 10000 h 10105"/>
                <a:gd name="connsiteX27" fmla="*/ 10001 w 10001"/>
                <a:gd name="connsiteY27" fmla="*/ 8252 h 10105"/>
                <a:gd name="connsiteX28" fmla="*/ 10001 w 10001"/>
                <a:gd name="connsiteY28" fmla="*/ 6643 h 10105"/>
                <a:gd name="connsiteX0" fmla="*/ 10001 w 10001"/>
                <a:gd name="connsiteY0" fmla="*/ 6643 h 10105"/>
                <a:gd name="connsiteX1" fmla="*/ 9460 w 10001"/>
                <a:gd name="connsiteY1" fmla="*/ 4196 h 10105"/>
                <a:gd name="connsiteX2" fmla="*/ 8970 w 10001"/>
                <a:gd name="connsiteY2" fmla="*/ 3007 h 10105"/>
                <a:gd name="connsiteX3" fmla="*/ 8352 w 10001"/>
                <a:gd name="connsiteY3" fmla="*/ 1958 h 10105"/>
                <a:gd name="connsiteX4" fmla="*/ 7630 w 10001"/>
                <a:gd name="connsiteY4" fmla="*/ 1189 h 10105"/>
                <a:gd name="connsiteX5" fmla="*/ 6831 w 10001"/>
                <a:gd name="connsiteY5" fmla="*/ 490 h 10105"/>
                <a:gd name="connsiteX6" fmla="*/ 5955 w 10001"/>
                <a:gd name="connsiteY6" fmla="*/ 210 h 10105"/>
                <a:gd name="connsiteX7" fmla="*/ 4975 w 10001"/>
                <a:gd name="connsiteY7" fmla="*/ 0 h 10105"/>
                <a:gd name="connsiteX8" fmla="*/ 4047 w 10001"/>
                <a:gd name="connsiteY8" fmla="*/ 210 h 10105"/>
                <a:gd name="connsiteX9" fmla="*/ 3120 w 10001"/>
                <a:gd name="connsiteY9" fmla="*/ 490 h 10105"/>
                <a:gd name="connsiteX10" fmla="*/ 2321 w 10001"/>
                <a:gd name="connsiteY10" fmla="*/ 1189 h 10105"/>
                <a:gd name="connsiteX11" fmla="*/ 181 w 10001"/>
                <a:gd name="connsiteY11" fmla="*/ 5524 h 10105"/>
                <a:gd name="connsiteX12" fmla="*/ 27 w 10001"/>
                <a:gd name="connsiteY12" fmla="*/ 6224 h 10105"/>
                <a:gd name="connsiteX13" fmla="*/ 1 w 10001"/>
                <a:gd name="connsiteY13" fmla="*/ 8252 h 10105"/>
                <a:gd name="connsiteX14" fmla="*/ 78 w 10001"/>
                <a:gd name="connsiteY14" fmla="*/ 9091 h 10105"/>
                <a:gd name="connsiteX15" fmla="*/ 310 w 10001"/>
                <a:gd name="connsiteY15" fmla="*/ 9720 h 10105"/>
                <a:gd name="connsiteX16" fmla="*/ 620 w 10001"/>
                <a:gd name="connsiteY16" fmla="*/ 10000 h 10105"/>
                <a:gd name="connsiteX17" fmla="*/ 2321 w 10001"/>
                <a:gd name="connsiteY17" fmla="*/ 8252 h 10105"/>
                <a:gd name="connsiteX18" fmla="*/ 2321 w 10001"/>
                <a:gd name="connsiteY18" fmla="*/ 6643 h 10105"/>
                <a:gd name="connsiteX19" fmla="*/ 1805 w 10001"/>
                <a:gd name="connsiteY19" fmla="*/ 5035 h 10105"/>
                <a:gd name="connsiteX20" fmla="*/ 1986 w 10001"/>
                <a:gd name="connsiteY20" fmla="*/ 4755 h 10105"/>
                <a:gd name="connsiteX21" fmla="*/ 7991 w 10001"/>
                <a:gd name="connsiteY21" fmla="*/ 4755 h 10105"/>
                <a:gd name="connsiteX22" fmla="*/ 8171 w 10001"/>
                <a:gd name="connsiteY22" fmla="*/ 5035 h 10105"/>
                <a:gd name="connsiteX23" fmla="*/ 7707 w 10001"/>
                <a:gd name="connsiteY23" fmla="*/ 6643 h 10105"/>
                <a:gd name="connsiteX24" fmla="*/ 7707 w 10001"/>
                <a:gd name="connsiteY24" fmla="*/ 8252 h 10105"/>
                <a:gd name="connsiteX25" fmla="*/ 8300 w 10001"/>
                <a:gd name="connsiteY25" fmla="*/ 10000 h 10105"/>
                <a:gd name="connsiteX26" fmla="*/ 9357 w 10001"/>
                <a:gd name="connsiteY26" fmla="*/ 10000 h 10105"/>
                <a:gd name="connsiteX27" fmla="*/ 10001 w 10001"/>
                <a:gd name="connsiteY27" fmla="*/ 8252 h 10105"/>
                <a:gd name="connsiteX28" fmla="*/ 10001 w 10001"/>
                <a:gd name="connsiteY28" fmla="*/ 6643 h 10105"/>
                <a:gd name="connsiteX0" fmla="*/ 10001 w 10001"/>
                <a:gd name="connsiteY0" fmla="*/ 6643 h 10105"/>
                <a:gd name="connsiteX1" fmla="*/ 9460 w 10001"/>
                <a:gd name="connsiteY1" fmla="*/ 4196 h 10105"/>
                <a:gd name="connsiteX2" fmla="*/ 8970 w 10001"/>
                <a:gd name="connsiteY2" fmla="*/ 3007 h 10105"/>
                <a:gd name="connsiteX3" fmla="*/ 8352 w 10001"/>
                <a:gd name="connsiteY3" fmla="*/ 1958 h 10105"/>
                <a:gd name="connsiteX4" fmla="*/ 7630 w 10001"/>
                <a:gd name="connsiteY4" fmla="*/ 1189 h 10105"/>
                <a:gd name="connsiteX5" fmla="*/ 6831 w 10001"/>
                <a:gd name="connsiteY5" fmla="*/ 490 h 10105"/>
                <a:gd name="connsiteX6" fmla="*/ 5955 w 10001"/>
                <a:gd name="connsiteY6" fmla="*/ 210 h 10105"/>
                <a:gd name="connsiteX7" fmla="*/ 4975 w 10001"/>
                <a:gd name="connsiteY7" fmla="*/ 0 h 10105"/>
                <a:gd name="connsiteX8" fmla="*/ 4047 w 10001"/>
                <a:gd name="connsiteY8" fmla="*/ 210 h 10105"/>
                <a:gd name="connsiteX9" fmla="*/ 3120 w 10001"/>
                <a:gd name="connsiteY9" fmla="*/ 490 h 10105"/>
                <a:gd name="connsiteX10" fmla="*/ 181 w 10001"/>
                <a:gd name="connsiteY10" fmla="*/ 5524 h 10105"/>
                <a:gd name="connsiteX11" fmla="*/ 27 w 10001"/>
                <a:gd name="connsiteY11" fmla="*/ 6224 h 10105"/>
                <a:gd name="connsiteX12" fmla="*/ 1 w 10001"/>
                <a:gd name="connsiteY12" fmla="*/ 8252 h 10105"/>
                <a:gd name="connsiteX13" fmla="*/ 78 w 10001"/>
                <a:gd name="connsiteY13" fmla="*/ 9091 h 10105"/>
                <a:gd name="connsiteX14" fmla="*/ 310 w 10001"/>
                <a:gd name="connsiteY14" fmla="*/ 9720 h 10105"/>
                <a:gd name="connsiteX15" fmla="*/ 620 w 10001"/>
                <a:gd name="connsiteY15" fmla="*/ 10000 h 10105"/>
                <a:gd name="connsiteX16" fmla="*/ 2321 w 10001"/>
                <a:gd name="connsiteY16" fmla="*/ 8252 h 10105"/>
                <a:gd name="connsiteX17" fmla="*/ 2321 w 10001"/>
                <a:gd name="connsiteY17" fmla="*/ 6643 h 10105"/>
                <a:gd name="connsiteX18" fmla="*/ 1805 w 10001"/>
                <a:gd name="connsiteY18" fmla="*/ 5035 h 10105"/>
                <a:gd name="connsiteX19" fmla="*/ 1986 w 10001"/>
                <a:gd name="connsiteY19" fmla="*/ 4755 h 10105"/>
                <a:gd name="connsiteX20" fmla="*/ 7991 w 10001"/>
                <a:gd name="connsiteY20" fmla="*/ 4755 h 10105"/>
                <a:gd name="connsiteX21" fmla="*/ 8171 w 10001"/>
                <a:gd name="connsiteY21" fmla="*/ 5035 h 10105"/>
                <a:gd name="connsiteX22" fmla="*/ 7707 w 10001"/>
                <a:gd name="connsiteY22" fmla="*/ 6643 h 10105"/>
                <a:gd name="connsiteX23" fmla="*/ 7707 w 10001"/>
                <a:gd name="connsiteY23" fmla="*/ 8252 h 10105"/>
                <a:gd name="connsiteX24" fmla="*/ 8300 w 10001"/>
                <a:gd name="connsiteY24" fmla="*/ 10000 h 10105"/>
                <a:gd name="connsiteX25" fmla="*/ 9357 w 10001"/>
                <a:gd name="connsiteY25" fmla="*/ 10000 h 10105"/>
                <a:gd name="connsiteX26" fmla="*/ 10001 w 10001"/>
                <a:gd name="connsiteY26" fmla="*/ 8252 h 10105"/>
                <a:gd name="connsiteX27" fmla="*/ 10001 w 10001"/>
                <a:gd name="connsiteY27" fmla="*/ 6643 h 10105"/>
                <a:gd name="connsiteX0" fmla="*/ 10001 w 10001"/>
                <a:gd name="connsiteY0" fmla="*/ 6643 h 10105"/>
                <a:gd name="connsiteX1" fmla="*/ 9460 w 10001"/>
                <a:gd name="connsiteY1" fmla="*/ 4196 h 10105"/>
                <a:gd name="connsiteX2" fmla="*/ 8970 w 10001"/>
                <a:gd name="connsiteY2" fmla="*/ 3007 h 10105"/>
                <a:gd name="connsiteX3" fmla="*/ 8352 w 10001"/>
                <a:gd name="connsiteY3" fmla="*/ 1958 h 10105"/>
                <a:gd name="connsiteX4" fmla="*/ 7630 w 10001"/>
                <a:gd name="connsiteY4" fmla="*/ 1189 h 10105"/>
                <a:gd name="connsiteX5" fmla="*/ 6831 w 10001"/>
                <a:gd name="connsiteY5" fmla="*/ 490 h 10105"/>
                <a:gd name="connsiteX6" fmla="*/ 5955 w 10001"/>
                <a:gd name="connsiteY6" fmla="*/ 210 h 10105"/>
                <a:gd name="connsiteX7" fmla="*/ 4975 w 10001"/>
                <a:gd name="connsiteY7" fmla="*/ 0 h 10105"/>
                <a:gd name="connsiteX8" fmla="*/ 4047 w 10001"/>
                <a:gd name="connsiteY8" fmla="*/ 210 h 10105"/>
                <a:gd name="connsiteX9" fmla="*/ 181 w 10001"/>
                <a:gd name="connsiteY9" fmla="*/ 5524 h 10105"/>
                <a:gd name="connsiteX10" fmla="*/ 27 w 10001"/>
                <a:gd name="connsiteY10" fmla="*/ 6224 h 10105"/>
                <a:gd name="connsiteX11" fmla="*/ 1 w 10001"/>
                <a:gd name="connsiteY11" fmla="*/ 8252 h 10105"/>
                <a:gd name="connsiteX12" fmla="*/ 78 w 10001"/>
                <a:gd name="connsiteY12" fmla="*/ 9091 h 10105"/>
                <a:gd name="connsiteX13" fmla="*/ 310 w 10001"/>
                <a:gd name="connsiteY13" fmla="*/ 9720 h 10105"/>
                <a:gd name="connsiteX14" fmla="*/ 620 w 10001"/>
                <a:gd name="connsiteY14" fmla="*/ 10000 h 10105"/>
                <a:gd name="connsiteX15" fmla="*/ 2321 w 10001"/>
                <a:gd name="connsiteY15" fmla="*/ 8252 h 10105"/>
                <a:gd name="connsiteX16" fmla="*/ 2321 w 10001"/>
                <a:gd name="connsiteY16" fmla="*/ 6643 h 10105"/>
                <a:gd name="connsiteX17" fmla="*/ 1805 w 10001"/>
                <a:gd name="connsiteY17" fmla="*/ 5035 h 10105"/>
                <a:gd name="connsiteX18" fmla="*/ 1986 w 10001"/>
                <a:gd name="connsiteY18" fmla="*/ 4755 h 10105"/>
                <a:gd name="connsiteX19" fmla="*/ 7991 w 10001"/>
                <a:gd name="connsiteY19" fmla="*/ 4755 h 10105"/>
                <a:gd name="connsiteX20" fmla="*/ 8171 w 10001"/>
                <a:gd name="connsiteY20" fmla="*/ 5035 h 10105"/>
                <a:gd name="connsiteX21" fmla="*/ 7707 w 10001"/>
                <a:gd name="connsiteY21" fmla="*/ 6643 h 10105"/>
                <a:gd name="connsiteX22" fmla="*/ 7707 w 10001"/>
                <a:gd name="connsiteY22" fmla="*/ 8252 h 10105"/>
                <a:gd name="connsiteX23" fmla="*/ 8300 w 10001"/>
                <a:gd name="connsiteY23" fmla="*/ 10000 h 10105"/>
                <a:gd name="connsiteX24" fmla="*/ 9357 w 10001"/>
                <a:gd name="connsiteY24" fmla="*/ 10000 h 10105"/>
                <a:gd name="connsiteX25" fmla="*/ 10001 w 10001"/>
                <a:gd name="connsiteY25" fmla="*/ 8252 h 10105"/>
                <a:gd name="connsiteX26" fmla="*/ 10001 w 10001"/>
                <a:gd name="connsiteY26" fmla="*/ 6643 h 10105"/>
                <a:gd name="connsiteX0" fmla="*/ 10001 w 10001"/>
                <a:gd name="connsiteY0" fmla="*/ 6643 h 10105"/>
                <a:gd name="connsiteX1" fmla="*/ 9460 w 10001"/>
                <a:gd name="connsiteY1" fmla="*/ 4196 h 10105"/>
                <a:gd name="connsiteX2" fmla="*/ 8970 w 10001"/>
                <a:gd name="connsiteY2" fmla="*/ 3007 h 10105"/>
                <a:gd name="connsiteX3" fmla="*/ 8352 w 10001"/>
                <a:gd name="connsiteY3" fmla="*/ 1958 h 10105"/>
                <a:gd name="connsiteX4" fmla="*/ 7630 w 10001"/>
                <a:gd name="connsiteY4" fmla="*/ 1189 h 10105"/>
                <a:gd name="connsiteX5" fmla="*/ 6831 w 10001"/>
                <a:gd name="connsiteY5" fmla="*/ 490 h 10105"/>
                <a:gd name="connsiteX6" fmla="*/ 5955 w 10001"/>
                <a:gd name="connsiteY6" fmla="*/ 210 h 10105"/>
                <a:gd name="connsiteX7" fmla="*/ 4975 w 10001"/>
                <a:gd name="connsiteY7" fmla="*/ 0 h 10105"/>
                <a:gd name="connsiteX8" fmla="*/ 181 w 10001"/>
                <a:gd name="connsiteY8" fmla="*/ 5524 h 10105"/>
                <a:gd name="connsiteX9" fmla="*/ 27 w 10001"/>
                <a:gd name="connsiteY9" fmla="*/ 6224 h 10105"/>
                <a:gd name="connsiteX10" fmla="*/ 1 w 10001"/>
                <a:gd name="connsiteY10" fmla="*/ 8252 h 10105"/>
                <a:gd name="connsiteX11" fmla="*/ 78 w 10001"/>
                <a:gd name="connsiteY11" fmla="*/ 9091 h 10105"/>
                <a:gd name="connsiteX12" fmla="*/ 310 w 10001"/>
                <a:gd name="connsiteY12" fmla="*/ 9720 h 10105"/>
                <a:gd name="connsiteX13" fmla="*/ 620 w 10001"/>
                <a:gd name="connsiteY13" fmla="*/ 10000 h 10105"/>
                <a:gd name="connsiteX14" fmla="*/ 2321 w 10001"/>
                <a:gd name="connsiteY14" fmla="*/ 8252 h 10105"/>
                <a:gd name="connsiteX15" fmla="*/ 2321 w 10001"/>
                <a:gd name="connsiteY15" fmla="*/ 6643 h 10105"/>
                <a:gd name="connsiteX16" fmla="*/ 1805 w 10001"/>
                <a:gd name="connsiteY16" fmla="*/ 5035 h 10105"/>
                <a:gd name="connsiteX17" fmla="*/ 1986 w 10001"/>
                <a:gd name="connsiteY17" fmla="*/ 4755 h 10105"/>
                <a:gd name="connsiteX18" fmla="*/ 7991 w 10001"/>
                <a:gd name="connsiteY18" fmla="*/ 4755 h 10105"/>
                <a:gd name="connsiteX19" fmla="*/ 8171 w 10001"/>
                <a:gd name="connsiteY19" fmla="*/ 5035 h 10105"/>
                <a:gd name="connsiteX20" fmla="*/ 7707 w 10001"/>
                <a:gd name="connsiteY20" fmla="*/ 6643 h 10105"/>
                <a:gd name="connsiteX21" fmla="*/ 7707 w 10001"/>
                <a:gd name="connsiteY21" fmla="*/ 8252 h 10105"/>
                <a:gd name="connsiteX22" fmla="*/ 8300 w 10001"/>
                <a:gd name="connsiteY22" fmla="*/ 10000 h 10105"/>
                <a:gd name="connsiteX23" fmla="*/ 9357 w 10001"/>
                <a:gd name="connsiteY23" fmla="*/ 10000 h 10105"/>
                <a:gd name="connsiteX24" fmla="*/ 10001 w 10001"/>
                <a:gd name="connsiteY24" fmla="*/ 8252 h 10105"/>
                <a:gd name="connsiteX25" fmla="*/ 10001 w 10001"/>
                <a:gd name="connsiteY25" fmla="*/ 6643 h 10105"/>
                <a:gd name="connsiteX0" fmla="*/ 10001 w 10001"/>
                <a:gd name="connsiteY0" fmla="*/ 6433 h 9895"/>
                <a:gd name="connsiteX1" fmla="*/ 9460 w 10001"/>
                <a:gd name="connsiteY1" fmla="*/ 3986 h 9895"/>
                <a:gd name="connsiteX2" fmla="*/ 8970 w 10001"/>
                <a:gd name="connsiteY2" fmla="*/ 2797 h 9895"/>
                <a:gd name="connsiteX3" fmla="*/ 8352 w 10001"/>
                <a:gd name="connsiteY3" fmla="*/ 1748 h 9895"/>
                <a:gd name="connsiteX4" fmla="*/ 7630 w 10001"/>
                <a:gd name="connsiteY4" fmla="*/ 979 h 9895"/>
                <a:gd name="connsiteX5" fmla="*/ 6831 w 10001"/>
                <a:gd name="connsiteY5" fmla="*/ 280 h 9895"/>
                <a:gd name="connsiteX6" fmla="*/ 5955 w 10001"/>
                <a:gd name="connsiteY6" fmla="*/ 0 h 9895"/>
                <a:gd name="connsiteX7" fmla="*/ 181 w 10001"/>
                <a:gd name="connsiteY7" fmla="*/ 5314 h 9895"/>
                <a:gd name="connsiteX8" fmla="*/ 27 w 10001"/>
                <a:gd name="connsiteY8" fmla="*/ 6014 h 9895"/>
                <a:gd name="connsiteX9" fmla="*/ 1 w 10001"/>
                <a:gd name="connsiteY9" fmla="*/ 8042 h 9895"/>
                <a:gd name="connsiteX10" fmla="*/ 78 w 10001"/>
                <a:gd name="connsiteY10" fmla="*/ 8881 h 9895"/>
                <a:gd name="connsiteX11" fmla="*/ 310 w 10001"/>
                <a:gd name="connsiteY11" fmla="*/ 9510 h 9895"/>
                <a:gd name="connsiteX12" fmla="*/ 620 w 10001"/>
                <a:gd name="connsiteY12" fmla="*/ 9790 h 9895"/>
                <a:gd name="connsiteX13" fmla="*/ 2321 w 10001"/>
                <a:gd name="connsiteY13" fmla="*/ 8042 h 9895"/>
                <a:gd name="connsiteX14" fmla="*/ 2321 w 10001"/>
                <a:gd name="connsiteY14" fmla="*/ 6433 h 9895"/>
                <a:gd name="connsiteX15" fmla="*/ 1805 w 10001"/>
                <a:gd name="connsiteY15" fmla="*/ 4825 h 9895"/>
                <a:gd name="connsiteX16" fmla="*/ 1986 w 10001"/>
                <a:gd name="connsiteY16" fmla="*/ 4545 h 9895"/>
                <a:gd name="connsiteX17" fmla="*/ 7991 w 10001"/>
                <a:gd name="connsiteY17" fmla="*/ 4545 h 9895"/>
                <a:gd name="connsiteX18" fmla="*/ 8171 w 10001"/>
                <a:gd name="connsiteY18" fmla="*/ 4825 h 9895"/>
                <a:gd name="connsiteX19" fmla="*/ 7707 w 10001"/>
                <a:gd name="connsiteY19" fmla="*/ 6433 h 9895"/>
                <a:gd name="connsiteX20" fmla="*/ 7707 w 10001"/>
                <a:gd name="connsiteY20" fmla="*/ 8042 h 9895"/>
                <a:gd name="connsiteX21" fmla="*/ 8300 w 10001"/>
                <a:gd name="connsiteY21" fmla="*/ 9790 h 9895"/>
                <a:gd name="connsiteX22" fmla="*/ 9357 w 10001"/>
                <a:gd name="connsiteY22" fmla="*/ 9790 h 9895"/>
                <a:gd name="connsiteX23" fmla="*/ 10001 w 10001"/>
                <a:gd name="connsiteY23" fmla="*/ 8042 h 9895"/>
                <a:gd name="connsiteX24" fmla="*/ 10001 w 10001"/>
                <a:gd name="connsiteY24" fmla="*/ 6433 h 9895"/>
                <a:gd name="connsiteX0" fmla="*/ 10000 w 10000"/>
                <a:gd name="connsiteY0" fmla="*/ 6218 h 9718"/>
                <a:gd name="connsiteX1" fmla="*/ 9459 w 10000"/>
                <a:gd name="connsiteY1" fmla="*/ 3745 h 9718"/>
                <a:gd name="connsiteX2" fmla="*/ 8969 w 10000"/>
                <a:gd name="connsiteY2" fmla="*/ 2544 h 9718"/>
                <a:gd name="connsiteX3" fmla="*/ 8351 w 10000"/>
                <a:gd name="connsiteY3" fmla="*/ 1484 h 9718"/>
                <a:gd name="connsiteX4" fmla="*/ 7629 w 10000"/>
                <a:gd name="connsiteY4" fmla="*/ 706 h 9718"/>
                <a:gd name="connsiteX5" fmla="*/ 6830 w 10000"/>
                <a:gd name="connsiteY5" fmla="*/ 0 h 9718"/>
                <a:gd name="connsiteX6" fmla="*/ 181 w 10000"/>
                <a:gd name="connsiteY6" fmla="*/ 5087 h 9718"/>
                <a:gd name="connsiteX7" fmla="*/ 27 w 10000"/>
                <a:gd name="connsiteY7" fmla="*/ 5795 h 9718"/>
                <a:gd name="connsiteX8" fmla="*/ 1 w 10000"/>
                <a:gd name="connsiteY8" fmla="*/ 7844 h 9718"/>
                <a:gd name="connsiteX9" fmla="*/ 78 w 10000"/>
                <a:gd name="connsiteY9" fmla="*/ 8692 h 9718"/>
                <a:gd name="connsiteX10" fmla="*/ 310 w 10000"/>
                <a:gd name="connsiteY10" fmla="*/ 9328 h 9718"/>
                <a:gd name="connsiteX11" fmla="*/ 620 w 10000"/>
                <a:gd name="connsiteY11" fmla="*/ 9611 h 9718"/>
                <a:gd name="connsiteX12" fmla="*/ 2321 w 10000"/>
                <a:gd name="connsiteY12" fmla="*/ 7844 h 9718"/>
                <a:gd name="connsiteX13" fmla="*/ 2321 w 10000"/>
                <a:gd name="connsiteY13" fmla="*/ 6218 h 9718"/>
                <a:gd name="connsiteX14" fmla="*/ 1805 w 10000"/>
                <a:gd name="connsiteY14" fmla="*/ 4593 h 9718"/>
                <a:gd name="connsiteX15" fmla="*/ 1986 w 10000"/>
                <a:gd name="connsiteY15" fmla="*/ 4310 h 9718"/>
                <a:gd name="connsiteX16" fmla="*/ 7990 w 10000"/>
                <a:gd name="connsiteY16" fmla="*/ 4310 h 9718"/>
                <a:gd name="connsiteX17" fmla="*/ 8170 w 10000"/>
                <a:gd name="connsiteY17" fmla="*/ 4593 h 9718"/>
                <a:gd name="connsiteX18" fmla="*/ 7706 w 10000"/>
                <a:gd name="connsiteY18" fmla="*/ 6218 h 9718"/>
                <a:gd name="connsiteX19" fmla="*/ 7706 w 10000"/>
                <a:gd name="connsiteY19" fmla="*/ 7844 h 9718"/>
                <a:gd name="connsiteX20" fmla="*/ 8299 w 10000"/>
                <a:gd name="connsiteY20" fmla="*/ 9611 h 9718"/>
                <a:gd name="connsiteX21" fmla="*/ 9356 w 10000"/>
                <a:gd name="connsiteY21" fmla="*/ 9611 h 9718"/>
                <a:gd name="connsiteX22" fmla="*/ 10000 w 10000"/>
                <a:gd name="connsiteY22" fmla="*/ 7844 h 9718"/>
                <a:gd name="connsiteX23" fmla="*/ 10000 w 10000"/>
                <a:gd name="connsiteY23" fmla="*/ 6218 h 9718"/>
                <a:gd name="connsiteX0" fmla="*/ 10000 w 10000"/>
                <a:gd name="connsiteY0" fmla="*/ 5672 h 9274"/>
                <a:gd name="connsiteX1" fmla="*/ 9459 w 10000"/>
                <a:gd name="connsiteY1" fmla="*/ 3128 h 9274"/>
                <a:gd name="connsiteX2" fmla="*/ 8969 w 10000"/>
                <a:gd name="connsiteY2" fmla="*/ 1892 h 9274"/>
                <a:gd name="connsiteX3" fmla="*/ 8351 w 10000"/>
                <a:gd name="connsiteY3" fmla="*/ 801 h 9274"/>
                <a:gd name="connsiteX4" fmla="*/ 7629 w 10000"/>
                <a:gd name="connsiteY4" fmla="*/ 0 h 9274"/>
                <a:gd name="connsiteX5" fmla="*/ 181 w 10000"/>
                <a:gd name="connsiteY5" fmla="*/ 4509 h 9274"/>
                <a:gd name="connsiteX6" fmla="*/ 27 w 10000"/>
                <a:gd name="connsiteY6" fmla="*/ 5237 h 9274"/>
                <a:gd name="connsiteX7" fmla="*/ 1 w 10000"/>
                <a:gd name="connsiteY7" fmla="*/ 7346 h 9274"/>
                <a:gd name="connsiteX8" fmla="*/ 78 w 10000"/>
                <a:gd name="connsiteY8" fmla="*/ 8218 h 9274"/>
                <a:gd name="connsiteX9" fmla="*/ 310 w 10000"/>
                <a:gd name="connsiteY9" fmla="*/ 8873 h 9274"/>
                <a:gd name="connsiteX10" fmla="*/ 620 w 10000"/>
                <a:gd name="connsiteY10" fmla="*/ 9164 h 9274"/>
                <a:gd name="connsiteX11" fmla="*/ 2321 w 10000"/>
                <a:gd name="connsiteY11" fmla="*/ 7346 h 9274"/>
                <a:gd name="connsiteX12" fmla="*/ 2321 w 10000"/>
                <a:gd name="connsiteY12" fmla="*/ 5672 h 9274"/>
                <a:gd name="connsiteX13" fmla="*/ 1805 w 10000"/>
                <a:gd name="connsiteY13" fmla="*/ 4000 h 9274"/>
                <a:gd name="connsiteX14" fmla="*/ 1986 w 10000"/>
                <a:gd name="connsiteY14" fmla="*/ 3709 h 9274"/>
                <a:gd name="connsiteX15" fmla="*/ 7990 w 10000"/>
                <a:gd name="connsiteY15" fmla="*/ 3709 h 9274"/>
                <a:gd name="connsiteX16" fmla="*/ 8170 w 10000"/>
                <a:gd name="connsiteY16" fmla="*/ 4000 h 9274"/>
                <a:gd name="connsiteX17" fmla="*/ 7706 w 10000"/>
                <a:gd name="connsiteY17" fmla="*/ 5672 h 9274"/>
                <a:gd name="connsiteX18" fmla="*/ 7706 w 10000"/>
                <a:gd name="connsiteY18" fmla="*/ 7346 h 9274"/>
                <a:gd name="connsiteX19" fmla="*/ 8299 w 10000"/>
                <a:gd name="connsiteY19" fmla="*/ 9164 h 9274"/>
                <a:gd name="connsiteX20" fmla="*/ 9356 w 10000"/>
                <a:gd name="connsiteY20" fmla="*/ 9164 h 9274"/>
                <a:gd name="connsiteX21" fmla="*/ 10000 w 10000"/>
                <a:gd name="connsiteY21" fmla="*/ 7346 h 9274"/>
                <a:gd name="connsiteX22" fmla="*/ 10000 w 10000"/>
                <a:gd name="connsiteY22" fmla="*/ 5672 h 9274"/>
                <a:gd name="connsiteX0" fmla="*/ 10000 w 10000"/>
                <a:gd name="connsiteY0" fmla="*/ 5252 h 9136"/>
                <a:gd name="connsiteX1" fmla="*/ 9459 w 10000"/>
                <a:gd name="connsiteY1" fmla="*/ 2509 h 9136"/>
                <a:gd name="connsiteX2" fmla="*/ 8969 w 10000"/>
                <a:gd name="connsiteY2" fmla="*/ 1176 h 9136"/>
                <a:gd name="connsiteX3" fmla="*/ 8351 w 10000"/>
                <a:gd name="connsiteY3" fmla="*/ 0 h 9136"/>
                <a:gd name="connsiteX4" fmla="*/ 181 w 10000"/>
                <a:gd name="connsiteY4" fmla="*/ 3998 h 9136"/>
                <a:gd name="connsiteX5" fmla="*/ 27 w 10000"/>
                <a:gd name="connsiteY5" fmla="*/ 4783 h 9136"/>
                <a:gd name="connsiteX6" fmla="*/ 1 w 10000"/>
                <a:gd name="connsiteY6" fmla="*/ 7057 h 9136"/>
                <a:gd name="connsiteX7" fmla="*/ 78 w 10000"/>
                <a:gd name="connsiteY7" fmla="*/ 7997 h 9136"/>
                <a:gd name="connsiteX8" fmla="*/ 310 w 10000"/>
                <a:gd name="connsiteY8" fmla="*/ 8704 h 9136"/>
                <a:gd name="connsiteX9" fmla="*/ 620 w 10000"/>
                <a:gd name="connsiteY9" fmla="*/ 9017 h 9136"/>
                <a:gd name="connsiteX10" fmla="*/ 2321 w 10000"/>
                <a:gd name="connsiteY10" fmla="*/ 7057 h 9136"/>
                <a:gd name="connsiteX11" fmla="*/ 2321 w 10000"/>
                <a:gd name="connsiteY11" fmla="*/ 5252 h 9136"/>
                <a:gd name="connsiteX12" fmla="*/ 1805 w 10000"/>
                <a:gd name="connsiteY12" fmla="*/ 3449 h 9136"/>
                <a:gd name="connsiteX13" fmla="*/ 1986 w 10000"/>
                <a:gd name="connsiteY13" fmla="*/ 3135 h 9136"/>
                <a:gd name="connsiteX14" fmla="*/ 7990 w 10000"/>
                <a:gd name="connsiteY14" fmla="*/ 3135 h 9136"/>
                <a:gd name="connsiteX15" fmla="*/ 8170 w 10000"/>
                <a:gd name="connsiteY15" fmla="*/ 3449 h 9136"/>
                <a:gd name="connsiteX16" fmla="*/ 7706 w 10000"/>
                <a:gd name="connsiteY16" fmla="*/ 5252 h 9136"/>
                <a:gd name="connsiteX17" fmla="*/ 7706 w 10000"/>
                <a:gd name="connsiteY17" fmla="*/ 7057 h 9136"/>
                <a:gd name="connsiteX18" fmla="*/ 8299 w 10000"/>
                <a:gd name="connsiteY18" fmla="*/ 9017 h 9136"/>
                <a:gd name="connsiteX19" fmla="*/ 9356 w 10000"/>
                <a:gd name="connsiteY19" fmla="*/ 9017 h 9136"/>
                <a:gd name="connsiteX20" fmla="*/ 10000 w 10000"/>
                <a:gd name="connsiteY20" fmla="*/ 7057 h 9136"/>
                <a:gd name="connsiteX21" fmla="*/ 10000 w 10000"/>
                <a:gd name="connsiteY21" fmla="*/ 5252 h 9136"/>
                <a:gd name="connsiteX0" fmla="*/ 10000 w 10000"/>
                <a:gd name="connsiteY0" fmla="*/ 6507 h 10758"/>
                <a:gd name="connsiteX1" fmla="*/ 9459 w 10000"/>
                <a:gd name="connsiteY1" fmla="*/ 3504 h 10758"/>
                <a:gd name="connsiteX2" fmla="*/ 8969 w 10000"/>
                <a:gd name="connsiteY2" fmla="*/ 2045 h 10758"/>
                <a:gd name="connsiteX3" fmla="*/ 8351 w 10000"/>
                <a:gd name="connsiteY3" fmla="*/ 758 h 10758"/>
                <a:gd name="connsiteX4" fmla="*/ 181 w 10000"/>
                <a:gd name="connsiteY4" fmla="*/ 5134 h 10758"/>
                <a:gd name="connsiteX5" fmla="*/ 27 w 10000"/>
                <a:gd name="connsiteY5" fmla="*/ 5993 h 10758"/>
                <a:gd name="connsiteX6" fmla="*/ 1 w 10000"/>
                <a:gd name="connsiteY6" fmla="*/ 8482 h 10758"/>
                <a:gd name="connsiteX7" fmla="*/ 78 w 10000"/>
                <a:gd name="connsiteY7" fmla="*/ 9511 h 10758"/>
                <a:gd name="connsiteX8" fmla="*/ 310 w 10000"/>
                <a:gd name="connsiteY8" fmla="*/ 10285 h 10758"/>
                <a:gd name="connsiteX9" fmla="*/ 620 w 10000"/>
                <a:gd name="connsiteY9" fmla="*/ 10628 h 10758"/>
                <a:gd name="connsiteX10" fmla="*/ 2321 w 10000"/>
                <a:gd name="connsiteY10" fmla="*/ 8482 h 10758"/>
                <a:gd name="connsiteX11" fmla="*/ 2321 w 10000"/>
                <a:gd name="connsiteY11" fmla="*/ 6507 h 10758"/>
                <a:gd name="connsiteX12" fmla="*/ 1805 w 10000"/>
                <a:gd name="connsiteY12" fmla="*/ 4533 h 10758"/>
                <a:gd name="connsiteX13" fmla="*/ 1986 w 10000"/>
                <a:gd name="connsiteY13" fmla="*/ 4189 h 10758"/>
                <a:gd name="connsiteX14" fmla="*/ 7990 w 10000"/>
                <a:gd name="connsiteY14" fmla="*/ 4189 h 10758"/>
                <a:gd name="connsiteX15" fmla="*/ 8170 w 10000"/>
                <a:gd name="connsiteY15" fmla="*/ 4533 h 10758"/>
                <a:gd name="connsiteX16" fmla="*/ 7706 w 10000"/>
                <a:gd name="connsiteY16" fmla="*/ 6507 h 10758"/>
                <a:gd name="connsiteX17" fmla="*/ 7706 w 10000"/>
                <a:gd name="connsiteY17" fmla="*/ 8482 h 10758"/>
                <a:gd name="connsiteX18" fmla="*/ 8299 w 10000"/>
                <a:gd name="connsiteY18" fmla="*/ 10628 h 10758"/>
                <a:gd name="connsiteX19" fmla="*/ 9356 w 10000"/>
                <a:gd name="connsiteY19" fmla="*/ 10628 h 10758"/>
                <a:gd name="connsiteX20" fmla="*/ 10000 w 10000"/>
                <a:gd name="connsiteY20" fmla="*/ 8482 h 10758"/>
                <a:gd name="connsiteX21" fmla="*/ 10000 w 10000"/>
                <a:gd name="connsiteY21" fmla="*/ 6507 h 10758"/>
                <a:gd name="connsiteX0" fmla="*/ 10000 w 10000"/>
                <a:gd name="connsiteY0" fmla="*/ 8240 h 12491"/>
                <a:gd name="connsiteX1" fmla="*/ 9459 w 10000"/>
                <a:gd name="connsiteY1" fmla="*/ 5237 h 12491"/>
                <a:gd name="connsiteX2" fmla="*/ 8969 w 10000"/>
                <a:gd name="connsiteY2" fmla="*/ 3778 h 12491"/>
                <a:gd name="connsiteX3" fmla="*/ 8351 w 10000"/>
                <a:gd name="connsiteY3" fmla="*/ 2491 h 12491"/>
                <a:gd name="connsiteX4" fmla="*/ 181 w 10000"/>
                <a:gd name="connsiteY4" fmla="*/ 6867 h 12491"/>
                <a:gd name="connsiteX5" fmla="*/ 27 w 10000"/>
                <a:gd name="connsiteY5" fmla="*/ 7726 h 12491"/>
                <a:gd name="connsiteX6" fmla="*/ 1 w 10000"/>
                <a:gd name="connsiteY6" fmla="*/ 10215 h 12491"/>
                <a:gd name="connsiteX7" fmla="*/ 78 w 10000"/>
                <a:gd name="connsiteY7" fmla="*/ 11244 h 12491"/>
                <a:gd name="connsiteX8" fmla="*/ 310 w 10000"/>
                <a:gd name="connsiteY8" fmla="*/ 12018 h 12491"/>
                <a:gd name="connsiteX9" fmla="*/ 620 w 10000"/>
                <a:gd name="connsiteY9" fmla="*/ 12361 h 12491"/>
                <a:gd name="connsiteX10" fmla="*/ 2321 w 10000"/>
                <a:gd name="connsiteY10" fmla="*/ 10215 h 12491"/>
                <a:gd name="connsiteX11" fmla="*/ 2321 w 10000"/>
                <a:gd name="connsiteY11" fmla="*/ 8240 h 12491"/>
                <a:gd name="connsiteX12" fmla="*/ 1805 w 10000"/>
                <a:gd name="connsiteY12" fmla="*/ 6266 h 12491"/>
                <a:gd name="connsiteX13" fmla="*/ 1986 w 10000"/>
                <a:gd name="connsiteY13" fmla="*/ 5922 h 12491"/>
                <a:gd name="connsiteX14" fmla="*/ 7990 w 10000"/>
                <a:gd name="connsiteY14" fmla="*/ 5922 h 12491"/>
                <a:gd name="connsiteX15" fmla="*/ 8170 w 10000"/>
                <a:gd name="connsiteY15" fmla="*/ 6266 h 12491"/>
                <a:gd name="connsiteX16" fmla="*/ 7706 w 10000"/>
                <a:gd name="connsiteY16" fmla="*/ 8240 h 12491"/>
                <a:gd name="connsiteX17" fmla="*/ 7706 w 10000"/>
                <a:gd name="connsiteY17" fmla="*/ 10215 h 12491"/>
                <a:gd name="connsiteX18" fmla="*/ 8299 w 10000"/>
                <a:gd name="connsiteY18" fmla="*/ 12361 h 12491"/>
                <a:gd name="connsiteX19" fmla="*/ 9356 w 10000"/>
                <a:gd name="connsiteY19" fmla="*/ 12361 h 12491"/>
                <a:gd name="connsiteX20" fmla="*/ 10000 w 10000"/>
                <a:gd name="connsiteY20" fmla="*/ 10215 h 12491"/>
                <a:gd name="connsiteX21" fmla="*/ 10000 w 10000"/>
                <a:gd name="connsiteY21" fmla="*/ 8240 h 12491"/>
                <a:gd name="connsiteX0" fmla="*/ 10000 w 10000"/>
                <a:gd name="connsiteY0" fmla="*/ 5749 h 10000"/>
                <a:gd name="connsiteX1" fmla="*/ 9459 w 10000"/>
                <a:gd name="connsiteY1" fmla="*/ 2746 h 10000"/>
                <a:gd name="connsiteX2" fmla="*/ 8969 w 10000"/>
                <a:gd name="connsiteY2" fmla="*/ 1287 h 10000"/>
                <a:gd name="connsiteX3" fmla="*/ 8351 w 10000"/>
                <a:gd name="connsiteY3" fmla="*/ 0 h 10000"/>
                <a:gd name="connsiteX4" fmla="*/ 27 w 10000"/>
                <a:gd name="connsiteY4" fmla="*/ 5235 h 10000"/>
                <a:gd name="connsiteX5" fmla="*/ 1 w 10000"/>
                <a:gd name="connsiteY5" fmla="*/ 7724 h 10000"/>
                <a:gd name="connsiteX6" fmla="*/ 78 w 10000"/>
                <a:gd name="connsiteY6" fmla="*/ 8753 h 10000"/>
                <a:gd name="connsiteX7" fmla="*/ 310 w 10000"/>
                <a:gd name="connsiteY7" fmla="*/ 9527 h 10000"/>
                <a:gd name="connsiteX8" fmla="*/ 620 w 10000"/>
                <a:gd name="connsiteY8" fmla="*/ 9870 h 10000"/>
                <a:gd name="connsiteX9" fmla="*/ 2321 w 10000"/>
                <a:gd name="connsiteY9" fmla="*/ 7724 h 10000"/>
                <a:gd name="connsiteX10" fmla="*/ 2321 w 10000"/>
                <a:gd name="connsiteY10" fmla="*/ 5749 h 10000"/>
                <a:gd name="connsiteX11" fmla="*/ 1805 w 10000"/>
                <a:gd name="connsiteY11" fmla="*/ 3775 h 10000"/>
                <a:gd name="connsiteX12" fmla="*/ 1986 w 10000"/>
                <a:gd name="connsiteY12" fmla="*/ 3431 h 10000"/>
                <a:gd name="connsiteX13" fmla="*/ 7990 w 10000"/>
                <a:gd name="connsiteY13" fmla="*/ 3431 h 10000"/>
                <a:gd name="connsiteX14" fmla="*/ 8170 w 10000"/>
                <a:gd name="connsiteY14" fmla="*/ 3775 h 10000"/>
                <a:gd name="connsiteX15" fmla="*/ 7706 w 10000"/>
                <a:gd name="connsiteY15" fmla="*/ 5749 h 10000"/>
                <a:gd name="connsiteX16" fmla="*/ 7706 w 10000"/>
                <a:gd name="connsiteY16" fmla="*/ 7724 h 10000"/>
                <a:gd name="connsiteX17" fmla="*/ 8299 w 10000"/>
                <a:gd name="connsiteY17" fmla="*/ 9870 h 10000"/>
                <a:gd name="connsiteX18" fmla="*/ 9356 w 10000"/>
                <a:gd name="connsiteY18" fmla="*/ 9870 h 10000"/>
                <a:gd name="connsiteX19" fmla="*/ 10000 w 10000"/>
                <a:gd name="connsiteY19" fmla="*/ 7724 h 10000"/>
                <a:gd name="connsiteX20" fmla="*/ 10000 w 10000"/>
                <a:gd name="connsiteY20" fmla="*/ 5749 h 10000"/>
                <a:gd name="connsiteX0" fmla="*/ 10002 w 10002"/>
                <a:gd name="connsiteY0" fmla="*/ 5749 h 10000"/>
                <a:gd name="connsiteX1" fmla="*/ 9461 w 10002"/>
                <a:gd name="connsiteY1" fmla="*/ 2746 h 10000"/>
                <a:gd name="connsiteX2" fmla="*/ 8971 w 10002"/>
                <a:gd name="connsiteY2" fmla="*/ 1287 h 10000"/>
                <a:gd name="connsiteX3" fmla="*/ 8353 w 10002"/>
                <a:gd name="connsiteY3" fmla="*/ 0 h 10000"/>
                <a:gd name="connsiteX4" fmla="*/ 13 w 10002"/>
                <a:gd name="connsiteY4" fmla="*/ 5180 h 10000"/>
                <a:gd name="connsiteX5" fmla="*/ 3 w 10002"/>
                <a:gd name="connsiteY5" fmla="*/ 7724 h 10000"/>
                <a:gd name="connsiteX6" fmla="*/ 80 w 10002"/>
                <a:gd name="connsiteY6" fmla="*/ 8753 h 10000"/>
                <a:gd name="connsiteX7" fmla="*/ 312 w 10002"/>
                <a:gd name="connsiteY7" fmla="*/ 9527 h 10000"/>
                <a:gd name="connsiteX8" fmla="*/ 622 w 10002"/>
                <a:gd name="connsiteY8" fmla="*/ 9870 h 10000"/>
                <a:gd name="connsiteX9" fmla="*/ 2323 w 10002"/>
                <a:gd name="connsiteY9" fmla="*/ 7724 h 10000"/>
                <a:gd name="connsiteX10" fmla="*/ 2323 w 10002"/>
                <a:gd name="connsiteY10" fmla="*/ 5749 h 10000"/>
                <a:gd name="connsiteX11" fmla="*/ 1807 w 10002"/>
                <a:gd name="connsiteY11" fmla="*/ 3775 h 10000"/>
                <a:gd name="connsiteX12" fmla="*/ 1988 w 10002"/>
                <a:gd name="connsiteY12" fmla="*/ 3431 h 10000"/>
                <a:gd name="connsiteX13" fmla="*/ 7992 w 10002"/>
                <a:gd name="connsiteY13" fmla="*/ 3431 h 10000"/>
                <a:gd name="connsiteX14" fmla="*/ 8172 w 10002"/>
                <a:gd name="connsiteY14" fmla="*/ 3775 h 10000"/>
                <a:gd name="connsiteX15" fmla="*/ 7708 w 10002"/>
                <a:gd name="connsiteY15" fmla="*/ 5749 h 10000"/>
                <a:gd name="connsiteX16" fmla="*/ 7708 w 10002"/>
                <a:gd name="connsiteY16" fmla="*/ 7724 h 10000"/>
                <a:gd name="connsiteX17" fmla="*/ 8301 w 10002"/>
                <a:gd name="connsiteY17" fmla="*/ 9870 h 10000"/>
                <a:gd name="connsiteX18" fmla="*/ 9358 w 10002"/>
                <a:gd name="connsiteY18" fmla="*/ 9870 h 10000"/>
                <a:gd name="connsiteX19" fmla="*/ 10002 w 10002"/>
                <a:gd name="connsiteY19" fmla="*/ 7724 h 10000"/>
                <a:gd name="connsiteX20" fmla="*/ 10002 w 10002"/>
                <a:gd name="connsiteY20" fmla="*/ 5749 h 10000"/>
                <a:gd name="connsiteX0" fmla="*/ 10002 w 10002"/>
                <a:gd name="connsiteY0" fmla="*/ 6060 h 10311"/>
                <a:gd name="connsiteX1" fmla="*/ 9461 w 10002"/>
                <a:gd name="connsiteY1" fmla="*/ 3057 h 10311"/>
                <a:gd name="connsiteX2" fmla="*/ 8971 w 10002"/>
                <a:gd name="connsiteY2" fmla="*/ 1598 h 10311"/>
                <a:gd name="connsiteX3" fmla="*/ 8353 w 10002"/>
                <a:gd name="connsiteY3" fmla="*/ 311 h 10311"/>
                <a:gd name="connsiteX4" fmla="*/ 13 w 10002"/>
                <a:gd name="connsiteY4" fmla="*/ 5491 h 10311"/>
                <a:gd name="connsiteX5" fmla="*/ 3 w 10002"/>
                <a:gd name="connsiteY5" fmla="*/ 8035 h 10311"/>
                <a:gd name="connsiteX6" fmla="*/ 80 w 10002"/>
                <a:gd name="connsiteY6" fmla="*/ 9064 h 10311"/>
                <a:gd name="connsiteX7" fmla="*/ 312 w 10002"/>
                <a:gd name="connsiteY7" fmla="*/ 9838 h 10311"/>
                <a:gd name="connsiteX8" fmla="*/ 622 w 10002"/>
                <a:gd name="connsiteY8" fmla="*/ 10181 h 10311"/>
                <a:gd name="connsiteX9" fmla="*/ 2323 w 10002"/>
                <a:gd name="connsiteY9" fmla="*/ 8035 h 10311"/>
                <a:gd name="connsiteX10" fmla="*/ 2323 w 10002"/>
                <a:gd name="connsiteY10" fmla="*/ 6060 h 10311"/>
                <a:gd name="connsiteX11" fmla="*/ 1807 w 10002"/>
                <a:gd name="connsiteY11" fmla="*/ 4086 h 10311"/>
                <a:gd name="connsiteX12" fmla="*/ 1988 w 10002"/>
                <a:gd name="connsiteY12" fmla="*/ 3742 h 10311"/>
                <a:gd name="connsiteX13" fmla="*/ 7992 w 10002"/>
                <a:gd name="connsiteY13" fmla="*/ 3742 h 10311"/>
                <a:gd name="connsiteX14" fmla="*/ 8172 w 10002"/>
                <a:gd name="connsiteY14" fmla="*/ 4086 h 10311"/>
                <a:gd name="connsiteX15" fmla="*/ 7708 w 10002"/>
                <a:gd name="connsiteY15" fmla="*/ 6060 h 10311"/>
                <a:gd name="connsiteX16" fmla="*/ 7708 w 10002"/>
                <a:gd name="connsiteY16" fmla="*/ 8035 h 10311"/>
                <a:gd name="connsiteX17" fmla="*/ 8301 w 10002"/>
                <a:gd name="connsiteY17" fmla="*/ 10181 h 10311"/>
                <a:gd name="connsiteX18" fmla="*/ 9358 w 10002"/>
                <a:gd name="connsiteY18" fmla="*/ 10181 h 10311"/>
                <a:gd name="connsiteX19" fmla="*/ 10002 w 10002"/>
                <a:gd name="connsiteY19" fmla="*/ 8035 h 10311"/>
                <a:gd name="connsiteX20" fmla="*/ 10002 w 10002"/>
                <a:gd name="connsiteY20" fmla="*/ 6060 h 10311"/>
                <a:gd name="connsiteX0" fmla="*/ 10002 w 10002"/>
                <a:gd name="connsiteY0" fmla="*/ 8145 h 12396"/>
                <a:gd name="connsiteX1" fmla="*/ 9461 w 10002"/>
                <a:gd name="connsiteY1" fmla="*/ 5142 h 12396"/>
                <a:gd name="connsiteX2" fmla="*/ 8971 w 10002"/>
                <a:gd name="connsiteY2" fmla="*/ 3683 h 12396"/>
                <a:gd name="connsiteX3" fmla="*/ 8353 w 10002"/>
                <a:gd name="connsiteY3" fmla="*/ 2396 h 12396"/>
                <a:gd name="connsiteX4" fmla="*/ 13 w 10002"/>
                <a:gd name="connsiteY4" fmla="*/ 7576 h 12396"/>
                <a:gd name="connsiteX5" fmla="*/ 3 w 10002"/>
                <a:gd name="connsiteY5" fmla="*/ 10120 h 12396"/>
                <a:gd name="connsiteX6" fmla="*/ 80 w 10002"/>
                <a:gd name="connsiteY6" fmla="*/ 11149 h 12396"/>
                <a:gd name="connsiteX7" fmla="*/ 312 w 10002"/>
                <a:gd name="connsiteY7" fmla="*/ 11923 h 12396"/>
                <a:gd name="connsiteX8" fmla="*/ 622 w 10002"/>
                <a:gd name="connsiteY8" fmla="*/ 12266 h 12396"/>
                <a:gd name="connsiteX9" fmla="*/ 2323 w 10002"/>
                <a:gd name="connsiteY9" fmla="*/ 10120 h 12396"/>
                <a:gd name="connsiteX10" fmla="*/ 2323 w 10002"/>
                <a:gd name="connsiteY10" fmla="*/ 8145 h 12396"/>
                <a:gd name="connsiteX11" fmla="*/ 1807 w 10002"/>
                <a:gd name="connsiteY11" fmla="*/ 6171 h 12396"/>
                <a:gd name="connsiteX12" fmla="*/ 1988 w 10002"/>
                <a:gd name="connsiteY12" fmla="*/ 5827 h 12396"/>
                <a:gd name="connsiteX13" fmla="*/ 7992 w 10002"/>
                <a:gd name="connsiteY13" fmla="*/ 5827 h 12396"/>
                <a:gd name="connsiteX14" fmla="*/ 8172 w 10002"/>
                <a:gd name="connsiteY14" fmla="*/ 6171 h 12396"/>
                <a:gd name="connsiteX15" fmla="*/ 7708 w 10002"/>
                <a:gd name="connsiteY15" fmla="*/ 8145 h 12396"/>
                <a:gd name="connsiteX16" fmla="*/ 7708 w 10002"/>
                <a:gd name="connsiteY16" fmla="*/ 10120 h 12396"/>
                <a:gd name="connsiteX17" fmla="*/ 8301 w 10002"/>
                <a:gd name="connsiteY17" fmla="*/ 12266 h 12396"/>
                <a:gd name="connsiteX18" fmla="*/ 9358 w 10002"/>
                <a:gd name="connsiteY18" fmla="*/ 12266 h 12396"/>
                <a:gd name="connsiteX19" fmla="*/ 10002 w 10002"/>
                <a:gd name="connsiteY19" fmla="*/ 10120 h 12396"/>
                <a:gd name="connsiteX20" fmla="*/ 10002 w 10002"/>
                <a:gd name="connsiteY20" fmla="*/ 8145 h 12396"/>
                <a:gd name="connsiteX0" fmla="*/ 10002 w 10002"/>
                <a:gd name="connsiteY0" fmla="*/ 8145 h 12396"/>
                <a:gd name="connsiteX1" fmla="*/ 9461 w 10002"/>
                <a:gd name="connsiteY1" fmla="*/ 5142 h 12396"/>
                <a:gd name="connsiteX2" fmla="*/ 8971 w 10002"/>
                <a:gd name="connsiteY2" fmla="*/ 3683 h 12396"/>
                <a:gd name="connsiteX3" fmla="*/ 8353 w 10002"/>
                <a:gd name="connsiteY3" fmla="*/ 2396 h 12396"/>
                <a:gd name="connsiteX4" fmla="*/ 13 w 10002"/>
                <a:gd name="connsiteY4" fmla="*/ 7576 h 12396"/>
                <a:gd name="connsiteX5" fmla="*/ 3 w 10002"/>
                <a:gd name="connsiteY5" fmla="*/ 10120 h 12396"/>
                <a:gd name="connsiteX6" fmla="*/ 80 w 10002"/>
                <a:gd name="connsiteY6" fmla="*/ 11149 h 12396"/>
                <a:gd name="connsiteX7" fmla="*/ 312 w 10002"/>
                <a:gd name="connsiteY7" fmla="*/ 11923 h 12396"/>
                <a:gd name="connsiteX8" fmla="*/ 622 w 10002"/>
                <a:gd name="connsiteY8" fmla="*/ 12266 h 12396"/>
                <a:gd name="connsiteX9" fmla="*/ 2323 w 10002"/>
                <a:gd name="connsiteY9" fmla="*/ 10120 h 12396"/>
                <a:gd name="connsiteX10" fmla="*/ 2323 w 10002"/>
                <a:gd name="connsiteY10" fmla="*/ 8145 h 12396"/>
                <a:gd name="connsiteX11" fmla="*/ 1807 w 10002"/>
                <a:gd name="connsiteY11" fmla="*/ 6171 h 12396"/>
                <a:gd name="connsiteX12" fmla="*/ 1988 w 10002"/>
                <a:gd name="connsiteY12" fmla="*/ 5827 h 12396"/>
                <a:gd name="connsiteX13" fmla="*/ 7992 w 10002"/>
                <a:gd name="connsiteY13" fmla="*/ 5827 h 12396"/>
                <a:gd name="connsiteX14" fmla="*/ 8172 w 10002"/>
                <a:gd name="connsiteY14" fmla="*/ 6171 h 12396"/>
                <a:gd name="connsiteX15" fmla="*/ 7708 w 10002"/>
                <a:gd name="connsiteY15" fmla="*/ 8145 h 12396"/>
                <a:gd name="connsiteX16" fmla="*/ 7708 w 10002"/>
                <a:gd name="connsiteY16" fmla="*/ 10120 h 12396"/>
                <a:gd name="connsiteX17" fmla="*/ 8301 w 10002"/>
                <a:gd name="connsiteY17" fmla="*/ 12266 h 12396"/>
                <a:gd name="connsiteX18" fmla="*/ 9358 w 10002"/>
                <a:gd name="connsiteY18" fmla="*/ 12266 h 12396"/>
                <a:gd name="connsiteX19" fmla="*/ 10002 w 10002"/>
                <a:gd name="connsiteY19" fmla="*/ 10120 h 12396"/>
                <a:gd name="connsiteX20" fmla="*/ 10002 w 10002"/>
                <a:gd name="connsiteY20" fmla="*/ 8145 h 12396"/>
                <a:gd name="connsiteX0" fmla="*/ 10002 w 10002"/>
                <a:gd name="connsiteY0" fmla="*/ 8169 h 12420"/>
                <a:gd name="connsiteX1" fmla="*/ 9461 w 10002"/>
                <a:gd name="connsiteY1" fmla="*/ 5166 h 12420"/>
                <a:gd name="connsiteX2" fmla="*/ 8971 w 10002"/>
                <a:gd name="connsiteY2" fmla="*/ 3707 h 12420"/>
                <a:gd name="connsiteX3" fmla="*/ 8353 w 10002"/>
                <a:gd name="connsiteY3" fmla="*/ 2420 h 12420"/>
                <a:gd name="connsiteX4" fmla="*/ 13 w 10002"/>
                <a:gd name="connsiteY4" fmla="*/ 7600 h 12420"/>
                <a:gd name="connsiteX5" fmla="*/ 3 w 10002"/>
                <a:gd name="connsiteY5" fmla="*/ 10144 h 12420"/>
                <a:gd name="connsiteX6" fmla="*/ 80 w 10002"/>
                <a:gd name="connsiteY6" fmla="*/ 11173 h 12420"/>
                <a:gd name="connsiteX7" fmla="*/ 312 w 10002"/>
                <a:gd name="connsiteY7" fmla="*/ 11947 h 12420"/>
                <a:gd name="connsiteX8" fmla="*/ 622 w 10002"/>
                <a:gd name="connsiteY8" fmla="*/ 12290 h 12420"/>
                <a:gd name="connsiteX9" fmla="*/ 2323 w 10002"/>
                <a:gd name="connsiteY9" fmla="*/ 10144 h 12420"/>
                <a:gd name="connsiteX10" fmla="*/ 2323 w 10002"/>
                <a:gd name="connsiteY10" fmla="*/ 8169 h 12420"/>
                <a:gd name="connsiteX11" fmla="*/ 1807 w 10002"/>
                <a:gd name="connsiteY11" fmla="*/ 6195 h 12420"/>
                <a:gd name="connsiteX12" fmla="*/ 1988 w 10002"/>
                <a:gd name="connsiteY12" fmla="*/ 5851 h 12420"/>
                <a:gd name="connsiteX13" fmla="*/ 7992 w 10002"/>
                <a:gd name="connsiteY13" fmla="*/ 5851 h 12420"/>
                <a:gd name="connsiteX14" fmla="*/ 8172 w 10002"/>
                <a:gd name="connsiteY14" fmla="*/ 6195 h 12420"/>
                <a:gd name="connsiteX15" fmla="*/ 7708 w 10002"/>
                <a:gd name="connsiteY15" fmla="*/ 8169 h 12420"/>
                <a:gd name="connsiteX16" fmla="*/ 7708 w 10002"/>
                <a:gd name="connsiteY16" fmla="*/ 10144 h 12420"/>
                <a:gd name="connsiteX17" fmla="*/ 8301 w 10002"/>
                <a:gd name="connsiteY17" fmla="*/ 12290 h 12420"/>
                <a:gd name="connsiteX18" fmla="*/ 9358 w 10002"/>
                <a:gd name="connsiteY18" fmla="*/ 12290 h 12420"/>
                <a:gd name="connsiteX19" fmla="*/ 10002 w 10002"/>
                <a:gd name="connsiteY19" fmla="*/ 10144 h 12420"/>
                <a:gd name="connsiteX20" fmla="*/ 10002 w 10002"/>
                <a:gd name="connsiteY20" fmla="*/ 8169 h 12420"/>
                <a:gd name="connsiteX0" fmla="*/ 10002 w 10002"/>
                <a:gd name="connsiteY0" fmla="*/ 8169 h 12420"/>
                <a:gd name="connsiteX1" fmla="*/ 9461 w 10002"/>
                <a:gd name="connsiteY1" fmla="*/ 5166 h 12420"/>
                <a:gd name="connsiteX2" fmla="*/ 8353 w 10002"/>
                <a:gd name="connsiteY2" fmla="*/ 2420 h 12420"/>
                <a:gd name="connsiteX3" fmla="*/ 13 w 10002"/>
                <a:gd name="connsiteY3" fmla="*/ 7600 h 12420"/>
                <a:gd name="connsiteX4" fmla="*/ 3 w 10002"/>
                <a:gd name="connsiteY4" fmla="*/ 10144 h 12420"/>
                <a:gd name="connsiteX5" fmla="*/ 80 w 10002"/>
                <a:gd name="connsiteY5" fmla="*/ 11173 h 12420"/>
                <a:gd name="connsiteX6" fmla="*/ 312 w 10002"/>
                <a:gd name="connsiteY6" fmla="*/ 11947 h 12420"/>
                <a:gd name="connsiteX7" fmla="*/ 622 w 10002"/>
                <a:gd name="connsiteY7" fmla="*/ 12290 h 12420"/>
                <a:gd name="connsiteX8" fmla="*/ 2323 w 10002"/>
                <a:gd name="connsiteY8" fmla="*/ 10144 h 12420"/>
                <a:gd name="connsiteX9" fmla="*/ 2323 w 10002"/>
                <a:gd name="connsiteY9" fmla="*/ 8169 h 12420"/>
                <a:gd name="connsiteX10" fmla="*/ 1807 w 10002"/>
                <a:gd name="connsiteY10" fmla="*/ 6195 h 12420"/>
                <a:gd name="connsiteX11" fmla="*/ 1988 w 10002"/>
                <a:gd name="connsiteY11" fmla="*/ 5851 h 12420"/>
                <a:gd name="connsiteX12" fmla="*/ 7992 w 10002"/>
                <a:gd name="connsiteY12" fmla="*/ 5851 h 12420"/>
                <a:gd name="connsiteX13" fmla="*/ 8172 w 10002"/>
                <a:gd name="connsiteY13" fmla="*/ 6195 h 12420"/>
                <a:gd name="connsiteX14" fmla="*/ 7708 w 10002"/>
                <a:gd name="connsiteY14" fmla="*/ 8169 h 12420"/>
                <a:gd name="connsiteX15" fmla="*/ 7708 w 10002"/>
                <a:gd name="connsiteY15" fmla="*/ 10144 h 12420"/>
                <a:gd name="connsiteX16" fmla="*/ 8301 w 10002"/>
                <a:gd name="connsiteY16" fmla="*/ 12290 h 12420"/>
                <a:gd name="connsiteX17" fmla="*/ 9358 w 10002"/>
                <a:gd name="connsiteY17" fmla="*/ 12290 h 12420"/>
                <a:gd name="connsiteX18" fmla="*/ 10002 w 10002"/>
                <a:gd name="connsiteY18" fmla="*/ 10144 h 12420"/>
                <a:gd name="connsiteX19" fmla="*/ 10002 w 10002"/>
                <a:gd name="connsiteY19" fmla="*/ 8169 h 12420"/>
                <a:gd name="connsiteX0" fmla="*/ 10002 w 10002"/>
                <a:gd name="connsiteY0" fmla="*/ 8169 h 12420"/>
                <a:gd name="connsiteX1" fmla="*/ 8353 w 10002"/>
                <a:gd name="connsiteY1" fmla="*/ 2420 h 12420"/>
                <a:gd name="connsiteX2" fmla="*/ 13 w 10002"/>
                <a:gd name="connsiteY2" fmla="*/ 7600 h 12420"/>
                <a:gd name="connsiteX3" fmla="*/ 3 w 10002"/>
                <a:gd name="connsiteY3" fmla="*/ 10144 h 12420"/>
                <a:gd name="connsiteX4" fmla="*/ 80 w 10002"/>
                <a:gd name="connsiteY4" fmla="*/ 11173 h 12420"/>
                <a:gd name="connsiteX5" fmla="*/ 312 w 10002"/>
                <a:gd name="connsiteY5" fmla="*/ 11947 h 12420"/>
                <a:gd name="connsiteX6" fmla="*/ 622 w 10002"/>
                <a:gd name="connsiteY6" fmla="*/ 12290 h 12420"/>
                <a:gd name="connsiteX7" fmla="*/ 2323 w 10002"/>
                <a:gd name="connsiteY7" fmla="*/ 10144 h 12420"/>
                <a:gd name="connsiteX8" fmla="*/ 2323 w 10002"/>
                <a:gd name="connsiteY8" fmla="*/ 8169 h 12420"/>
                <a:gd name="connsiteX9" fmla="*/ 1807 w 10002"/>
                <a:gd name="connsiteY9" fmla="*/ 6195 h 12420"/>
                <a:gd name="connsiteX10" fmla="*/ 1988 w 10002"/>
                <a:gd name="connsiteY10" fmla="*/ 5851 h 12420"/>
                <a:gd name="connsiteX11" fmla="*/ 7992 w 10002"/>
                <a:gd name="connsiteY11" fmla="*/ 5851 h 12420"/>
                <a:gd name="connsiteX12" fmla="*/ 8172 w 10002"/>
                <a:gd name="connsiteY12" fmla="*/ 6195 h 12420"/>
                <a:gd name="connsiteX13" fmla="*/ 7708 w 10002"/>
                <a:gd name="connsiteY13" fmla="*/ 8169 h 12420"/>
                <a:gd name="connsiteX14" fmla="*/ 7708 w 10002"/>
                <a:gd name="connsiteY14" fmla="*/ 10144 h 12420"/>
                <a:gd name="connsiteX15" fmla="*/ 8301 w 10002"/>
                <a:gd name="connsiteY15" fmla="*/ 12290 h 12420"/>
                <a:gd name="connsiteX16" fmla="*/ 9358 w 10002"/>
                <a:gd name="connsiteY16" fmla="*/ 12290 h 12420"/>
                <a:gd name="connsiteX17" fmla="*/ 10002 w 10002"/>
                <a:gd name="connsiteY17" fmla="*/ 10144 h 12420"/>
                <a:gd name="connsiteX18" fmla="*/ 10002 w 10002"/>
                <a:gd name="connsiteY18" fmla="*/ 8169 h 12420"/>
                <a:gd name="connsiteX0" fmla="*/ 10002 w 10002"/>
                <a:gd name="connsiteY0" fmla="*/ 8169 h 12420"/>
                <a:gd name="connsiteX1" fmla="*/ 8353 w 10002"/>
                <a:gd name="connsiteY1" fmla="*/ 2420 h 12420"/>
                <a:gd name="connsiteX2" fmla="*/ 13 w 10002"/>
                <a:gd name="connsiteY2" fmla="*/ 7600 h 12420"/>
                <a:gd name="connsiteX3" fmla="*/ 3 w 10002"/>
                <a:gd name="connsiteY3" fmla="*/ 10144 h 12420"/>
                <a:gd name="connsiteX4" fmla="*/ 80 w 10002"/>
                <a:gd name="connsiteY4" fmla="*/ 11173 h 12420"/>
                <a:gd name="connsiteX5" fmla="*/ 312 w 10002"/>
                <a:gd name="connsiteY5" fmla="*/ 11947 h 12420"/>
                <a:gd name="connsiteX6" fmla="*/ 622 w 10002"/>
                <a:gd name="connsiteY6" fmla="*/ 12290 h 12420"/>
                <a:gd name="connsiteX7" fmla="*/ 2323 w 10002"/>
                <a:gd name="connsiteY7" fmla="*/ 10144 h 12420"/>
                <a:gd name="connsiteX8" fmla="*/ 2323 w 10002"/>
                <a:gd name="connsiteY8" fmla="*/ 8169 h 12420"/>
                <a:gd name="connsiteX9" fmla="*/ 1807 w 10002"/>
                <a:gd name="connsiteY9" fmla="*/ 6195 h 12420"/>
                <a:gd name="connsiteX10" fmla="*/ 1988 w 10002"/>
                <a:gd name="connsiteY10" fmla="*/ 5851 h 12420"/>
                <a:gd name="connsiteX11" fmla="*/ 7992 w 10002"/>
                <a:gd name="connsiteY11" fmla="*/ 5851 h 12420"/>
                <a:gd name="connsiteX12" fmla="*/ 8172 w 10002"/>
                <a:gd name="connsiteY12" fmla="*/ 6195 h 12420"/>
                <a:gd name="connsiteX13" fmla="*/ 7708 w 10002"/>
                <a:gd name="connsiteY13" fmla="*/ 8169 h 12420"/>
                <a:gd name="connsiteX14" fmla="*/ 7708 w 10002"/>
                <a:gd name="connsiteY14" fmla="*/ 10144 h 12420"/>
                <a:gd name="connsiteX15" fmla="*/ 8301 w 10002"/>
                <a:gd name="connsiteY15" fmla="*/ 12290 h 12420"/>
                <a:gd name="connsiteX16" fmla="*/ 9358 w 10002"/>
                <a:gd name="connsiteY16" fmla="*/ 12290 h 12420"/>
                <a:gd name="connsiteX17" fmla="*/ 10002 w 10002"/>
                <a:gd name="connsiteY17" fmla="*/ 10144 h 12420"/>
                <a:gd name="connsiteX18" fmla="*/ 10002 w 10002"/>
                <a:gd name="connsiteY18" fmla="*/ 8169 h 12420"/>
                <a:gd name="connsiteX0" fmla="*/ 10002 w 10002"/>
                <a:gd name="connsiteY0" fmla="*/ 8169 h 12420"/>
                <a:gd name="connsiteX1" fmla="*/ 8353 w 10002"/>
                <a:gd name="connsiteY1" fmla="*/ 2420 h 12420"/>
                <a:gd name="connsiteX2" fmla="*/ 13 w 10002"/>
                <a:gd name="connsiteY2" fmla="*/ 7600 h 12420"/>
                <a:gd name="connsiteX3" fmla="*/ 3 w 10002"/>
                <a:gd name="connsiteY3" fmla="*/ 10144 h 12420"/>
                <a:gd name="connsiteX4" fmla="*/ 80 w 10002"/>
                <a:gd name="connsiteY4" fmla="*/ 11173 h 12420"/>
                <a:gd name="connsiteX5" fmla="*/ 312 w 10002"/>
                <a:gd name="connsiteY5" fmla="*/ 11947 h 12420"/>
                <a:gd name="connsiteX6" fmla="*/ 622 w 10002"/>
                <a:gd name="connsiteY6" fmla="*/ 12290 h 12420"/>
                <a:gd name="connsiteX7" fmla="*/ 2323 w 10002"/>
                <a:gd name="connsiteY7" fmla="*/ 10144 h 12420"/>
                <a:gd name="connsiteX8" fmla="*/ 2323 w 10002"/>
                <a:gd name="connsiteY8" fmla="*/ 8169 h 12420"/>
                <a:gd name="connsiteX9" fmla="*/ 1807 w 10002"/>
                <a:gd name="connsiteY9" fmla="*/ 6195 h 12420"/>
                <a:gd name="connsiteX10" fmla="*/ 1988 w 10002"/>
                <a:gd name="connsiteY10" fmla="*/ 5851 h 12420"/>
                <a:gd name="connsiteX11" fmla="*/ 7992 w 10002"/>
                <a:gd name="connsiteY11" fmla="*/ 5851 h 12420"/>
                <a:gd name="connsiteX12" fmla="*/ 8172 w 10002"/>
                <a:gd name="connsiteY12" fmla="*/ 6195 h 12420"/>
                <a:gd name="connsiteX13" fmla="*/ 7708 w 10002"/>
                <a:gd name="connsiteY13" fmla="*/ 8169 h 12420"/>
                <a:gd name="connsiteX14" fmla="*/ 7708 w 10002"/>
                <a:gd name="connsiteY14" fmla="*/ 10144 h 12420"/>
                <a:gd name="connsiteX15" fmla="*/ 8301 w 10002"/>
                <a:gd name="connsiteY15" fmla="*/ 12290 h 12420"/>
                <a:gd name="connsiteX16" fmla="*/ 9358 w 10002"/>
                <a:gd name="connsiteY16" fmla="*/ 12290 h 12420"/>
                <a:gd name="connsiteX17" fmla="*/ 10002 w 10002"/>
                <a:gd name="connsiteY17" fmla="*/ 10144 h 12420"/>
                <a:gd name="connsiteX18" fmla="*/ 10002 w 10002"/>
                <a:gd name="connsiteY18" fmla="*/ 8169 h 12420"/>
                <a:gd name="connsiteX0" fmla="*/ 10002 w 10002"/>
                <a:gd name="connsiteY0" fmla="*/ 8169 h 12420"/>
                <a:gd name="connsiteX1" fmla="*/ 8353 w 10002"/>
                <a:gd name="connsiteY1" fmla="*/ 2420 h 12420"/>
                <a:gd name="connsiteX2" fmla="*/ 13 w 10002"/>
                <a:gd name="connsiteY2" fmla="*/ 7600 h 12420"/>
                <a:gd name="connsiteX3" fmla="*/ 3 w 10002"/>
                <a:gd name="connsiteY3" fmla="*/ 10144 h 12420"/>
                <a:gd name="connsiteX4" fmla="*/ 80 w 10002"/>
                <a:gd name="connsiteY4" fmla="*/ 11173 h 12420"/>
                <a:gd name="connsiteX5" fmla="*/ 312 w 10002"/>
                <a:gd name="connsiteY5" fmla="*/ 11947 h 12420"/>
                <a:gd name="connsiteX6" fmla="*/ 622 w 10002"/>
                <a:gd name="connsiteY6" fmla="*/ 12290 h 12420"/>
                <a:gd name="connsiteX7" fmla="*/ 2323 w 10002"/>
                <a:gd name="connsiteY7" fmla="*/ 10144 h 12420"/>
                <a:gd name="connsiteX8" fmla="*/ 2323 w 10002"/>
                <a:gd name="connsiteY8" fmla="*/ 8169 h 12420"/>
                <a:gd name="connsiteX9" fmla="*/ 1807 w 10002"/>
                <a:gd name="connsiteY9" fmla="*/ 6195 h 12420"/>
                <a:gd name="connsiteX10" fmla="*/ 1988 w 10002"/>
                <a:gd name="connsiteY10" fmla="*/ 5851 h 12420"/>
                <a:gd name="connsiteX11" fmla="*/ 7992 w 10002"/>
                <a:gd name="connsiteY11" fmla="*/ 5851 h 12420"/>
                <a:gd name="connsiteX12" fmla="*/ 8172 w 10002"/>
                <a:gd name="connsiteY12" fmla="*/ 6195 h 12420"/>
                <a:gd name="connsiteX13" fmla="*/ 7708 w 10002"/>
                <a:gd name="connsiteY13" fmla="*/ 8169 h 12420"/>
                <a:gd name="connsiteX14" fmla="*/ 7708 w 10002"/>
                <a:gd name="connsiteY14" fmla="*/ 10144 h 12420"/>
                <a:gd name="connsiteX15" fmla="*/ 8301 w 10002"/>
                <a:gd name="connsiteY15" fmla="*/ 12290 h 12420"/>
                <a:gd name="connsiteX16" fmla="*/ 9358 w 10002"/>
                <a:gd name="connsiteY16" fmla="*/ 12290 h 12420"/>
                <a:gd name="connsiteX17" fmla="*/ 10002 w 10002"/>
                <a:gd name="connsiteY17" fmla="*/ 10144 h 12420"/>
                <a:gd name="connsiteX18" fmla="*/ 10002 w 10002"/>
                <a:gd name="connsiteY18" fmla="*/ 8169 h 12420"/>
                <a:gd name="connsiteX0" fmla="*/ 10002 w 10002"/>
                <a:gd name="connsiteY0" fmla="*/ 8169 h 12420"/>
                <a:gd name="connsiteX1" fmla="*/ 8353 w 10002"/>
                <a:gd name="connsiteY1" fmla="*/ 2420 h 12420"/>
                <a:gd name="connsiteX2" fmla="*/ 13 w 10002"/>
                <a:gd name="connsiteY2" fmla="*/ 7600 h 12420"/>
                <a:gd name="connsiteX3" fmla="*/ 3 w 10002"/>
                <a:gd name="connsiteY3" fmla="*/ 10144 h 12420"/>
                <a:gd name="connsiteX4" fmla="*/ 80 w 10002"/>
                <a:gd name="connsiteY4" fmla="*/ 11173 h 12420"/>
                <a:gd name="connsiteX5" fmla="*/ 312 w 10002"/>
                <a:gd name="connsiteY5" fmla="*/ 11947 h 12420"/>
                <a:gd name="connsiteX6" fmla="*/ 622 w 10002"/>
                <a:gd name="connsiteY6" fmla="*/ 12290 h 12420"/>
                <a:gd name="connsiteX7" fmla="*/ 2323 w 10002"/>
                <a:gd name="connsiteY7" fmla="*/ 10144 h 12420"/>
                <a:gd name="connsiteX8" fmla="*/ 2323 w 10002"/>
                <a:gd name="connsiteY8" fmla="*/ 8169 h 12420"/>
                <a:gd name="connsiteX9" fmla="*/ 1807 w 10002"/>
                <a:gd name="connsiteY9" fmla="*/ 6195 h 12420"/>
                <a:gd name="connsiteX10" fmla="*/ 1988 w 10002"/>
                <a:gd name="connsiteY10" fmla="*/ 5851 h 12420"/>
                <a:gd name="connsiteX11" fmla="*/ 7992 w 10002"/>
                <a:gd name="connsiteY11" fmla="*/ 5851 h 12420"/>
                <a:gd name="connsiteX12" fmla="*/ 8172 w 10002"/>
                <a:gd name="connsiteY12" fmla="*/ 6195 h 12420"/>
                <a:gd name="connsiteX13" fmla="*/ 7708 w 10002"/>
                <a:gd name="connsiteY13" fmla="*/ 8169 h 12420"/>
                <a:gd name="connsiteX14" fmla="*/ 7708 w 10002"/>
                <a:gd name="connsiteY14" fmla="*/ 10144 h 12420"/>
                <a:gd name="connsiteX15" fmla="*/ 8301 w 10002"/>
                <a:gd name="connsiteY15" fmla="*/ 12290 h 12420"/>
                <a:gd name="connsiteX16" fmla="*/ 9358 w 10002"/>
                <a:gd name="connsiteY16" fmla="*/ 12290 h 12420"/>
                <a:gd name="connsiteX17" fmla="*/ 10002 w 10002"/>
                <a:gd name="connsiteY17" fmla="*/ 10144 h 12420"/>
                <a:gd name="connsiteX18" fmla="*/ 10002 w 10002"/>
                <a:gd name="connsiteY18" fmla="*/ 8169 h 12420"/>
                <a:gd name="connsiteX0" fmla="*/ 10002 w 10002"/>
                <a:gd name="connsiteY0" fmla="*/ 8169 h 12420"/>
                <a:gd name="connsiteX1" fmla="*/ 8353 w 10002"/>
                <a:gd name="connsiteY1" fmla="*/ 2420 h 12420"/>
                <a:gd name="connsiteX2" fmla="*/ 13 w 10002"/>
                <a:gd name="connsiteY2" fmla="*/ 7600 h 12420"/>
                <a:gd name="connsiteX3" fmla="*/ 3 w 10002"/>
                <a:gd name="connsiteY3" fmla="*/ 10144 h 12420"/>
                <a:gd name="connsiteX4" fmla="*/ 80 w 10002"/>
                <a:gd name="connsiteY4" fmla="*/ 11173 h 12420"/>
                <a:gd name="connsiteX5" fmla="*/ 312 w 10002"/>
                <a:gd name="connsiteY5" fmla="*/ 11947 h 12420"/>
                <a:gd name="connsiteX6" fmla="*/ 622 w 10002"/>
                <a:gd name="connsiteY6" fmla="*/ 12290 h 12420"/>
                <a:gd name="connsiteX7" fmla="*/ 2323 w 10002"/>
                <a:gd name="connsiteY7" fmla="*/ 10144 h 12420"/>
                <a:gd name="connsiteX8" fmla="*/ 2323 w 10002"/>
                <a:gd name="connsiteY8" fmla="*/ 8169 h 12420"/>
                <a:gd name="connsiteX9" fmla="*/ 1807 w 10002"/>
                <a:gd name="connsiteY9" fmla="*/ 6195 h 12420"/>
                <a:gd name="connsiteX10" fmla="*/ 1988 w 10002"/>
                <a:gd name="connsiteY10" fmla="*/ 5851 h 12420"/>
                <a:gd name="connsiteX11" fmla="*/ 7992 w 10002"/>
                <a:gd name="connsiteY11" fmla="*/ 5851 h 12420"/>
                <a:gd name="connsiteX12" fmla="*/ 8172 w 10002"/>
                <a:gd name="connsiteY12" fmla="*/ 6195 h 12420"/>
                <a:gd name="connsiteX13" fmla="*/ 7708 w 10002"/>
                <a:gd name="connsiteY13" fmla="*/ 10144 h 12420"/>
                <a:gd name="connsiteX14" fmla="*/ 8301 w 10002"/>
                <a:gd name="connsiteY14" fmla="*/ 12290 h 12420"/>
                <a:gd name="connsiteX15" fmla="*/ 9358 w 10002"/>
                <a:gd name="connsiteY15" fmla="*/ 12290 h 12420"/>
                <a:gd name="connsiteX16" fmla="*/ 10002 w 10002"/>
                <a:gd name="connsiteY16" fmla="*/ 10144 h 12420"/>
                <a:gd name="connsiteX17" fmla="*/ 10002 w 10002"/>
                <a:gd name="connsiteY17" fmla="*/ 8169 h 12420"/>
                <a:gd name="connsiteX0" fmla="*/ 10002 w 10002"/>
                <a:gd name="connsiteY0" fmla="*/ 8169 h 12420"/>
                <a:gd name="connsiteX1" fmla="*/ 8353 w 10002"/>
                <a:gd name="connsiteY1" fmla="*/ 2420 h 12420"/>
                <a:gd name="connsiteX2" fmla="*/ 13 w 10002"/>
                <a:gd name="connsiteY2" fmla="*/ 7600 h 12420"/>
                <a:gd name="connsiteX3" fmla="*/ 3 w 10002"/>
                <a:gd name="connsiteY3" fmla="*/ 10144 h 12420"/>
                <a:gd name="connsiteX4" fmla="*/ 80 w 10002"/>
                <a:gd name="connsiteY4" fmla="*/ 11173 h 12420"/>
                <a:gd name="connsiteX5" fmla="*/ 312 w 10002"/>
                <a:gd name="connsiteY5" fmla="*/ 11947 h 12420"/>
                <a:gd name="connsiteX6" fmla="*/ 622 w 10002"/>
                <a:gd name="connsiteY6" fmla="*/ 12290 h 12420"/>
                <a:gd name="connsiteX7" fmla="*/ 2323 w 10002"/>
                <a:gd name="connsiteY7" fmla="*/ 10144 h 12420"/>
                <a:gd name="connsiteX8" fmla="*/ 2323 w 10002"/>
                <a:gd name="connsiteY8" fmla="*/ 8169 h 12420"/>
                <a:gd name="connsiteX9" fmla="*/ 1807 w 10002"/>
                <a:gd name="connsiteY9" fmla="*/ 6195 h 12420"/>
                <a:gd name="connsiteX10" fmla="*/ 1988 w 10002"/>
                <a:gd name="connsiteY10" fmla="*/ 5851 h 12420"/>
                <a:gd name="connsiteX11" fmla="*/ 7992 w 10002"/>
                <a:gd name="connsiteY11" fmla="*/ 5851 h 12420"/>
                <a:gd name="connsiteX12" fmla="*/ 8172 w 10002"/>
                <a:gd name="connsiteY12" fmla="*/ 6195 h 12420"/>
                <a:gd name="connsiteX13" fmla="*/ 7708 w 10002"/>
                <a:gd name="connsiteY13" fmla="*/ 10144 h 12420"/>
                <a:gd name="connsiteX14" fmla="*/ 8301 w 10002"/>
                <a:gd name="connsiteY14" fmla="*/ 12290 h 12420"/>
                <a:gd name="connsiteX15" fmla="*/ 9358 w 10002"/>
                <a:gd name="connsiteY15" fmla="*/ 12290 h 12420"/>
                <a:gd name="connsiteX16" fmla="*/ 10002 w 10002"/>
                <a:gd name="connsiteY16" fmla="*/ 10144 h 12420"/>
                <a:gd name="connsiteX17" fmla="*/ 10002 w 10002"/>
                <a:gd name="connsiteY17" fmla="*/ 8169 h 12420"/>
                <a:gd name="connsiteX0" fmla="*/ 10002 w 10002"/>
                <a:gd name="connsiteY0" fmla="*/ 8169 h 12420"/>
                <a:gd name="connsiteX1" fmla="*/ 8353 w 10002"/>
                <a:gd name="connsiteY1" fmla="*/ 2420 h 12420"/>
                <a:gd name="connsiteX2" fmla="*/ 13 w 10002"/>
                <a:gd name="connsiteY2" fmla="*/ 7600 h 12420"/>
                <a:gd name="connsiteX3" fmla="*/ 3 w 10002"/>
                <a:gd name="connsiteY3" fmla="*/ 10144 h 12420"/>
                <a:gd name="connsiteX4" fmla="*/ 80 w 10002"/>
                <a:gd name="connsiteY4" fmla="*/ 11173 h 12420"/>
                <a:gd name="connsiteX5" fmla="*/ 312 w 10002"/>
                <a:gd name="connsiteY5" fmla="*/ 11947 h 12420"/>
                <a:gd name="connsiteX6" fmla="*/ 622 w 10002"/>
                <a:gd name="connsiteY6" fmla="*/ 12290 h 12420"/>
                <a:gd name="connsiteX7" fmla="*/ 2323 w 10002"/>
                <a:gd name="connsiteY7" fmla="*/ 10144 h 12420"/>
                <a:gd name="connsiteX8" fmla="*/ 2323 w 10002"/>
                <a:gd name="connsiteY8" fmla="*/ 8169 h 12420"/>
                <a:gd name="connsiteX9" fmla="*/ 1807 w 10002"/>
                <a:gd name="connsiteY9" fmla="*/ 6195 h 12420"/>
                <a:gd name="connsiteX10" fmla="*/ 1988 w 10002"/>
                <a:gd name="connsiteY10" fmla="*/ 5851 h 12420"/>
                <a:gd name="connsiteX11" fmla="*/ 7992 w 10002"/>
                <a:gd name="connsiteY11" fmla="*/ 5851 h 12420"/>
                <a:gd name="connsiteX12" fmla="*/ 8172 w 10002"/>
                <a:gd name="connsiteY12" fmla="*/ 6195 h 12420"/>
                <a:gd name="connsiteX13" fmla="*/ 7708 w 10002"/>
                <a:gd name="connsiteY13" fmla="*/ 10144 h 12420"/>
                <a:gd name="connsiteX14" fmla="*/ 8301 w 10002"/>
                <a:gd name="connsiteY14" fmla="*/ 12290 h 12420"/>
                <a:gd name="connsiteX15" fmla="*/ 9358 w 10002"/>
                <a:gd name="connsiteY15" fmla="*/ 12290 h 12420"/>
                <a:gd name="connsiteX16" fmla="*/ 10002 w 10002"/>
                <a:gd name="connsiteY16" fmla="*/ 10144 h 12420"/>
                <a:gd name="connsiteX17" fmla="*/ 10002 w 10002"/>
                <a:gd name="connsiteY17" fmla="*/ 8169 h 12420"/>
                <a:gd name="connsiteX0" fmla="*/ 10002 w 10002"/>
                <a:gd name="connsiteY0" fmla="*/ 8169 h 12420"/>
                <a:gd name="connsiteX1" fmla="*/ 8353 w 10002"/>
                <a:gd name="connsiteY1" fmla="*/ 2420 h 12420"/>
                <a:gd name="connsiteX2" fmla="*/ 13 w 10002"/>
                <a:gd name="connsiteY2" fmla="*/ 7600 h 12420"/>
                <a:gd name="connsiteX3" fmla="*/ 3 w 10002"/>
                <a:gd name="connsiteY3" fmla="*/ 10144 h 12420"/>
                <a:gd name="connsiteX4" fmla="*/ 80 w 10002"/>
                <a:gd name="connsiteY4" fmla="*/ 11173 h 12420"/>
                <a:gd name="connsiteX5" fmla="*/ 312 w 10002"/>
                <a:gd name="connsiteY5" fmla="*/ 11947 h 12420"/>
                <a:gd name="connsiteX6" fmla="*/ 622 w 10002"/>
                <a:gd name="connsiteY6" fmla="*/ 12290 h 12420"/>
                <a:gd name="connsiteX7" fmla="*/ 2323 w 10002"/>
                <a:gd name="connsiteY7" fmla="*/ 10144 h 12420"/>
                <a:gd name="connsiteX8" fmla="*/ 2323 w 10002"/>
                <a:gd name="connsiteY8" fmla="*/ 8169 h 12420"/>
                <a:gd name="connsiteX9" fmla="*/ 1807 w 10002"/>
                <a:gd name="connsiteY9" fmla="*/ 6195 h 12420"/>
                <a:gd name="connsiteX10" fmla="*/ 1988 w 10002"/>
                <a:gd name="connsiteY10" fmla="*/ 5851 h 12420"/>
                <a:gd name="connsiteX11" fmla="*/ 7992 w 10002"/>
                <a:gd name="connsiteY11" fmla="*/ 5851 h 12420"/>
                <a:gd name="connsiteX12" fmla="*/ 8172 w 10002"/>
                <a:gd name="connsiteY12" fmla="*/ 6195 h 12420"/>
                <a:gd name="connsiteX13" fmla="*/ 7708 w 10002"/>
                <a:gd name="connsiteY13" fmla="*/ 10144 h 12420"/>
                <a:gd name="connsiteX14" fmla="*/ 8301 w 10002"/>
                <a:gd name="connsiteY14" fmla="*/ 12290 h 12420"/>
                <a:gd name="connsiteX15" fmla="*/ 9358 w 10002"/>
                <a:gd name="connsiteY15" fmla="*/ 12290 h 12420"/>
                <a:gd name="connsiteX16" fmla="*/ 10002 w 10002"/>
                <a:gd name="connsiteY16" fmla="*/ 10144 h 12420"/>
                <a:gd name="connsiteX17" fmla="*/ 10002 w 10002"/>
                <a:gd name="connsiteY17" fmla="*/ 8169 h 12420"/>
                <a:gd name="connsiteX0" fmla="*/ 10002 w 10002"/>
                <a:gd name="connsiteY0" fmla="*/ 8169 h 12420"/>
                <a:gd name="connsiteX1" fmla="*/ 8353 w 10002"/>
                <a:gd name="connsiteY1" fmla="*/ 2420 h 12420"/>
                <a:gd name="connsiteX2" fmla="*/ 13 w 10002"/>
                <a:gd name="connsiteY2" fmla="*/ 7600 h 12420"/>
                <a:gd name="connsiteX3" fmla="*/ 3 w 10002"/>
                <a:gd name="connsiteY3" fmla="*/ 10144 h 12420"/>
                <a:gd name="connsiteX4" fmla="*/ 80 w 10002"/>
                <a:gd name="connsiteY4" fmla="*/ 11173 h 12420"/>
                <a:gd name="connsiteX5" fmla="*/ 312 w 10002"/>
                <a:gd name="connsiteY5" fmla="*/ 11947 h 12420"/>
                <a:gd name="connsiteX6" fmla="*/ 622 w 10002"/>
                <a:gd name="connsiteY6" fmla="*/ 12290 h 12420"/>
                <a:gd name="connsiteX7" fmla="*/ 2323 w 10002"/>
                <a:gd name="connsiteY7" fmla="*/ 10144 h 12420"/>
                <a:gd name="connsiteX8" fmla="*/ 2323 w 10002"/>
                <a:gd name="connsiteY8" fmla="*/ 8169 h 12420"/>
                <a:gd name="connsiteX9" fmla="*/ 1807 w 10002"/>
                <a:gd name="connsiteY9" fmla="*/ 6195 h 12420"/>
                <a:gd name="connsiteX10" fmla="*/ 1988 w 10002"/>
                <a:gd name="connsiteY10" fmla="*/ 5851 h 12420"/>
                <a:gd name="connsiteX11" fmla="*/ 7992 w 10002"/>
                <a:gd name="connsiteY11" fmla="*/ 5851 h 12420"/>
                <a:gd name="connsiteX12" fmla="*/ 8172 w 10002"/>
                <a:gd name="connsiteY12" fmla="*/ 6195 h 12420"/>
                <a:gd name="connsiteX13" fmla="*/ 7708 w 10002"/>
                <a:gd name="connsiteY13" fmla="*/ 10144 h 12420"/>
                <a:gd name="connsiteX14" fmla="*/ 8301 w 10002"/>
                <a:gd name="connsiteY14" fmla="*/ 12290 h 12420"/>
                <a:gd name="connsiteX15" fmla="*/ 9358 w 10002"/>
                <a:gd name="connsiteY15" fmla="*/ 12290 h 12420"/>
                <a:gd name="connsiteX16" fmla="*/ 10002 w 10002"/>
                <a:gd name="connsiteY16" fmla="*/ 10144 h 12420"/>
                <a:gd name="connsiteX17" fmla="*/ 10002 w 10002"/>
                <a:gd name="connsiteY17" fmla="*/ 8169 h 12420"/>
                <a:gd name="connsiteX0" fmla="*/ 10002 w 10002"/>
                <a:gd name="connsiteY0" fmla="*/ 8169 h 12420"/>
                <a:gd name="connsiteX1" fmla="*/ 8353 w 10002"/>
                <a:gd name="connsiteY1" fmla="*/ 2420 h 12420"/>
                <a:gd name="connsiteX2" fmla="*/ 13 w 10002"/>
                <a:gd name="connsiteY2" fmla="*/ 7600 h 12420"/>
                <a:gd name="connsiteX3" fmla="*/ 3 w 10002"/>
                <a:gd name="connsiteY3" fmla="*/ 10144 h 12420"/>
                <a:gd name="connsiteX4" fmla="*/ 80 w 10002"/>
                <a:gd name="connsiteY4" fmla="*/ 11173 h 12420"/>
                <a:gd name="connsiteX5" fmla="*/ 622 w 10002"/>
                <a:gd name="connsiteY5" fmla="*/ 12290 h 12420"/>
                <a:gd name="connsiteX6" fmla="*/ 2323 w 10002"/>
                <a:gd name="connsiteY6" fmla="*/ 10144 h 12420"/>
                <a:gd name="connsiteX7" fmla="*/ 2323 w 10002"/>
                <a:gd name="connsiteY7" fmla="*/ 8169 h 12420"/>
                <a:gd name="connsiteX8" fmla="*/ 1807 w 10002"/>
                <a:gd name="connsiteY8" fmla="*/ 6195 h 12420"/>
                <a:gd name="connsiteX9" fmla="*/ 1988 w 10002"/>
                <a:gd name="connsiteY9" fmla="*/ 5851 h 12420"/>
                <a:gd name="connsiteX10" fmla="*/ 7992 w 10002"/>
                <a:gd name="connsiteY10" fmla="*/ 5851 h 12420"/>
                <a:gd name="connsiteX11" fmla="*/ 8172 w 10002"/>
                <a:gd name="connsiteY11" fmla="*/ 6195 h 12420"/>
                <a:gd name="connsiteX12" fmla="*/ 7708 w 10002"/>
                <a:gd name="connsiteY12" fmla="*/ 10144 h 12420"/>
                <a:gd name="connsiteX13" fmla="*/ 8301 w 10002"/>
                <a:gd name="connsiteY13" fmla="*/ 12290 h 12420"/>
                <a:gd name="connsiteX14" fmla="*/ 9358 w 10002"/>
                <a:gd name="connsiteY14" fmla="*/ 12290 h 12420"/>
                <a:gd name="connsiteX15" fmla="*/ 10002 w 10002"/>
                <a:gd name="connsiteY15" fmla="*/ 10144 h 12420"/>
                <a:gd name="connsiteX16" fmla="*/ 10002 w 10002"/>
                <a:gd name="connsiteY16" fmla="*/ 8169 h 12420"/>
                <a:gd name="connsiteX0" fmla="*/ 10002 w 10002"/>
                <a:gd name="connsiteY0" fmla="*/ 8169 h 12420"/>
                <a:gd name="connsiteX1" fmla="*/ 8353 w 10002"/>
                <a:gd name="connsiteY1" fmla="*/ 2420 h 12420"/>
                <a:gd name="connsiteX2" fmla="*/ 13 w 10002"/>
                <a:gd name="connsiteY2" fmla="*/ 7600 h 12420"/>
                <a:gd name="connsiteX3" fmla="*/ 3 w 10002"/>
                <a:gd name="connsiteY3" fmla="*/ 10144 h 12420"/>
                <a:gd name="connsiteX4" fmla="*/ 80 w 10002"/>
                <a:gd name="connsiteY4" fmla="*/ 11173 h 12420"/>
                <a:gd name="connsiteX5" fmla="*/ 622 w 10002"/>
                <a:gd name="connsiteY5" fmla="*/ 12290 h 12420"/>
                <a:gd name="connsiteX6" fmla="*/ 2323 w 10002"/>
                <a:gd name="connsiteY6" fmla="*/ 10144 h 12420"/>
                <a:gd name="connsiteX7" fmla="*/ 2323 w 10002"/>
                <a:gd name="connsiteY7" fmla="*/ 8169 h 12420"/>
                <a:gd name="connsiteX8" fmla="*/ 1807 w 10002"/>
                <a:gd name="connsiteY8" fmla="*/ 6195 h 12420"/>
                <a:gd name="connsiteX9" fmla="*/ 1988 w 10002"/>
                <a:gd name="connsiteY9" fmla="*/ 5851 h 12420"/>
                <a:gd name="connsiteX10" fmla="*/ 7992 w 10002"/>
                <a:gd name="connsiteY10" fmla="*/ 5851 h 12420"/>
                <a:gd name="connsiteX11" fmla="*/ 8172 w 10002"/>
                <a:gd name="connsiteY11" fmla="*/ 6195 h 12420"/>
                <a:gd name="connsiteX12" fmla="*/ 7708 w 10002"/>
                <a:gd name="connsiteY12" fmla="*/ 10144 h 12420"/>
                <a:gd name="connsiteX13" fmla="*/ 8301 w 10002"/>
                <a:gd name="connsiteY13" fmla="*/ 12290 h 12420"/>
                <a:gd name="connsiteX14" fmla="*/ 9358 w 10002"/>
                <a:gd name="connsiteY14" fmla="*/ 12290 h 12420"/>
                <a:gd name="connsiteX15" fmla="*/ 10002 w 10002"/>
                <a:gd name="connsiteY15" fmla="*/ 10144 h 12420"/>
                <a:gd name="connsiteX16" fmla="*/ 10002 w 10002"/>
                <a:gd name="connsiteY16" fmla="*/ 8169 h 12420"/>
                <a:gd name="connsiteX0" fmla="*/ 10002 w 10002"/>
                <a:gd name="connsiteY0" fmla="*/ 8169 h 12420"/>
                <a:gd name="connsiteX1" fmla="*/ 8353 w 10002"/>
                <a:gd name="connsiteY1" fmla="*/ 2420 h 12420"/>
                <a:gd name="connsiteX2" fmla="*/ 13 w 10002"/>
                <a:gd name="connsiteY2" fmla="*/ 7600 h 12420"/>
                <a:gd name="connsiteX3" fmla="*/ 3 w 10002"/>
                <a:gd name="connsiteY3" fmla="*/ 10144 h 12420"/>
                <a:gd name="connsiteX4" fmla="*/ 80 w 10002"/>
                <a:gd name="connsiteY4" fmla="*/ 11173 h 12420"/>
                <a:gd name="connsiteX5" fmla="*/ 622 w 10002"/>
                <a:gd name="connsiteY5" fmla="*/ 12290 h 12420"/>
                <a:gd name="connsiteX6" fmla="*/ 2323 w 10002"/>
                <a:gd name="connsiteY6" fmla="*/ 10144 h 12420"/>
                <a:gd name="connsiteX7" fmla="*/ 2323 w 10002"/>
                <a:gd name="connsiteY7" fmla="*/ 8169 h 12420"/>
                <a:gd name="connsiteX8" fmla="*/ 1807 w 10002"/>
                <a:gd name="connsiteY8" fmla="*/ 6195 h 12420"/>
                <a:gd name="connsiteX9" fmla="*/ 1988 w 10002"/>
                <a:gd name="connsiteY9" fmla="*/ 5851 h 12420"/>
                <a:gd name="connsiteX10" fmla="*/ 7992 w 10002"/>
                <a:gd name="connsiteY10" fmla="*/ 5851 h 12420"/>
                <a:gd name="connsiteX11" fmla="*/ 8172 w 10002"/>
                <a:gd name="connsiteY11" fmla="*/ 6195 h 12420"/>
                <a:gd name="connsiteX12" fmla="*/ 7708 w 10002"/>
                <a:gd name="connsiteY12" fmla="*/ 10144 h 12420"/>
                <a:gd name="connsiteX13" fmla="*/ 8301 w 10002"/>
                <a:gd name="connsiteY13" fmla="*/ 12290 h 12420"/>
                <a:gd name="connsiteX14" fmla="*/ 9358 w 10002"/>
                <a:gd name="connsiteY14" fmla="*/ 12290 h 12420"/>
                <a:gd name="connsiteX15" fmla="*/ 10002 w 10002"/>
                <a:gd name="connsiteY15" fmla="*/ 10144 h 12420"/>
                <a:gd name="connsiteX16" fmla="*/ 10002 w 10002"/>
                <a:gd name="connsiteY16" fmla="*/ 8169 h 12420"/>
                <a:gd name="connsiteX0" fmla="*/ 10002 w 10002"/>
                <a:gd name="connsiteY0" fmla="*/ 8169 h 12350"/>
                <a:gd name="connsiteX1" fmla="*/ 8353 w 10002"/>
                <a:gd name="connsiteY1" fmla="*/ 2420 h 12350"/>
                <a:gd name="connsiteX2" fmla="*/ 13 w 10002"/>
                <a:gd name="connsiteY2" fmla="*/ 7600 h 12350"/>
                <a:gd name="connsiteX3" fmla="*/ 3 w 10002"/>
                <a:gd name="connsiteY3" fmla="*/ 10144 h 12350"/>
                <a:gd name="connsiteX4" fmla="*/ 80 w 10002"/>
                <a:gd name="connsiteY4" fmla="*/ 11173 h 12350"/>
                <a:gd name="connsiteX5" fmla="*/ 622 w 10002"/>
                <a:gd name="connsiteY5" fmla="*/ 12290 h 12350"/>
                <a:gd name="connsiteX6" fmla="*/ 2323 w 10002"/>
                <a:gd name="connsiteY6" fmla="*/ 10144 h 12350"/>
                <a:gd name="connsiteX7" fmla="*/ 2323 w 10002"/>
                <a:gd name="connsiteY7" fmla="*/ 8169 h 12350"/>
                <a:gd name="connsiteX8" fmla="*/ 1807 w 10002"/>
                <a:gd name="connsiteY8" fmla="*/ 6195 h 12350"/>
                <a:gd name="connsiteX9" fmla="*/ 1988 w 10002"/>
                <a:gd name="connsiteY9" fmla="*/ 5851 h 12350"/>
                <a:gd name="connsiteX10" fmla="*/ 7992 w 10002"/>
                <a:gd name="connsiteY10" fmla="*/ 5851 h 12350"/>
                <a:gd name="connsiteX11" fmla="*/ 8172 w 10002"/>
                <a:gd name="connsiteY11" fmla="*/ 6195 h 12350"/>
                <a:gd name="connsiteX12" fmla="*/ 7708 w 10002"/>
                <a:gd name="connsiteY12" fmla="*/ 10144 h 12350"/>
                <a:gd name="connsiteX13" fmla="*/ 8301 w 10002"/>
                <a:gd name="connsiteY13" fmla="*/ 12290 h 12350"/>
                <a:gd name="connsiteX14" fmla="*/ 9358 w 10002"/>
                <a:gd name="connsiteY14" fmla="*/ 12290 h 12350"/>
                <a:gd name="connsiteX15" fmla="*/ 10002 w 10002"/>
                <a:gd name="connsiteY15" fmla="*/ 10144 h 12350"/>
                <a:gd name="connsiteX16" fmla="*/ 10002 w 10002"/>
                <a:gd name="connsiteY16" fmla="*/ 8169 h 12350"/>
                <a:gd name="connsiteX0" fmla="*/ 10002 w 10002"/>
                <a:gd name="connsiteY0" fmla="*/ 8169 h 12350"/>
                <a:gd name="connsiteX1" fmla="*/ 8353 w 10002"/>
                <a:gd name="connsiteY1" fmla="*/ 2420 h 12350"/>
                <a:gd name="connsiteX2" fmla="*/ 13 w 10002"/>
                <a:gd name="connsiteY2" fmla="*/ 7600 h 12350"/>
                <a:gd name="connsiteX3" fmla="*/ 3 w 10002"/>
                <a:gd name="connsiteY3" fmla="*/ 10144 h 12350"/>
                <a:gd name="connsiteX4" fmla="*/ 80 w 10002"/>
                <a:gd name="connsiteY4" fmla="*/ 11173 h 12350"/>
                <a:gd name="connsiteX5" fmla="*/ 622 w 10002"/>
                <a:gd name="connsiteY5" fmla="*/ 12290 h 12350"/>
                <a:gd name="connsiteX6" fmla="*/ 2323 w 10002"/>
                <a:gd name="connsiteY6" fmla="*/ 10144 h 12350"/>
                <a:gd name="connsiteX7" fmla="*/ 2323 w 10002"/>
                <a:gd name="connsiteY7" fmla="*/ 8169 h 12350"/>
                <a:gd name="connsiteX8" fmla="*/ 1807 w 10002"/>
                <a:gd name="connsiteY8" fmla="*/ 6195 h 12350"/>
                <a:gd name="connsiteX9" fmla="*/ 1988 w 10002"/>
                <a:gd name="connsiteY9" fmla="*/ 5851 h 12350"/>
                <a:gd name="connsiteX10" fmla="*/ 7992 w 10002"/>
                <a:gd name="connsiteY10" fmla="*/ 5851 h 12350"/>
                <a:gd name="connsiteX11" fmla="*/ 8172 w 10002"/>
                <a:gd name="connsiteY11" fmla="*/ 6195 h 12350"/>
                <a:gd name="connsiteX12" fmla="*/ 8301 w 10002"/>
                <a:gd name="connsiteY12" fmla="*/ 12290 h 12350"/>
                <a:gd name="connsiteX13" fmla="*/ 9358 w 10002"/>
                <a:gd name="connsiteY13" fmla="*/ 12290 h 12350"/>
                <a:gd name="connsiteX14" fmla="*/ 10002 w 10002"/>
                <a:gd name="connsiteY14" fmla="*/ 10144 h 12350"/>
                <a:gd name="connsiteX15" fmla="*/ 10002 w 10002"/>
                <a:gd name="connsiteY15" fmla="*/ 8169 h 12350"/>
                <a:gd name="connsiteX0" fmla="*/ 10002 w 10002"/>
                <a:gd name="connsiteY0" fmla="*/ 8169 h 12350"/>
                <a:gd name="connsiteX1" fmla="*/ 8353 w 10002"/>
                <a:gd name="connsiteY1" fmla="*/ 2420 h 12350"/>
                <a:gd name="connsiteX2" fmla="*/ 13 w 10002"/>
                <a:gd name="connsiteY2" fmla="*/ 7600 h 12350"/>
                <a:gd name="connsiteX3" fmla="*/ 3 w 10002"/>
                <a:gd name="connsiteY3" fmla="*/ 10144 h 12350"/>
                <a:gd name="connsiteX4" fmla="*/ 80 w 10002"/>
                <a:gd name="connsiteY4" fmla="*/ 11173 h 12350"/>
                <a:gd name="connsiteX5" fmla="*/ 622 w 10002"/>
                <a:gd name="connsiteY5" fmla="*/ 12290 h 12350"/>
                <a:gd name="connsiteX6" fmla="*/ 2323 w 10002"/>
                <a:gd name="connsiteY6" fmla="*/ 10144 h 12350"/>
                <a:gd name="connsiteX7" fmla="*/ 2323 w 10002"/>
                <a:gd name="connsiteY7" fmla="*/ 8169 h 12350"/>
                <a:gd name="connsiteX8" fmla="*/ 1807 w 10002"/>
                <a:gd name="connsiteY8" fmla="*/ 6195 h 12350"/>
                <a:gd name="connsiteX9" fmla="*/ 1988 w 10002"/>
                <a:gd name="connsiteY9" fmla="*/ 5851 h 12350"/>
                <a:gd name="connsiteX10" fmla="*/ 7992 w 10002"/>
                <a:gd name="connsiteY10" fmla="*/ 5851 h 12350"/>
                <a:gd name="connsiteX11" fmla="*/ 8172 w 10002"/>
                <a:gd name="connsiteY11" fmla="*/ 6195 h 12350"/>
                <a:gd name="connsiteX12" fmla="*/ 8301 w 10002"/>
                <a:gd name="connsiteY12" fmla="*/ 12290 h 12350"/>
                <a:gd name="connsiteX13" fmla="*/ 9358 w 10002"/>
                <a:gd name="connsiteY13" fmla="*/ 12290 h 12350"/>
                <a:gd name="connsiteX14" fmla="*/ 10002 w 10002"/>
                <a:gd name="connsiteY14" fmla="*/ 10144 h 12350"/>
                <a:gd name="connsiteX15" fmla="*/ 10002 w 10002"/>
                <a:gd name="connsiteY15" fmla="*/ 8169 h 12350"/>
                <a:gd name="connsiteX0" fmla="*/ 10002 w 10002"/>
                <a:gd name="connsiteY0" fmla="*/ 8169 h 12350"/>
                <a:gd name="connsiteX1" fmla="*/ 8353 w 10002"/>
                <a:gd name="connsiteY1" fmla="*/ 2420 h 12350"/>
                <a:gd name="connsiteX2" fmla="*/ 13 w 10002"/>
                <a:gd name="connsiteY2" fmla="*/ 7600 h 12350"/>
                <a:gd name="connsiteX3" fmla="*/ 3 w 10002"/>
                <a:gd name="connsiteY3" fmla="*/ 10144 h 12350"/>
                <a:gd name="connsiteX4" fmla="*/ 80 w 10002"/>
                <a:gd name="connsiteY4" fmla="*/ 11173 h 12350"/>
                <a:gd name="connsiteX5" fmla="*/ 622 w 10002"/>
                <a:gd name="connsiteY5" fmla="*/ 12290 h 12350"/>
                <a:gd name="connsiteX6" fmla="*/ 2323 w 10002"/>
                <a:gd name="connsiteY6" fmla="*/ 10144 h 12350"/>
                <a:gd name="connsiteX7" fmla="*/ 2323 w 10002"/>
                <a:gd name="connsiteY7" fmla="*/ 8169 h 12350"/>
                <a:gd name="connsiteX8" fmla="*/ 1807 w 10002"/>
                <a:gd name="connsiteY8" fmla="*/ 6195 h 12350"/>
                <a:gd name="connsiteX9" fmla="*/ 1988 w 10002"/>
                <a:gd name="connsiteY9" fmla="*/ 5851 h 12350"/>
                <a:gd name="connsiteX10" fmla="*/ 7992 w 10002"/>
                <a:gd name="connsiteY10" fmla="*/ 5851 h 12350"/>
                <a:gd name="connsiteX11" fmla="*/ 8172 w 10002"/>
                <a:gd name="connsiteY11" fmla="*/ 6195 h 12350"/>
                <a:gd name="connsiteX12" fmla="*/ 8301 w 10002"/>
                <a:gd name="connsiteY12" fmla="*/ 12290 h 12350"/>
                <a:gd name="connsiteX13" fmla="*/ 9358 w 10002"/>
                <a:gd name="connsiteY13" fmla="*/ 12290 h 12350"/>
                <a:gd name="connsiteX14" fmla="*/ 10002 w 10002"/>
                <a:gd name="connsiteY14" fmla="*/ 10144 h 12350"/>
                <a:gd name="connsiteX15" fmla="*/ 10002 w 10002"/>
                <a:gd name="connsiteY15" fmla="*/ 8169 h 12350"/>
                <a:gd name="connsiteX0" fmla="*/ 10002 w 10002"/>
                <a:gd name="connsiteY0" fmla="*/ 8169 h 12350"/>
                <a:gd name="connsiteX1" fmla="*/ 8353 w 10002"/>
                <a:gd name="connsiteY1" fmla="*/ 2420 h 12350"/>
                <a:gd name="connsiteX2" fmla="*/ 13 w 10002"/>
                <a:gd name="connsiteY2" fmla="*/ 7600 h 12350"/>
                <a:gd name="connsiteX3" fmla="*/ 3 w 10002"/>
                <a:gd name="connsiteY3" fmla="*/ 10144 h 12350"/>
                <a:gd name="connsiteX4" fmla="*/ 80 w 10002"/>
                <a:gd name="connsiteY4" fmla="*/ 11173 h 12350"/>
                <a:gd name="connsiteX5" fmla="*/ 622 w 10002"/>
                <a:gd name="connsiteY5" fmla="*/ 12290 h 12350"/>
                <a:gd name="connsiteX6" fmla="*/ 2323 w 10002"/>
                <a:gd name="connsiteY6" fmla="*/ 10144 h 12350"/>
                <a:gd name="connsiteX7" fmla="*/ 2323 w 10002"/>
                <a:gd name="connsiteY7" fmla="*/ 8169 h 12350"/>
                <a:gd name="connsiteX8" fmla="*/ 1807 w 10002"/>
                <a:gd name="connsiteY8" fmla="*/ 6195 h 12350"/>
                <a:gd name="connsiteX9" fmla="*/ 1988 w 10002"/>
                <a:gd name="connsiteY9" fmla="*/ 5851 h 12350"/>
                <a:gd name="connsiteX10" fmla="*/ 7992 w 10002"/>
                <a:gd name="connsiteY10" fmla="*/ 5851 h 12350"/>
                <a:gd name="connsiteX11" fmla="*/ 8172 w 10002"/>
                <a:gd name="connsiteY11" fmla="*/ 6195 h 12350"/>
                <a:gd name="connsiteX12" fmla="*/ 8301 w 10002"/>
                <a:gd name="connsiteY12" fmla="*/ 12290 h 12350"/>
                <a:gd name="connsiteX13" fmla="*/ 9358 w 10002"/>
                <a:gd name="connsiteY13" fmla="*/ 12290 h 12350"/>
                <a:gd name="connsiteX14" fmla="*/ 10002 w 10002"/>
                <a:gd name="connsiteY14" fmla="*/ 10144 h 12350"/>
                <a:gd name="connsiteX15" fmla="*/ 10002 w 10002"/>
                <a:gd name="connsiteY15" fmla="*/ 8169 h 12350"/>
                <a:gd name="connsiteX0" fmla="*/ 10002 w 10002"/>
                <a:gd name="connsiteY0" fmla="*/ 8169 h 12350"/>
                <a:gd name="connsiteX1" fmla="*/ 8353 w 10002"/>
                <a:gd name="connsiteY1" fmla="*/ 2420 h 12350"/>
                <a:gd name="connsiteX2" fmla="*/ 13 w 10002"/>
                <a:gd name="connsiteY2" fmla="*/ 7600 h 12350"/>
                <a:gd name="connsiteX3" fmla="*/ 3 w 10002"/>
                <a:gd name="connsiteY3" fmla="*/ 10144 h 12350"/>
                <a:gd name="connsiteX4" fmla="*/ 80 w 10002"/>
                <a:gd name="connsiteY4" fmla="*/ 11173 h 12350"/>
                <a:gd name="connsiteX5" fmla="*/ 622 w 10002"/>
                <a:gd name="connsiteY5" fmla="*/ 12290 h 12350"/>
                <a:gd name="connsiteX6" fmla="*/ 2323 w 10002"/>
                <a:gd name="connsiteY6" fmla="*/ 10144 h 12350"/>
                <a:gd name="connsiteX7" fmla="*/ 2323 w 10002"/>
                <a:gd name="connsiteY7" fmla="*/ 8169 h 12350"/>
                <a:gd name="connsiteX8" fmla="*/ 1807 w 10002"/>
                <a:gd name="connsiteY8" fmla="*/ 6195 h 12350"/>
                <a:gd name="connsiteX9" fmla="*/ 1988 w 10002"/>
                <a:gd name="connsiteY9" fmla="*/ 5851 h 12350"/>
                <a:gd name="connsiteX10" fmla="*/ 7992 w 10002"/>
                <a:gd name="connsiteY10" fmla="*/ 5851 h 12350"/>
                <a:gd name="connsiteX11" fmla="*/ 8172 w 10002"/>
                <a:gd name="connsiteY11" fmla="*/ 6195 h 12350"/>
                <a:gd name="connsiteX12" fmla="*/ 8301 w 10002"/>
                <a:gd name="connsiteY12" fmla="*/ 12290 h 12350"/>
                <a:gd name="connsiteX13" fmla="*/ 9358 w 10002"/>
                <a:gd name="connsiteY13" fmla="*/ 12290 h 12350"/>
                <a:gd name="connsiteX14" fmla="*/ 10002 w 10002"/>
                <a:gd name="connsiteY14" fmla="*/ 10144 h 12350"/>
                <a:gd name="connsiteX15" fmla="*/ 10002 w 10002"/>
                <a:gd name="connsiteY15" fmla="*/ 8169 h 12350"/>
                <a:gd name="connsiteX0" fmla="*/ 10002 w 10002"/>
                <a:gd name="connsiteY0" fmla="*/ 8169 h 12350"/>
                <a:gd name="connsiteX1" fmla="*/ 8353 w 10002"/>
                <a:gd name="connsiteY1" fmla="*/ 2420 h 12350"/>
                <a:gd name="connsiteX2" fmla="*/ 13 w 10002"/>
                <a:gd name="connsiteY2" fmla="*/ 7600 h 12350"/>
                <a:gd name="connsiteX3" fmla="*/ 3 w 10002"/>
                <a:gd name="connsiteY3" fmla="*/ 10144 h 12350"/>
                <a:gd name="connsiteX4" fmla="*/ 80 w 10002"/>
                <a:gd name="connsiteY4" fmla="*/ 11173 h 12350"/>
                <a:gd name="connsiteX5" fmla="*/ 622 w 10002"/>
                <a:gd name="connsiteY5" fmla="*/ 12290 h 12350"/>
                <a:gd name="connsiteX6" fmla="*/ 2323 w 10002"/>
                <a:gd name="connsiteY6" fmla="*/ 10144 h 12350"/>
                <a:gd name="connsiteX7" fmla="*/ 2323 w 10002"/>
                <a:gd name="connsiteY7" fmla="*/ 8169 h 12350"/>
                <a:gd name="connsiteX8" fmla="*/ 1807 w 10002"/>
                <a:gd name="connsiteY8" fmla="*/ 6195 h 12350"/>
                <a:gd name="connsiteX9" fmla="*/ 1988 w 10002"/>
                <a:gd name="connsiteY9" fmla="*/ 5851 h 12350"/>
                <a:gd name="connsiteX10" fmla="*/ 7992 w 10002"/>
                <a:gd name="connsiteY10" fmla="*/ 5851 h 12350"/>
                <a:gd name="connsiteX11" fmla="*/ 8172 w 10002"/>
                <a:gd name="connsiteY11" fmla="*/ 6195 h 12350"/>
                <a:gd name="connsiteX12" fmla="*/ 8301 w 10002"/>
                <a:gd name="connsiteY12" fmla="*/ 12290 h 12350"/>
                <a:gd name="connsiteX13" fmla="*/ 9358 w 10002"/>
                <a:gd name="connsiteY13" fmla="*/ 12290 h 12350"/>
                <a:gd name="connsiteX14" fmla="*/ 10002 w 10002"/>
                <a:gd name="connsiteY14" fmla="*/ 10144 h 12350"/>
                <a:gd name="connsiteX15" fmla="*/ 10002 w 10002"/>
                <a:gd name="connsiteY15" fmla="*/ 8169 h 12350"/>
                <a:gd name="connsiteX0" fmla="*/ 10002 w 10002"/>
                <a:gd name="connsiteY0" fmla="*/ 8169 h 12350"/>
                <a:gd name="connsiteX1" fmla="*/ 8353 w 10002"/>
                <a:gd name="connsiteY1" fmla="*/ 2420 h 12350"/>
                <a:gd name="connsiteX2" fmla="*/ 13 w 10002"/>
                <a:gd name="connsiteY2" fmla="*/ 7600 h 12350"/>
                <a:gd name="connsiteX3" fmla="*/ 3 w 10002"/>
                <a:gd name="connsiteY3" fmla="*/ 10144 h 12350"/>
                <a:gd name="connsiteX4" fmla="*/ 80 w 10002"/>
                <a:gd name="connsiteY4" fmla="*/ 11173 h 12350"/>
                <a:gd name="connsiteX5" fmla="*/ 622 w 10002"/>
                <a:gd name="connsiteY5" fmla="*/ 12290 h 12350"/>
                <a:gd name="connsiteX6" fmla="*/ 2323 w 10002"/>
                <a:gd name="connsiteY6" fmla="*/ 10144 h 12350"/>
                <a:gd name="connsiteX7" fmla="*/ 2323 w 10002"/>
                <a:gd name="connsiteY7" fmla="*/ 8169 h 12350"/>
                <a:gd name="connsiteX8" fmla="*/ 1807 w 10002"/>
                <a:gd name="connsiteY8" fmla="*/ 6195 h 12350"/>
                <a:gd name="connsiteX9" fmla="*/ 1988 w 10002"/>
                <a:gd name="connsiteY9" fmla="*/ 5851 h 12350"/>
                <a:gd name="connsiteX10" fmla="*/ 7992 w 10002"/>
                <a:gd name="connsiteY10" fmla="*/ 5851 h 12350"/>
                <a:gd name="connsiteX11" fmla="*/ 8172 w 10002"/>
                <a:gd name="connsiteY11" fmla="*/ 6195 h 12350"/>
                <a:gd name="connsiteX12" fmla="*/ 8301 w 10002"/>
                <a:gd name="connsiteY12" fmla="*/ 12290 h 12350"/>
                <a:gd name="connsiteX13" fmla="*/ 9358 w 10002"/>
                <a:gd name="connsiteY13" fmla="*/ 12290 h 12350"/>
                <a:gd name="connsiteX14" fmla="*/ 10002 w 10002"/>
                <a:gd name="connsiteY14" fmla="*/ 10144 h 12350"/>
                <a:gd name="connsiteX15" fmla="*/ 10002 w 10002"/>
                <a:gd name="connsiteY15" fmla="*/ 8169 h 12350"/>
                <a:gd name="connsiteX0" fmla="*/ 10002 w 10033"/>
                <a:gd name="connsiteY0" fmla="*/ 8169 h 12350"/>
                <a:gd name="connsiteX1" fmla="*/ 8353 w 10033"/>
                <a:gd name="connsiteY1" fmla="*/ 2420 h 12350"/>
                <a:gd name="connsiteX2" fmla="*/ 13 w 10033"/>
                <a:gd name="connsiteY2" fmla="*/ 7600 h 12350"/>
                <a:gd name="connsiteX3" fmla="*/ 3 w 10033"/>
                <a:gd name="connsiteY3" fmla="*/ 10144 h 12350"/>
                <a:gd name="connsiteX4" fmla="*/ 80 w 10033"/>
                <a:gd name="connsiteY4" fmla="*/ 11173 h 12350"/>
                <a:gd name="connsiteX5" fmla="*/ 622 w 10033"/>
                <a:gd name="connsiteY5" fmla="*/ 12290 h 12350"/>
                <a:gd name="connsiteX6" fmla="*/ 2323 w 10033"/>
                <a:gd name="connsiteY6" fmla="*/ 10144 h 12350"/>
                <a:gd name="connsiteX7" fmla="*/ 2323 w 10033"/>
                <a:gd name="connsiteY7" fmla="*/ 8169 h 12350"/>
                <a:gd name="connsiteX8" fmla="*/ 1807 w 10033"/>
                <a:gd name="connsiteY8" fmla="*/ 6195 h 12350"/>
                <a:gd name="connsiteX9" fmla="*/ 1988 w 10033"/>
                <a:gd name="connsiteY9" fmla="*/ 5851 h 12350"/>
                <a:gd name="connsiteX10" fmla="*/ 7992 w 10033"/>
                <a:gd name="connsiteY10" fmla="*/ 5851 h 12350"/>
                <a:gd name="connsiteX11" fmla="*/ 8172 w 10033"/>
                <a:gd name="connsiteY11" fmla="*/ 6195 h 12350"/>
                <a:gd name="connsiteX12" fmla="*/ 8301 w 10033"/>
                <a:gd name="connsiteY12" fmla="*/ 12290 h 12350"/>
                <a:gd name="connsiteX13" fmla="*/ 9358 w 10033"/>
                <a:gd name="connsiteY13" fmla="*/ 12290 h 12350"/>
                <a:gd name="connsiteX14" fmla="*/ 10002 w 10033"/>
                <a:gd name="connsiteY14" fmla="*/ 8169 h 12350"/>
                <a:gd name="connsiteX0" fmla="*/ 10002 w 10056"/>
                <a:gd name="connsiteY0" fmla="*/ 8169 h 12350"/>
                <a:gd name="connsiteX1" fmla="*/ 8353 w 10056"/>
                <a:gd name="connsiteY1" fmla="*/ 2420 h 12350"/>
                <a:gd name="connsiteX2" fmla="*/ 13 w 10056"/>
                <a:gd name="connsiteY2" fmla="*/ 7600 h 12350"/>
                <a:gd name="connsiteX3" fmla="*/ 3 w 10056"/>
                <a:gd name="connsiteY3" fmla="*/ 10144 h 12350"/>
                <a:gd name="connsiteX4" fmla="*/ 80 w 10056"/>
                <a:gd name="connsiteY4" fmla="*/ 11173 h 12350"/>
                <a:gd name="connsiteX5" fmla="*/ 622 w 10056"/>
                <a:gd name="connsiteY5" fmla="*/ 12290 h 12350"/>
                <a:gd name="connsiteX6" fmla="*/ 2323 w 10056"/>
                <a:gd name="connsiteY6" fmla="*/ 10144 h 12350"/>
                <a:gd name="connsiteX7" fmla="*/ 2323 w 10056"/>
                <a:gd name="connsiteY7" fmla="*/ 8169 h 12350"/>
                <a:gd name="connsiteX8" fmla="*/ 1807 w 10056"/>
                <a:gd name="connsiteY8" fmla="*/ 6195 h 12350"/>
                <a:gd name="connsiteX9" fmla="*/ 1988 w 10056"/>
                <a:gd name="connsiteY9" fmla="*/ 5851 h 12350"/>
                <a:gd name="connsiteX10" fmla="*/ 7992 w 10056"/>
                <a:gd name="connsiteY10" fmla="*/ 5851 h 12350"/>
                <a:gd name="connsiteX11" fmla="*/ 8172 w 10056"/>
                <a:gd name="connsiteY11" fmla="*/ 6195 h 12350"/>
                <a:gd name="connsiteX12" fmla="*/ 8301 w 10056"/>
                <a:gd name="connsiteY12" fmla="*/ 12290 h 12350"/>
                <a:gd name="connsiteX13" fmla="*/ 9358 w 10056"/>
                <a:gd name="connsiteY13" fmla="*/ 12290 h 12350"/>
                <a:gd name="connsiteX14" fmla="*/ 10002 w 10056"/>
                <a:gd name="connsiteY14" fmla="*/ 8169 h 12350"/>
                <a:gd name="connsiteX0" fmla="*/ 10002 w 10031"/>
                <a:gd name="connsiteY0" fmla="*/ 8169 h 12350"/>
                <a:gd name="connsiteX1" fmla="*/ 8353 w 10031"/>
                <a:gd name="connsiteY1" fmla="*/ 2420 h 12350"/>
                <a:gd name="connsiteX2" fmla="*/ 13 w 10031"/>
                <a:gd name="connsiteY2" fmla="*/ 7600 h 12350"/>
                <a:gd name="connsiteX3" fmla="*/ 3 w 10031"/>
                <a:gd name="connsiteY3" fmla="*/ 10144 h 12350"/>
                <a:gd name="connsiteX4" fmla="*/ 80 w 10031"/>
                <a:gd name="connsiteY4" fmla="*/ 11173 h 12350"/>
                <a:gd name="connsiteX5" fmla="*/ 622 w 10031"/>
                <a:gd name="connsiteY5" fmla="*/ 12290 h 12350"/>
                <a:gd name="connsiteX6" fmla="*/ 2323 w 10031"/>
                <a:gd name="connsiteY6" fmla="*/ 10144 h 12350"/>
                <a:gd name="connsiteX7" fmla="*/ 2323 w 10031"/>
                <a:gd name="connsiteY7" fmla="*/ 8169 h 12350"/>
                <a:gd name="connsiteX8" fmla="*/ 1807 w 10031"/>
                <a:gd name="connsiteY8" fmla="*/ 6195 h 12350"/>
                <a:gd name="connsiteX9" fmla="*/ 1988 w 10031"/>
                <a:gd name="connsiteY9" fmla="*/ 5851 h 12350"/>
                <a:gd name="connsiteX10" fmla="*/ 7992 w 10031"/>
                <a:gd name="connsiteY10" fmla="*/ 5851 h 12350"/>
                <a:gd name="connsiteX11" fmla="*/ 8172 w 10031"/>
                <a:gd name="connsiteY11" fmla="*/ 6195 h 12350"/>
                <a:gd name="connsiteX12" fmla="*/ 8301 w 10031"/>
                <a:gd name="connsiteY12" fmla="*/ 12290 h 12350"/>
                <a:gd name="connsiteX13" fmla="*/ 9358 w 10031"/>
                <a:gd name="connsiteY13" fmla="*/ 12290 h 12350"/>
                <a:gd name="connsiteX14" fmla="*/ 10002 w 10031"/>
                <a:gd name="connsiteY14" fmla="*/ 8169 h 12350"/>
                <a:gd name="connsiteX0" fmla="*/ 10002 w 10050"/>
                <a:gd name="connsiteY0" fmla="*/ 8169 h 12350"/>
                <a:gd name="connsiteX1" fmla="*/ 8353 w 10050"/>
                <a:gd name="connsiteY1" fmla="*/ 2420 h 12350"/>
                <a:gd name="connsiteX2" fmla="*/ 13 w 10050"/>
                <a:gd name="connsiteY2" fmla="*/ 7600 h 12350"/>
                <a:gd name="connsiteX3" fmla="*/ 3 w 10050"/>
                <a:gd name="connsiteY3" fmla="*/ 10144 h 12350"/>
                <a:gd name="connsiteX4" fmla="*/ 80 w 10050"/>
                <a:gd name="connsiteY4" fmla="*/ 11173 h 12350"/>
                <a:gd name="connsiteX5" fmla="*/ 622 w 10050"/>
                <a:gd name="connsiteY5" fmla="*/ 12290 h 12350"/>
                <a:gd name="connsiteX6" fmla="*/ 2323 w 10050"/>
                <a:gd name="connsiteY6" fmla="*/ 10144 h 12350"/>
                <a:gd name="connsiteX7" fmla="*/ 2323 w 10050"/>
                <a:gd name="connsiteY7" fmla="*/ 8169 h 12350"/>
                <a:gd name="connsiteX8" fmla="*/ 1807 w 10050"/>
                <a:gd name="connsiteY8" fmla="*/ 6195 h 12350"/>
                <a:gd name="connsiteX9" fmla="*/ 1988 w 10050"/>
                <a:gd name="connsiteY9" fmla="*/ 5851 h 12350"/>
                <a:gd name="connsiteX10" fmla="*/ 7992 w 10050"/>
                <a:gd name="connsiteY10" fmla="*/ 5851 h 12350"/>
                <a:gd name="connsiteX11" fmla="*/ 8172 w 10050"/>
                <a:gd name="connsiteY11" fmla="*/ 6195 h 12350"/>
                <a:gd name="connsiteX12" fmla="*/ 8301 w 10050"/>
                <a:gd name="connsiteY12" fmla="*/ 12290 h 12350"/>
                <a:gd name="connsiteX13" fmla="*/ 9358 w 10050"/>
                <a:gd name="connsiteY13" fmla="*/ 12290 h 12350"/>
                <a:gd name="connsiteX14" fmla="*/ 10002 w 10050"/>
                <a:gd name="connsiteY14" fmla="*/ 8169 h 12350"/>
                <a:gd name="connsiteX0" fmla="*/ 10002 w 10043"/>
                <a:gd name="connsiteY0" fmla="*/ 8169 h 12350"/>
                <a:gd name="connsiteX1" fmla="*/ 8353 w 10043"/>
                <a:gd name="connsiteY1" fmla="*/ 2420 h 12350"/>
                <a:gd name="connsiteX2" fmla="*/ 13 w 10043"/>
                <a:gd name="connsiteY2" fmla="*/ 7600 h 12350"/>
                <a:gd name="connsiteX3" fmla="*/ 3 w 10043"/>
                <a:gd name="connsiteY3" fmla="*/ 10144 h 12350"/>
                <a:gd name="connsiteX4" fmla="*/ 80 w 10043"/>
                <a:gd name="connsiteY4" fmla="*/ 11173 h 12350"/>
                <a:gd name="connsiteX5" fmla="*/ 622 w 10043"/>
                <a:gd name="connsiteY5" fmla="*/ 12290 h 12350"/>
                <a:gd name="connsiteX6" fmla="*/ 2323 w 10043"/>
                <a:gd name="connsiteY6" fmla="*/ 10144 h 12350"/>
                <a:gd name="connsiteX7" fmla="*/ 2323 w 10043"/>
                <a:gd name="connsiteY7" fmla="*/ 8169 h 12350"/>
                <a:gd name="connsiteX8" fmla="*/ 1807 w 10043"/>
                <a:gd name="connsiteY8" fmla="*/ 6195 h 12350"/>
                <a:gd name="connsiteX9" fmla="*/ 1988 w 10043"/>
                <a:gd name="connsiteY9" fmla="*/ 5851 h 12350"/>
                <a:gd name="connsiteX10" fmla="*/ 7992 w 10043"/>
                <a:gd name="connsiteY10" fmla="*/ 5851 h 12350"/>
                <a:gd name="connsiteX11" fmla="*/ 8172 w 10043"/>
                <a:gd name="connsiteY11" fmla="*/ 6195 h 12350"/>
                <a:gd name="connsiteX12" fmla="*/ 8301 w 10043"/>
                <a:gd name="connsiteY12" fmla="*/ 12290 h 12350"/>
                <a:gd name="connsiteX13" fmla="*/ 9358 w 10043"/>
                <a:gd name="connsiteY13" fmla="*/ 12290 h 12350"/>
                <a:gd name="connsiteX14" fmla="*/ 10002 w 10043"/>
                <a:gd name="connsiteY14" fmla="*/ 8169 h 12350"/>
                <a:gd name="connsiteX0" fmla="*/ 10002 w 10043"/>
                <a:gd name="connsiteY0" fmla="*/ 8169 h 12350"/>
                <a:gd name="connsiteX1" fmla="*/ 8353 w 10043"/>
                <a:gd name="connsiteY1" fmla="*/ 2420 h 12350"/>
                <a:gd name="connsiteX2" fmla="*/ 13 w 10043"/>
                <a:gd name="connsiteY2" fmla="*/ 7600 h 12350"/>
                <a:gd name="connsiteX3" fmla="*/ 3 w 10043"/>
                <a:gd name="connsiteY3" fmla="*/ 10144 h 12350"/>
                <a:gd name="connsiteX4" fmla="*/ 622 w 10043"/>
                <a:gd name="connsiteY4" fmla="*/ 12290 h 12350"/>
                <a:gd name="connsiteX5" fmla="*/ 2323 w 10043"/>
                <a:gd name="connsiteY5" fmla="*/ 10144 h 12350"/>
                <a:gd name="connsiteX6" fmla="*/ 2323 w 10043"/>
                <a:gd name="connsiteY6" fmla="*/ 8169 h 12350"/>
                <a:gd name="connsiteX7" fmla="*/ 1807 w 10043"/>
                <a:gd name="connsiteY7" fmla="*/ 6195 h 12350"/>
                <a:gd name="connsiteX8" fmla="*/ 1988 w 10043"/>
                <a:gd name="connsiteY8" fmla="*/ 5851 h 12350"/>
                <a:gd name="connsiteX9" fmla="*/ 7992 w 10043"/>
                <a:gd name="connsiteY9" fmla="*/ 5851 h 12350"/>
                <a:gd name="connsiteX10" fmla="*/ 8172 w 10043"/>
                <a:gd name="connsiteY10" fmla="*/ 6195 h 12350"/>
                <a:gd name="connsiteX11" fmla="*/ 8301 w 10043"/>
                <a:gd name="connsiteY11" fmla="*/ 12290 h 12350"/>
                <a:gd name="connsiteX12" fmla="*/ 9358 w 10043"/>
                <a:gd name="connsiteY12" fmla="*/ 12290 h 12350"/>
                <a:gd name="connsiteX13" fmla="*/ 10002 w 10043"/>
                <a:gd name="connsiteY13" fmla="*/ 8169 h 12350"/>
                <a:gd name="connsiteX0" fmla="*/ 10499 w 10540"/>
                <a:gd name="connsiteY0" fmla="*/ 8169 h 12350"/>
                <a:gd name="connsiteX1" fmla="*/ 8850 w 10540"/>
                <a:gd name="connsiteY1" fmla="*/ 2420 h 12350"/>
                <a:gd name="connsiteX2" fmla="*/ 510 w 10540"/>
                <a:gd name="connsiteY2" fmla="*/ 7600 h 12350"/>
                <a:gd name="connsiteX3" fmla="*/ 1119 w 10540"/>
                <a:gd name="connsiteY3" fmla="*/ 12290 h 12350"/>
                <a:gd name="connsiteX4" fmla="*/ 2820 w 10540"/>
                <a:gd name="connsiteY4" fmla="*/ 10144 h 12350"/>
                <a:gd name="connsiteX5" fmla="*/ 2820 w 10540"/>
                <a:gd name="connsiteY5" fmla="*/ 8169 h 12350"/>
                <a:gd name="connsiteX6" fmla="*/ 2304 w 10540"/>
                <a:gd name="connsiteY6" fmla="*/ 6195 h 12350"/>
                <a:gd name="connsiteX7" fmla="*/ 2485 w 10540"/>
                <a:gd name="connsiteY7" fmla="*/ 5851 h 12350"/>
                <a:gd name="connsiteX8" fmla="*/ 8489 w 10540"/>
                <a:gd name="connsiteY8" fmla="*/ 5851 h 12350"/>
                <a:gd name="connsiteX9" fmla="*/ 8669 w 10540"/>
                <a:gd name="connsiteY9" fmla="*/ 6195 h 12350"/>
                <a:gd name="connsiteX10" fmla="*/ 8798 w 10540"/>
                <a:gd name="connsiteY10" fmla="*/ 12290 h 12350"/>
                <a:gd name="connsiteX11" fmla="*/ 9855 w 10540"/>
                <a:gd name="connsiteY11" fmla="*/ 12290 h 12350"/>
                <a:gd name="connsiteX12" fmla="*/ 10499 w 10540"/>
                <a:gd name="connsiteY12" fmla="*/ 8169 h 12350"/>
                <a:gd name="connsiteX0" fmla="*/ 9989 w 10030"/>
                <a:gd name="connsiteY0" fmla="*/ 8169 h 12350"/>
                <a:gd name="connsiteX1" fmla="*/ 8340 w 10030"/>
                <a:gd name="connsiteY1" fmla="*/ 2420 h 12350"/>
                <a:gd name="connsiteX2" fmla="*/ 0 w 10030"/>
                <a:gd name="connsiteY2" fmla="*/ 7600 h 12350"/>
                <a:gd name="connsiteX3" fmla="*/ 609 w 10030"/>
                <a:gd name="connsiteY3" fmla="*/ 12290 h 12350"/>
                <a:gd name="connsiteX4" fmla="*/ 2310 w 10030"/>
                <a:gd name="connsiteY4" fmla="*/ 10144 h 12350"/>
                <a:gd name="connsiteX5" fmla="*/ 2310 w 10030"/>
                <a:gd name="connsiteY5" fmla="*/ 8169 h 12350"/>
                <a:gd name="connsiteX6" fmla="*/ 1794 w 10030"/>
                <a:gd name="connsiteY6" fmla="*/ 6195 h 12350"/>
                <a:gd name="connsiteX7" fmla="*/ 1975 w 10030"/>
                <a:gd name="connsiteY7" fmla="*/ 5851 h 12350"/>
                <a:gd name="connsiteX8" fmla="*/ 7979 w 10030"/>
                <a:gd name="connsiteY8" fmla="*/ 5851 h 12350"/>
                <a:gd name="connsiteX9" fmla="*/ 8159 w 10030"/>
                <a:gd name="connsiteY9" fmla="*/ 6195 h 12350"/>
                <a:gd name="connsiteX10" fmla="*/ 8288 w 10030"/>
                <a:gd name="connsiteY10" fmla="*/ 12290 h 12350"/>
                <a:gd name="connsiteX11" fmla="*/ 9345 w 10030"/>
                <a:gd name="connsiteY11" fmla="*/ 12290 h 12350"/>
                <a:gd name="connsiteX12" fmla="*/ 9989 w 10030"/>
                <a:gd name="connsiteY12" fmla="*/ 8169 h 12350"/>
                <a:gd name="connsiteX0" fmla="*/ 9989 w 10030"/>
                <a:gd name="connsiteY0" fmla="*/ 8287 h 12468"/>
                <a:gd name="connsiteX1" fmla="*/ 8340 w 10030"/>
                <a:gd name="connsiteY1" fmla="*/ 2538 h 12468"/>
                <a:gd name="connsiteX2" fmla="*/ 0 w 10030"/>
                <a:gd name="connsiteY2" fmla="*/ 7718 h 12468"/>
                <a:gd name="connsiteX3" fmla="*/ 609 w 10030"/>
                <a:gd name="connsiteY3" fmla="*/ 12408 h 12468"/>
                <a:gd name="connsiteX4" fmla="*/ 2310 w 10030"/>
                <a:gd name="connsiteY4" fmla="*/ 10262 h 12468"/>
                <a:gd name="connsiteX5" fmla="*/ 2310 w 10030"/>
                <a:gd name="connsiteY5" fmla="*/ 8287 h 12468"/>
                <a:gd name="connsiteX6" fmla="*/ 1794 w 10030"/>
                <a:gd name="connsiteY6" fmla="*/ 6313 h 12468"/>
                <a:gd name="connsiteX7" fmla="*/ 1975 w 10030"/>
                <a:gd name="connsiteY7" fmla="*/ 5969 h 12468"/>
                <a:gd name="connsiteX8" fmla="*/ 7979 w 10030"/>
                <a:gd name="connsiteY8" fmla="*/ 5969 h 12468"/>
                <a:gd name="connsiteX9" fmla="*/ 8159 w 10030"/>
                <a:gd name="connsiteY9" fmla="*/ 6313 h 12468"/>
                <a:gd name="connsiteX10" fmla="*/ 8288 w 10030"/>
                <a:gd name="connsiteY10" fmla="*/ 12408 h 12468"/>
                <a:gd name="connsiteX11" fmla="*/ 9345 w 10030"/>
                <a:gd name="connsiteY11" fmla="*/ 12408 h 12468"/>
                <a:gd name="connsiteX12" fmla="*/ 9989 w 10030"/>
                <a:gd name="connsiteY12" fmla="*/ 8287 h 12468"/>
                <a:gd name="connsiteX0" fmla="*/ 9989 w 10030"/>
                <a:gd name="connsiteY0" fmla="*/ 8302 h 12483"/>
                <a:gd name="connsiteX1" fmla="*/ 8340 w 10030"/>
                <a:gd name="connsiteY1" fmla="*/ 2553 h 12483"/>
                <a:gd name="connsiteX2" fmla="*/ 0 w 10030"/>
                <a:gd name="connsiteY2" fmla="*/ 7733 h 12483"/>
                <a:gd name="connsiteX3" fmla="*/ 609 w 10030"/>
                <a:gd name="connsiteY3" fmla="*/ 12423 h 12483"/>
                <a:gd name="connsiteX4" fmla="*/ 2310 w 10030"/>
                <a:gd name="connsiteY4" fmla="*/ 10277 h 12483"/>
                <a:gd name="connsiteX5" fmla="*/ 2310 w 10030"/>
                <a:gd name="connsiteY5" fmla="*/ 8302 h 12483"/>
                <a:gd name="connsiteX6" fmla="*/ 1794 w 10030"/>
                <a:gd name="connsiteY6" fmla="*/ 6328 h 12483"/>
                <a:gd name="connsiteX7" fmla="*/ 1975 w 10030"/>
                <a:gd name="connsiteY7" fmla="*/ 5984 h 12483"/>
                <a:gd name="connsiteX8" fmla="*/ 7979 w 10030"/>
                <a:gd name="connsiteY8" fmla="*/ 5984 h 12483"/>
                <a:gd name="connsiteX9" fmla="*/ 8159 w 10030"/>
                <a:gd name="connsiteY9" fmla="*/ 6328 h 12483"/>
                <a:gd name="connsiteX10" fmla="*/ 8288 w 10030"/>
                <a:gd name="connsiteY10" fmla="*/ 12423 h 12483"/>
                <a:gd name="connsiteX11" fmla="*/ 9345 w 10030"/>
                <a:gd name="connsiteY11" fmla="*/ 12423 h 12483"/>
                <a:gd name="connsiteX12" fmla="*/ 9989 w 10030"/>
                <a:gd name="connsiteY12" fmla="*/ 8302 h 12483"/>
                <a:gd name="connsiteX0" fmla="*/ 9989 w 10030"/>
                <a:gd name="connsiteY0" fmla="*/ 8288 h 12469"/>
                <a:gd name="connsiteX1" fmla="*/ 8340 w 10030"/>
                <a:gd name="connsiteY1" fmla="*/ 2539 h 12469"/>
                <a:gd name="connsiteX2" fmla="*/ 0 w 10030"/>
                <a:gd name="connsiteY2" fmla="*/ 7719 h 12469"/>
                <a:gd name="connsiteX3" fmla="*/ 609 w 10030"/>
                <a:gd name="connsiteY3" fmla="*/ 12409 h 12469"/>
                <a:gd name="connsiteX4" fmla="*/ 2310 w 10030"/>
                <a:gd name="connsiteY4" fmla="*/ 10263 h 12469"/>
                <a:gd name="connsiteX5" fmla="*/ 2310 w 10030"/>
                <a:gd name="connsiteY5" fmla="*/ 8288 h 12469"/>
                <a:gd name="connsiteX6" fmla="*/ 1794 w 10030"/>
                <a:gd name="connsiteY6" fmla="*/ 6314 h 12469"/>
                <a:gd name="connsiteX7" fmla="*/ 1975 w 10030"/>
                <a:gd name="connsiteY7" fmla="*/ 5970 h 12469"/>
                <a:gd name="connsiteX8" fmla="*/ 7979 w 10030"/>
                <a:gd name="connsiteY8" fmla="*/ 5970 h 12469"/>
                <a:gd name="connsiteX9" fmla="*/ 8159 w 10030"/>
                <a:gd name="connsiteY9" fmla="*/ 6314 h 12469"/>
                <a:gd name="connsiteX10" fmla="*/ 8288 w 10030"/>
                <a:gd name="connsiteY10" fmla="*/ 12409 h 12469"/>
                <a:gd name="connsiteX11" fmla="*/ 9345 w 10030"/>
                <a:gd name="connsiteY11" fmla="*/ 12409 h 12469"/>
                <a:gd name="connsiteX12" fmla="*/ 9989 w 10030"/>
                <a:gd name="connsiteY12" fmla="*/ 8288 h 12469"/>
                <a:gd name="connsiteX0" fmla="*/ 9989 w 10030"/>
                <a:gd name="connsiteY0" fmla="*/ 4293 h 8474"/>
                <a:gd name="connsiteX1" fmla="*/ 0 w 10030"/>
                <a:gd name="connsiteY1" fmla="*/ 3724 h 8474"/>
                <a:gd name="connsiteX2" fmla="*/ 609 w 10030"/>
                <a:gd name="connsiteY2" fmla="*/ 8414 h 8474"/>
                <a:gd name="connsiteX3" fmla="*/ 2310 w 10030"/>
                <a:gd name="connsiteY3" fmla="*/ 6268 h 8474"/>
                <a:gd name="connsiteX4" fmla="*/ 2310 w 10030"/>
                <a:gd name="connsiteY4" fmla="*/ 4293 h 8474"/>
                <a:gd name="connsiteX5" fmla="*/ 1794 w 10030"/>
                <a:gd name="connsiteY5" fmla="*/ 2319 h 8474"/>
                <a:gd name="connsiteX6" fmla="*/ 1975 w 10030"/>
                <a:gd name="connsiteY6" fmla="*/ 1975 h 8474"/>
                <a:gd name="connsiteX7" fmla="*/ 7979 w 10030"/>
                <a:gd name="connsiteY7" fmla="*/ 1975 h 8474"/>
                <a:gd name="connsiteX8" fmla="*/ 8159 w 10030"/>
                <a:gd name="connsiteY8" fmla="*/ 2319 h 8474"/>
                <a:gd name="connsiteX9" fmla="*/ 8288 w 10030"/>
                <a:gd name="connsiteY9" fmla="*/ 8414 h 8474"/>
                <a:gd name="connsiteX10" fmla="*/ 9345 w 10030"/>
                <a:gd name="connsiteY10" fmla="*/ 8414 h 8474"/>
                <a:gd name="connsiteX11" fmla="*/ 9989 w 10030"/>
                <a:gd name="connsiteY11" fmla="*/ 4293 h 8474"/>
                <a:gd name="connsiteX0" fmla="*/ 9959 w 10000"/>
                <a:gd name="connsiteY0" fmla="*/ 6717 h 11651"/>
                <a:gd name="connsiteX1" fmla="*/ 0 w 10000"/>
                <a:gd name="connsiteY1" fmla="*/ 6046 h 11651"/>
                <a:gd name="connsiteX2" fmla="*/ 607 w 10000"/>
                <a:gd name="connsiteY2" fmla="*/ 11580 h 11651"/>
                <a:gd name="connsiteX3" fmla="*/ 2303 w 10000"/>
                <a:gd name="connsiteY3" fmla="*/ 9048 h 11651"/>
                <a:gd name="connsiteX4" fmla="*/ 2303 w 10000"/>
                <a:gd name="connsiteY4" fmla="*/ 6717 h 11651"/>
                <a:gd name="connsiteX5" fmla="*/ 1789 w 10000"/>
                <a:gd name="connsiteY5" fmla="*/ 4388 h 11651"/>
                <a:gd name="connsiteX6" fmla="*/ 1969 w 10000"/>
                <a:gd name="connsiteY6" fmla="*/ 3982 h 11651"/>
                <a:gd name="connsiteX7" fmla="*/ 7955 w 10000"/>
                <a:gd name="connsiteY7" fmla="*/ 3982 h 11651"/>
                <a:gd name="connsiteX8" fmla="*/ 8135 w 10000"/>
                <a:gd name="connsiteY8" fmla="*/ 4388 h 11651"/>
                <a:gd name="connsiteX9" fmla="*/ 8263 w 10000"/>
                <a:gd name="connsiteY9" fmla="*/ 11580 h 11651"/>
                <a:gd name="connsiteX10" fmla="*/ 9317 w 10000"/>
                <a:gd name="connsiteY10" fmla="*/ 11580 h 11651"/>
                <a:gd name="connsiteX11" fmla="*/ 9959 w 10000"/>
                <a:gd name="connsiteY11" fmla="*/ 6717 h 11651"/>
                <a:gd name="connsiteX0" fmla="*/ 9959 w 10000"/>
                <a:gd name="connsiteY0" fmla="*/ 9426 h 14360"/>
                <a:gd name="connsiteX1" fmla="*/ 0 w 10000"/>
                <a:gd name="connsiteY1" fmla="*/ 8755 h 14360"/>
                <a:gd name="connsiteX2" fmla="*/ 607 w 10000"/>
                <a:gd name="connsiteY2" fmla="*/ 14289 h 14360"/>
                <a:gd name="connsiteX3" fmla="*/ 2303 w 10000"/>
                <a:gd name="connsiteY3" fmla="*/ 11757 h 14360"/>
                <a:gd name="connsiteX4" fmla="*/ 2303 w 10000"/>
                <a:gd name="connsiteY4" fmla="*/ 9426 h 14360"/>
                <a:gd name="connsiteX5" fmla="*/ 1789 w 10000"/>
                <a:gd name="connsiteY5" fmla="*/ 7097 h 14360"/>
                <a:gd name="connsiteX6" fmla="*/ 1969 w 10000"/>
                <a:gd name="connsiteY6" fmla="*/ 6691 h 14360"/>
                <a:gd name="connsiteX7" fmla="*/ 7955 w 10000"/>
                <a:gd name="connsiteY7" fmla="*/ 6691 h 14360"/>
                <a:gd name="connsiteX8" fmla="*/ 8135 w 10000"/>
                <a:gd name="connsiteY8" fmla="*/ 7097 h 14360"/>
                <a:gd name="connsiteX9" fmla="*/ 8263 w 10000"/>
                <a:gd name="connsiteY9" fmla="*/ 14289 h 14360"/>
                <a:gd name="connsiteX10" fmla="*/ 9317 w 10000"/>
                <a:gd name="connsiteY10" fmla="*/ 14289 h 14360"/>
                <a:gd name="connsiteX11" fmla="*/ 9959 w 10000"/>
                <a:gd name="connsiteY11" fmla="*/ 9426 h 14360"/>
                <a:gd name="connsiteX0" fmla="*/ 9959 w 10000"/>
                <a:gd name="connsiteY0" fmla="*/ 9943 h 14877"/>
                <a:gd name="connsiteX1" fmla="*/ 0 w 10000"/>
                <a:gd name="connsiteY1" fmla="*/ 9272 h 14877"/>
                <a:gd name="connsiteX2" fmla="*/ 607 w 10000"/>
                <a:gd name="connsiteY2" fmla="*/ 14806 h 14877"/>
                <a:gd name="connsiteX3" fmla="*/ 2303 w 10000"/>
                <a:gd name="connsiteY3" fmla="*/ 12274 h 14877"/>
                <a:gd name="connsiteX4" fmla="*/ 2303 w 10000"/>
                <a:gd name="connsiteY4" fmla="*/ 9943 h 14877"/>
                <a:gd name="connsiteX5" fmla="*/ 1789 w 10000"/>
                <a:gd name="connsiteY5" fmla="*/ 7614 h 14877"/>
                <a:gd name="connsiteX6" fmla="*/ 1969 w 10000"/>
                <a:gd name="connsiteY6" fmla="*/ 7208 h 14877"/>
                <a:gd name="connsiteX7" fmla="*/ 7955 w 10000"/>
                <a:gd name="connsiteY7" fmla="*/ 7208 h 14877"/>
                <a:gd name="connsiteX8" fmla="*/ 8135 w 10000"/>
                <a:gd name="connsiteY8" fmla="*/ 7614 h 14877"/>
                <a:gd name="connsiteX9" fmla="*/ 8263 w 10000"/>
                <a:gd name="connsiteY9" fmla="*/ 14806 h 14877"/>
                <a:gd name="connsiteX10" fmla="*/ 9317 w 10000"/>
                <a:gd name="connsiteY10" fmla="*/ 14806 h 14877"/>
                <a:gd name="connsiteX11" fmla="*/ 9959 w 10000"/>
                <a:gd name="connsiteY11" fmla="*/ 9943 h 14877"/>
                <a:gd name="connsiteX0" fmla="*/ 9959 w 10000"/>
                <a:gd name="connsiteY0" fmla="*/ 10574 h 15508"/>
                <a:gd name="connsiteX1" fmla="*/ 0 w 10000"/>
                <a:gd name="connsiteY1" fmla="*/ 9903 h 15508"/>
                <a:gd name="connsiteX2" fmla="*/ 607 w 10000"/>
                <a:gd name="connsiteY2" fmla="*/ 15437 h 15508"/>
                <a:gd name="connsiteX3" fmla="*/ 2303 w 10000"/>
                <a:gd name="connsiteY3" fmla="*/ 12905 h 15508"/>
                <a:gd name="connsiteX4" fmla="*/ 2303 w 10000"/>
                <a:gd name="connsiteY4" fmla="*/ 10574 h 15508"/>
                <a:gd name="connsiteX5" fmla="*/ 1789 w 10000"/>
                <a:gd name="connsiteY5" fmla="*/ 8245 h 15508"/>
                <a:gd name="connsiteX6" fmla="*/ 1969 w 10000"/>
                <a:gd name="connsiteY6" fmla="*/ 7839 h 15508"/>
                <a:gd name="connsiteX7" fmla="*/ 7955 w 10000"/>
                <a:gd name="connsiteY7" fmla="*/ 7839 h 15508"/>
                <a:gd name="connsiteX8" fmla="*/ 8135 w 10000"/>
                <a:gd name="connsiteY8" fmla="*/ 8245 h 15508"/>
                <a:gd name="connsiteX9" fmla="*/ 8263 w 10000"/>
                <a:gd name="connsiteY9" fmla="*/ 15437 h 15508"/>
                <a:gd name="connsiteX10" fmla="*/ 9317 w 10000"/>
                <a:gd name="connsiteY10" fmla="*/ 15437 h 15508"/>
                <a:gd name="connsiteX11" fmla="*/ 9959 w 10000"/>
                <a:gd name="connsiteY11" fmla="*/ 10574 h 15508"/>
                <a:gd name="connsiteX0" fmla="*/ 9959 w 10000"/>
                <a:gd name="connsiteY0" fmla="*/ 10258 h 15192"/>
                <a:gd name="connsiteX1" fmla="*/ 0 w 10000"/>
                <a:gd name="connsiteY1" fmla="*/ 9587 h 15192"/>
                <a:gd name="connsiteX2" fmla="*/ 607 w 10000"/>
                <a:gd name="connsiteY2" fmla="*/ 15121 h 15192"/>
                <a:gd name="connsiteX3" fmla="*/ 2303 w 10000"/>
                <a:gd name="connsiteY3" fmla="*/ 12589 h 15192"/>
                <a:gd name="connsiteX4" fmla="*/ 2303 w 10000"/>
                <a:gd name="connsiteY4" fmla="*/ 10258 h 15192"/>
                <a:gd name="connsiteX5" fmla="*/ 1789 w 10000"/>
                <a:gd name="connsiteY5" fmla="*/ 7929 h 15192"/>
                <a:gd name="connsiteX6" fmla="*/ 1969 w 10000"/>
                <a:gd name="connsiteY6" fmla="*/ 7523 h 15192"/>
                <a:gd name="connsiteX7" fmla="*/ 7955 w 10000"/>
                <a:gd name="connsiteY7" fmla="*/ 7523 h 15192"/>
                <a:gd name="connsiteX8" fmla="*/ 8135 w 10000"/>
                <a:gd name="connsiteY8" fmla="*/ 7929 h 15192"/>
                <a:gd name="connsiteX9" fmla="*/ 8263 w 10000"/>
                <a:gd name="connsiteY9" fmla="*/ 15121 h 15192"/>
                <a:gd name="connsiteX10" fmla="*/ 9317 w 10000"/>
                <a:gd name="connsiteY10" fmla="*/ 15121 h 15192"/>
                <a:gd name="connsiteX11" fmla="*/ 9959 w 10000"/>
                <a:gd name="connsiteY11" fmla="*/ 10258 h 15192"/>
                <a:gd name="connsiteX0" fmla="*/ 9959 w 10000"/>
                <a:gd name="connsiteY0" fmla="*/ 8298 h 13232"/>
                <a:gd name="connsiteX1" fmla="*/ 0 w 10000"/>
                <a:gd name="connsiteY1" fmla="*/ 7627 h 13232"/>
                <a:gd name="connsiteX2" fmla="*/ 607 w 10000"/>
                <a:gd name="connsiteY2" fmla="*/ 13161 h 13232"/>
                <a:gd name="connsiteX3" fmla="*/ 2303 w 10000"/>
                <a:gd name="connsiteY3" fmla="*/ 10629 h 13232"/>
                <a:gd name="connsiteX4" fmla="*/ 2303 w 10000"/>
                <a:gd name="connsiteY4" fmla="*/ 8298 h 13232"/>
                <a:gd name="connsiteX5" fmla="*/ 1789 w 10000"/>
                <a:gd name="connsiteY5" fmla="*/ 5969 h 13232"/>
                <a:gd name="connsiteX6" fmla="*/ 1969 w 10000"/>
                <a:gd name="connsiteY6" fmla="*/ 5563 h 13232"/>
                <a:gd name="connsiteX7" fmla="*/ 7955 w 10000"/>
                <a:gd name="connsiteY7" fmla="*/ 5563 h 13232"/>
                <a:gd name="connsiteX8" fmla="*/ 8135 w 10000"/>
                <a:gd name="connsiteY8" fmla="*/ 5969 h 13232"/>
                <a:gd name="connsiteX9" fmla="*/ 8263 w 10000"/>
                <a:gd name="connsiteY9" fmla="*/ 13161 h 13232"/>
                <a:gd name="connsiteX10" fmla="*/ 9317 w 10000"/>
                <a:gd name="connsiteY10" fmla="*/ 13161 h 13232"/>
                <a:gd name="connsiteX11" fmla="*/ 9959 w 10000"/>
                <a:gd name="connsiteY11" fmla="*/ 8298 h 13232"/>
                <a:gd name="connsiteX0" fmla="*/ 9959 w 10000"/>
                <a:gd name="connsiteY0" fmla="*/ 8467 h 13401"/>
                <a:gd name="connsiteX1" fmla="*/ 0 w 10000"/>
                <a:gd name="connsiteY1" fmla="*/ 7796 h 13401"/>
                <a:gd name="connsiteX2" fmla="*/ 607 w 10000"/>
                <a:gd name="connsiteY2" fmla="*/ 13330 h 13401"/>
                <a:gd name="connsiteX3" fmla="*/ 2303 w 10000"/>
                <a:gd name="connsiteY3" fmla="*/ 10798 h 13401"/>
                <a:gd name="connsiteX4" fmla="*/ 2303 w 10000"/>
                <a:gd name="connsiteY4" fmla="*/ 8467 h 13401"/>
                <a:gd name="connsiteX5" fmla="*/ 1789 w 10000"/>
                <a:gd name="connsiteY5" fmla="*/ 6138 h 13401"/>
                <a:gd name="connsiteX6" fmla="*/ 1969 w 10000"/>
                <a:gd name="connsiteY6" fmla="*/ 5732 h 13401"/>
                <a:gd name="connsiteX7" fmla="*/ 7955 w 10000"/>
                <a:gd name="connsiteY7" fmla="*/ 5732 h 13401"/>
                <a:gd name="connsiteX8" fmla="*/ 8135 w 10000"/>
                <a:gd name="connsiteY8" fmla="*/ 6138 h 13401"/>
                <a:gd name="connsiteX9" fmla="*/ 8263 w 10000"/>
                <a:gd name="connsiteY9" fmla="*/ 13330 h 13401"/>
                <a:gd name="connsiteX10" fmla="*/ 9317 w 10000"/>
                <a:gd name="connsiteY10" fmla="*/ 13330 h 13401"/>
                <a:gd name="connsiteX11" fmla="*/ 9959 w 10000"/>
                <a:gd name="connsiteY11" fmla="*/ 8467 h 13401"/>
                <a:gd name="connsiteX0" fmla="*/ 9959 w 10000"/>
                <a:gd name="connsiteY0" fmla="*/ 8659 h 13593"/>
                <a:gd name="connsiteX1" fmla="*/ 0 w 10000"/>
                <a:gd name="connsiteY1" fmla="*/ 7988 h 13593"/>
                <a:gd name="connsiteX2" fmla="*/ 607 w 10000"/>
                <a:gd name="connsiteY2" fmla="*/ 13522 h 13593"/>
                <a:gd name="connsiteX3" fmla="*/ 2303 w 10000"/>
                <a:gd name="connsiteY3" fmla="*/ 10990 h 13593"/>
                <a:gd name="connsiteX4" fmla="*/ 2303 w 10000"/>
                <a:gd name="connsiteY4" fmla="*/ 8659 h 13593"/>
                <a:gd name="connsiteX5" fmla="*/ 1789 w 10000"/>
                <a:gd name="connsiteY5" fmla="*/ 6330 h 13593"/>
                <a:gd name="connsiteX6" fmla="*/ 1969 w 10000"/>
                <a:gd name="connsiteY6" fmla="*/ 5924 h 13593"/>
                <a:gd name="connsiteX7" fmla="*/ 7955 w 10000"/>
                <a:gd name="connsiteY7" fmla="*/ 5924 h 13593"/>
                <a:gd name="connsiteX8" fmla="*/ 8135 w 10000"/>
                <a:gd name="connsiteY8" fmla="*/ 6330 h 13593"/>
                <a:gd name="connsiteX9" fmla="*/ 8263 w 10000"/>
                <a:gd name="connsiteY9" fmla="*/ 13522 h 13593"/>
                <a:gd name="connsiteX10" fmla="*/ 9317 w 10000"/>
                <a:gd name="connsiteY10" fmla="*/ 13522 h 13593"/>
                <a:gd name="connsiteX11" fmla="*/ 9959 w 10000"/>
                <a:gd name="connsiteY11" fmla="*/ 8659 h 13593"/>
                <a:gd name="connsiteX0" fmla="*/ 9959 w 10000"/>
                <a:gd name="connsiteY0" fmla="*/ 8659 h 13524"/>
                <a:gd name="connsiteX1" fmla="*/ 0 w 10000"/>
                <a:gd name="connsiteY1" fmla="*/ 7988 h 13524"/>
                <a:gd name="connsiteX2" fmla="*/ 607 w 10000"/>
                <a:gd name="connsiteY2" fmla="*/ 13522 h 13524"/>
                <a:gd name="connsiteX3" fmla="*/ 2303 w 10000"/>
                <a:gd name="connsiteY3" fmla="*/ 8659 h 13524"/>
                <a:gd name="connsiteX4" fmla="*/ 1789 w 10000"/>
                <a:gd name="connsiteY4" fmla="*/ 6330 h 13524"/>
                <a:gd name="connsiteX5" fmla="*/ 1969 w 10000"/>
                <a:gd name="connsiteY5" fmla="*/ 5924 h 13524"/>
                <a:gd name="connsiteX6" fmla="*/ 7955 w 10000"/>
                <a:gd name="connsiteY6" fmla="*/ 5924 h 13524"/>
                <a:gd name="connsiteX7" fmla="*/ 8135 w 10000"/>
                <a:gd name="connsiteY7" fmla="*/ 6330 h 13524"/>
                <a:gd name="connsiteX8" fmla="*/ 8263 w 10000"/>
                <a:gd name="connsiteY8" fmla="*/ 13522 h 13524"/>
                <a:gd name="connsiteX9" fmla="*/ 9317 w 10000"/>
                <a:gd name="connsiteY9" fmla="*/ 13522 h 13524"/>
                <a:gd name="connsiteX10" fmla="*/ 9959 w 10000"/>
                <a:gd name="connsiteY10" fmla="*/ 8659 h 13524"/>
                <a:gd name="connsiteX0" fmla="*/ 9959 w 10000"/>
                <a:gd name="connsiteY0" fmla="*/ 8659 h 13538"/>
                <a:gd name="connsiteX1" fmla="*/ 0 w 10000"/>
                <a:gd name="connsiteY1" fmla="*/ 7988 h 13538"/>
                <a:gd name="connsiteX2" fmla="*/ 607 w 10000"/>
                <a:gd name="connsiteY2" fmla="*/ 13522 h 13538"/>
                <a:gd name="connsiteX3" fmla="*/ 2303 w 10000"/>
                <a:gd name="connsiteY3" fmla="*/ 8659 h 13538"/>
                <a:gd name="connsiteX4" fmla="*/ 1789 w 10000"/>
                <a:gd name="connsiteY4" fmla="*/ 6330 h 13538"/>
                <a:gd name="connsiteX5" fmla="*/ 1969 w 10000"/>
                <a:gd name="connsiteY5" fmla="*/ 5924 h 13538"/>
                <a:gd name="connsiteX6" fmla="*/ 7955 w 10000"/>
                <a:gd name="connsiteY6" fmla="*/ 5924 h 13538"/>
                <a:gd name="connsiteX7" fmla="*/ 8135 w 10000"/>
                <a:gd name="connsiteY7" fmla="*/ 6330 h 13538"/>
                <a:gd name="connsiteX8" fmla="*/ 8263 w 10000"/>
                <a:gd name="connsiteY8" fmla="*/ 13522 h 13538"/>
                <a:gd name="connsiteX9" fmla="*/ 9317 w 10000"/>
                <a:gd name="connsiteY9" fmla="*/ 13522 h 13538"/>
                <a:gd name="connsiteX10" fmla="*/ 9959 w 10000"/>
                <a:gd name="connsiteY10" fmla="*/ 8659 h 13538"/>
                <a:gd name="connsiteX0" fmla="*/ 9959 w 10000"/>
                <a:gd name="connsiteY0" fmla="*/ 8659 h 13553"/>
                <a:gd name="connsiteX1" fmla="*/ 0 w 10000"/>
                <a:gd name="connsiteY1" fmla="*/ 7988 h 13553"/>
                <a:gd name="connsiteX2" fmla="*/ 607 w 10000"/>
                <a:gd name="connsiteY2" fmla="*/ 13522 h 13553"/>
                <a:gd name="connsiteX3" fmla="*/ 2303 w 10000"/>
                <a:gd name="connsiteY3" fmla="*/ 8659 h 13553"/>
                <a:gd name="connsiteX4" fmla="*/ 1789 w 10000"/>
                <a:gd name="connsiteY4" fmla="*/ 6330 h 13553"/>
                <a:gd name="connsiteX5" fmla="*/ 1969 w 10000"/>
                <a:gd name="connsiteY5" fmla="*/ 5924 h 13553"/>
                <a:gd name="connsiteX6" fmla="*/ 7955 w 10000"/>
                <a:gd name="connsiteY6" fmla="*/ 5924 h 13553"/>
                <a:gd name="connsiteX7" fmla="*/ 8135 w 10000"/>
                <a:gd name="connsiteY7" fmla="*/ 6330 h 13553"/>
                <a:gd name="connsiteX8" fmla="*/ 8263 w 10000"/>
                <a:gd name="connsiteY8" fmla="*/ 13522 h 13553"/>
                <a:gd name="connsiteX9" fmla="*/ 9317 w 10000"/>
                <a:gd name="connsiteY9" fmla="*/ 13522 h 13553"/>
                <a:gd name="connsiteX10" fmla="*/ 9959 w 10000"/>
                <a:gd name="connsiteY10" fmla="*/ 8659 h 13553"/>
                <a:gd name="connsiteX0" fmla="*/ 9959 w 10000"/>
                <a:gd name="connsiteY0" fmla="*/ 8659 h 13522"/>
                <a:gd name="connsiteX1" fmla="*/ 0 w 10000"/>
                <a:gd name="connsiteY1" fmla="*/ 7988 h 13522"/>
                <a:gd name="connsiteX2" fmla="*/ 607 w 10000"/>
                <a:gd name="connsiteY2" fmla="*/ 13522 h 13522"/>
                <a:gd name="connsiteX3" fmla="*/ 2303 w 10000"/>
                <a:gd name="connsiteY3" fmla="*/ 8659 h 13522"/>
                <a:gd name="connsiteX4" fmla="*/ 1789 w 10000"/>
                <a:gd name="connsiteY4" fmla="*/ 6330 h 13522"/>
                <a:gd name="connsiteX5" fmla="*/ 1969 w 10000"/>
                <a:gd name="connsiteY5" fmla="*/ 5924 h 13522"/>
                <a:gd name="connsiteX6" fmla="*/ 7955 w 10000"/>
                <a:gd name="connsiteY6" fmla="*/ 5924 h 13522"/>
                <a:gd name="connsiteX7" fmla="*/ 8135 w 10000"/>
                <a:gd name="connsiteY7" fmla="*/ 6330 h 13522"/>
                <a:gd name="connsiteX8" fmla="*/ 8263 w 10000"/>
                <a:gd name="connsiteY8" fmla="*/ 13522 h 13522"/>
                <a:gd name="connsiteX9" fmla="*/ 9317 w 10000"/>
                <a:gd name="connsiteY9" fmla="*/ 13522 h 13522"/>
                <a:gd name="connsiteX10" fmla="*/ 9959 w 10000"/>
                <a:gd name="connsiteY10" fmla="*/ 8659 h 13522"/>
                <a:gd name="connsiteX0" fmla="*/ 9959 w 10000"/>
                <a:gd name="connsiteY0" fmla="*/ 8659 h 13571"/>
                <a:gd name="connsiteX1" fmla="*/ 0 w 10000"/>
                <a:gd name="connsiteY1" fmla="*/ 7988 h 13571"/>
                <a:gd name="connsiteX2" fmla="*/ 607 w 10000"/>
                <a:gd name="connsiteY2" fmla="*/ 13522 h 13571"/>
                <a:gd name="connsiteX3" fmla="*/ 2303 w 10000"/>
                <a:gd name="connsiteY3" fmla="*/ 8659 h 13571"/>
                <a:gd name="connsiteX4" fmla="*/ 1789 w 10000"/>
                <a:gd name="connsiteY4" fmla="*/ 6330 h 13571"/>
                <a:gd name="connsiteX5" fmla="*/ 1969 w 10000"/>
                <a:gd name="connsiteY5" fmla="*/ 5924 h 13571"/>
                <a:gd name="connsiteX6" fmla="*/ 7955 w 10000"/>
                <a:gd name="connsiteY6" fmla="*/ 5924 h 13571"/>
                <a:gd name="connsiteX7" fmla="*/ 8135 w 10000"/>
                <a:gd name="connsiteY7" fmla="*/ 6330 h 13571"/>
                <a:gd name="connsiteX8" fmla="*/ 8263 w 10000"/>
                <a:gd name="connsiteY8" fmla="*/ 13522 h 13571"/>
                <a:gd name="connsiteX9" fmla="*/ 9317 w 10000"/>
                <a:gd name="connsiteY9" fmla="*/ 13522 h 13571"/>
                <a:gd name="connsiteX10" fmla="*/ 9959 w 10000"/>
                <a:gd name="connsiteY10" fmla="*/ 8659 h 13571"/>
                <a:gd name="connsiteX0" fmla="*/ 9959 w 10000"/>
                <a:gd name="connsiteY0" fmla="*/ 8659 h 13525"/>
                <a:gd name="connsiteX1" fmla="*/ 0 w 10000"/>
                <a:gd name="connsiteY1" fmla="*/ 7988 h 13525"/>
                <a:gd name="connsiteX2" fmla="*/ 607 w 10000"/>
                <a:gd name="connsiteY2" fmla="*/ 13522 h 13525"/>
                <a:gd name="connsiteX3" fmla="*/ 2303 w 10000"/>
                <a:gd name="connsiteY3" fmla="*/ 8659 h 13525"/>
                <a:gd name="connsiteX4" fmla="*/ 1789 w 10000"/>
                <a:gd name="connsiteY4" fmla="*/ 6330 h 13525"/>
                <a:gd name="connsiteX5" fmla="*/ 1969 w 10000"/>
                <a:gd name="connsiteY5" fmla="*/ 5924 h 13525"/>
                <a:gd name="connsiteX6" fmla="*/ 7955 w 10000"/>
                <a:gd name="connsiteY6" fmla="*/ 5924 h 13525"/>
                <a:gd name="connsiteX7" fmla="*/ 8135 w 10000"/>
                <a:gd name="connsiteY7" fmla="*/ 6330 h 13525"/>
                <a:gd name="connsiteX8" fmla="*/ 8263 w 10000"/>
                <a:gd name="connsiteY8" fmla="*/ 13522 h 13525"/>
                <a:gd name="connsiteX9" fmla="*/ 9317 w 10000"/>
                <a:gd name="connsiteY9" fmla="*/ 13522 h 13525"/>
                <a:gd name="connsiteX10" fmla="*/ 9959 w 10000"/>
                <a:gd name="connsiteY10" fmla="*/ 8659 h 13525"/>
                <a:gd name="connsiteX0" fmla="*/ 9959 w 10000"/>
                <a:gd name="connsiteY0" fmla="*/ 8659 h 13526"/>
                <a:gd name="connsiteX1" fmla="*/ 0 w 10000"/>
                <a:gd name="connsiteY1" fmla="*/ 7988 h 13526"/>
                <a:gd name="connsiteX2" fmla="*/ 607 w 10000"/>
                <a:gd name="connsiteY2" fmla="*/ 13522 h 13526"/>
                <a:gd name="connsiteX3" fmla="*/ 2303 w 10000"/>
                <a:gd name="connsiteY3" fmla="*/ 8659 h 13526"/>
                <a:gd name="connsiteX4" fmla="*/ 1789 w 10000"/>
                <a:gd name="connsiteY4" fmla="*/ 6330 h 13526"/>
                <a:gd name="connsiteX5" fmla="*/ 1969 w 10000"/>
                <a:gd name="connsiteY5" fmla="*/ 5924 h 13526"/>
                <a:gd name="connsiteX6" fmla="*/ 7955 w 10000"/>
                <a:gd name="connsiteY6" fmla="*/ 5924 h 13526"/>
                <a:gd name="connsiteX7" fmla="*/ 8135 w 10000"/>
                <a:gd name="connsiteY7" fmla="*/ 6330 h 13526"/>
                <a:gd name="connsiteX8" fmla="*/ 8263 w 10000"/>
                <a:gd name="connsiteY8" fmla="*/ 13522 h 13526"/>
                <a:gd name="connsiteX9" fmla="*/ 9317 w 10000"/>
                <a:gd name="connsiteY9" fmla="*/ 13522 h 13526"/>
                <a:gd name="connsiteX10" fmla="*/ 9959 w 10000"/>
                <a:gd name="connsiteY10" fmla="*/ 8659 h 13526"/>
                <a:gd name="connsiteX0" fmla="*/ 9959 w 10000"/>
                <a:gd name="connsiteY0" fmla="*/ 8659 h 13525"/>
                <a:gd name="connsiteX1" fmla="*/ 0 w 10000"/>
                <a:gd name="connsiteY1" fmla="*/ 7988 h 13525"/>
                <a:gd name="connsiteX2" fmla="*/ 607 w 10000"/>
                <a:gd name="connsiteY2" fmla="*/ 13522 h 13525"/>
                <a:gd name="connsiteX3" fmla="*/ 2303 w 10000"/>
                <a:gd name="connsiteY3" fmla="*/ 8659 h 13525"/>
                <a:gd name="connsiteX4" fmla="*/ 1789 w 10000"/>
                <a:gd name="connsiteY4" fmla="*/ 6330 h 13525"/>
                <a:gd name="connsiteX5" fmla="*/ 1969 w 10000"/>
                <a:gd name="connsiteY5" fmla="*/ 5924 h 13525"/>
                <a:gd name="connsiteX6" fmla="*/ 7955 w 10000"/>
                <a:gd name="connsiteY6" fmla="*/ 5924 h 13525"/>
                <a:gd name="connsiteX7" fmla="*/ 8135 w 10000"/>
                <a:gd name="connsiteY7" fmla="*/ 6330 h 13525"/>
                <a:gd name="connsiteX8" fmla="*/ 8263 w 10000"/>
                <a:gd name="connsiteY8" fmla="*/ 13522 h 13525"/>
                <a:gd name="connsiteX9" fmla="*/ 9317 w 10000"/>
                <a:gd name="connsiteY9" fmla="*/ 13522 h 13525"/>
                <a:gd name="connsiteX10" fmla="*/ 9959 w 10000"/>
                <a:gd name="connsiteY10" fmla="*/ 8659 h 13525"/>
                <a:gd name="connsiteX0" fmla="*/ 9959 w 10000"/>
                <a:gd name="connsiteY0" fmla="*/ 8659 h 13528"/>
                <a:gd name="connsiteX1" fmla="*/ 0 w 10000"/>
                <a:gd name="connsiteY1" fmla="*/ 7988 h 13528"/>
                <a:gd name="connsiteX2" fmla="*/ 607 w 10000"/>
                <a:gd name="connsiteY2" fmla="*/ 13522 h 13528"/>
                <a:gd name="connsiteX3" fmla="*/ 2303 w 10000"/>
                <a:gd name="connsiteY3" fmla="*/ 8659 h 13528"/>
                <a:gd name="connsiteX4" fmla="*/ 1789 w 10000"/>
                <a:gd name="connsiteY4" fmla="*/ 6330 h 13528"/>
                <a:gd name="connsiteX5" fmla="*/ 1969 w 10000"/>
                <a:gd name="connsiteY5" fmla="*/ 5924 h 13528"/>
                <a:gd name="connsiteX6" fmla="*/ 7955 w 10000"/>
                <a:gd name="connsiteY6" fmla="*/ 5924 h 13528"/>
                <a:gd name="connsiteX7" fmla="*/ 8135 w 10000"/>
                <a:gd name="connsiteY7" fmla="*/ 6330 h 13528"/>
                <a:gd name="connsiteX8" fmla="*/ 8263 w 10000"/>
                <a:gd name="connsiteY8" fmla="*/ 13522 h 13528"/>
                <a:gd name="connsiteX9" fmla="*/ 9317 w 10000"/>
                <a:gd name="connsiteY9" fmla="*/ 13522 h 13528"/>
                <a:gd name="connsiteX10" fmla="*/ 9959 w 10000"/>
                <a:gd name="connsiteY10" fmla="*/ 8659 h 13528"/>
                <a:gd name="connsiteX0" fmla="*/ 9959 w 10000"/>
                <a:gd name="connsiteY0" fmla="*/ 8659 h 13646"/>
                <a:gd name="connsiteX1" fmla="*/ 0 w 10000"/>
                <a:gd name="connsiteY1" fmla="*/ 7988 h 13646"/>
                <a:gd name="connsiteX2" fmla="*/ 607 w 10000"/>
                <a:gd name="connsiteY2" fmla="*/ 13522 h 13646"/>
                <a:gd name="connsiteX3" fmla="*/ 2303 w 10000"/>
                <a:gd name="connsiteY3" fmla="*/ 8659 h 13646"/>
                <a:gd name="connsiteX4" fmla="*/ 1789 w 10000"/>
                <a:gd name="connsiteY4" fmla="*/ 6330 h 13646"/>
                <a:gd name="connsiteX5" fmla="*/ 1969 w 10000"/>
                <a:gd name="connsiteY5" fmla="*/ 5924 h 13646"/>
                <a:gd name="connsiteX6" fmla="*/ 7955 w 10000"/>
                <a:gd name="connsiteY6" fmla="*/ 5924 h 13646"/>
                <a:gd name="connsiteX7" fmla="*/ 8135 w 10000"/>
                <a:gd name="connsiteY7" fmla="*/ 6330 h 13646"/>
                <a:gd name="connsiteX8" fmla="*/ 8263 w 10000"/>
                <a:gd name="connsiteY8" fmla="*/ 13522 h 13646"/>
                <a:gd name="connsiteX9" fmla="*/ 9317 w 10000"/>
                <a:gd name="connsiteY9" fmla="*/ 13522 h 13646"/>
                <a:gd name="connsiteX10" fmla="*/ 9959 w 10000"/>
                <a:gd name="connsiteY10" fmla="*/ 8659 h 13646"/>
                <a:gd name="connsiteX0" fmla="*/ 9959 w 10000"/>
                <a:gd name="connsiteY0" fmla="*/ 8659 h 13712"/>
                <a:gd name="connsiteX1" fmla="*/ 0 w 10000"/>
                <a:gd name="connsiteY1" fmla="*/ 7988 h 13712"/>
                <a:gd name="connsiteX2" fmla="*/ 607 w 10000"/>
                <a:gd name="connsiteY2" fmla="*/ 13522 h 13712"/>
                <a:gd name="connsiteX3" fmla="*/ 2287 w 10000"/>
                <a:gd name="connsiteY3" fmla="*/ 9240 h 13712"/>
                <a:gd name="connsiteX4" fmla="*/ 1789 w 10000"/>
                <a:gd name="connsiteY4" fmla="*/ 6330 h 13712"/>
                <a:gd name="connsiteX5" fmla="*/ 1969 w 10000"/>
                <a:gd name="connsiteY5" fmla="*/ 5924 h 13712"/>
                <a:gd name="connsiteX6" fmla="*/ 7955 w 10000"/>
                <a:gd name="connsiteY6" fmla="*/ 5924 h 13712"/>
                <a:gd name="connsiteX7" fmla="*/ 8135 w 10000"/>
                <a:gd name="connsiteY7" fmla="*/ 6330 h 13712"/>
                <a:gd name="connsiteX8" fmla="*/ 8263 w 10000"/>
                <a:gd name="connsiteY8" fmla="*/ 13522 h 13712"/>
                <a:gd name="connsiteX9" fmla="*/ 9317 w 10000"/>
                <a:gd name="connsiteY9" fmla="*/ 13522 h 13712"/>
                <a:gd name="connsiteX10" fmla="*/ 9959 w 10000"/>
                <a:gd name="connsiteY10" fmla="*/ 8659 h 13712"/>
                <a:gd name="connsiteX0" fmla="*/ 9959 w 10000"/>
                <a:gd name="connsiteY0" fmla="*/ 8659 h 13596"/>
                <a:gd name="connsiteX1" fmla="*/ 0 w 10000"/>
                <a:gd name="connsiteY1" fmla="*/ 7988 h 13596"/>
                <a:gd name="connsiteX2" fmla="*/ 607 w 10000"/>
                <a:gd name="connsiteY2" fmla="*/ 13522 h 13596"/>
                <a:gd name="connsiteX3" fmla="*/ 2287 w 10000"/>
                <a:gd name="connsiteY3" fmla="*/ 9240 h 13596"/>
                <a:gd name="connsiteX4" fmla="*/ 1789 w 10000"/>
                <a:gd name="connsiteY4" fmla="*/ 6330 h 13596"/>
                <a:gd name="connsiteX5" fmla="*/ 1969 w 10000"/>
                <a:gd name="connsiteY5" fmla="*/ 5924 h 13596"/>
                <a:gd name="connsiteX6" fmla="*/ 7955 w 10000"/>
                <a:gd name="connsiteY6" fmla="*/ 5924 h 13596"/>
                <a:gd name="connsiteX7" fmla="*/ 8135 w 10000"/>
                <a:gd name="connsiteY7" fmla="*/ 6330 h 13596"/>
                <a:gd name="connsiteX8" fmla="*/ 8263 w 10000"/>
                <a:gd name="connsiteY8" fmla="*/ 13522 h 13596"/>
                <a:gd name="connsiteX9" fmla="*/ 9317 w 10000"/>
                <a:gd name="connsiteY9" fmla="*/ 13522 h 13596"/>
                <a:gd name="connsiteX10" fmla="*/ 9959 w 10000"/>
                <a:gd name="connsiteY10" fmla="*/ 8659 h 13596"/>
                <a:gd name="connsiteX0" fmla="*/ 9959 w 10000"/>
                <a:gd name="connsiteY0" fmla="*/ 8659 h 13585"/>
                <a:gd name="connsiteX1" fmla="*/ 0 w 10000"/>
                <a:gd name="connsiteY1" fmla="*/ 7988 h 13585"/>
                <a:gd name="connsiteX2" fmla="*/ 607 w 10000"/>
                <a:gd name="connsiteY2" fmla="*/ 13522 h 13585"/>
                <a:gd name="connsiteX3" fmla="*/ 2287 w 10000"/>
                <a:gd name="connsiteY3" fmla="*/ 9240 h 13585"/>
                <a:gd name="connsiteX4" fmla="*/ 1789 w 10000"/>
                <a:gd name="connsiteY4" fmla="*/ 6330 h 13585"/>
                <a:gd name="connsiteX5" fmla="*/ 1969 w 10000"/>
                <a:gd name="connsiteY5" fmla="*/ 5924 h 13585"/>
                <a:gd name="connsiteX6" fmla="*/ 7955 w 10000"/>
                <a:gd name="connsiteY6" fmla="*/ 5924 h 13585"/>
                <a:gd name="connsiteX7" fmla="*/ 8135 w 10000"/>
                <a:gd name="connsiteY7" fmla="*/ 6330 h 13585"/>
                <a:gd name="connsiteX8" fmla="*/ 8263 w 10000"/>
                <a:gd name="connsiteY8" fmla="*/ 13522 h 13585"/>
                <a:gd name="connsiteX9" fmla="*/ 9317 w 10000"/>
                <a:gd name="connsiteY9" fmla="*/ 13522 h 13585"/>
                <a:gd name="connsiteX10" fmla="*/ 9959 w 10000"/>
                <a:gd name="connsiteY10" fmla="*/ 8659 h 13585"/>
                <a:gd name="connsiteX0" fmla="*/ 9959 w 10000"/>
                <a:gd name="connsiteY0" fmla="*/ 8659 h 13586"/>
                <a:gd name="connsiteX1" fmla="*/ 0 w 10000"/>
                <a:gd name="connsiteY1" fmla="*/ 7988 h 13586"/>
                <a:gd name="connsiteX2" fmla="*/ 607 w 10000"/>
                <a:gd name="connsiteY2" fmla="*/ 13522 h 13586"/>
                <a:gd name="connsiteX3" fmla="*/ 2287 w 10000"/>
                <a:gd name="connsiteY3" fmla="*/ 9240 h 13586"/>
                <a:gd name="connsiteX4" fmla="*/ 1789 w 10000"/>
                <a:gd name="connsiteY4" fmla="*/ 6330 h 13586"/>
                <a:gd name="connsiteX5" fmla="*/ 1969 w 10000"/>
                <a:gd name="connsiteY5" fmla="*/ 5924 h 13586"/>
                <a:gd name="connsiteX6" fmla="*/ 7955 w 10000"/>
                <a:gd name="connsiteY6" fmla="*/ 5924 h 13586"/>
                <a:gd name="connsiteX7" fmla="*/ 8135 w 10000"/>
                <a:gd name="connsiteY7" fmla="*/ 6330 h 13586"/>
                <a:gd name="connsiteX8" fmla="*/ 8263 w 10000"/>
                <a:gd name="connsiteY8" fmla="*/ 13522 h 13586"/>
                <a:gd name="connsiteX9" fmla="*/ 9317 w 10000"/>
                <a:gd name="connsiteY9" fmla="*/ 13522 h 13586"/>
                <a:gd name="connsiteX10" fmla="*/ 9959 w 10000"/>
                <a:gd name="connsiteY10" fmla="*/ 8659 h 13586"/>
                <a:gd name="connsiteX0" fmla="*/ 9959 w 10000"/>
                <a:gd name="connsiteY0" fmla="*/ 8659 h 13599"/>
                <a:gd name="connsiteX1" fmla="*/ 0 w 10000"/>
                <a:gd name="connsiteY1" fmla="*/ 7988 h 13599"/>
                <a:gd name="connsiteX2" fmla="*/ 607 w 10000"/>
                <a:gd name="connsiteY2" fmla="*/ 13522 h 13599"/>
                <a:gd name="connsiteX3" fmla="*/ 2205 w 10000"/>
                <a:gd name="connsiteY3" fmla="*/ 9626 h 13599"/>
                <a:gd name="connsiteX4" fmla="*/ 1789 w 10000"/>
                <a:gd name="connsiteY4" fmla="*/ 6330 h 13599"/>
                <a:gd name="connsiteX5" fmla="*/ 1969 w 10000"/>
                <a:gd name="connsiteY5" fmla="*/ 5924 h 13599"/>
                <a:gd name="connsiteX6" fmla="*/ 7955 w 10000"/>
                <a:gd name="connsiteY6" fmla="*/ 5924 h 13599"/>
                <a:gd name="connsiteX7" fmla="*/ 8135 w 10000"/>
                <a:gd name="connsiteY7" fmla="*/ 6330 h 13599"/>
                <a:gd name="connsiteX8" fmla="*/ 8263 w 10000"/>
                <a:gd name="connsiteY8" fmla="*/ 13522 h 13599"/>
                <a:gd name="connsiteX9" fmla="*/ 9317 w 10000"/>
                <a:gd name="connsiteY9" fmla="*/ 13522 h 13599"/>
                <a:gd name="connsiteX10" fmla="*/ 9959 w 10000"/>
                <a:gd name="connsiteY10" fmla="*/ 8659 h 13599"/>
                <a:gd name="connsiteX0" fmla="*/ 9959 w 10000"/>
                <a:gd name="connsiteY0" fmla="*/ 8659 h 13593"/>
                <a:gd name="connsiteX1" fmla="*/ 0 w 10000"/>
                <a:gd name="connsiteY1" fmla="*/ 7988 h 13593"/>
                <a:gd name="connsiteX2" fmla="*/ 607 w 10000"/>
                <a:gd name="connsiteY2" fmla="*/ 13522 h 13593"/>
                <a:gd name="connsiteX3" fmla="*/ 2205 w 10000"/>
                <a:gd name="connsiteY3" fmla="*/ 9626 h 13593"/>
                <a:gd name="connsiteX4" fmla="*/ 1789 w 10000"/>
                <a:gd name="connsiteY4" fmla="*/ 6330 h 13593"/>
                <a:gd name="connsiteX5" fmla="*/ 1969 w 10000"/>
                <a:gd name="connsiteY5" fmla="*/ 5924 h 13593"/>
                <a:gd name="connsiteX6" fmla="*/ 7955 w 10000"/>
                <a:gd name="connsiteY6" fmla="*/ 5924 h 13593"/>
                <a:gd name="connsiteX7" fmla="*/ 8135 w 10000"/>
                <a:gd name="connsiteY7" fmla="*/ 6330 h 13593"/>
                <a:gd name="connsiteX8" fmla="*/ 8263 w 10000"/>
                <a:gd name="connsiteY8" fmla="*/ 13522 h 13593"/>
                <a:gd name="connsiteX9" fmla="*/ 9317 w 10000"/>
                <a:gd name="connsiteY9" fmla="*/ 13522 h 13593"/>
                <a:gd name="connsiteX10" fmla="*/ 9959 w 10000"/>
                <a:gd name="connsiteY10" fmla="*/ 8659 h 13593"/>
                <a:gd name="connsiteX0" fmla="*/ 9959 w 10000"/>
                <a:gd name="connsiteY0" fmla="*/ 8659 h 13593"/>
                <a:gd name="connsiteX1" fmla="*/ 0 w 10000"/>
                <a:gd name="connsiteY1" fmla="*/ 7988 h 13593"/>
                <a:gd name="connsiteX2" fmla="*/ 607 w 10000"/>
                <a:gd name="connsiteY2" fmla="*/ 13522 h 13593"/>
                <a:gd name="connsiteX3" fmla="*/ 2205 w 10000"/>
                <a:gd name="connsiteY3" fmla="*/ 9626 h 13593"/>
                <a:gd name="connsiteX4" fmla="*/ 1789 w 10000"/>
                <a:gd name="connsiteY4" fmla="*/ 6330 h 13593"/>
                <a:gd name="connsiteX5" fmla="*/ 1969 w 10000"/>
                <a:gd name="connsiteY5" fmla="*/ 5924 h 13593"/>
                <a:gd name="connsiteX6" fmla="*/ 7955 w 10000"/>
                <a:gd name="connsiteY6" fmla="*/ 5924 h 13593"/>
                <a:gd name="connsiteX7" fmla="*/ 8135 w 10000"/>
                <a:gd name="connsiteY7" fmla="*/ 6330 h 13593"/>
                <a:gd name="connsiteX8" fmla="*/ 8263 w 10000"/>
                <a:gd name="connsiteY8" fmla="*/ 13522 h 13593"/>
                <a:gd name="connsiteX9" fmla="*/ 9317 w 10000"/>
                <a:gd name="connsiteY9" fmla="*/ 13522 h 13593"/>
                <a:gd name="connsiteX10" fmla="*/ 9959 w 10000"/>
                <a:gd name="connsiteY10" fmla="*/ 8659 h 13593"/>
                <a:gd name="connsiteX0" fmla="*/ 9959 w 10000"/>
                <a:gd name="connsiteY0" fmla="*/ 8659 h 13607"/>
                <a:gd name="connsiteX1" fmla="*/ 0 w 10000"/>
                <a:gd name="connsiteY1" fmla="*/ 7988 h 13607"/>
                <a:gd name="connsiteX2" fmla="*/ 607 w 10000"/>
                <a:gd name="connsiteY2" fmla="*/ 13522 h 13607"/>
                <a:gd name="connsiteX3" fmla="*/ 2205 w 10000"/>
                <a:gd name="connsiteY3" fmla="*/ 9626 h 13607"/>
                <a:gd name="connsiteX4" fmla="*/ 1789 w 10000"/>
                <a:gd name="connsiteY4" fmla="*/ 6330 h 13607"/>
                <a:gd name="connsiteX5" fmla="*/ 1969 w 10000"/>
                <a:gd name="connsiteY5" fmla="*/ 5924 h 13607"/>
                <a:gd name="connsiteX6" fmla="*/ 7955 w 10000"/>
                <a:gd name="connsiteY6" fmla="*/ 5924 h 13607"/>
                <a:gd name="connsiteX7" fmla="*/ 8135 w 10000"/>
                <a:gd name="connsiteY7" fmla="*/ 6330 h 13607"/>
                <a:gd name="connsiteX8" fmla="*/ 8263 w 10000"/>
                <a:gd name="connsiteY8" fmla="*/ 13522 h 13607"/>
                <a:gd name="connsiteX9" fmla="*/ 9317 w 10000"/>
                <a:gd name="connsiteY9" fmla="*/ 13522 h 13607"/>
                <a:gd name="connsiteX10" fmla="*/ 9959 w 10000"/>
                <a:gd name="connsiteY10" fmla="*/ 8659 h 13607"/>
                <a:gd name="connsiteX0" fmla="*/ 9959 w 10000"/>
                <a:gd name="connsiteY0" fmla="*/ 8659 h 13620"/>
                <a:gd name="connsiteX1" fmla="*/ 0 w 10000"/>
                <a:gd name="connsiteY1" fmla="*/ 7988 h 13620"/>
                <a:gd name="connsiteX2" fmla="*/ 607 w 10000"/>
                <a:gd name="connsiteY2" fmla="*/ 13522 h 13620"/>
                <a:gd name="connsiteX3" fmla="*/ 2205 w 10000"/>
                <a:gd name="connsiteY3" fmla="*/ 9626 h 13620"/>
                <a:gd name="connsiteX4" fmla="*/ 1789 w 10000"/>
                <a:gd name="connsiteY4" fmla="*/ 6330 h 13620"/>
                <a:gd name="connsiteX5" fmla="*/ 1969 w 10000"/>
                <a:gd name="connsiteY5" fmla="*/ 5924 h 13620"/>
                <a:gd name="connsiteX6" fmla="*/ 7955 w 10000"/>
                <a:gd name="connsiteY6" fmla="*/ 5924 h 13620"/>
                <a:gd name="connsiteX7" fmla="*/ 8135 w 10000"/>
                <a:gd name="connsiteY7" fmla="*/ 6330 h 13620"/>
                <a:gd name="connsiteX8" fmla="*/ 8263 w 10000"/>
                <a:gd name="connsiteY8" fmla="*/ 13522 h 13620"/>
                <a:gd name="connsiteX9" fmla="*/ 9317 w 10000"/>
                <a:gd name="connsiteY9" fmla="*/ 13522 h 13620"/>
                <a:gd name="connsiteX10" fmla="*/ 9959 w 10000"/>
                <a:gd name="connsiteY10" fmla="*/ 8659 h 13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13620">
                  <a:moveTo>
                    <a:pt x="9959" y="8659"/>
                  </a:moveTo>
                  <a:cubicBezTo>
                    <a:pt x="9656" y="-3218"/>
                    <a:pt x="-18" y="-2333"/>
                    <a:pt x="0" y="7988"/>
                  </a:cubicBezTo>
                  <a:cubicBezTo>
                    <a:pt x="11" y="11998"/>
                    <a:pt x="223" y="13022"/>
                    <a:pt x="607" y="13522"/>
                  </a:cubicBezTo>
                  <a:cubicBezTo>
                    <a:pt x="1566" y="13956"/>
                    <a:pt x="2190" y="13017"/>
                    <a:pt x="2205" y="9626"/>
                  </a:cubicBezTo>
                  <a:cubicBezTo>
                    <a:pt x="2234" y="8915"/>
                    <a:pt x="2140" y="6721"/>
                    <a:pt x="1789" y="6330"/>
                  </a:cubicBezTo>
                  <a:cubicBezTo>
                    <a:pt x="1848" y="6194"/>
                    <a:pt x="1909" y="6059"/>
                    <a:pt x="1969" y="5924"/>
                  </a:cubicBezTo>
                  <a:cubicBezTo>
                    <a:pt x="3736" y="2175"/>
                    <a:pt x="6780" y="3532"/>
                    <a:pt x="7955" y="5924"/>
                  </a:cubicBezTo>
                  <a:lnTo>
                    <a:pt x="8135" y="6330"/>
                  </a:lnTo>
                  <a:cubicBezTo>
                    <a:pt x="7398" y="6497"/>
                    <a:pt x="7409" y="13553"/>
                    <a:pt x="8263" y="13522"/>
                  </a:cubicBezTo>
                  <a:lnTo>
                    <a:pt x="9317" y="13522"/>
                  </a:lnTo>
                  <a:cubicBezTo>
                    <a:pt x="9911" y="13163"/>
                    <a:pt x="10093" y="11377"/>
                    <a:pt x="9959" y="8659"/>
                  </a:cubicBezTo>
                  <a:close/>
                </a:path>
              </a:pathLst>
            </a:custGeom>
            <a:grpFill/>
            <a:ln w="0">
              <a:noFill/>
              <a:prstDash val="solid"/>
              <a:round/>
              <a:headEnd/>
              <a:tailEnd/>
            </a:ln>
          </p:spPr>
          <p:txBody>
            <a:bodyPr vert="horz" wrap="square" lIns="121920" tIns="60960" rIns="121920" bIns="60960" numCol="1" anchor="ctr" anchorCtr="0" compatLnSpc="1">
              <a:prstTxWarp prst="textNoShape">
                <a:avLst/>
              </a:prstTxWarp>
            </a:bodyPr>
            <a:lstStyle/>
            <a:p>
              <a:pPr marL="0" marR="0" lvl="0" indent="0" algn="l" defTabSz="467539"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black"/>
                </a:solidFill>
                <a:effectLst/>
                <a:uLnTx/>
                <a:uFillTx/>
                <a:latin typeface="Arial"/>
                <a:ea typeface="+mn-ea"/>
                <a:cs typeface="+mn-cs"/>
              </a:endParaRPr>
            </a:p>
          </p:txBody>
        </p:sp>
      </p:grpSp>
      <p:grpSp>
        <p:nvGrpSpPr>
          <p:cNvPr id="424" name="Group 53">
            <a:extLst>
              <a:ext uri="{FF2B5EF4-FFF2-40B4-BE49-F238E27FC236}">
                <a16:creationId xmlns:a16="http://schemas.microsoft.com/office/drawing/2014/main" id="{F2AE537F-4112-076A-9D68-FA0EC588CC1A}"/>
              </a:ext>
            </a:extLst>
          </p:cNvPr>
          <p:cNvGrpSpPr/>
          <p:nvPr/>
        </p:nvGrpSpPr>
        <p:grpSpPr>
          <a:xfrm>
            <a:off x="514682" y="4274663"/>
            <a:ext cx="370417" cy="294739"/>
            <a:chOff x="2899648" y="3195439"/>
            <a:chExt cx="932172" cy="664929"/>
          </a:xfrm>
          <a:solidFill>
            <a:srgbClr val="008789"/>
          </a:solidFill>
          <a:effectLst/>
        </p:grpSpPr>
        <p:sp>
          <p:nvSpPr>
            <p:cNvPr id="425" name="Freeform 54">
              <a:extLst>
                <a:ext uri="{FF2B5EF4-FFF2-40B4-BE49-F238E27FC236}">
                  <a16:creationId xmlns:a16="http://schemas.microsoft.com/office/drawing/2014/main" id="{5641AB1D-CCAF-79AC-E88E-499069657B2A}"/>
                </a:ext>
              </a:extLst>
            </p:cNvPr>
            <p:cNvSpPr/>
            <p:nvPr/>
          </p:nvSpPr>
          <p:spPr>
            <a:xfrm>
              <a:off x="3075407" y="3389374"/>
              <a:ext cx="580648" cy="470994"/>
            </a:xfrm>
            <a:custGeom>
              <a:avLst/>
              <a:gdLst>
                <a:gd name="connsiteX0" fmla="*/ 297444 w 580648"/>
                <a:gd name="connsiteY0" fmla="*/ 344196 h 470994"/>
                <a:gd name="connsiteX1" fmla="*/ 316576 w 580648"/>
                <a:gd name="connsiteY1" fmla="*/ 363327 h 470994"/>
                <a:gd name="connsiteX2" fmla="*/ 297444 w 580648"/>
                <a:gd name="connsiteY2" fmla="*/ 382458 h 470994"/>
                <a:gd name="connsiteX3" fmla="*/ 278312 w 580648"/>
                <a:gd name="connsiteY3" fmla="*/ 363327 h 470994"/>
                <a:gd name="connsiteX4" fmla="*/ 297444 w 580648"/>
                <a:gd name="connsiteY4" fmla="*/ 344196 h 470994"/>
                <a:gd name="connsiteX5" fmla="*/ 213692 w 580648"/>
                <a:gd name="connsiteY5" fmla="*/ 306293 h 470994"/>
                <a:gd name="connsiteX6" fmla="*/ 232824 w 580648"/>
                <a:gd name="connsiteY6" fmla="*/ 325424 h 470994"/>
                <a:gd name="connsiteX7" fmla="*/ 213692 w 580648"/>
                <a:gd name="connsiteY7" fmla="*/ 344555 h 470994"/>
                <a:gd name="connsiteX8" fmla="*/ 194560 w 580648"/>
                <a:gd name="connsiteY8" fmla="*/ 325424 h 470994"/>
                <a:gd name="connsiteX9" fmla="*/ 213692 w 580648"/>
                <a:gd name="connsiteY9" fmla="*/ 306293 h 470994"/>
                <a:gd name="connsiteX10" fmla="*/ 389224 w 580648"/>
                <a:gd name="connsiteY10" fmla="*/ 303458 h 470994"/>
                <a:gd name="connsiteX11" fmla="*/ 408356 w 580648"/>
                <a:gd name="connsiteY11" fmla="*/ 322589 h 470994"/>
                <a:gd name="connsiteX12" fmla="*/ 389224 w 580648"/>
                <a:gd name="connsiteY12" fmla="*/ 341720 h 470994"/>
                <a:gd name="connsiteX13" fmla="*/ 370092 w 580648"/>
                <a:gd name="connsiteY13" fmla="*/ 322589 h 470994"/>
                <a:gd name="connsiteX14" fmla="*/ 389224 w 580648"/>
                <a:gd name="connsiteY14" fmla="*/ 303458 h 470994"/>
                <a:gd name="connsiteX15" fmla="*/ 174590 w 580648"/>
                <a:gd name="connsiteY15" fmla="*/ 243782 h 470994"/>
                <a:gd name="connsiteX16" fmla="*/ 193722 w 580648"/>
                <a:gd name="connsiteY16" fmla="*/ 262913 h 470994"/>
                <a:gd name="connsiteX17" fmla="*/ 174590 w 580648"/>
                <a:gd name="connsiteY17" fmla="*/ 282044 h 470994"/>
                <a:gd name="connsiteX18" fmla="*/ 155458 w 580648"/>
                <a:gd name="connsiteY18" fmla="*/ 262913 h 470994"/>
                <a:gd name="connsiteX19" fmla="*/ 174590 w 580648"/>
                <a:gd name="connsiteY19" fmla="*/ 243782 h 470994"/>
                <a:gd name="connsiteX20" fmla="*/ 419937 w 580648"/>
                <a:gd name="connsiteY20" fmla="*/ 242785 h 470994"/>
                <a:gd name="connsiteX21" fmla="*/ 439069 w 580648"/>
                <a:gd name="connsiteY21" fmla="*/ 261916 h 470994"/>
                <a:gd name="connsiteX22" fmla="*/ 419937 w 580648"/>
                <a:gd name="connsiteY22" fmla="*/ 281047 h 470994"/>
                <a:gd name="connsiteX23" fmla="*/ 400805 w 580648"/>
                <a:gd name="connsiteY23" fmla="*/ 261916 h 470994"/>
                <a:gd name="connsiteX24" fmla="*/ 419937 w 580648"/>
                <a:gd name="connsiteY24" fmla="*/ 242785 h 470994"/>
                <a:gd name="connsiteX25" fmla="*/ 298673 w 580648"/>
                <a:gd name="connsiteY25" fmla="*/ 174142 h 470994"/>
                <a:gd name="connsiteX26" fmla="*/ 389119 w 580648"/>
                <a:gd name="connsiteY26" fmla="*/ 251970 h 470994"/>
                <a:gd name="connsiteX27" fmla="*/ 298673 w 580648"/>
                <a:gd name="connsiteY27" fmla="*/ 329798 h 470994"/>
                <a:gd name="connsiteX28" fmla="*/ 208227 w 580648"/>
                <a:gd name="connsiteY28" fmla="*/ 251970 h 470994"/>
                <a:gd name="connsiteX29" fmla="*/ 298673 w 580648"/>
                <a:gd name="connsiteY29" fmla="*/ 174142 h 470994"/>
                <a:gd name="connsiteX30" fmla="*/ 207631 w 580648"/>
                <a:gd name="connsiteY30" fmla="*/ 156795 h 470994"/>
                <a:gd name="connsiteX31" fmla="*/ 226763 w 580648"/>
                <a:gd name="connsiteY31" fmla="*/ 175926 h 470994"/>
                <a:gd name="connsiteX32" fmla="*/ 207631 w 580648"/>
                <a:gd name="connsiteY32" fmla="*/ 195057 h 470994"/>
                <a:gd name="connsiteX33" fmla="*/ 188499 w 580648"/>
                <a:gd name="connsiteY33" fmla="*/ 175926 h 470994"/>
                <a:gd name="connsiteX34" fmla="*/ 207631 w 580648"/>
                <a:gd name="connsiteY34" fmla="*/ 156795 h 470994"/>
                <a:gd name="connsiteX35" fmla="*/ 388947 w 580648"/>
                <a:gd name="connsiteY35" fmla="*/ 154552 h 470994"/>
                <a:gd name="connsiteX36" fmla="*/ 408079 w 580648"/>
                <a:gd name="connsiteY36" fmla="*/ 173683 h 470994"/>
                <a:gd name="connsiteX37" fmla="*/ 388947 w 580648"/>
                <a:gd name="connsiteY37" fmla="*/ 192814 h 470994"/>
                <a:gd name="connsiteX38" fmla="*/ 369815 w 580648"/>
                <a:gd name="connsiteY38" fmla="*/ 173683 h 470994"/>
                <a:gd name="connsiteX39" fmla="*/ 388947 w 580648"/>
                <a:gd name="connsiteY39" fmla="*/ 154552 h 470994"/>
                <a:gd name="connsiteX40" fmla="*/ 297444 w 580648"/>
                <a:gd name="connsiteY40" fmla="*/ 128367 h 470994"/>
                <a:gd name="connsiteX41" fmla="*/ 316576 w 580648"/>
                <a:gd name="connsiteY41" fmla="*/ 147498 h 470994"/>
                <a:gd name="connsiteX42" fmla="*/ 297444 w 580648"/>
                <a:gd name="connsiteY42" fmla="*/ 166629 h 470994"/>
                <a:gd name="connsiteX43" fmla="*/ 278312 w 580648"/>
                <a:gd name="connsiteY43" fmla="*/ 147498 h 470994"/>
                <a:gd name="connsiteX44" fmla="*/ 297444 w 580648"/>
                <a:gd name="connsiteY44" fmla="*/ 128367 h 470994"/>
                <a:gd name="connsiteX45" fmla="*/ 297407 w 580648"/>
                <a:gd name="connsiteY45" fmla="*/ 111459 h 470994"/>
                <a:gd name="connsiteX46" fmla="*/ 136615 w 580648"/>
                <a:gd name="connsiteY46" fmla="*/ 249820 h 470994"/>
                <a:gd name="connsiteX47" fmla="*/ 297407 w 580648"/>
                <a:gd name="connsiteY47" fmla="*/ 388181 h 470994"/>
                <a:gd name="connsiteX48" fmla="*/ 458199 w 580648"/>
                <a:gd name="connsiteY48" fmla="*/ 249820 h 470994"/>
                <a:gd name="connsiteX49" fmla="*/ 297407 w 580648"/>
                <a:gd name="connsiteY49" fmla="*/ 111459 h 470994"/>
                <a:gd name="connsiteX50" fmla="*/ 57245 w 580648"/>
                <a:gd name="connsiteY50" fmla="*/ 0 h 470994"/>
                <a:gd name="connsiteX51" fmla="*/ 527083 w 580648"/>
                <a:gd name="connsiteY51" fmla="*/ 0 h 470994"/>
                <a:gd name="connsiteX52" fmla="*/ 537796 w 580648"/>
                <a:gd name="connsiteY52" fmla="*/ 10713 h 470994"/>
                <a:gd name="connsiteX53" fmla="*/ 537796 w 580648"/>
                <a:gd name="connsiteY53" fmla="*/ 53564 h 470994"/>
                <a:gd name="connsiteX54" fmla="*/ 527083 w 580648"/>
                <a:gd name="connsiteY54" fmla="*/ 64277 h 470994"/>
                <a:gd name="connsiteX55" fmla="*/ 484664 w 580648"/>
                <a:gd name="connsiteY55" fmla="*/ 64277 h 470994"/>
                <a:gd name="connsiteX56" fmla="*/ 515717 w 580648"/>
                <a:gd name="connsiteY56" fmla="*/ 247973 h 470994"/>
                <a:gd name="connsiteX57" fmla="*/ 533207 w 580648"/>
                <a:gd name="connsiteY57" fmla="*/ 247973 h 470994"/>
                <a:gd name="connsiteX58" fmla="*/ 580648 w 580648"/>
                <a:gd name="connsiteY58" fmla="*/ 295414 h 470994"/>
                <a:gd name="connsiteX59" fmla="*/ 580648 w 580648"/>
                <a:gd name="connsiteY59" fmla="*/ 427701 h 470994"/>
                <a:gd name="connsiteX60" fmla="*/ 537355 w 580648"/>
                <a:gd name="connsiteY60" fmla="*/ 470994 h 470994"/>
                <a:gd name="connsiteX61" fmla="*/ 43293 w 580648"/>
                <a:gd name="connsiteY61" fmla="*/ 470994 h 470994"/>
                <a:gd name="connsiteX62" fmla="*/ 0 w 580648"/>
                <a:gd name="connsiteY62" fmla="*/ 427701 h 470994"/>
                <a:gd name="connsiteX63" fmla="*/ 0 w 580648"/>
                <a:gd name="connsiteY63" fmla="*/ 295414 h 470994"/>
                <a:gd name="connsiteX64" fmla="*/ 47441 w 580648"/>
                <a:gd name="connsiteY64" fmla="*/ 247973 h 470994"/>
                <a:gd name="connsiteX65" fmla="*/ 67228 w 580648"/>
                <a:gd name="connsiteY65" fmla="*/ 247973 h 470994"/>
                <a:gd name="connsiteX66" fmla="*/ 91048 w 580648"/>
                <a:gd name="connsiteY66" fmla="*/ 64277 h 470994"/>
                <a:gd name="connsiteX67" fmla="*/ 57245 w 580648"/>
                <a:gd name="connsiteY67" fmla="*/ 64277 h 470994"/>
                <a:gd name="connsiteX68" fmla="*/ 46532 w 580648"/>
                <a:gd name="connsiteY68" fmla="*/ 53564 h 470994"/>
                <a:gd name="connsiteX69" fmla="*/ 46532 w 580648"/>
                <a:gd name="connsiteY69" fmla="*/ 10713 h 470994"/>
                <a:gd name="connsiteX70" fmla="*/ 57245 w 580648"/>
                <a:gd name="connsiteY70" fmla="*/ 0 h 470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580648" h="470994">
                  <a:moveTo>
                    <a:pt x="297444" y="344196"/>
                  </a:moveTo>
                  <a:cubicBezTo>
                    <a:pt x="308010" y="344196"/>
                    <a:pt x="316576" y="352761"/>
                    <a:pt x="316576" y="363327"/>
                  </a:cubicBezTo>
                  <a:cubicBezTo>
                    <a:pt x="316576" y="373893"/>
                    <a:pt x="308010" y="382458"/>
                    <a:pt x="297444" y="382458"/>
                  </a:cubicBezTo>
                  <a:cubicBezTo>
                    <a:pt x="286878" y="382458"/>
                    <a:pt x="278312" y="373893"/>
                    <a:pt x="278312" y="363327"/>
                  </a:cubicBezTo>
                  <a:cubicBezTo>
                    <a:pt x="278312" y="352761"/>
                    <a:pt x="286878" y="344196"/>
                    <a:pt x="297444" y="344196"/>
                  </a:cubicBezTo>
                  <a:close/>
                  <a:moveTo>
                    <a:pt x="213692" y="306293"/>
                  </a:moveTo>
                  <a:cubicBezTo>
                    <a:pt x="224258" y="306293"/>
                    <a:pt x="232824" y="314858"/>
                    <a:pt x="232824" y="325424"/>
                  </a:cubicBezTo>
                  <a:cubicBezTo>
                    <a:pt x="232824" y="335990"/>
                    <a:pt x="224258" y="344555"/>
                    <a:pt x="213692" y="344555"/>
                  </a:cubicBezTo>
                  <a:cubicBezTo>
                    <a:pt x="203126" y="344555"/>
                    <a:pt x="194560" y="335990"/>
                    <a:pt x="194560" y="325424"/>
                  </a:cubicBezTo>
                  <a:cubicBezTo>
                    <a:pt x="194560" y="314858"/>
                    <a:pt x="203126" y="306293"/>
                    <a:pt x="213692" y="306293"/>
                  </a:cubicBezTo>
                  <a:close/>
                  <a:moveTo>
                    <a:pt x="389224" y="303458"/>
                  </a:moveTo>
                  <a:cubicBezTo>
                    <a:pt x="399790" y="303458"/>
                    <a:pt x="408356" y="312023"/>
                    <a:pt x="408356" y="322589"/>
                  </a:cubicBezTo>
                  <a:cubicBezTo>
                    <a:pt x="408356" y="333155"/>
                    <a:pt x="399790" y="341720"/>
                    <a:pt x="389224" y="341720"/>
                  </a:cubicBezTo>
                  <a:cubicBezTo>
                    <a:pt x="378658" y="341720"/>
                    <a:pt x="370092" y="333155"/>
                    <a:pt x="370092" y="322589"/>
                  </a:cubicBezTo>
                  <a:cubicBezTo>
                    <a:pt x="370092" y="312023"/>
                    <a:pt x="378658" y="303458"/>
                    <a:pt x="389224" y="303458"/>
                  </a:cubicBezTo>
                  <a:close/>
                  <a:moveTo>
                    <a:pt x="174590" y="243782"/>
                  </a:moveTo>
                  <a:cubicBezTo>
                    <a:pt x="185156" y="243782"/>
                    <a:pt x="193722" y="252347"/>
                    <a:pt x="193722" y="262913"/>
                  </a:cubicBezTo>
                  <a:cubicBezTo>
                    <a:pt x="193722" y="273479"/>
                    <a:pt x="185156" y="282044"/>
                    <a:pt x="174590" y="282044"/>
                  </a:cubicBezTo>
                  <a:cubicBezTo>
                    <a:pt x="164024" y="282044"/>
                    <a:pt x="155458" y="273479"/>
                    <a:pt x="155458" y="262913"/>
                  </a:cubicBezTo>
                  <a:cubicBezTo>
                    <a:pt x="155458" y="252347"/>
                    <a:pt x="164024" y="243782"/>
                    <a:pt x="174590" y="243782"/>
                  </a:cubicBezTo>
                  <a:close/>
                  <a:moveTo>
                    <a:pt x="419937" y="242785"/>
                  </a:moveTo>
                  <a:cubicBezTo>
                    <a:pt x="430503" y="242785"/>
                    <a:pt x="439069" y="251350"/>
                    <a:pt x="439069" y="261916"/>
                  </a:cubicBezTo>
                  <a:cubicBezTo>
                    <a:pt x="439069" y="272482"/>
                    <a:pt x="430503" y="281047"/>
                    <a:pt x="419937" y="281047"/>
                  </a:cubicBezTo>
                  <a:cubicBezTo>
                    <a:pt x="409371" y="281047"/>
                    <a:pt x="400805" y="272482"/>
                    <a:pt x="400805" y="261916"/>
                  </a:cubicBezTo>
                  <a:cubicBezTo>
                    <a:pt x="400805" y="251350"/>
                    <a:pt x="409371" y="242785"/>
                    <a:pt x="419937" y="242785"/>
                  </a:cubicBezTo>
                  <a:close/>
                  <a:moveTo>
                    <a:pt x="298673" y="174142"/>
                  </a:moveTo>
                  <a:cubicBezTo>
                    <a:pt x="348625" y="174142"/>
                    <a:pt x="389119" y="208987"/>
                    <a:pt x="389119" y="251970"/>
                  </a:cubicBezTo>
                  <a:cubicBezTo>
                    <a:pt x="389119" y="294953"/>
                    <a:pt x="348625" y="329798"/>
                    <a:pt x="298673" y="329798"/>
                  </a:cubicBezTo>
                  <a:cubicBezTo>
                    <a:pt x="248721" y="329798"/>
                    <a:pt x="208227" y="294953"/>
                    <a:pt x="208227" y="251970"/>
                  </a:cubicBezTo>
                  <a:cubicBezTo>
                    <a:pt x="208227" y="208987"/>
                    <a:pt x="248721" y="174142"/>
                    <a:pt x="298673" y="174142"/>
                  </a:cubicBezTo>
                  <a:close/>
                  <a:moveTo>
                    <a:pt x="207631" y="156795"/>
                  </a:moveTo>
                  <a:cubicBezTo>
                    <a:pt x="218197" y="156795"/>
                    <a:pt x="226763" y="165360"/>
                    <a:pt x="226763" y="175926"/>
                  </a:cubicBezTo>
                  <a:cubicBezTo>
                    <a:pt x="226763" y="186492"/>
                    <a:pt x="218197" y="195057"/>
                    <a:pt x="207631" y="195057"/>
                  </a:cubicBezTo>
                  <a:cubicBezTo>
                    <a:pt x="197065" y="195057"/>
                    <a:pt x="188499" y="186492"/>
                    <a:pt x="188499" y="175926"/>
                  </a:cubicBezTo>
                  <a:cubicBezTo>
                    <a:pt x="188499" y="165360"/>
                    <a:pt x="197065" y="156795"/>
                    <a:pt x="207631" y="156795"/>
                  </a:cubicBezTo>
                  <a:close/>
                  <a:moveTo>
                    <a:pt x="388947" y="154552"/>
                  </a:moveTo>
                  <a:cubicBezTo>
                    <a:pt x="399513" y="154552"/>
                    <a:pt x="408079" y="163117"/>
                    <a:pt x="408079" y="173683"/>
                  </a:cubicBezTo>
                  <a:cubicBezTo>
                    <a:pt x="408079" y="184249"/>
                    <a:pt x="399513" y="192814"/>
                    <a:pt x="388947" y="192814"/>
                  </a:cubicBezTo>
                  <a:cubicBezTo>
                    <a:pt x="378381" y="192814"/>
                    <a:pt x="369815" y="184249"/>
                    <a:pt x="369815" y="173683"/>
                  </a:cubicBezTo>
                  <a:cubicBezTo>
                    <a:pt x="369815" y="163117"/>
                    <a:pt x="378381" y="154552"/>
                    <a:pt x="388947" y="154552"/>
                  </a:cubicBezTo>
                  <a:close/>
                  <a:moveTo>
                    <a:pt x="297444" y="128367"/>
                  </a:moveTo>
                  <a:cubicBezTo>
                    <a:pt x="308010" y="128367"/>
                    <a:pt x="316576" y="136932"/>
                    <a:pt x="316576" y="147498"/>
                  </a:cubicBezTo>
                  <a:cubicBezTo>
                    <a:pt x="316576" y="158064"/>
                    <a:pt x="308010" y="166629"/>
                    <a:pt x="297444" y="166629"/>
                  </a:cubicBezTo>
                  <a:cubicBezTo>
                    <a:pt x="286878" y="166629"/>
                    <a:pt x="278312" y="158064"/>
                    <a:pt x="278312" y="147498"/>
                  </a:cubicBezTo>
                  <a:cubicBezTo>
                    <a:pt x="278312" y="136932"/>
                    <a:pt x="286878" y="128367"/>
                    <a:pt x="297444" y="128367"/>
                  </a:cubicBezTo>
                  <a:close/>
                  <a:moveTo>
                    <a:pt x="297407" y="111459"/>
                  </a:moveTo>
                  <a:cubicBezTo>
                    <a:pt x="208604" y="111459"/>
                    <a:pt x="136615" y="173405"/>
                    <a:pt x="136615" y="249820"/>
                  </a:cubicBezTo>
                  <a:cubicBezTo>
                    <a:pt x="136615" y="326235"/>
                    <a:pt x="208604" y="388181"/>
                    <a:pt x="297407" y="388181"/>
                  </a:cubicBezTo>
                  <a:cubicBezTo>
                    <a:pt x="386210" y="388181"/>
                    <a:pt x="458199" y="326235"/>
                    <a:pt x="458199" y="249820"/>
                  </a:cubicBezTo>
                  <a:cubicBezTo>
                    <a:pt x="458199" y="173405"/>
                    <a:pt x="386210" y="111459"/>
                    <a:pt x="297407" y="111459"/>
                  </a:cubicBezTo>
                  <a:close/>
                  <a:moveTo>
                    <a:pt x="57245" y="0"/>
                  </a:moveTo>
                  <a:lnTo>
                    <a:pt x="527083" y="0"/>
                  </a:lnTo>
                  <a:cubicBezTo>
                    <a:pt x="533000" y="0"/>
                    <a:pt x="537796" y="4796"/>
                    <a:pt x="537796" y="10713"/>
                  </a:cubicBezTo>
                  <a:lnTo>
                    <a:pt x="537796" y="53564"/>
                  </a:lnTo>
                  <a:cubicBezTo>
                    <a:pt x="537796" y="59481"/>
                    <a:pt x="533000" y="64277"/>
                    <a:pt x="527083" y="64277"/>
                  </a:cubicBezTo>
                  <a:lnTo>
                    <a:pt x="484664" y="64277"/>
                  </a:lnTo>
                  <a:lnTo>
                    <a:pt x="515717" y="247973"/>
                  </a:lnTo>
                  <a:lnTo>
                    <a:pt x="533207" y="247973"/>
                  </a:lnTo>
                  <a:cubicBezTo>
                    <a:pt x="559408" y="247973"/>
                    <a:pt x="580648" y="269213"/>
                    <a:pt x="580648" y="295414"/>
                  </a:cubicBezTo>
                  <a:lnTo>
                    <a:pt x="580648" y="427701"/>
                  </a:lnTo>
                  <a:cubicBezTo>
                    <a:pt x="580648" y="451611"/>
                    <a:pt x="561265" y="470994"/>
                    <a:pt x="537355" y="470994"/>
                  </a:cubicBezTo>
                  <a:lnTo>
                    <a:pt x="43293" y="470994"/>
                  </a:lnTo>
                  <a:cubicBezTo>
                    <a:pt x="19383" y="470994"/>
                    <a:pt x="0" y="451611"/>
                    <a:pt x="0" y="427701"/>
                  </a:cubicBezTo>
                  <a:lnTo>
                    <a:pt x="0" y="295414"/>
                  </a:lnTo>
                  <a:cubicBezTo>
                    <a:pt x="0" y="269213"/>
                    <a:pt x="21240" y="247973"/>
                    <a:pt x="47441" y="247973"/>
                  </a:cubicBezTo>
                  <a:lnTo>
                    <a:pt x="67228" y="247973"/>
                  </a:lnTo>
                  <a:lnTo>
                    <a:pt x="91048" y="64277"/>
                  </a:lnTo>
                  <a:lnTo>
                    <a:pt x="57245" y="64277"/>
                  </a:lnTo>
                  <a:cubicBezTo>
                    <a:pt x="51328" y="64277"/>
                    <a:pt x="46532" y="59481"/>
                    <a:pt x="46532" y="53564"/>
                  </a:cubicBezTo>
                  <a:lnTo>
                    <a:pt x="46532" y="10713"/>
                  </a:lnTo>
                  <a:cubicBezTo>
                    <a:pt x="46532" y="4796"/>
                    <a:pt x="51328" y="0"/>
                    <a:pt x="57245" y="0"/>
                  </a:cubicBezTo>
                  <a:close/>
                </a:path>
              </a:pathLst>
            </a:custGeom>
            <a:grpFill/>
            <a:ln w="12700" cap="flat" cmpd="sng" algn="ctr">
              <a:noFill/>
              <a:prstDash val="solid"/>
              <a:miter lim="800000"/>
            </a:ln>
            <a:effectLst/>
          </p:spPr>
          <p:txBody>
            <a:bodyPr wrap="square" rtlCol="0" anchor="ctr">
              <a:noAutofit/>
            </a:bodyPr>
            <a:lstStyle/>
            <a:p>
              <a:pPr marL="0" marR="0" lvl="0" indent="0" algn="ctr" defTabSz="467539"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26" name="Freeform 127">
              <a:extLst>
                <a:ext uri="{FF2B5EF4-FFF2-40B4-BE49-F238E27FC236}">
                  <a16:creationId xmlns:a16="http://schemas.microsoft.com/office/drawing/2014/main" id="{647BC2CE-396B-1E90-70AC-45767222C7BA}"/>
                </a:ext>
              </a:extLst>
            </p:cNvPr>
            <p:cNvSpPr>
              <a:spLocks/>
            </p:cNvSpPr>
            <p:nvPr/>
          </p:nvSpPr>
          <p:spPr bwMode="auto">
            <a:xfrm>
              <a:off x="2899648" y="3195439"/>
              <a:ext cx="932172" cy="323504"/>
            </a:xfrm>
            <a:custGeom>
              <a:avLst/>
              <a:gdLst>
                <a:gd name="T0" fmla="*/ 379 w 388"/>
                <a:gd name="T1" fmla="*/ 78 h 143"/>
                <a:gd name="T2" fmla="*/ 367 w 388"/>
                <a:gd name="T3" fmla="*/ 60 h 143"/>
                <a:gd name="T4" fmla="*/ 348 w 388"/>
                <a:gd name="T5" fmla="*/ 43 h 143"/>
                <a:gd name="T6" fmla="*/ 324 w 388"/>
                <a:gd name="T7" fmla="*/ 28 h 143"/>
                <a:gd name="T8" fmla="*/ 296 w 388"/>
                <a:gd name="T9" fmla="*/ 17 h 143"/>
                <a:gd name="T10" fmla="*/ 265 w 388"/>
                <a:gd name="T11" fmla="*/ 7 h 143"/>
                <a:gd name="T12" fmla="*/ 231 w 388"/>
                <a:gd name="T13" fmla="*/ 3 h 143"/>
                <a:gd name="T14" fmla="*/ 193 w 388"/>
                <a:gd name="T15" fmla="*/ 0 h 143"/>
                <a:gd name="T16" fmla="*/ 157 w 388"/>
                <a:gd name="T17" fmla="*/ 3 h 143"/>
                <a:gd name="T18" fmla="*/ 121 w 388"/>
                <a:gd name="T19" fmla="*/ 7 h 143"/>
                <a:gd name="T20" fmla="*/ 90 w 388"/>
                <a:gd name="T21" fmla="*/ 17 h 143"/>
                <a:gd name="T22" fmla="*/ 62 w 388"/>
                <a:gd name="T23" fmla="*/ 29 h 143"/>
                <a:gd name="T24" fmla="*/ 39 w 388"/>
                <a:gd name="T25" fmla="*/ 44 h 143"/>
                <a:gd name="T26" fmla="*/ 19 w 388"/>
                <a:gd name="T27" fmla="*/ 61 h 143"/>
                <a:gd name="T28" fmla="*/ 7 w 388"/>
                <a:gd name="T29" fmla="*/ 79 h 143"/>
                <a:gd name="T30" fmla="*/ 3 w 388"/>
                <a:gd name="T31" fmla="*/ 84 h 143"/>
                <a:gd name="T32" fmla="*/ 1 w 388"/>
                <a:gd name="T33" fmla="*/ 89 h 143"/>
                <a:gd name="T34" fmla="*/ 0 w 388"/>
                <a:gd name="T35" fmla="*/ 95 h 143"/>
                <a:gd name="T36" fmla="*/ 0 w 388"/>
                <a:gd name="T37" fmla="*/ 118 h 143"/>
                <a:gd name="T38" fmla="*/ 3 w 388"/>
                <a:gd name="T39" fmla="*/ 130 h 143"/>
                <a:gd name="T40" fmla="*/ 12 w 388"/>
                <a:gd name="T41" fmla="*/ 139 h 143"/>
                <a:gd name="T42" fmla="*/ 24 w 388"/>
                <a:gd name="T43" fmla="*/ 143 h 143"/>
                <a:gd name="T44" fmla="*/ 65 w 388"/>
                <a:gd name="T45" fmla="*/ 143 h 143"/>
                <a:gd name="T46" fmla="*/ 77 w 388"/>
                <a:gd name="T47" fmla="*/ 139 h 143"/>
                <a:gd name="T48" fmla="*/ 86 w 388"/>
                <a:gd name="T49" fmla="*/ 130 h 143"/>
                <a:gd name="T50" fmla="*/ 90 w 388"/>
                <a:gd name="T51" fmla="*/ 118 h 143"/>
                <a:gd name="T52" fmla="*/ 90 w 388"/>
                <a:gd name="T53" fmla="*/ 95 h 143"/>
                <a:gd name="T54" fmla="*/ 86 w 388"/>
                <a:gd name="T55" fmla="*/ 85 h 143"/>
                <a:gd name="T56" fmla="*/ 80 w 388"/>
                <a:gd name="T57" fmla="*/ 77 h 143"/>
                <a:gd name="T58" fmla="*/ 70 w 388"/>
                <a:gd name="T59" fmla="*/ 72 h 143"/>
                <a:gd name="T60" fmla="*/ 77 w 388"/>
                <a:gd name="T61" fmla="*/ 68 h 143"/>
                <a:gd name="T62" fmla="*/ 102 w 388"/>
                <a:gd name="T63" fmla="*/ 57 h 143"/>
                <a:gd name="T64" fmla="*/ 130 w 388"/>
                <a:gd name="T65" fmla="*/ 49 h 143"/>
                <a:gd name="T66" fmla="*/ 161 w 388"/>
                <a:gd name="T67" fmla="*/ 44 h 143"/>
                <a:gd name="T68" fmla="*/ 193 w 388"/>
                <a:gd name="T69" fmla="*/ 43 h 143"/>
                <a:gd name="T70" fmla="*/ 226 w 388"/>
                <a:gd name="T71" fmla="*/ 44 h 143"/>
                <a:gd name="T72" fmla="*/ 257 w 388"/>
                <a:gd name="T73" fmla="*/ 49 h 143"/>
                <a:gd name="T74" fmla="*/ 285 w 388"/>
                <a:gd name="T75" fmla="*/ 57 h 143"/>
                <a:gd name="T76" fmla="*/ 310 w 388"/>
                <a:gd name="T77" fmla="*/ 68 h 143"/>
                <a:gd name="T78" fmla="*/ 317 w 388"/>
                <a:gd name="T79" fmla="*/ 72 h 143"/>
                <a:gd name="T80" fmla="*/ 307 w 388"/>
                <a:gd name="T81" fmla="*/ 77 h 143"/>
                <a:gd name="T82" fmla="*/ 301 w 388"/>
                <a:gd name="T83" fmla="*/ 85 h 143"/>
                <a:gd name="T84" fmla="*/ 299 w 388"/>
                <a:gd name="T85" fmla="*/ 95 h 143"/>
                <a:gd name="T86" fmla="*/ 299 w 388"/>
                <a:gd name="T87" fmla="*/ 118 h 143"/>
                <a:gd name="T88" fmla="*/ 301 w 388"/>
                <a:gd name="T89" fmla="*/ 130 h 143"/>
                <a:gd name="T90" fmla="*/ 310 w 388"/>
                <a:gd name="T91" fmla="*/ 139 h 143"/>
                <a:gd name="T92" fmla="*/ 322 w 388"/>
                <a:gd name="T93" fmla="*/ 143 h 143"/>
                <a:gd name="T94" fmla="*/ 363 w 388"/>
                <a:gd name="T95" fmla="*/ 143 h 143"/>
                <a:gd name="T96" fmla="*/ 375 w 388"/>
                <a:gd name="T97" fmla="*/ 139 h 143"/>
                <a:gd name="T98" fmla="*/ 384 w 388"/>
                <a:gd name="T99" fmla="*/ 130 h 143"/>
                <a:gd name="T100" fmla="*/ 388 w 388"/>
                <a:gd name="T101" fmla="*/ 118 h 143"/>
                <a:gd name="T102" fmla="*/ 388 w 388"/>
                <a:gd name="T103" fmla="*/ 95 h 143"/>
                <a:gd name="T104" fmla="*/ 386 w 388"/>
                <a:gd name="T105" fmla="*/ 90 h 143"/>
                <a:gd name="T106" fmla="*/ 385 w 388"/>
                <a:gd name="T107" fmla="*/ 85 h 143"/>
                <a:gd name="T108" fmla="*/ 383 w 388"/>
                <a:gd name="T109" fmla="*/ 82 h 143"/>
                <a:gd name="T110" fmla="*/ 379 w 388"/>
                <a:gd name="T111" fmla="*/ 78 h 143"/>
                <a:gd name="connsiteX0" fmla="*/ 9768 w 10000"/>
                <a:gd name="connsiteY0" fmla="*/ 5455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1985 w 10000"/>
                <a:gd name="connsiteY23" fmla="*/ 9720 h 10000"/>
                <a:gd name="connsiteX24" fmla="*/ 2216 w 10000"/>
                <a:gd name="connsiteY24" fmla="*/ 9091 h 10000"/>
                <a:gd name="connsiteX25" fmla="*/ 2320 w 10000"/>
                <a:gd name="connsiteY25" fmla="*/ 8252 h 10000"/>
                <a:gd name="connsiteX26" fmla="*/ 2320 w 10000"/>
                <a:gd name="connsiteY26" fmla="*/ 6643 h 10000"/>
                <a:gd name="connsiteX27" fmla="*/ 2216 w 10000"/>
                <a:gd name="connsiteY27" fmla="*/ 5944 h 10000"/>
                <a:gd name="connsiteX28" fmla="*/ 2062 w 10000"/>
                <a:gd name="connsiteY28" fmla="*/ 5385 h 10000"/>
                <a:gd name="connsiteX29" fmla="*/ 1804 w 10000"/>
                <a:gd name="connsiteY29" fmla="*/ 5035 h 10000"/>
                <a:gd name="connsiteX30" fmla="*/ 1985 w 10000"/>
                <a:gd name="connsiteY30" fmla="*/ 4755 h 10000"/>
                <a:gd name="connsiteX31" fmla="*/ 2629 w 10000"/>
                <a:gd name="connsiteY31" fmla="*/ 3986 h 10000"/>
                <a:gd name="connsiteX32" fmla="*/ 3351 w 10000"/>
                <a:gd name="connsiteY32" fmla="*/ 3427 h 10000"/>
                <a:gd name="connsiteX33" fmla="*/ 4149 w 10000"/>
                <a:gd name="connsiteY33" fmla="*/ 3077 h 10000"/>
                <a:gd name="connsiteX34" fmla="*/ 4974 w 10000"/>
                <a:gd name="connsiteY34" fmla="*/ 3007 h 10000"/>
                <a:gd name="connsiteX35" fmla="*/ 5825 w 10000"/>
                <a:gd name="connsiteY35" fmla="*/ 3077 h 10000"/>
                <a:gd name="connsiteX36" fmla="*/ 6624 w 10000"/>
                <a:gd name="connsiteY36" fmla="*/ 3427 h 10000"/>
                <a:gd name="connsiteX37" fmla="*/ 7345 w 10000"/>
                <a:gd name="connsiteY37" fmla="*/ 3986 h 10000"/>
                <a:gd name="connsiteX38" fmla="*/ 7990 w 10000"/>
                <a:gd name="connsiteY38" fmla="*/ 4755 h 10000"/>
                <a:gd name="connsiteX39" fmla="*/ 8170 w 10000"/>
                <a:gd name="connsiteY39" fmla="*/ 5035 h 10000"/>
                <a:gd name="connsiteX40" fmla="*/ 7758 w 10000"/>
                <a:gd name="connsiteY40" fmla="*/ 5944 h 10000"/>
                <a:gd name="connsiteX41" fmla="*/ 7706 w 10000"/>
                <a:gd name="connsiteY41" fmla="*/ 6643 h 10000"/>
                <a:gd name="connsiteX42" fmla="*/ 7706 w 10000"/>
                <a:gd name="connsiteY42" fmla="*/ 8252 h 10000"/>
                <a:gd name="connsiteX43" fmla="*/ 7758 w 10000"/>
                <a:gd name="connsiteY43" fmla="*/ 9091 h 10000"/>
                <a:gd name="connsiteX44" fmla="*/ 7990 w 10000"/>
                <a:gd name="connsiteY44" fmla="*/ 9720 h 10000"/>
                <a:gd name="connsiteX45" fmla="*/ 8299 w 10000"/>
                <a:gd name="connsiteY45" fmla="*/ 10000 h 10000"/>
                <a:gd name="connsiteX46" fmla="*/ 9356 w 10000"/>
                <a:gd name="connsiteY46" fmla="*/ 10000 h 10000"/>
                <a:gd name="connsiteX47" fmla="*/ 9665 w 10000"/>
                <a:gd name="connsiteY47" fmla="*/ 9720 h 10000"/>
                <a:gd name="connsiteX48" fmla="*/ 9897 w 10000"/>
                <a:gd name="connsiteY48" fmla="*/ 9091 h 10000"/>
                <a:gd name="connsiteX49" fmla="*/ 10000 w 10000"/>
                <a:gd name="connsiteY49" fmla="*/ 8252 h 10000"/>
                <a:gd name="connsiteX50" fmla="*/ 10000 w 10000"/>
                <a:gd name="connsiteY50" fmla="*/ 6643 h 10000"/>
                <a:gd name="connsiteX51" fmla="*/ 9948 w 10000"/>
                <a:gd name="connsiteY51" fmla="*/ 6294 h 10000"/>
                <a:gd name="connsiteX52" fmla="*/ 9923 w 10000"/>
                <a:gd name="connsiteY52" fmla="*/ 5944 h 10000"/>
                <a:gd name="connsiteX53" fmla="*/ 9871 w 10000"/>
                <a:gd name="connsiteY53" fmla="*/ 5734 h 10000"/>
                <a:gd name="connsiteX54" fmla="*/ 9768 w 10000"/>
                <a:gd name="connsiteY54" fmla="*/ 5455 h 10000"/>
                <a:gd name="connsiteX0" fmla="*/ 9768 w 10000"/>
                <a:gd name="connsiteY0" fmla="*/ 5455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1985 w 10000"/>
                <a:gd name="connsiteY23" fmla="*/ 9720 h 10000"/>
                <a:gd name="connsiteX24" fmla="*/ 2216 w 10000"/>
                <a:gd name="connsiteY24" fmla="*/ 9091 h 10000"/>
                <a:gd name="connsiteX25" fmla="*/ 2320 w 10000"/>
                <a:gd name="connsiteY25" fmla="*/ 8252 h 10000"/>
                <a:gd name="connsiteX26" fmla="*/ 2320 w 10000"/>
                <a:gd name="connsiteY26" fmla="*/ 6643 h 10000"/>
                <a:gd name="connsiteX27" fmla="*/ 2216 w 10000"/>
                <a:gd name="connsiteY27" fmla="*/ 5944 h 10000"/>
                <a:gd name="connsiteX28" fmla="*/ 2062 w 10000"/>
                <a:gd name="connsiteY28" fmla="*/ 5385 h 10000"/>
                <a:gd name="connsiteX29" fmla="*/ 1804 w 10000"/>
                <a:gd name="connsiteY29" fmla="*/ 5035 h 10000"/>
                <a:gd name="connsiteX30" fmla="*/ 1985 w 10000"/>
                <a:gd name="connsiteY30" fmla="*/ 4755 h 10000"/>
                <a:gd name="connsiteX31" fmla="*/ 2629 w 10000"/>
                <a:gd name="connsiteY31" fmla="*/ 3986 h 10000"/>
                <a:gd name="connsiteX32" fmla="*/ 3351 w 10000"/>
                <a:gd name="connsiteY32" fmla="*/ 3427 h 10000"/>
                <a:gd name="connsiteX33" fmla="*/ 4149 w 10000"/>
                <a:gd name="connsiteY33" fmla="*/ 3077 h 10000"/>
                <a:gd name="connsiteX34" fmla="*/ 4974 w 10000"/>
                <a:gd name="connsiteY34" fmla="*/ 3007 h 10000"/>
                <a:gd name="connsiteX35" fmla="*/ 5825 w 10000"/>
                <a:gd name="connsiteY35" fmla="*/ 3077 h 10000"/>
                <a:gd name="connsiteX36" fmla="*/ 6624 w 10000"/>
                <a:gd name="connsiteY36" fmla="*/ 3427 h 10000"/>
                <a:gd name="connsiteX37" fmla="*/ 7345 w 10000"/>
                <a:gd name="connsiteY37" fmla="*/ 3986 h 10000"/>
                <a:gd name="connsiteX38" fmla="*/ 7990 w 10000"/>
                <a:gd name="connsiteY38" fmla="*/ 4755 h 10000"/>
                <a:gd name="connsiteX39" fmla="*/ 8170 w 10000"/>
                <a:gd name="connsiteY39" fmla="*/ 5035 h 10000"/>
                <a:gd name="connsiteX40" fmla="*/ 7706 w 10000"/>
                <a:gd name="connsiteY40" fmla="*/ 6643 h 10000"/>
                <a:gd name="connsiteX41" fmla="*/ 7706 w 10000"/>
                <a:gd name="connsiteY41" fmla="*/ 8252 h 10000"/>
                <a:gd name="connsiteX42" fmla="*/ 7758 w 10000"/>
                <a:gd name="connsiteY42" fmla="*/ 9091 h 10000"/>
                <a:gd name="connsiteX43" fmla="*/ 7990 w 10000"/>
                <a:gd name="connsiteY43" fmla="*/ 9720 h 10000"/>
                <a:gd name="connsiteX44" fmla="*/ 8299 w 10000"/>
                <a:gd name="connsiteY44" fmla="*/ 10000 h 10000"/>
                <a:gd name="connsiteX45" fmla="*/ 9356 w 10000"/>
                <a:gd name="connsiteY45" fmla="*/ 10000 h 10000"/>
                <a:gd name="connsiteX46" fmla="*/ 9665 w 10000"/>
                <a:gd name="connsiteY46" fmla="*/ 9720 h 10000"/>
                <a:gd name="connsiteX47" fmla="*/ 9897 w 10000"/>
                <a:gd name="connsiteY47" fmla="*/ 9091 h 10000"/>
                <a:gd name="connsiteX48" fmla="*/ 10000 w 10000"/>
                <a:gd name="connsiteY48" fmla="*/ 8252 h 10000"/>
                <a:gd name="connsiteX49" fmla="*/ 10000 w 10000"/>
                <a:gd name="connsiteY49" fmla="*/ 6643 h 10000"/>
                <a:gd name="connsiteX50" fmla="*/ 9948 w 10000"/>
                <a:gd name="connsiteY50" fmla="*/ 6294 h 10000"/>
                <a:gd name="connsiteX51" fmla="*/ 9923 w 10000"/>
                <a:gd name="connsiteY51" fmla="*/ 5944 h 10000"/>
                <a:gd name="connsiteX52" fmla="*/ 9871 w 10000"/>
                <a:gd name="connsiteY52" fmla="*/ 5734 h 10000"/>
                <a:gd name="connsiteX53" fmla="*/ 9768 w 10000"/>
                <a:gd name="connsiteY53" fmla="*/ 5455 h 10000"/>
                <a:gd name="connsiteX0" fmla="*/ 9768 w 10000"/>
                <a:gd name="connsiteY0" fmla="*/ 5455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1985 w 10000"/>
                <a:gd name="connsiteY23" fmla="*/ 9720 h 10000"/>
                <a:gd name="connsiteX24" fmla="*/ 2216 w 10000"/>
                <a:gd name="connsiteY24" fmla="*/ 9091 h 10000"/>
                <a:gd name="connsiteX25" fmla="*/ 2320 w 10000"/>
                <a:gd name="connsiteY25" fmla="*/ 8252 h 10000"/>
                <a:gd name="connsiteX26" fmla="*/ 2320 w 10000"/>
                <a:gd name="connsiteY26" fmla="*/ 6643 h 10000"/>
                <a:gd name="connsiteX27" fmla="*/ 2216 w 10000"/>
                <a:gd name="connsiteY27" fmla="*/ 5944 h 10000"/>
                <a:gd name="connsiteX28" fmla="*/ 2062 w 10000"/>
                <a:gd name="connsiteY28" fmla="*/ 5385 h 10000"/>
                <a:gd name="connsiteX29" fmla="*/ 1804 w 10000"/>
                <a:gd name="connsiteY29" fmla="*/ 5035 h 10000"/>
                <a:gd name="connsiteX30" fmla="*/ 1985 w 10000"/>
                <a:gd name="connsiteY30" fmla="*/ 4755 h 10000"/>
                <a:gd name="connsiteX31" fmla="*/ 2629 w 10000"/>
                <a:gd name="connsiteY31" fmla="*/ 3986 h 10000"/>
                <a:gd name="connsiteX32" fmla="*/ 3351 w 10000"/>
                <a:gd name="connsiteY32" fmla="*/ 3427 h 10000"/>
                <a:gd name="connsiteX33" fmla="*/ 4149 w 10000"/>
                <a:gd name="connsiteY33" fmla="*/ 3077 h 10000"/>
                <a:gd name="connsiteX34" fmla="*/ 4974 w 10000"/>
                <a:gd name="connsiteY34" fmla="*/ 3007 h 10000"/>
                <a:gd name="connsiteX35" fmla="*/ 5825 w 10000"/>
                <a:gd name="connsiteY35" fmla="*/ 3077 h 10000"/>
                <a:gd name="connsiteX36" fmla="*/ 6624 w 10000"/>
                <a:gd name="connsiteY36" fmla="*/ 3427 h 10000"/>
                <a:gd name="connsiteX37" fmla="*/ 7345 w 10000"/>
                <a:gd name="connsiteY37" fmla="*/ 3986 h 10000"/>
                <a:gd name="connsiteX38" fmla="*/ 7990 w 10000"/>
                <a:gd name="connsiteY38" fmla="*/ 4755 h 10000"/>
                <a:gd name="connsiteX39" fmla="*/ 8170 w 10000"/>
                <a:gd name="connsiteY39" fmla="*/ 5035 h 10000"/>
                <a:gd name="connsiteX40" fmla="*/ 7706 w 10000"/>
                <a:gd name="connsiteY40" fmla="*/ 6643 h 10000"/>
                <a:gd name="connsiteX41" fmla="*/ 7706 w 10000"/>
                <a:gd name="connsiteY41" fmla="*/ 8252 h 10000"/>
                <a:gd name="connsiteX42" fmla="*/ 7990 w 10000"/>
                <a:gd name="connsiteY42" fmla="*/ 9720 h 10000"/>
                <a:gd name="connsiteX43" fmla="*/ 8299 w 10000"/>
                <a:gd name="connsiteY43" fmla="*/ 10000 h 10000"/>
                <a:gd name="connsiteX44" fmla="*/ 9356 w 10000"/>
                <a:gd name="connsiteY44" fmla="*/ 10000 h 10000"/>
                <a:gd name="connsiteX45" fmla="*/ 9665 w 10000"/>
                <a:gd name="connsiteY45" fmla="*/ 9720 h 10000"/>
                <a:gd name="connsiteX46" fmla="*/ 9897 w 10000"/>
                <a:gd name="connsiteY46" fmla="*/ 9091 h 10000"/>
                <a:gd name="connsiteX47" fmla="*/ 10000 w 10000"/>
                <a:gd name="connsiteY47" fmla="*/ 8252 h 10000"/>
                <a:gd name="connsiteX48" fmla="*/ 10000 w 10000"/>
                <a:gd name="connsiteY48" fmla="*/ 6643 h 10000"/>
                <a:gd name="connsiteX49" fmla="*/ 9948 w 10000"/>
                <a:gd name="connsiteY49" fmla="*/ 6294 h 10000"/>
                <a:gd name="connsiteX50" fmla="*/ 9923 w 10000"/>
                <a:gd name="connsiteY50" fmla="*/ 5944 h 10000"/>
                <a:gd name="connsiteX51" fmla="*/ 9871 w 10000"/>
                <a:gd name="connsiteY51" fmla="*/ 5734 h 10000"/>
                <a:gd name="connsiteX52" fmla="*/ 9768 w 10000"/>
                <a:gd name="connsiteY52" fmla="*/ 5455 h 10000"/>
                <a:gd name="connsiteX0" fmla="*/ 9768 w 10000"/>
                <a:gd name="connsiteY0" fmla="*/ 5455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1985 w 10000"/>
                <a:gd name="connsiteY23" fmla="*/ 9720 h 10000"/>
                <a:gd name="connsiteX24" fmla="*/ 2216 w 10000"/>
                <a:gd name="connsiteY24" fmla="*/ 9091 h 10000"/>
                <a:gd name="connsiteX25" fmla="*/ 2320 w 10000"/>
                <a:gd name="connsiteY25" fmla="*/ 8252 h 10000"/>
                <a:gd name="connsiteX26" fmla="*/ 2320 w 10000"/>
                <a:gd name="connsiteY26" fmla="*/ 6643 h 10000"/>
                <a:gd name="connsiteX27" fmla="*/ 2216 w 10000"/>
                <a:gd name="connsiteY27" fmla="*/ 5944 h 10000"/>
                <a:gd name="connsiteX28" fmla="*/ 2062 w 10000"/>
                <a:gd name="connsiteY28" fmla="*/ 5385 h 10000"/>
                <a:gd name="connsiteX29" fmla="*/ 1804 w 10000"/>
                <a:gd name="connsiteY29" fmla="*/ 5035 h 10000"/>
                <a:gd name="connsiteX30" fmla="*/ 1985 w 10000"/>
                <a:gd name="connsiteY30" fmla="*/ 4755 h 10000"/>
                <a:gd name="connsiteX31" fmla="*/ 2629 w 10000"/>
                <a:gd name="connsiteY31" fmla="*/ 3986 h 10000"/>
                <a:gd name="connsiteX32" fmla="*/ 3351 w 10000"/>
                <a:gd name="connsiteY32" fmla="*/ 3427 h 10000"/>
                <a:gd name="connsiteX33" fmla="*/ 4149 w 10000"/>
                <a:gd name="connsiteY33" fmla="*/ 3077 h 10000"/>
                <a:gd name="connsiteX34" fmla="*/ 4974 w 10000"/>
                <a:gd name="connsiteY34" fmla="*/ 3007 h 10000"/>
                <a:gd name="connsiteX35" fmla="*/ 5825 w 10000"/>
                <a:gd name="connsiteY35" fmla="*/ 3077 h 10000"/>
                <a:gd name="connsiteX36" fmla="*/ 6624 w 10000"/>
                <a:gd name="connsiteY36" fmla="*/ 3427 h 10000"/>
                <a:gd name="connsiteX37" fmla="*/ 7345 w 10000"/>
                <a:gd name="connsiteY37" fmla="*/ 3986 h 10000"/>
                <a:gd name="connsiteX38" fmla="*/ 7990 w 10000"/>
                <a:gd name="connsiteY38" fmla="*/ 4755 h 10000"/>
                <a:gd name="connsiteX39" fmla="*/ 8170 w 10000"/>
                <a:gd name="connsiteY39" fmla="*/ 5035 h 10000"/>
                <a:gd name="connsiteX40" fmla="*/ 7706 w 10000"/>
                <a:gd name="connsiteY40" fmla="*/ 6643 h 10000"/>
                <a:gd name="connsiteX41" fmla="*/ 7706 w 10000"/>
                <a:gd name="connsiteY41" fmla="*/ 8252 h 10000"/>
                <a:gd name="connsiteX42" fmla="*/ 8299 w 10000"/>
                <a:gd name="connsiteY42" fmla="*/ 10000 h 10000"/>
                <a:gd name="connsiteX43" fmla="*/ 9356 w 10000"/>
                <a:gd name="connsiteY43" fmla="*/ 10000 h 10000"/>
                <a:gd name="connsiteX44" fmla="*/ 9665 w 10000"/>
                <a:gd name="connsiteY44" fmla="*/ 9720 h 10000"/>
                <a:gd name="connsiteX45" fmla="*/ 9897 w 10000"/>
                <a:gd name="connsiteY45" fmla="*/ 9091 h 10000"/>
                <a:gd name="connsiteX46" fmla="*/ 10000 w 10000"/>
                <a:gd name="connsiteY46" fmla="*/ 8252 h 10000"/>
                <a:gd name="connsiteX47" fmla="*/ 10000 w 10000"/>
                <a:gd name="connsiteY47" fmla="*/ 6643 h 10000"/>
                <a:gd name="connsiteX48" fmla="*/ 9948 w 10000"/>
                <a:gd name="connsiteY48" fmla="*/ 6294 h 10000"/>
                <a:gd name="connsiteX49" fmla="*/ 9923 w 10000"/>
                <a:gd name="connsiteY49" fmla="*/ 5944 h 10000"/>
                <a:gd name="connsiteX50" fmla="*/ 9871 w 10000"/>
                <a:gd name="connsiteY50" fmla="*/ 5734 h 10000"/>
                <a:gd name="connsiteX51" fmla="*/ 9768 w 10000"/>
                <a:gd name="connsiteY51" fmla="*/ 5455 h 10000"/>
                <a:gd name="connsiteX0" fmla="*/ 9768 w 10000"/>
                <a:gd name="connsiteY0" fmla="*/ 5455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1985 w 10000"/>
                <a:gd name="connsiteY23" fmla="*/ 9720 h 10000"/>
                <a:gd name="connsiteX24" fmla="*/ 2216 w 10000"/>
                <a:gd name="connsiteY24" fmla="*/ 9091 h 10000"/>
                <a:gd name="connsiteX25" fmla="*/ 2320 w 10000"/>
                <a:gd name="connsiteY25" fmla="*/ 8252 h 10000"/>
                <a:gd name="connsiteX26" fmla="*/ 2320 w 10000"/>
                <a:gd name="connsiteY26" fmla="*/ 6643 h 10000"/>
                <a:gd name="connsiteX27" fmla="*/ 2216 w 10000"/>
                <a:gd name="connsiteY27" fmla="*/ 5944 h 10000"/>
                <a:gd name="connsiteX28" fmla="*/ 2062 w 10000"/>
                <a:gd name="connsiteY28" fmla="*/ 5385 h 10000"/>
                <a:gd name="connsiteX29" fmla="*/ 1804 w 10000"/>
                <a:gd name="connsiteY29" fmla="*/ 5035 h 10000"/>
                <a:gd name="connsiteX30" fmla="*/ 1985 w 10000"/>
                <a:gd name="connsiteY30" fmla="*/ 4755 h 10000"/>
                <a:gd name="connsiteX31" fmla="*/ 2629 w 10000"/>
                <a:gd name="connsiteY31" fmla="*/ 3986 h 10000"/>
                <a:gd name="connsiteX32" fmla="*/ 3351 w 10000"/>
                <a:gd name="connsiteY32" fmla="*/ 3427 h 10000"/>
                <a:gd name="connsiteX33" fmla="*/ 4149 w 10000"/>
                <a:gd name="connsiteY33" fmla="*/ 3077 h 10000"/>
                <a:gd name="connsiteX34" fmla="*/ 4974 w 10000"/>
                <a:gd name="connsiteY34" fmla="*/ 3007 h 10000"/>
                <a:gd name="connsiteX35" fmla="*/ 5825 w 10000"/>
                <a:gd name="connsiteY35" fmla="*/ 3077 h 10000"/>
                <a:gd name="connsiteX36" fmla="*/ 6624 w 10000"/>
                <a:gd name="connsiteY36" fmla="*/ 3427 h 10000"/>
                <a:gd name="connsiteX37" fmla="*/ 7345 w 10000"/>
                <a:gd name="connsiteY37" fmla="*/ 3986 h 10000"/>
                <a:gd name="connsiteX38" fmla="*/ 7990 w 10000"/>
                <a:gd name="connsiteY38" fmla="*/ 4755 h 10000"/>
                <a:gd name="connsiteX39" fmla="*/ 8170 w 10000"/>
                <a:gd name="connsiteY39" fmla="*/ 5035 h 10000"/>
                <a:gd name="connsiteX40" fmla="*/ 7706 w 10000"/>
                <a:gd name="connsiteY40" fmla="*/ 6643 h 10000"/>
                <a:gd name="connsiteX41" fmla="*/ 7706 w 10000"/>
                <a:gd name="connsiteY41" fmla="*/ 8252 h 10000"/>
                <a:gd name="connsiteX42" fmla="*/ 8299 w 10000"/>
                <a:gd name="connsiteY42" fmla="*/ 10000 h 10000"/>
                <a:gd name="connsiteX43" fmla="*/ 9356 w 10000"/>
                <a:gd name="connsiteY43" fmla="*/ 10000 h 10000"/>
                <a:gd name="connsiteX44" fmla="*/ 9897 w 10000"/>
                <a:gd name="connsiteY44" fmla="*/ 9091 h 10000"/>
                <a:gd name="connsiteX45" fmla="*/ 10000 w 10000"/>
                <a:gd name="connsiteY45" fmla="*/ 8252 h 10000"/>
                <a:gd name="connsiteX46" fmla="*/ 10000 w 10000"/>
                <a:gd name="connsiteY46" fmla="*/ 6643 h 10000"/>
                <a:gd name="connsiteX47" fmla="*/ 9948 w 10000"/>
                <a:gd name="connsiteY47" fmla="*/ 6294 h 10000"/>
                <a:gd name="connsiteX48" fmla="*/ 9923 w 10000"/>
                <a:gd name="connsiteY48" fmla="*/ 5944 h 10000"/>
                <a:gd name="connsiteX49" fmla="*/ 9871 w 10000"/>
                <a:gd name="connsiteY49" fmla="*/ 5734 h 10000"/>
                <a:gd name="connsiteX50" fmla="*/ 9768 w 10000"/>
                <a:gd name="connsiteY50" fmla="*/ 5455 h 10000"/>
                <a:gd name="connsiteX0" fmla="*/ 9768 w 10000"/>
                <a:gd name="connsiteY0" fmla="*/ 5455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1985 w 10000"/>
                <a:gd name="connsiteY23" fmla="*/ 9720 h 10000"/>
                <a:gd name="connsiteX24" fmla="*/ 2216 w 10000"/>
                <a:gd name="connsiteY24" fmla="*/ 9091 h 10000"/>
                <a:gd name="connsiteX25" fmla="*/ 2320 w 10000"/>
                <a:gd name="connsiteY25" fmla="*/ 8252 h 10000"/>
                <a:gd name="connsiteX26" fmla="*/ 2320 w 10000"/>
                <a:gd name="connsiteY26" fmla="*/ 6643 h 10000"/>
                <a:gd name="connsiteX27" fmla="*/ 2216 w 10000"/>
                <a:gd name="connsiteY27" fmla="*/ 5944 h 10000"/>
                <a:gd name="connsiteX28" fmla="*/ 2062 w 10000"/>
                <a:gd name="connsiteY28" fmla="*/ 5385 h 10000"/>
                <a:gd name="connsiteX29" fmla="*/ 1804 w 10000"/>
                <a:gd name="connsiteY29" fmla="*/ 5035 h 10000"/>
                <a:gd name="connsiteX30" fmla="*/ 1985 w 10000"/>
                <a:gd name="connsiteY30" fmla="*/ 4755 h 10000"/>
                <a:gd name="connsiteX31" fmla="*/ 2629 w 10000"/>
                <a:gd name="connsiteY31" fmla="*/ 3986 h 10000"/>
                <a:gd name="connsiteX32" fmla="*/ 3351 w 10000"/>
                <a:gd name="connsiteY32" fmla="*/ 3427 h 10000"/>
                <a:gd name="connsiteX33" fmla="*/ 4149 w 10000"/>
                <a:gd name="connsiteY33" fmla="*/ 3077 h 10000"/>
                <a:gd name="connsiteX34" fmla="*/ 4974 w 10000"/>
                <a:gd name="connsiteY34" fmla="*/ 3007 h 10000"/>
                <a:gd name="connsiteX35" fmla="*/ 5825 w 10000"/>
                <a:gd name="connsiteY35" fmla="*/ 3077 h 10000"/>
                <a:gd name="connsiteX36" fmla="*/ 6624 w 10000"/>
                <a:gd name="connsiteY36" fmla="*/ 3427 h 10000"/>
                <a:gd name="connsiteX37" fmla="*/ 7345 w 10000"/>
                <a:gd name="connsiteY37" fmla="*/ 3986 h 10000"/>
                <a:gd name="connsiteX38" fmla="*/ 7990 w 10000"/>
                <a:gd name="connsiteY38" fmla="*/ 4755 h 10000"/>
                <a:gd name="connsiteX39" fmla="*/ 8170 w 10000"/>
                <a:gd name="connsiteY39" fmla="*/ 5035 h 10000"/>
                <a:gd name="connsiteX40" fmla="*/ 7706 w 10000"/>
                <a:gd name="connsiteY40" fmla="*/ 6643 h 10000"/>
                <a:gd name="connsiteX41" fmla="*/ 7706 w 10000"/>
                <a:gd name="connsiteY41" fmla="*/ 8252 h 10000"/>
                <a:gd name="connsiteX42" fmla="*/ 8299 w 10000"/>
                <a:gd name="connsiteY42" fmla="*/ 10000 h 10000"/>
                <a:gd name="connsiteX43" fmla="*/ 9356 w 10000"/>
                <a:gd name="connsiteY43" fmla="*/ 10000 h 10000"/>
                <a:gd name="connsiteX44" fmla="*/ 10000 w 10000"/>
                <a:gd name="connsiteY44" fmla="*/ 8252 h 10000"/>
                <a:gd name="connsiteX45" fmla="*/ 10000 w 10000"/>
                <a:gd name="connsiteY45" fmla="*/ 6643 h 10000"/>
                <a:gd name="connsiteX46" fmla="*/ 9948 w 10000"/>
                <a:gd name="connsiteY46" fmla="*/ 6294 h 10000"/>
                <a:gd name="connsiteX47" fmla="*/ 9923 w 10000"/>
                <a:gd name="connsiteY47" fmla="*/ 5944 h 10000"/>
                <a:gd name="connsiteX48" fmla="*/ 9871 w 10000"/>
                <a:gd name="connsiteY48" fmla="*/ 5734 h 10000"/>
                <a:gd name="connsiteX49" fmla="*/ 9768 w 10000"/>
                <a:gd name="connsiteY49" fmla="*/ 5455 h 10000"/>
                <a:gd name="connsiteX0" fmla="*/ 9768 w 10000"/>
                <a:gd name="connsiteY0" fmla="*/ 5455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1985 w 10000"/>
                <a:gd name="connsiteY23" fmla="*/ 9720 h 10000"/>
                <a:gd name="connsiteX24" fmla="*/ 2216 w 10000"/>
                <a:gd name="connsiteY24" fmla="*/ 9091 h 10000"/>
                <a:gd name="connsiteX25" fmla="*/ 2320 w 10000"/>
                <a:gd name="connsiteY25" fmla="*/ 8252 h 10000"/>
                <a:gd name="connsiteX26" fmla="*/ 2320 w 10000"/>
                <a:gd name="connsiteY26" fmla="*/ 6643 h 10000"/>
                <a:gd name="connsiteX27" fmla="*/ 2216 w 10000"/>
                <a:gd name="connsiteY27" fmla="*/ 5944 h 10000"/>
                <a:gd name="connsiteX28" fmla="*/ 2062 w 10000"/>
                <a:gd name="connsiteY28" fmla="*/ 5385 h 10000"/>
                <a:gd name="connsiteX29" fmla="*/ 1804 w 10000"/>
                <a:gd name="connsiteY29" fmla="*/ 5035 h 10000"/>
                <a:gd name="connsiteX30" fmla="*/ 1985 w 10000"/>
                <a:gd name="connsiteY30" fmla="*/ 4755 h 10000"/>
                <a:gd name="connsiteX31" fmla="*/ 2629 w 10000"/>
                <a:gd name="connsiteY31" fmla="*/ 3986 h 10000"/>
                <a:gd name="connsiteX32" fmla="*/ 3351 w 10000"/>
                <a:gd name="connsiteY32" fmla="*/ 3427 h 10000"/>
                <a:gd name="connsiteX33" fmla="*/ 4149 w 10000"/>
                <a:gd name="connsiteY33" fmla="*/ 3077 h 10000"/>
                <a:gd name="connsiteX34" fmla="*/ 4974 w 10000"/>
                <a:gd name="connsiteY34" fmla="*/ 3007 h 10000"/>
                <a:gd name="connsiteX35" fmla="*/ 5825 w 10000"/>
                <a:gd name="connsiteY35" fmla="*/ 3077 h 10000"/>
                <a:gd name="connsiteX36" fmla="*/ 6624 w 10000"/>
                <a:gd name="connsiteY36" fmla="*/ 3427 h 10000"/>
                <a:gd name="connsiteX37" fmla="*/ 7345 w 10000"/>
                <a:gd name="connsiteY37" fmla="*/ 3986 h 10000"/>
                <a:gd name="connsiteX38" fmla="*/ 7990 w 10000"/>
                <a:gd name="connsiteY38" fmla="*/ 4755 h 10000"/>
                <a:gd name="connsiteX39" fmla="*/ 8170 w 10000"/>
                <a:gd name="connsiteY39" fmla="*/ 5035 h 10000"/>
                <a:gd name="connsiteX40" fmla="*/ 7706 w 10000"/>
                <a:gd name="connsiteY40" fmla="*/ 6643 h 10000"/>
                <a:gd name="connsiteX41" fmla="*/ 7706 w 10000"/>
                <a:gd name="connsiteY41" fmla="*/ 8252 h 10000"/>
                <a:gd name="connsiteX42" fmla="*/ 8299 w 10000"/>
                <a:gd name="connsiteY42" fmla="*/ 10000 h 10000"/>
                <a:gd name="connsiteX43" fmla="*/ 9356 w 10000"/>
                <a:gd name="connsiteY43" fmla="*/ 10000 h 10000"/>
                <a:gd name="connsiteX44" fmla="*/ 10000 w 10000"/>
                <a:gd name="connsiteY44" fmla="*/ 8252 h 10000"/>
                <a:gd name="connsiteX45" fmla="*/ 10000 w 10000"/>
                <a:gd name="connsiteY45" fmla="*/ 6643 h 10000"/>
                <a:gd name="connsiteX46" fmla="*/ 9948 w 10000"/>
                <a:gd name="connsiteY46" fmla="*/ 6294 h 10000"/>
                <a:gd name="connsiteX47" fmla="*/ 9923 w 10000"/>
                <a:gd name="connsiteY47" fmla="*/ 5944 h 10000"/>
                <a:gd name="connsiteX48" fmla="*/ 9871 w 10000"/>
                <a:gd name="connsiteY48" fmla="*/ 5734 h 10000"/>
                <a:gd name="connsiteX49" fmla="*/ 9768 w 10000"/>
                <a:gd name="connsiteY49" fmla="*/ 5455 h 10000"/>
                <a:gd name="connsiteX0" fmla="*/ 9768 w 10000"/>
                <a:gd name="connsiteY0" fmla="*/ 5455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1985 w 10000"/>
                <a:gd name="connsiteY23" fmla="*/ 9720 h 10000"/>
                <a:gd name="connsiteX24" fmla="*/ 2216 w 10000"/>
                <a:gd name="connsiteY24" fmla="*/ 9091 h 10000"/>
                <a:gd name="connsiteX25" fmla="*/ 2320 w 10000"/>
                <a:gd name="connsiteY25" fmla="*/ 8252 h 10000"/>
                <a:gd name="connsiteX26" fmla="*/ 2320 w 10000"/>
                <a:gd name="connsiteY26" fmla="*/ 6643 h 10000"/>
                <a:gd name="connsiteX27" fmla="*/ 2216 w 10000"/>
                <a:gd name="connsiteY27" fmla="*/ 5944 h 10000"/>
                <a:gd name="connsiteX28" fmla="*/ 2062 w 10000"/>
                <a:gd name="connsiteY28" fmla="*/ 5385 h 10000"/>
                <a:gd name="connsiteX29" fmla="*/ 1804 w 10000"/>
                <a:gd name="connsiteY29" fmla="*/ 5035 h 10000"/>
                <a:gd name="connsiteX30" fmla="*/ 1985 w 10000"/>
                <a:gd name="connsiteY30" fmla="*/ 4755 h 10000"/>
                <a:gd name="connsiteX31" fmla="*/ 2629 w 10000"/>
                <a:gd name="connsiteY31" fmla="*/ 3986 h 10000"/>
                <a:gd name="connsiteX32" fmla="*/ 3351 w 10000"/>
                <a:gd name="connsiteY32" fmla="*/ 3427 h 10000"/>
                <a:gd name="connsiteX33" fmla="*/ 4149 w 10000"/>
                <a:gd name="connsiteY33" fmla="*/ 3077 h 10000"/>
                <a:gd name="connsiteX34" fmla="*/ 4974 w 10000"/>
                <a:gd name="connsiteY34" fmla="*/ 3007 h 10000"/>
                <a:gd name="connsiteX35" fmla="*/ 5825 w 10000"/>
                <a:gd name="connsiteY35" fmla="*/ 3077 h 10000"/>
                <a:gd name="connsiteX36" fmla="*/ 6624 w 10000"/>
                <a:gd name="connsiteY36" fmla="*/ 3427 h 10000"/>
                <a:gd name="connsiteX37" fmla="*/ 7345 w 10000"/>
                <a:gd name="connsiteY37" fmla="*/ 3986 h 10000"/>
                <a:gd name="connsiteX38" fmla="*/ 7990 w 10000"/>
                <a:gd name="connsiteY38" fmla="*/ 4755 h 10000"/>
                <a:gd name="connsiteX39" fmla="*/ 8170 w 10000"/>
                <a:gd name="connsiteY39" fmla="*/ 5035 h 10000"/>
                <a:gd name="connsiteX40" fmla="*/ 7706 w 10000"/>
                <a:gd name="connsiteY40" fmla="*/ 6643 h 10000"/>
                <a:gd name="connsiteX41" fmla="*/ 7706 w 10000"/>
                <a:gd name="connsiteY41" fmla="*/ 8252 h 10000"/>
                <a:gd name="connsiteX42" fmla="*/ 8299 w 10000"/>
                <a:gd name="connsiteY42" fmla="*/ 10000 h 10000"/>
                <a:gd name="connsiteX43" fmla="*/ 9356 w 10000"/>
                <a:gd name="connsiteY43" fmla="*/ 10000 h 10000"/>
                <a:gd name="connsiteX44" fmla="*/ 10000 w 10000"/>
                <a:gd name="connsiteY44" fmla="*/ 8252 h 10000"/>
                <a:gd name="connsiteX45" fmla="*/ 10000 w 10000"/>
                <a:gd name="connsiteY45" fmla="*/ 6643 h 10000"/>
                <a:gd name="connsiteX46" fmla="*/ 9948 w 10000"/>
                <a:gd name="connsiteY46" fmla="*/ 6294 h 10000"/>
                <a:gd name="connsiteX47" fmla="*/ 9923 w 10000"/>
                <a:gd name="connsiteY47" fmla="*/ 5944 h 10000"/>
                <a:gd name="connsiteX48" fmla="*/ 9871 w 10000"/>
                <a:gd name="connsiteY48" fmla="*/ 5734 h 10000"/>
                <a:gd name="connsiteX49" fmla="*/ 9768 w 10000"/>
                <a:gd name="connsiteY49" fmla="*/ 5455 h 10000"/>
                <a:gd name="connsiteX0" fmla="*/ 9768 w 10000"/>
                <a:gd name="connsiteY0" fmla="*/ 5455 h 10044"/>
                <a:gd name="connsiteX1" fmla="*/ 9459 w 10000"/>
                <a:gd name="connsiteY1" fmla="*/ 4196 h 10044"/>
                <a:gd name="connsiteX2" fmla="*/ 8969 w 10000"/>
                <a:gd name="connsiteY2" fmla="*/ 3007 h 10044"/>
                <a:gd name="connsiteX3" fmla="*/ 8351 w 10000"/>
                <a:gd name="connsiteY3" fmla="*/ 1958 h 10044"/>
                <a:gd name="connsiteX4" fmla="*/ 7629 w 10000"/>
                <a:gd name="connsiteY4" fmla="*/ 1189 h 10044"/>
                <a:gd name="connsiteX5" fmla="*/ 6830 w 10000"/>
                <a:gd name="connsiteY5" fmla="*/ 490 h 10044"/>
                <a:gd name="connsiteX6" fmla="*/ 5954 w 10000"/>
                <a:gd name="connsiteY6" fmla="*/ 210 h 10044"/>
                <a:gd name="connsiteX7" fmla="*/ 4974 w 10000"/>
                <a:gd name="connsiteY7" fmla="*/ 0 h 10044"/>
                <a:gd name="connsiteX8" fmla="*/ 4046 w 10000"/>
                <a:gd name="connsiteY8" fmla="*/ 210 h 10044"/>
                <a:gd name="connsiteX9" fmla="*/ 3119 w 10000"/>
                <a:gd name="connsiteY9" fmla="*/ 490 h 10044"/>
                <a:gd name="connsiteX10" fmla="*/ 2320 w 10000"/>
                <a:gd name="connsiteY10" fmla="*/ 1189 h 10044"/>
                <a:gd name="connsiteX11" fmla="*/ 1598 w 10000"/>
                <a:gd name="connsiteY11" fmla="*/ 2028 h 10044"/>
                <a:gd name="connsiteX12" fmla="*/ 1005 w 10000"/>
                <a:gd name="connsiteY12" fmla="*/ 3077 h 10044"/>
                <a:gd name="connsiteX13" fmla="*/ 490 w 10000"/>
                <a:gd name="connsiteY13" fmla="*/ 4266 h 10044"/>
                <a:gd name="connsiteX14" fmla="*/ 180 w 10000"/>
                <a:gd name="connsiteY14" fmla="*/ 5524 h 10044"/>
                <a:gd name="connsiteX15" fmla="*/ 77 w 10000"/>
                <a:gd name="connsiteY15" fmla="*/ 5874 h 10044"/>
                <a:gd name="connsiteX16" fmla="*/ 26 w 10000"/>
                <a:gd name="connsiteY16" fmla="*/ 6224 h 10044"/>
                <a:gd name="connsiteX17" fmla="*/ 0 w 10000"/>
                <a:gd name="connsiteY17" fmla="*/ 6643 h 10044"/>
                <a:gd name="connsiteX18" fmla="*/ 0 w 10000"/>
                <a:gd name="connsiteY18" fmla="*/ 8252 h 10044"/>
                <a:gd name="connsiteX19" fmla="*/ 77 w 10000"/>
                <a:gd name="connsiteY19" fmla="*/ 9091 h 10044"/>
                <a:gd name="connsiteX20" fmla="*/ 309 w 10000"/>
                <a:gd name="connsiteY20" fmla="*/ 9720 h 10044"/>
                <a:gd name="connsiteX21" fmla="*/ 619 w 10000"/>
                <a:gd name="connsiteY21" fmla="*/ 10000 h 10044"/>
                <a:gd name="connsiteX22" fmla="*/ 1675 w 10000"/>
                <a:gd name="connsiteY22" fmla="*/ 10000 h 10044"/>
                <a:gd name="connsiteX23" fmla="*/ 1985 w 10000"/>
                <a:gd name="connsiteY23" fmla="*/ 9720 h 10044"/>
                <a:gd name="connsiteX24" fmla="*/ 2216 w 10000"/>
                <a:gd name="connsiteY24" fmla="*/ 9091 h 10044"/>
                <a:gd name="connsiteX25" fmla="*/ 2320 w 10000"/>
                <a:gd name="connsiteY25" fmla="*/ 8252 h 10044"/>
                <a:gd name="connsiteX26" fmla="*/ 2320 w 10000"/>
                <a:gd name="connsiteY26" fmla="*/ 6643 h 10044"/>
                <a:gd name="connsiteX27" fmla="*/ 2216 w 10000"/>
                <a:gd name="connsiteY27" fmla="*/ 5944 h 10044"/>
                <a:gd name="connsiteX28" fmla="*/ 2062 w 10000"/>
                <a:gd name="connsiteY28" fmla="*/ 5385 h 10044"/>
                <a:gd name="connsiteX29" fmla="*/ 1804 w 10000"/>
                <a:gd name="connsiteY29" fmla="*/ 5035 h 10044"/>
                <a:gd name="connsiteX30" fmla="*/ 1985 w 10000"/>
                <a:gd name="connsiteY30" fmla="*/ 4755 h 10044"/>
                <a:gd name="connsiteX31" fmla="*/ 2629 w 10000"/>
                <a:gd name="connsiteY31" fmla="*/ 3986 h 10044"/>
                <a:gd name="connsiteX32" fmla="*/ 3351 w 10000"/>
                <a:gd name="connsiteY32" fmla="*/ 3427 h 10044"/>
                <a:gd name="connsiteX33" fmla="*/ 4149 w 10000"/>
                <a:gd name="connsiteY33" fmla="*/ 3077 h 10044"/>
                <a:gd name="connsiteX34" fmla="*/ 4974 w 10000"/>
                <a:gd name="connsiteY34" fmla="*/ 3007 h 10044"/>
                <a:gd name="connsiteX35" fmla="*/ 5825 w 10000"/>
                <a:gd name="connsiteY35" fmla="*/ 3077 h 10044"/>
                <a:gd name="connsiteX36" fmla="*/ 6624 w 10000"/>
                <a:gd name="connsiteY36" fmla="*/ 3427 h 10044"/>
                <a:gd name="connsiteX37" fmla="*/ 7345 w 10000"/>
                <a:gd name="connsiteY37" fmla="*/ 3986 h 10044"/>
                <a:gd name="connsiteX38" fmla="*/ 7990 w 10000"/>
                <a:gd name="connsiteY38" fmla="*/ 4755 h 10044"/>
                <a:gd name="connsiteX39" fmla="*/ 8170 w 10000"/>
                <a:gd name="connsiteY39" fmla="*/ 5035 h 10044"/>
                <a:gd name="connsiteX40" fmla="*/ 7706 w 10000"/>
                <a:gd name="connsiteY40" fmla="*/ 6643 h 10044"/>
                <a:gd name="connsiteX41" fmla="*/ 7706 w 10000"/>
                <a:gd name="connsiteY41" fmla="*/ 8252 h 10044"/>
                <a:gd name="connsiteX42" fmla="*/ 8299 w 10000"/>
                <a:gd name="connsiteY42" fmla="*/ 10000 h 10044"/>
                <a:gd name="connsiteX43" fmla="*/ 9356 w 10000"/>
                <a:gd name="connsiteY43" fmla="*/ 10000 h 10044"/>
                <a:gd name="connsiteX44" fmla="*/ 10000 w 10000"/>
                <a:gd name="connsiteY44" fmla="*/ 8252 h 10044"/>
                <a:gd name="connsiteX45" fmla="*/ 10000 w 10000"/>
                <a:gd name="connsiteY45" fmla="*/ 6643 h 10044"/>
                <a:gd name="connsiteX46" fmla="*/ 9948 w 10000"/>
                <a:gd name="connsiteY46" fmla="*/ 6294 h 10044"/>
                <a:gd name="connsiteX47" fmla="*/ 9923 w 10000"/>
                <a:gd name="connsiteY47" fmla="*/ 5944 h 10044"/>
                <a:gd name="connsiteX48" fmla="*/ 9871 w 10000"/>
                <a:gd name="connsiteY48" fmla="*/ 5734 h 10044"/>
                <a:gd name="connsiteX49" fmla="*/ 9768 w 10000"/>
                <a:gd name="connsiteY49" fmla="*/ 5455 h 10044"/>
                <a:gd name="connsiteX0" fmla="*/ 9768 w 10000"/>
                <a:gd name="connsiteY0" fmla="*/ 5455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1985 w 10000"/>
                <a:gd name="connsiteY23" fmla="*/ 9720 h 10000"/>
                <a:gd name="connsiteX24" fmla="*/ 2216 w 10000"/>
                <a:gd name="connsiteY24" fmla="*/ 9091 h 10000"/>
                <a:gd name="connsiteX25" fmla="*/ 2320 w 10000"/>
                <a:gd name="connsiteY25" fmla="*/ 8252 h 10000"/>
                <a:gd name="connsiteX26" fmla="*/ 2320 w 10000"/>
                <a:gd name="connsiteY26" fmla="*/ 6643 h 10000"/>
                <a:gd name="connsiteX27" fmla="*/ 2216 w 10000"/>
                <a:gd name="connsiteY27" fmla="*/ 5944 h 10000"/>
                <a:gd name="connsiteX28" fmla="*/ 2062 w 10000"/>
                <a:gd name="connsiteY28" fmla="*/ 5385 h 10000"/>
                <a:gd name="connsiteX29" fmla="*/ 1804 w 10000"/>
                <a:gd name="connsiteY29" fmla="*/ 5035 h 10000"/>
                <a:gd name="connsiteX30" fmla="*/ 1985 w 10000"/>
                <a:gd name="connsiteY30" fmla="*/ 4755 h 10000"/>
                <a:gd name="connsiteX31" fmla="*/ 2629 w 10000"/>
                <a:gd name="connsiteY31" fmla="*/ 3986 h 10000"/>
                <a:gd name="connsiteX32" fmla="*/ 3351 w 10000"/>
                <a:gd name="connsiteY32" fmla="*/ 3427 h 10000"/>
                <a:gd name="connsiteX33" fmla="*/ 4149 w 10000"/>
                <a:gd name="connsiteY33" fmla="*/ 3077 h 10000"/>
                <a:gd name="connsiteX34" fmla="*/ 4974 w 10000"/>
                <a:gd name="connsiteY34" fmla="*/ 3007 h 10000"/>
                <a:gd name="connsiteX35" fmla="*/ 5825 w 10000"/>
                <a:gd name="connsiteY35" fmla="*/ 3077 h 10000"/>
                <a:gd name="connsiteX36" fmla="*/ 6624 w 10000"/>
                <a:gd name="connsiteY36" fmla="*/ 3427 h 10000"/>
                <a:gd name="connsiteX37" fmla="*/ 7345 w 10000"/>
                <a:gd name="connsiteY37" fmla="*/ 3986 h 10000"/>
                <a:gd name="connsiteX38" fmla="*/ 7990 w 10000"/>
                <a:gd name="connsiteY38" fmla="*/ 4755 h 10000"/>
                <a:gd name="connsiteX39" fmla="*/ 8170 w 10000"/>
                <a:gd name="connsiteY39" fmla="*/ 5035 h 10000"/>
                <a:gd name="connsiteX40" fmla="*/ 7706 w 10000"/>
                <a:gd name="connsiteY40" fmla="*/ 6643 h 10000"/>
                <a:gd name="connsiteX41" fmla="*/ 7706 w 10000"/>
                <a:gd name="connsiteY41" fmla="*/ 8252 h 10000"/>
                <a:gd name="connsiteX42" fmla="*/ 8299 w 10000"/>
                <a:gd name="connsiteY42" fmla="*/ 10000 h 10000"/>
                <a:gd name="connsiteX43" fmla="*/ 9356 w 10000"/>
                <a:gd name="connsiteY43" fmla="*/ 10000 h 10000"/>
                <a:gd name="connsiteX44" fmla="*/ 10000 w 10000"/>
                <a:gd name="connsiteY44" fmla="*/ 8252 h 10000"/>
                <a:gd name="connsiteX45" fmla="*/ 10000 w 10000"/>
                <a:gd name="connsiteY45" fmla="*/ 6643 h 10000"/>
                <a:gd name="connsiteX46" fmla="*/ 9948 w 10000"/>
                <a:gd name="connsiteY46" fmla="*/ 6294 h 10000"/>
                <a:gd name="connsiteX47" fmla="*/ 9923 w 10000"/>
                <a:gd name="connsiteY47" fmla="*/ 5944 h 10000"/>
                <a:gd name="connsiteX48" fmla="*/ 9871 w 10000"/>
                <a:gd name="connsiteY48" fmla="*/ 5734 h 10000"/>
                <a:gd name="connsiteX49" fmla="*/ 9768 w 10000"/>
                <a:gd name="connsiteY49" fmla="*/ 5455 h 10000"/>
                <a:gd name="connsiteX0" fmla="*/ 9871 w 10000"/>
                <a:gd name="connsiteY0" fmla="*/ 5734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1985 w 10000"/>
                <a:gd name="connsiteY23" fmla="*/ 9720 h 10000"/>
                <a:gd name="connsiteX24" fmla="*/ 2216 w 10000"/>
                <a:gd name="connsiteY24" fmla="*/ 9091 h 10000"/>
                <a:gd name="connsiteX25" fmla="*/ 2320 w 10000"/>
                <a:gd name="connsiteY25" fmla="*/ 8252 h 10000"/>
                <a:gd name="connsiteX26" fmla="*/ 2320 w 10000"/>
                <a:gd name="connsiteY26" fmla="*/ 6643 h 10000"/>
                <a:gd name="connsiteX27" fmla="*/ 2216 w 10000"/>
                <a:gd name="connsiteY27" fmla="*/ 5944 h 10000"/>
                <a:gd name="connsiteX28" fmla="*/ 2062 w 10000"/>
                <a:gd name="connsiteY28" fmla="*/ 5385 h 10000"/>
                <a:gd name="connsiteX29" fmla="*/ 1804 w 10000"/>
                <a:gd name="connsiteY29" fmla="*/ 5035 h 10000"/>
                <a:gd name="connsiteX30" fmla="*/ 1985 w 10000"/>
                <a:gd name="connsiteY30" fmla="*/ 4755 h 10000"/>
                <a:gd name="connsiteX31" fmla="*/ 2629 w 10000"/>
                <a:gd name="connsiteY31" fmla="*/ 3986 h 10000"/>
                <a:gd name="connsiteX32" fmla="*/ 3351 w 10000"/>
                <a:gd name="connsiteY32" fmla="*/ 3427 h 10000"/>
                <a:gd name="connsiteX33" fmla="*/ 4149 w 10000"/>
                <a:gd name="connsiteY33" fmla="*/ 3077 h 10000"/>
                <a:gd name="connsiteX34" fmla="*/ 4974 w 10000"/>
                <a:gd name="connsiteY34" fmla="*/ 3007 h 10000"/>
                <a:gd name="connsiteX35" fmla="*/ 5825 w 10000"/>
                <a:gd name="connsiteY35" fmla="*/ 3077 h 10000"/>
                <a:gd name="connsiteX36" fmla="*/ 6624 w 10000"/>
                <a:gd name="connsiteY36" fmla="*/ 3427 h 10000"/>
                <a:gd name="connsiteX37" fmla="*/ 7345 w 10000"/>
                <a:gd name="connsiteY37" fmla="*/ 3986 h 10000"/>
                <a:gd name="connsiteX38" fmla="*/ 7990 w 10000"/>
                <a:gd name="connsiteY38" fmla="*/ 4755 h 10000"/>
                <a:gd name="connsiteX39" fmla="*/ 8170 w 10000"/>
                <a:gd name="connsiteY39" fmla="*/ 5035 h 10000"/>
                <a:gd name="connsiteX40" fmla="*/ 7706 w 10000"/>
                <a:gd name="connsiteY40" fmla="*/ 6643 h 10000"/>
                <a:gd name="connsiteX41" fmla="*/ 7706 w 10000"/>
                <a:gd name="connsiteY41" fmla="*/ 8252 h 10000"/>
                <a:gd name="connsiteX42" fmla="*/ 8299 w 10000"/>
                <a:gd name="connsiteY42" fmla="*/ 10000 h 10000"/>
                <a:gd name="connsiteX43" fmla="*/ 9356 w 10000"/>
                <a:gd name="connsiteY43" fmla="*/ 10000 h 10000"/>
                <a:gd name="connsiteX44" fmla="*/ 10000 w 10000"/>
                <a:gd name="connsiteY44" fmla="*/ 8252 h 10000"/>
                <a:gd name="connsiteX45" fmla="*/ 10000 w 10000"/>
                <a:gd name="connsiteY45" fmla="*/ 6643 h 10000"/>
                <a:gd name="connsiteX46" fmla="*/ 9948 w 10000"/>
                <a:gd name="connsiteY46" fmla="*/ 6294 h 10000"/>
                <a:gd name="connsiteX47" fmla="*/ 9923 w 10000"/>
                <a:gd name="connsiteY47" fmla="*/ 5944 h 10000"/>
                <a:gd name="connsiteX48" fmla="*/ 9871 w 10000"/>
                <a:gd name="connsiteY48" fmla="*/ 5734 h 10000"/>
                <a:gd name="connsiteX0" fmla="*/ 9923 w 10000"/>
                <a:gd name="connsiteY0" fmla="*/ 5944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1985 w 10000"/>
                <a:gd name="connsiteY23" fmla="*/ 9720 h 10000"/>
                <a:gd name="connsiteX24" fmla="*/ 2216 w 10000"/>
                <a:gd name="connsiteY24" fmla="*/ 9091 h 10000"/>
                <a:gd name="connsiteX25" fmla="*/ 2320 w 10000"/>
                <a:gd name="connsiteY25" fmla="*/ 8252 h 10000"/>
                <a:gd name="connsiteX26" fmla="*/ 2320 w 10000"/>
                <a:gd name="connsiteY26" fmla="*/ 6643 h 10000"/>
                <a:gd name="connsiteX27" fmla="*/ 2216 w 10000"/>
                <a:gd name="connsiteY27" fmla="*/ 5944 h 10000"/>
                <a:gd name="connsiteX28" fmla="*/ 2062 w 10000"/>
                <a:gd name="connsiteY28" fmla="*/ 5385 h 10000"/>
                <a:gd name="connsiteX29" fmla="*/ 1804 w 10000"/>
                <a:gd name="connsiteY29" fmla="*/ 5035 h 10000"/>
                <a:gd name="connsiteX30" fmla="*/ 1985 w 10000"/>
                <a:gd name="connsiteY30" fmla="*/ 4755 h 10000"/>
                <a:gd name="connsiteX31" fmla="*/ 2629 w 10000"/>
                <a:gd name="connsiteY31" fmla="*/ 3986 h 10000"/>
                <a:gd name="connsiteX32" fmla="*/ 3351 w 10000"/>
                <a:gd name="connsiteY32" fmla="*/ 3427 h 10000"/>
                <a:gd name="connsiteX33" fmla="*/ 4149 w 10000"/>
                <a:gd name="connsiteY33" fmla="*/ 3077 h 10000"/>
                <a:gd name="connsiteX34" fmla="*/ 4974 w 10000"/>
                <a:gd name="connsiteY34" fmla="*/ 3007 h 10000"/>
                <a:gd name="connsiteX35" fmla="*/ 5825 w 10000"/>
                <a:gd name="connsiteY35" fmla="*/ 3077 h 10000"/>
                <a:gd name="connsiteX36" fmla="*/ 6624 w 10000"/>
                <a:gd name="connsiteY36" fmla="*/ 3427 h 10000"/>
                <a:gd name="connsiteX37" fmla="*/ 7345 w 10000"/>
                <a:gd name="connsiteY37" fmla="*/ 3986 h 10000"/>
                <a:gd name="connsiteX38" fmla="*/ 7990 w 10000"/>
                <a:gd name="connsiteY38" fmla="*/ 4755 h 10000"/>
                <a:gd name="connsiteX39" fmla="*/ 8170 w 10000"/>
                <a:gd name="connsiteY39" fmla="*/ 5035 h 10000"/>
                <a:gd name="connsiteX40" fmla="*/ 7706 w 10000"/>
                <a:gd name="connsiteY40" fmla="*/ 6643 h 10000"/>
                <a:gd name="connsiteX41" fmla="*/ 7706 w 10000"/>
                <a:gd name="connsiteY41" fmla="*/ 8252 h 10000"/>
                <a:gd name="connsiteX42" fmla="*/ 8299 w 10000"/>
                <a:gd name="connsiteY42" fmla="*/ 10000 h 10000"/>
                <a:gd name="connsiteX43" fmla="*/ 9356 w 10000"/>
                <a:gd name="connsiteY43" fmla="*/ 10000 h 10000"/>
                <a:gd name="connsiteX44" fmla="*/ 10000 w 10000"/>
                <a:gd name="connsiteY44" fmla="*/ 8252 h 10000"/>
                <a:gd name="connsiteX45" fmla="*/ 10000 w 10000"/>
                <a:gd name="connsiteY45" fmla="*/ 6643 h 10000"/>
                <a:gd name="connsiteX46" fmla="*/ 9948 w 10000"/>
                <a:gd name="connsiteY46" fmla="*/ 6294 h 10000"/>
                <a:gd name="connsiteX47" fmla="*/ 9923 w 10000"/>
                <a:gd name="connsiteY47" fmla="*/ 5944 h 10000"/>
                <a:gd name="connsiteX0" fmla="*/ 9948 w 10000"/>
                <a:gd name="connsiteY0" fmla="*/ 6294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1985 w 10000"/>
                <a:gd name="connsiteY23" fmla="*/ 9720 h 10000"/>
                <a:gd name="connsiteX24" fmla="*/ 2216 w 10000"/>
                <a:gd name="connsiteY24" fmla="*/ 9091 h 10000"/>
                <a:gd name="connsiteX25" fmla="*/ 2320 w 10000"/>
                <a:gd name="connsiteY25" fmla="*/ 8252 h 10000"/>
                <a:gd name="connsiteX26" fmla="*/ 2320 w 10000"/>
                <a:gd name="connsiteY26" fmla="*/ 6643 h 10000"/>
                <a:gd name="connsiteX27" fmla="*/ 2216 w 10000"/>
                <a:gd name="connsiteY27" fmla="*/ 5944 h 10000"/>
                <a:gd name="connsiteX28" fmla="*/ 2062 w 10000"/>
                <a:gd name="connsiteY28" fmla="*/ 5385 h 10000"/>
                <a:gd name="connsiteX29" fmla="*/ 1804 w 10000"/>
                <a:gd name="connsiteY29" fmla="*/ 5035 h 10000"/>
                <a:gd name="connsiteX30" fmla="*/ 1985 w 10000"/>
                <a:gd name="connsiteY30" fmla="*/ 4755 h 10000"/>
                <a:gd name="connsiteX31" fmla="*/ 2629 w 10000"/>
                <a:gd name="connsiteY31" fmla="*/ 3986 h 10000"/>
                <a:gd name="connsiteX32" fmla="*/ 3351 w 10000"/>
                <a:gd name="connsiteY32" fmla="*/ 3427 h 10000"/>
                <a:gd name="connsiteX33" fmla="*/ 4149 w 10000"/>
                <a:gd name="connsiteY33" fmla="*/ 3077 h 10000"/>
                <a:gd name="connsiteX34" fmla="*/ 4974 w 10000"/>
                <a:gd name="connsiteY34" fmla="*/ 3007 h 10000"/>
                <a:gd name="connsiteX35" fmla="*/ 5825 w 10000"/>
                <a:gd name="connsiteY35" fmla="*/ 3077 h 10000"/>
                <a:gd name="connsiteX36" fmla="*/ 6624 w 10000"/>
                <a:gd name="connsiteY36" fmla="*/ 3427 h 10000"/>
                <a:gd name="connsiteX37" fmla="*/ 7345 w 10000"/>
                <a:gd name="connsiteY37" fmla="*/ 3986 h 10000"/>
                <a:gd name="connsiteX38" fmla="*/ 7990 w 10000"/>
                <a:gd name="connsiteY38" fmla="*/ 4755 h 10000"/>
                <a:gd name="connsiteX39" fmla="*/ 8170 w 10000"/>
                <a:gd name="connsiteY39" fmla="*/ 5035 h 10000"/>
                <a:gd name="connsiteX40" fmla="*/ 7706 w 10000"/>
                <a:gd name="connsiteY40" fmla="*/ 6643 h 10000"/>
                <a:gd name="connsiteX41" fmla="*/ 7706 w 10000"/>
                <a:gd name="connsiteY41" fmla="*/ 8252 h 10000"/>
                <a:gd name="connsiteX42" fmla="*/ 8299 w 10000"/>
                <a:gd name="connsiteY42" fmla="*/ 10000 h 10000"/>
                <a:gd name="connsiteX43" fmla="*/ 9356 w 10000"/>
                <a:gd name="connsiteY43" fmla="*/ 10000 h 10000"/>
                <a:gd name="connsiteX44" fmla="*/ 10000 w 10000"/>
                <a:gd name="connsiteY44" fmla="*/ 8252 h 10000"/>
                <a:gd name="connsiteX45" fmla="*/ 10000 w 10000"/>
                <a:gd name="connsiteY45" fmla="*/ 6643 h 10000"/>
                <a:gd name="connsiteX46" fmla="*/ 9948 w 10000"/>
                <a:gd name="connsiteY46" fmla="*/ 6294 h 10000"/>
                <a:gd name="connsiteX0" fmla="*/ 10000 w 10000"/>
                <a:gd name="connsiteY0" fmla="*/ 6643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1985 w 10000"/>
                <a:gd name="connsiteY23" fmla="*/ 9720 h 10000"/>
                <a:gd name="connsiteX24" fmla="*/ 2216 w 10000"/>
                <a:gd name="connsiteY24" fmla="*/ 9091 h 10000"/>
                <a:gd name="connsiteX25" fmla="*/ 2320 w 10000"/>
                <a:gd name="connsiteY25" fmla="*/ 8252 h 10000"/>
                <a:gd name="connsiteX26" fmla="*/ 2320 w 10000"/>
                <a:gd name="connsiteY26" fmla="*/ 6643 h 10000"/>
                <a:gd name="connsiteX27" fmla="*/ 2216 w 10000"/>
                <a:gd name="connsiteY27" fmla="*/ 5944 h 10000"/>
                <a:gd name="connsiteX28" fmla="*/ 2062 w 10000"/>
                <a:gd name="connsiteY28" fmla="*/ 5385 h 10000"/>
                <a:gd name="connsiteX29" fmla="*/ 1804 w 10000"/>
                <a:gd name="connsiteY29" fmla="*/ 5035 h 10000"/>
                <a:gd name="connsiteX30" fmla="*/ 1985 w 10000"/>
                <a:gd name="connsiteY30" fmla="*/ 4755 h 10000"/>
                <a:gd name="connsiteX31" fmla="*/ 2629 w 10000"/>
                <a:gd name="connsiteY31" fmla="*/ 3986 h 10000"/>
                <a:gd name="connsiteX32" fmla="*/ 3351 w 10000"/>
                <a:gd name="connsiteY32" fmla="*/ 3427 h 10000"/>
                <a:gd name="connsiteX33" fmla="*/ 4149 w 10000"/>
                <a:gd name="connsiteY33" fmla="*/ 3077 h 10000"/>
                <a:gd name="connsiteX34" fmla="*/ 4974 w 10000"/>
                <a:gd name="connsiteY34" fmla="*/ 3007 h 10000"/>
                <a:gd name="connsiteX35" fmla="*/ 5825 w 10000"/>
                <a:gd name="connsiteY35" fmla="*/ 3077 h 10000"/>
                <a:gd name="connsiteX36" fmla="*/ 6624 w 10000"/>
                <a:gd name="connsiteY36" fmla="*/ 3427 h 10000"/>
                <a:gd name="connsiteX37" fmla="*/ 7345 w 10000"/>
                <a:gd name="connsiteY37" fmla="*/ 3986 h 10000"/>
                <a:gd name="connsiteX38" fmla="*/ 7990 w 10000"/>
                <a:gd name="connsiteY38" fmla="*/ 4755 h 10000"/>
                <a:gd name="connsiteX39" fmla="*/ 8170 w 10000"/>
                <a:gd name="connsiteY39" fmla="*/ 5035 h 10000"/>
                <a:gd name="connsiteX40" fmla="*/ 7706 w 10000"/>
                <a:gd name="connsiteY40" fmla="*/ 6643 h 10000"/>
                <a:gd name="connsiteX41" fmla="*/ 7706 w 10000"/>
                <a:gd name="connsiteY41" fmla="*/ 8252 h 10000"/>
                <a:gd name="connsiteX42" fmla="*/ 8299 w 10000"/>
                <a:gd name="connsiteY42" fmla="*/ 10000 h 10000"/>
                <a:gd name="connsiteX43" fmla="*/ 9356 w 10000"/>
                <a:gd name="connsiteY43" fmla="*/ 10000 h 10000"/>
                <a:gd name="connsiteX44" fmla="*/ 10000 w 10000"/>
                <a:gd name="connsiteY44" fmla="*/ 8252 h 10000"/>
                <a:gd name="connsiteX45" fmla="*/ 10000 w 10000"/>
                <a:gd name="connsiteY45" fmla="*/ 6643 h 10000"/>
                <a:gd name="connsiteX0" fmla="*/ 10000 w 10000"/>
                <a:gd name="connsiteY0" fmla="*/ 6643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1985 w 10000"/>
                <a:gd name="connsiteY23" fmla="*/ 9720 h 10000"/>
                <a:gd name="connsiteX24" fmla="*/ 2216 w 10000"/>
                <a:gd name="connsiteY24" fmla="*/ 9091 h 10000"/>
                <a:gd name="connsiteX25" fmla="*/ 2320 w 10000"/>
                <a:gd name="connsiteY25" fmla="*/ 8252 h 10000"/>
                <a:gd name="connsiteX26" fmla="*/ 2320 w 10000"/>
                <a:gd name="connsiteY26" fmla="*/ 6643 h 10000"/>
                <a:gd name="connsiteX27" fmla="*/ 2216 w 10000"/>
                <a:gd name="connsiteY27" fmla="*/ 5944 h 10000"/>
                <a:gd name="connsiteX28" fmla="*/ 2062 w 10000"/>
                <a:gd name="connsiteY28" fmla="*/ 5385 h 10000"/>
                <a:gd name="connsiteX29" fmla="*/ 1804 w 10000"/>
                <a:gd name="connsiteY29" fmla="*/ 5035 h 10000"/>
                <a:gd name="connsiteX30" fmla="*/ 1985 w 10000"/>
                <a:gd name="connsiteY30" fmla="*/ 4755 h 10000"/>
                <a:gd name="connsiteX31" fmla="*/ 2629 w 10000"/>
                <a:gd name="connsiteY31" fmla="*/ 3986 h 10000"/>
                <a:gd name="connsiteX32" fmla="*/ 3351 w 10000"/>
                <a:gd name="connsiteY32" fmla="*/ 3427 h 10000"/>
                <a:gd name="connsiteX33" fmla="*/ 4149 w 10000"/>
                <a:gd name="connsiteY33" fmla="*/ 3077 h 10000"/>
                <a:gd name="connsiteX34" fmla="*/ 4974 w 10000"/>
                <a:gd name="connsiteY34" fmla="*/ 3007 h 10000"/>
                <a:gd name="connsiteX35" fmla="*/ 5825 w 10000"/>
                <a:gd name="connsiteY35" fmla="*/ 3077 h 10000"/>
                <a:gd name="connsiteX36" fmla="*/ 6624 w 10000"/>
                <a:gd name="connsiteY36" fmla="*/ 3427 h 10000"/>
                <a:gd name="connsiteX37" fmla="*/ 7990 w 10000"/>
                <a:gd name="connsiteY37" fmla="*/ 4755 h 10000"/>
                <a:gd name="connsiteX38" fmla="*/ 8170 w 10000"/>
                <a:gd name="connsiteY38" fmla="*/ 5035 h 10000"/>
                <a:gd name="connsiteX39" fmla="*/ 7706 w 10000"/>
                <a:gd name="connsiteY39" fmla="*/ 6643 h 10000"/>
                <a:gd name="connsiteX40" fmla="*/ 7706 w 10000"/>
                <a:gd name="connsiteY40" fmla="*/ 8252 h 10000"/>
                <a:gd name="connsiteX41" fmla="*/ 8299 w 10000"/>
                <a:gd name="connsiteY41" fmla="*/ 10000 h 10000"/>
                <a:gd name="connsiteX42" fmla="*/ 9356 w 10000"/>
                <a:gd name="connsiteY42" fmla="*/ 10000 h 10000"/>
                <a:gd name="connsiteX43" fmla="*/ 10000 w 10000"/>
                <a:gd name="connsiteY43" fmla="*/ 8252 h 10000"/>
                <a:gd name="connsiteX44" fmla="*/ 10000 w 10000"/>
                <a:gd name="connsiteY44" fmla="*/ 6643 h 10000"/>
                <a:gd name="connsiteX0" fmla="*/ 10000 w 10000"/>
                <a:gd name="connsiteY0" fmla="*/ 6643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1985 w 10000"/>
                <a:gd name="connsiteY23" fmla="*/ 9720 h 10000"/>
                <a:gd name="connsiteX24" fmla="*/ 2216 w 10000"/>
                <a:gd name="connsiteY24" fmla="*/ 9091 h 10000"/>
                <a:gd name="connsiteX25" fmla="*/ 2320 w 10000"/>
                <a:gd name="connsiteY25" fmla="*/ 8252 h 10000"/>
                <a:gd name="connsiteX26" fmla="*/ 2320 w 10000"/>
                <a:gd name="connsiteY26" fmla="*/ 6643 h 10000"/>
                <a:gd name="connsiteX27" fmla="*/ 2216 w 10000"/>
                <a:gd name="connsiteY27" fmla="*/ 5944 h 10000"/>
                <a:gd name="connsiteX28" fmla="*/ 2062 w 10000"/>
                <a:gd name="connsiteY28" fmla="*/ 5385 h 10000"/>
                <a:gd name="connsiteX29" fmla="*/ 1804 w 10000"/>
                <a:gd name="connsiteY29" fmla="*/ 5035 h 10000"/>
                <a:gd name="connsiteX30" fmla="*/ 1985 w 10000"/>
                <a:gd name="connsiteY30" fmla="*/ 4755 h 10000"/>
                <a:gd name="connsiteX31" fmla="*/ 2629 w 10000"/>
                <a:gd name="connsiteY31" fmla="*/ 3986 h 10000"/>
                <a:gd name="connsiteX32" fmla="*/ 3351 w 10000"/>
                <a:gd name="connsiteY32" fmla="*/ 3427 h 10000"/>
                <a:gd name="connsiteX33" fmla="*/ 4149 w 10000"/>
                <a:gd name="connsiteY33" fmla="*/ 3077 h 10000"/>
                <a:gd name="connsiteX34" fmla="*/ 4974 w 10000"/>
                <a:gd name="connsiteY34" fmla="*/ 3007 h 10000"/>
                <a:gd name="connsiteX35" fmla="*/ 5825 w 10000"/>
                <a:gd name="connsiteY35" fmla="*/ 3077 h 10000"/>
                <a:gd name="connsiteX36" fmla="*/ 7990 w 10000"/>
                <a:gd name="connsiteY36" fmla="*/ 4755 h 10000"/>
                <a:gd name="connsiteX37" fmla="*/ 8170 w 10000"/>
                <a:gd name="connsiteY37" fmla="*/ 5035 h 10000"/>
                <a:gd name="connsiteX38" fmla="*/ 7706 w 10000"/>
                <a:gd name="connsiteY38" fmla="*/ 6643 h 10000"/>
                <a:gd name="connsiteX39" fmla="*/ 7706 w 10000"/>
                <a:gd name="connsiteY39" fmla="*/ 8252 h 10000"/>
                <a:gd name="connsiteX40" fmla="*/ 8299 w 10000"/>
                <a:gd name="connsiteY40" fmla="*/ 10000 h 10000"/>
                <a:gd name="connsiteX41" fmla="*/ 9356 w 10000"/>
                <a:gd name="connsiteY41" fmla="*/ 10000 h 10000"/>
                <a:gd name="connsiteX42" fmla="*/ 10000 w 10000"/>
                <a:gd name="connsiteY42" fmla="*/ 8252 h 10000"/>
                <a:gd name="connsiteX43" fmla="*/ 10000 w 10000"/>
                <a:gd name="connsiteY43" fmla="*/ 6643 h 10000"/>
                <a:gd name="connsiteX0" fmla="*/ 10000 w 10000"/>
                <a:gd name="connsiteY0" fmla="*/ 6643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1985 w 10000"/>
                <a:gd name="connsiteY23" fmla="*/ 9720 h 10000"/>
                <a:gd name="connsiteX24" fmla="*/ 2216 w 10000"/>
                <a:gd name="connsiteY24" fmla="*/ 9091 h 10000"/>
                <a:gd name="connsiteX25" fmla="*/ 2320 w 10000"/>
                <a:gd name="connsiteY25" fmla="*/ 8252 h 10000"/>
                <a:gd name="connsiteX26" fmla="*/ 2320 w 10000"/>
                <a:gd name="connsiteY26" fmla="*/ 6643 h 10000"/>
                <a:gd name="connsiteX27" fmla="*/ 2216 w 10000"/>
                <a:gd name="connsiteY27" fmla="*/ 5944 h 10000"/>
                <a:gd name="connsiteX28" fmla="*/ 2062 w 10000"/>
                <a:gd name="connsiteY28" fmla="*/ 5385 h 10000"/>
                <a:gd name="connsiteX29" fmla="*/ 1804 w 10000"/>
                <a:gd name="connsiteY29" fmla="*/ 5035 h 10000"/>
                <a:gd name="connsiteX30" fmla="*/ 1985 w 10000"/>
                <a:gd name="connsiteY30" fmla="*/ 4755 h 10000"/>
                <a:gd name="connsiteX31" fmla="*/ 2629 w 10000"/>
                <a:gd name="connsiteY31" fmla="*/ 3986 h 10000"/>
                <a:gd name="connsiteX32" fmla="*/ 3351 w 10000"/>
                <a:gd name="connsiteY32" fmla="*/ 3427 h 10000"/>
                <a:gd name="connsiteX33" fmla="*/ 4149 w 10000"/>
                <a:gd name="connsiteY33" fmla="*/ 3077 h 10000"/>
                <a:gd name="connsiteX34" fmla="*/ 4974 w 10000"/>
                <a:gd name="connsiteY34" fmla="*/ 3007 h 10000"/>
                <a:gd name="connsiteX35" fmla="*/ 7990 w 10000"/>
                <a:gd name="connsiteY35" fmla="*/ 4755 h 10000"/>
                <a:gd name="connsiteX36" fmla="*/ 8170 w 10000"/>
                <a:gd name="connsiteY36" fmla="*/ 5035 h 10000"/>
                <a:gd name="connsiteX37" fmla="*/ 7706 w 10000"/>
                <a:gd name="connsiteY37" fmla="*/ 6643 h 10000"/>
                <a:gd name="connsiteX38" fmla="*/ 7706 w 10000"/>
                <a:gd name="connsiteY38" fmla="*/ 8252 h 10000"/>
                <a:gd name="connsiteX39" fmla="*/ 8299 w 10000"/>
                <a:gd name="connsiteY39" fmla="*/ 10000 h 10000"/>
                <a:gd name="connsiteX40" fmla="*/ 9356 w 10000"/>
                <a:gd name="connsiteY40" fmla="*/ 10000 h 10000"/>
                <a:gd name="connsiteX41" fmla="*/ 10000 w 10000"/>
                <a:gd name="connsiteY41" fmla="*/ 8252 h 10000"/>
                <a:gd name="connsiteX42" fmla="*/ 10000 w 10000"/>
                <a:gd name="connsiteY42" fmla="*/ 6643 h 10000"/>
                <a:gd name="connsiteX0" fmla="*/ 10000 w 10000"/>
                <a:gd name="connsiteY0" fmla="*/ 6643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1985 w 10000"/>
                <a:gd name="connsiteY23" fmla="*/ 9720 h 10000"/>
                <a:gd name="connsiteX24" fmla="*/ 2216 w 10000"/>
                <a:gd name="connsiteY24" fmla="*/ 9091 h 10000"/>
                <a:gd name="connsiteX25" fmla="*/ 2320 w 10000"/>
                <a:gd name="connsiteY25" fmla="*/ 8252 h 10000"/>
                <a:gd name="connsiteX26" fmla="*/ 2320 w 10000"/>
                <a:gd name="connsiteY26" fmla="*/ 6643 h 10000"/>
                <a:gd name="connsiteX27" fmla="*/ 2216 w 10000"/>
                <a:gd name="connsiteY27" fmla="*/ 5944 h 10000"/>
                <a:gd name="connsiteX28" fmla="*/ 2062 w 10000"/>
                <a:gd name="connsiteY28" fmla="*/ 5385 h 10000"/>
                <a:gd name="connsiteX29" fmla="*/ 1804 w 10000"/>
                <a:gd name="connsiteY29" fmla="*/ 5035 h 10000"/>
                <a:gd name="connsiteX30" fmla="*/ 1985 w 10000"/>
                <a:gd name="connsiteY30" fmla="*/ 4755 h 10000"/>
                <a:gd name="connsiteX31" fmla="*/ 2629 w 10000"/>
                <a:gd name="connsiteY31" fmla="*/ 3986 h 10000"/>
                <a:gd name="connsiteX32" fmla="*/ 3351 w 10000"/>
                <a:gd name="connsiteY32" fmla="*/ 3427 h 10000"/>
                <a:gd name="connsiteX33" fmla="*/ 4149 w 10000"/>
                <a:gd name="connsiteY33" fmla="*/ 3077 h 10000"/>
                <a:gd name="connsiteX34" fmla="*/ 7990 w 10000"/>
                <a:gd name="connsiteY34" fmla="*/ 4755 h 10000"/>
                <a:gd name="connsiteX35" fmla="*/ 8170 w 10000"/>
                <a:gd name="connsiteY35" fmla="*/ 5035 h 10000"/>
                <a:gd name="connsiteX36" fmla="*/ 7706 w 10000"/>
                <a:gd name="connsiteY36" fmla="*/ 6643 h 10000"/>
                <a:gd name="connsiteX37" fmla="*/ 7706 w 10000"/>
                <a:gd name="connsiteY37" fmla="*/ 8252 h 10000"/>
                <a:gd name="connsiteX38" fmla="*/ 8299 w 10000"/>
                <a:gd name="connsiteY38" fmla="*/ 10000 h 10000"/>
                <a:gd name="connsiteX39" fmla="*/ 9356 w 10000"/>
                <a:gd name="connsiteY39" fmla="*/ 10000 h 10000"/>
                <a:gd name="connsiteX40" fmla="*/ 10000 w 10000"/>
                <a:gd name="connsiteY40" fmla="*/ 8252 h 10000"/>
                <a:gd name="connsiteX41" fmla="*/ 10000 w 10000"/>
                <a:gd name="connsiteY41" fmla="*/ 6643 h 10000"/>
                <a:gd name="connsiteX0" fmla="*/ 10000 w 10000"/>
                <a:gd name="connsiteY0" fmla="*/ 6643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1985 w 10000"/>
                <a:gd name="connsiteY23" fmla="*/ 9720 h 10000"/>
                <a:gd name="connsiteX24" fmla="*/ 2216 w 10000"/>
                <a:gd name="connsiteY24" fmla="*/ 9091 h 10000"/>
                <a:gd name="connsiteX25" fmla="*/ 2320 w 10000"/>
                <a:gd name="connsiteY25" fmla="*/ 8252 h 10000"/>
                <a:gd name="connsiteX26" fmla="*/ 2320 w 10000"/>
                <a:gd name="connsiteY26" fmla="*/ 6643 h 10000"/>
                <a:gd name="connsiteX27" fmla="*/ 2216 w 10000"/>
                <a:gd name="connsiteY27" fmla="*/ 5944 h 10000"/>
                <a:gd name="connsiteX28" fmla="*/ 2062 w 10000"/>
                <a:gd name="connsiteY28" fmla="*/ 5385 h 10000"/>
                <a:gd name="connsiteX29" fmla="*/ 1804 w 10000"/>
                <a:gd name="connsiteY29" fmla="*/ 5035 h 10000"/>
                <a:gd name="connsiteX30" fmla="*/ 1985 w 10000"/>
                <a:gd name="connsiteY30" fmla="*/ 4755 h 10000"/>
                <a:gd name="connsiteX31" fmla="*/ 2629 w 10000"/>
                <a:gd name="connsiteY31" fmla="*/ 3986 h 10000"/>
                <a:gd name="connsiteX32" fmla="*/ 3351 w 10000"/>
                <a:gd name="connsiteY32" fmla="*/ 3427 h 10000"/>
                <a:gd name="connsiteX33" fmla="*/ 7990 w 10000"/>
                <a:gd name="connsiteY33" fmla="*/ 4755 h 10000"/>
                <a:gd name="connsiteX34" fmla="*/ 8170 w 10000"/>
                <a:gd name="connsiteY34" fmla="*/ 5035 h 10000"/>
                <a:gd name="connsiteX35" fmla="*/ 7706 w 10000"/>
                <a:gd name="connsiteY35" fmla="*/ 6643 h 10000"/>
                <a:gd name="connsiteX36" fmla="*/ 7706 w 10000"/>
                <a:gd name="connsiteY36" fmla="*/ 8252 h 10000"/>
                <a:gd name="connsiteX37" fmla="*/ 8299 w 10000"/>
                <a:gd name="connsiteY37" fmla="*/ 10000 h 10000"/>
                <a:gd name="connsiteX38" fmla="*/ 9356 w 10000"/>
                <a:gd name="connsiteY38" fmla="*/ 10000 h 10000"/>
                <a:gd name="connsiteX39" fmla="*/ 10000 w 10000"/>
                <a:gd name="connsiteY39" fmla="*/ 8252 h 10000"/>
                <a:gd name="connsiteX40" fmla="*/ 10000 w 10000"/>
                <a:gd name="connsiteY40" fmla="*/ 6643 h 10000"/>
                <a:gd name="connsiteX0" fmla="*/ 10000 w 10000"/>
                <a:gd name="connsiteY0" fmla="*/ 6643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1985 w 10000"/>
                <a:gd name="connsiteY23" fmla="*/ 9720 h 10000"/>
                <a:gd name="connsiteX24" fmla="*/ 2216 w 10000"/>
                <a:gd name="connsiteY24" fmla="*/ 9091 h 10000"/>
                <a:gd name="connsiteX25" fmla="*/ 2320 w 10000"/>
                <a:gd name="connsiteY25" fmla="*/ 8252 h 10000"/>
                <a:gd name="connsiteX26" fmla="*/ 2320 w 10000"/>
                <a:gd name="connsiteY26" fmla="*/ 6643 h 10000"/>
                <a:gd name="connsiteX27" fmla="*/ 2216 w 10000"/>
                <a:gd name="connsiteY27" fmla="*/ 5944 h 10000"/>
                <a:gd name="connsiteX28" fmla="*/ 2062 w 10000"/>
                <a:gd name="connsiteY28" fmla="*/ 5385 h 10000"/>
                <a:gd name="connsiteX29" fmla="*/ 1804 w 10000"/>
                <a:gd name="connsiteY29" fmla="*/ 5035 h 10000"/>
                <a:gd name="connsiteX30" fmla="*/ 1985 w 10000"/>
                <a:gd name="connsiteY30" fmla="*/ 4755 h 10000"/>
                <a:gd name="connsiteX31" fmla="*/ 2629 w 10000"/>
                <a:gd name="connsiteY31" fmla="*/ 3986 h 10000"/>
                <a:gd name="connsiteX32" fmla="*/ 7990 w 10000"/>
                <a:gd name="connsiteY32" fmla="*/ 4755 h 10000"/>
                <a:gd name="connsiteX33" fmla="*/ 8170 w 10000"/>
                <a:gd name="connsiteY33" fmla="*/ 5035 h 10000"/>
                <a:gd name="connsiteX34" fmla="*/ 7706 w 10000"/>
                <a:gd name="connsiteY34" fmla="*/ 6643 h 10000"/>
                <a:gd name="connsiteX35" fmla="*/ 7706 w 10000"/>
                <a:gd name="connsiteY35" fmla="*/ 8252 h 10000"/>
                <a:gd name="connsiteX36" fmla="*/ 8299 w 10000"/>
                <a:gd name="connsiteY36" fmla="*/ 10000 h 10000"/>
                <a:gd name="connsiteX37" fmla="*/ 9356 w 10000"/>
                <a:gd name="connsiteY37" fmla="*/ 10000 h 10000"/>
                <a:gd name="connsiteX38" fmla="*/ 10000 w 10000"/>
                <a:gd name="connsiteY38" fmla="*/ 8252 h 10000"/>
                <a:gd name="connsiteX39" fmla="*/ 10000 w 10000"/>
                <a:gd name="connsiteY39" fmla="*/ 6643 h 10000"/>
                <a:gd name="connsiteX0" fmla="*/ 10000 w 10000"/>
                <a:gd name="connsiteY0" fmla="*/ 6643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1985 w 10000"/>
                <a:gd name="connsiteY23" fmla="*/ 9720 h 10000"/>
                <a:gd name="connsiteX24" fmla="*/ 2216 w 10000"/>
                <a:gd name="connsiteY24" fmla="*/ 9091 h 10000"/>
                <a:gd name="connsiteX25" fmla="*/ 2320 w 10000"/>
                <a:gd name="connsiteY25" fmla="*/ 8252 h 10000"/>
                <a:gd name="connsiteX26" fmla="*/ 2320 w 10000"/>
                <a:gd name="connsiteY26" fmla="*/ 6643 h 10000"/>
                <a:gd name="connsiteX27" fmla="*/ 2216 w 10000"/>
                <a:gd name="connsiteY27" fmla="*/ 5944 h 10000"/>
                <a:gd name="connsiteX28" fmla="*/ 2062 w 10000"/>
                <a:gd name="connsiteY28" fmla="*/ 5385 h 10000"/>
                <a:gd name="connsiteX29" fmla="*/ 1804 w 10000"/>
                <a:gd name="connsiteY29" fmla="*/ 5035 h 10000"/>
                <a:gd name="connsiteX30" fmla="*/ 1985 w 10000"/>
                <a:gd name="connsiteY30" fmla="*/ 4755 h 10000"/>
                <a:gd name="connsiteX31" fmla="*/ 7990 w 10000"/>
                <a:gd name="connsiteY31" fmla="*/ 4755 h 10000"/>
                <a:gd name="connsiteX32" fmla="*/ 8170 w 10000"/>
                <a:gd name="connsiteY32" fmla="*/ 5035 h 10000"/>
                <a:gd name="connsiteX33" fmla="*/ 7706 w 10000"/>
                <a:gd name="connsiteY33" fmla="*/ 6643 h 10000"/>
                <a:gd name="connsiteX34" fmla="*/ 7706 w 10000"/>
                <a:gd name="connsiteY34" fmla="*/ 8252 h 10000"/>
                <a:gd name="connsiteX35" fmla="*/ 8299 w 10000"/>
                <a:gd name="connsiteY35" fmla="*/ 10000 h 10000"/>
                <a:gd name="connsiteX36" fmla="*/ 9356 w 10000"/>
                <a:gd name="connsiteY36" fmla="*/ 10000 h 10000"/>
                <a:gd name="connsiteX37" fmla="*/ 10000 w 10000"/>
                <a:gd name="connsiteY37" fmla="*/ 8252 h 10000"/>
                <a:gd name="connsiteX38" fmla="*/ 10000 w 10000"/>
                <a:gd name="connsiteY38" fmla="*/ 6643 h 10000"/>
                <a:gd name="connsiteX0" fmla="*/ 10000 w 10000"/>
                <a:gd name="connsiteY0" fmla="*/ 6643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1985 w 10000"/>
                <a:gd name="connsiteY23" fmla="*/ 9720 h 10000"/>
                <a:gd name="connsiteX24" fmla="*/ 2216 w 10000"/>
                <a:gd name="connsiteY24" fmla="*/ 9091 h 10000"/>
                <a:gd name="connsiteX25" fmla="*/ 2320 w 10000"/>
                <a:gd name="connsiteY25" fmla="*/ 8252 h 10000"/>
                <a:gd name="connsiteX26" fmla="*/ 2320 w 10000"/>
                <a:gd name="connsiteY26" fmla="*/ 6643 h 10000"/>
                <a:gd name="connsiteX27" fmla="*/ 2216 w 10000"/>
                <a:gd name="connsiteY27" fmla="*/ 5944 h 10000"/>
                <a:gd name="connsiteX28" fmla="*/ 2062 w 10000"/>
                <a:gd name="connsiteY28" fmla="*/ 5385 h 10000"/>
                <a:gd name="connsiteX29" fmla="*/ 1804 w 10000"/>
                <a:gd name="connsiteY29" fmla="*/ 5035 h 10000"/>
                <a:gd name="connsiteX30" fmla="*/ 1985 w 10000"/>
                <a:gd name="connsiteY30" fmla="*/ 4755 h 10000"/>
                <a:gd name="connsiteX31" fmla="*/ 7990 w 10000"/>
                <a:gd name="connsiteY31" fmla="*/ 4755 h 10000"/>
                <a:gd name="connsiteX32" fmla="*/ 8170 w 10000"/>
                <a:gd name="connsiteY32" fmla="*/ 5035 h 10000"/>
                <a:gd name="connsiteX33" fmla="*/ 7706 w 10000"/>
                <a:gd name="connsiteY33" fmla="*/ 6643 h 10000"/>
                <a:gd name="connsiteX34" fmla="*/ 7706 w 10000"/>
                <a:gd name="connsiteY34" fmla="*/ 8252 h 10000"/>
                <a:gd name="connsiteX35" fmla="*/ 8299 w 10000"/>
                <a:gd name="connsiteY35" fmla="*/ 10000 h 10000"/>
                <a:gd name="connsiteX36" fmla="*/ 9356 w 10000"/>
                <a:gd name="connsiteY36" fmla="*/ 10000 h 10000"/>
                <a:gd name="connsiteX37" fmla="*/ 10000 w 10000"/>
                <a:gd name="connsiteY37" fmla="*/ 8252 h 10000"/>
                <a:gd name="connsiteX38" fmla="*/ 10000 w 10000"/>
                <a:gd name="connsiteY38" fmla="*/ 6643 h 10000"/>
                <a:gd name="connsiteX0" fmla="*/ 10000 w 10000"/>
                <a:gd name="connsiteY0" fmla="*/ 6643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1985 w 10000"/>
                <a:gd name="connsiteY23" fmla="*/ 9720 h 10000"/>
                <a:gd name="connsiteX24" fmla="*/ 2216 w 10000"/>
                <a:gd name="connsiteY24" fmla="*/ 9091 h 10000"/>
                <a:gd name="connsiteX25" fmla="*/ 2320 w 10000"/>
                <a:gd name="connsiteY25" fmla="*/ 8252 h 10000"/>
                <a:gd name="connsiteX26" fmla="*/ 2320 w 10000"/>
                <a:gd name="connsiteY26" fmla="*/ 6643 h 10000"/>
                <a:gd name="connsiteX27" fmla="*/ 2216 w 10000"/>
                <a:gd name="connsiteY27" fmla="*/ 5944 h 10000"/>
                <a:gd name="connsiteX28" fmla="*/ 2062 w 10000"/>
                <a:gd name="connsiteY28" fmla="*/ 5385 h 10000"/>
                <a:gd name="connsiteX29" fmla="*/ 1804 w 10000"/>
                <a:gd name="connsiteY29" fmla="*/ 5035 h 10000"/>
                <a:gd name="connsiteX30" fmla="*/ 1985 w 10000"/>
                <a:gd name="connsiteY30" fmla="*/ 4755 h 10000"/>
                <a:gd name="connsiteX31" fmla="*/ 7990 w 10000"/>
                <a:gd name="connsiteY31" fmla="*/ 4755 h 10000"/>
                <a:gd name="connsiteX32" fmla="*/ 8170 w 10000"/>
                <a:gd name="connsiteY32" fmla="*/ 5035 h 10000"/>
                <a:gd name="connsiteX33" fmla="*/ 7706 w 10000"/>
                <a:gd name="connsiteY33" fmla="*/ 6643 h 10000"/>
                <a:gd name="connsiteX34" fmla="*/ 7706 w 10000"/>
                <a:gd name="connsiteY34" fmla="*/ 8252 h 10000"/>
                <a:gd name="connsiteX35" fmla="*/ 8299 w 10000"/>
                <a:gd name="connsiteY35" fmla="*/ 10000 h 10000"/>
                <a:gd name="connsiteX36" fmla="*/ 9356 w 10000"/>
                <a:gd name="connsiteY36" fmla="*/ 10000 h 10000"/>
                <a:gd name="connsiteX37" fmla="*/ 10000 w 10000"/>
                <a:gd name="connsiteY37" fmla="*/ 8252 h 10000"/>
                <a:gd name="connsiteX38" fmla="*/ 10000 w 10000"/>
                <a:gd name="connsiteY38" fmla="*/ 6643 h 10000"/>
                <a:gd name="connsiteX0" fmla="*/ 10000 w 10000"/>
                <a:gd name="connsiteY0" fmla="*/ 6643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1985 w 10000"/>
                <a:gd name="connsiteY23" fmla="*/ 9720 h 10000"/>
                <a:gd name="connsiteX24" fmla="*/ 2216 w 10000"/>
                <a:gd name="connsiteY24" fmla="*/ 9091 h 10000"/>
                <a:gd name="connsiteX25" fmla="*/ 2320 w 10000"/>
                <a:gd name="connsiteY25" fmla="*/ 8252 h 10000"/>
                <a:gd name="connsiteX26" fmla="*/ 2320 w 10000"/>
                <a:gd name="connsiteY26" fmla="*/ 6643 h 10000"/>
                <a:gd name="connsiteX27" fmla="*/ 2216 w 10000"/>
                <a:gd name="connsiteY27" fmla="*/ 5944 h 10000"/>
                <a:gd name="connsiteX28" fmla="*/ 2062 w 10000"/>
                <a:gd name="connsiteY28" fmla="*/ 5385 h 10000"/>
                <a:gd name="connsiteX29" fmla="*/ 1804 w 10000"/>
                <a:gd name="connsiteY29" fmla="*/ 5035 h 10000"/>
                <a:gd name="connsiteX30" fmla="*/ 1985 w 10000"/>
                <a:gd name="connsiteY30" fmla="*/ 4755 h 10000"/>
                <a:gd name="connsiteX31" fmla="*/ 7990 w 10000"/>
                <a:gd name="connsiteY31" fmla="*/ 4755 h 10000"/>
                <a:gd name="connsiteX32" fmla="*/ 8170 w 10000"/>
                <a:gd name="connsiteY32" fmla="*/ 5035 h 10000"/>
                <a:gd name="connsiteX33" fmla="*/ 7706 w 10000"/>
                <a:gd name="connsiteY33" fmla="*/ 6643 h 10000"/>
                <a:gd name="connsiteX34" fmla="*/ 7706 w 10000"/>
                <a:gd name="connsiteY34" fmla="*/ 8252 h 10000"/>
                <a:gd name="connsiteX35" fmla="*/ 8299 w 10000"/>
                <a:gd name="connsiteY35" fmla="*/ 10000 h 10000"/>
                <a:gd name="connsiteX36" fmla="*/ 9356 w 10000"/>
                <a:gd name="connsiteY36" fmla="*/ 10000 h 10000"/>
                <a:gd name="connsiteX37" fmla="*/ 10000 w 10000"/>
                <a:gd name="connsiteY37" fmla="*/ 8252 h 10000"/>
                <a:gd name="connsiteX38" fmla="*/ 10000 w 10000"/>
                <a:gd name="connsiteY38" fmla="*/ 6643 h 10000"/>
                <a:gd name="connsiteX0" fmla="*/ 10000 w 10000"/>
                <a:gd name="connsiteY0" fmla="*/ 6643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1985 w 10000"/>
                <a:gd name="connsiteY23" fmla="*/ 9720 h 10000"/>
                <a:gd name="connsiteX24" fmla="*/ 2216 w 10000"/>
                <a:gd name="connsiteY24" fmla="*/ 9091 h 10000"/>
                <a:gd name="connsiteX25" fmla="*/ 2320 w 10000"/>
                <a:gd name="connsiteY25" fmla="*/ 8252 h 10000"/>
                <a:gd name="connsiteX26" fmla="*/ 2320 w 10000"/>
                <a:gd name="connsiteY26" fmla="*/ 6643 h 10000"/>
                <a:gd name="connsiteX27" fmla="*/ 2216 w 10000"/>
                <a:gd name="connsiteY27" fmla="*/ 5944 h 10000"/>
                <a:gd name="connsiteX28" fmla="*/ 2062 w 10000"/>
                <a:gd name="connsiteY28" fmla="*/ 5385 h 10000"/>
                <a:gd name="connsiteX29" fmla="*/ 1804 w 10000"/>
                <a:gd name="connsiteY29" fmla="*/ 5035 h 10000"/>
                <a:gd name="connsiteX30" fmla="*/ 1985 w 10000"/>
                <a:gd name="connsiteY30" fmla="*/ 4755 h 10000"/>
                <a:gd name="connsiteX31" fmla="*/ 7990 w 10000"/>
                <a:gd name="connsiteY31" fmla="*/ 4755 h 10000"/>
                <a:gd name="connsiteX32" fmla="*/ 8170 w 10000"/>
                <a:gd name="connsiteY32" fmla="*/ 5035 h 10000"/>
                <a:gd name="connsiteX33" fmla="*/ 7706 w 10000"/>
                <a:gd name="connsiteY33" fmla="*/ 6643 h 10000"/>
                <a:gd name="connsiteX34" fmla="*/ 7706 w 10000"/>
                <a:gd name="connsiteY34" fmla="*/ 8252 h 10000"/>
                <a:gd name="connsiteX35" fmla="*/ 8299 w 10000"/>
                <a:gd name="connsiteY35" fmla="*/ 10000 h 10000"/>
                <a:gd name="connsiteX36" fmla="*/ 9356 w 10000"/>
                <a:gd name="connsiteY36" fmla="*/ 10000 h 10000"/>
                <a:gd name="connsiteX37" fmla="*/ 10000 w 10000"/>
                <a:gd name="connsiteY37" fmla="*/ 8252 h 10000"/>
                <a:gd name="connsiteX38" fmla="*/ 10000 w 10000"/>
                <a:gd name="connsiteY38" fmla="*/ 6643 h 10000"/>
                <a:gd name="connsiteX0" fmla="*/ 10000 w 10000"/>
                <a:gd name="connsiteY0" fmla="*/ 6643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1985 w 10000"/>
                <a:gd name="connsiteY23" fmla="*/ 9720 h 10000"/>
                <a:gd name="connsiteX24" fmla="*/ 2216 w 10000"/>
                <a:gd name="connsiteY24" fmla="*/ 9091 h 10000"/>
                <a:gd name="connsiteX25" fmla="*/ 2320 w 10000"/>
                <a:gd name="connsiteY25" fmla="*/ 8252 h 10000"/>
                <a:gd name="connsiteX26" fmla="*/ 2320 w 10000"/>
                <a:gd name="connsiteY26" fmla="*/ 6643 h 10000"/>
                <a:gd name="connsiteX27" fmla="*/ 2216 w 10000"/>
                <a:gd name="connsiteY27" fmla="*/ 5944 h 10000"/>
                <a:gd name="connsiteX28" fmla="*/ 2062 w 10000"/>
                <a:gd name="connsiteY28" fmla="*/ 5385 h 10000"/>
                <a:gd name="connsiteX29" fmla="*/ 1804 w 10000"/>
                <a:gd name="connsiteY29" fmla="*/ 5035 h 10000"/>
                <a:gd name="connsiteX30" fmla="*/ 1985 w 10000"/>
                <a:gd name="connsiteY30" fmla="*/ 4755 h 10000"/>
                <a:gd name="connsiteX31" fmla="*/ 7990 w 10000"/>
                <a:gd name="connsiteY31" fmla="*/ 4755 h 10000"/>
                <a:gd name="connsiteX32" fmla="*/ 8170 w 10000"/>
                <a:gd name="connsiteY32" fmla="*/ 5035 h 10000"/>
                <a:gd name="connsiteX33" fmla="*/ 7706 w 10000"/>
                <a:gd name="connsiteY33" fmla="*/ 6643 h 10000"/>
                <a:gd name="connsiteX34" fmla="*/ 7706 w 10000"/>
                <a:gd name="connsiteY34" fmla="*/ 8252 h 10000"/>
                <a:gd name="connsiteX35" fmla="*/ 8299 w 10000"/>
                <a:gd name="connsiteY35" fmla="*/ 10000 h 10000"/>
                <a:gd name="connsiteX36" fmla="*/ 9356 w 10000"/>
                <a:gd name="connsiteY36" fmla="*/ 10000 h 10000"/>
                <a:gd name="connsiteX37" fmla="*/ 10000 w 10000"/>
                <a:gd name="connsiteY37" fmla="*/ 8252 h 10000"/>
                <a:gd name="connsiteX38" fmla="*/ 10000 w 10000"/>
                <a:gd name="connsiteY38" fmla="*/ 6643 h 10000"/>
                <a:gd name="connsiteX0" fmla="*/ 10000 w 10000"/>
                <a:gd name="connsiteY0" fmla="*/ 6643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1985 w 10000"/>
                <a:gd name="connsiteY23" fmla="*/ 9720 h 10000"/>
                <a:gd name="connsiteX24" fmla="*/ 2216 w 10000"/>
                <a:gd name="connsiteY24" fmla="*/ 9091 h 10000"/>
                <a:gd name="connsiteX25" fmla="*/ 2320 w 10000"/>
                <a:gd name="connsiteY25" fmla="*/ 8252 h 10000"/>
                <a:gd name="connsiteX26" fmla="*/ 2320 w 10000"/>
                <a:gd name="connsiteY26" fmla="*/ 6643 h 10000"/>
                <a:gd name="connsiteX27" fmla="*/ 2216 w 10000"/>
                <a:gd name="connsiteY27" fmla="*/ 5944 h 10000"/>
                <a:gd name="connsiteX28" fmla="*/ 2062 w 10000"/>
                <a:gd name="connsiteY28" fmla="*/ 5385 h 10000"/>
                <a:gd name="connsiteX29" fmla="*/ 1804 w 10000"/>
                <a:gd name="connsiteY29" fmla="*/ 5035 h 10000"/>
                <a:gd name="connsiteX30" fmla="*/ 1985 w 10000"/>
                <a:gd name="connsiteY30" fmla="*/ 4755 h 10000"/>
                <a:gd name="connsiteX31" fmla="*/ 7990 w 10000"/>
                <a:gd name="connsiteY31" fmla="*/ 4755 h 10000"/>
                <a:gd name="connsiteX32" fmla="*/ 8170 w 10000"/>
                <a:gd name="connsiteY32" fmla="*/ 5035 h 10000"/>
                <a:gd name="connsiteX33" fmla="*/ 7706 w 10000"/>
                <a:gd name="connsiteY33" fmla="*/ 6643 h 10000"/>
                <a:gd name="connsiteX34" fmla="*/ 7706 w 10000"/>
                <a:gd name="connsiteY34" fmla="*/ 8252 h 10000"/>
                <a:gd name="connsiteX35" fmla="*/ 8299 w 10000"/>
                <a:gd name="connsiteY35" fmla="*/ 10000 h 10000"/>
                <a:gd name="connsiteX36" fmla="*/ 9356 w 10000"/>
                <a:gd name="connsiteY36" fmla="*/ 10000 h 10000"/>
                <a:gd name="connsiteX37" fmla="*/ 10000 w 10000"/>
                <a:gd name="connsiteY37" fmla="*/ 8252 h 10000"/>
                <a:gd name="connsiteX38" fmla="*/ 10000 w 10000"/>
                <a:gd name="connsiteY38" fmla="*/ 6643 h 10000"/>
                <a:gd name="connsiteX0" fmla="*/ 10000 w 10000"/>
                <a:gd name="connsiteY0" fmla="*/ 6643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1985 w 10000"/>
                <a:gd name="connsiteY23" fmla="*/ 9720 h 10000"/>
                <a:gd name="connsiteX24" fmla="*/ 2216 w 10000"/>
                <a:gd name="connsiteY24" fmla="*/ 9091 h 10000"/>
                <a:gd name="connsiteX25" fmla="*/ 2320 w 10000"/>
                <a:gd name="connsiteY25" fmla="*/ 8252 h 10000"/>
                <a:gd name="connsiteX26" fmla="*/ 2320 w 10000"/>
                <a:gd name="connsiteY26" fmla="*/ 6643 h 10000"/>
                <a:gd name="connsiteX27" fmla="*/ 2216 w 10000"/>
                <a:gd name="connsiteY27" fmla="*/ 5944 h 10000"/>
                <a:gd name="connsiteX28" fmla="*/ 2062 w 10000"/>
                <a:gd name="connsiteY28" fmla="*/ 5385 h 10000"/>
                <a:gd name="connsiteX29" fmla="*/ 1804 w 10000"/>
                <a:gd name="connsiteY29" fmla="*/ 5035 h 10000"/>
                <a:gd name="connsiteX30" fmla="*/ 1985 w 10000"/>
                <a:gd name="connsiteY30" fmla="*/ 4755 h 10000"/>
                <a:gd name="connsiteX31" fmla="*/ 7990 w 10000"/>
                <a:gd name="connsiteY31" fmla="*/ 4755 h 10000"/>
                <a:gd name="connsiteX32" fmla="*/ 8170 w 10000"/>
                <a:gd name="connsiteY32" fmla="*/ 5035 h 10000"/>
                <a:gd name="connsiteX33" fmla="*/ 7706 w 10000"/>
                <a:gd name="connsiteY33" fmla="*/ 6643 h 10000"/>
                <a:gd name="connsiteX34" fmla="*/ 7706 w 10000"/>
                <a:gd name="connsiteY34" fmla="*/ 8252 h 10000"/>
                <a:gd name="connsiteX35" fmla="*/ 8299 w 10000"/>
                <a:gd name="connsiteY35" fmla="*/ 10000 h 10000"/>
                <a:gd name="connsiteX36" fmla="*/ 9356 w 10000"/>
                <a:gd name="connsiteY36" fmla="*/ 10000 h 10000"/>
                <a:gd name="connsiteX37" fmla="*/ 10000 w 10000"/>
                <a:gd name="connsiteY37" fmla="*/ 8252 h 10000"/>
                <a:gd name="connsiteX38" fmla="*/ 10000 w 10000"/>
                <a:gd name="connsiteY38" fmla="*/ 6643 h 10000"/>
                <a:gd name="connsiteX0" fmla="*/ 10000 w 10000"/>
                <a:gd name="connsiteY0" fmla="*/ 6643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1985 w 10000"/>
                <a:gd name="connsiteY23" fmla="*/ 9720 h 10000"/>
                <a:gd name="connsiteX24" fmla="*/ 2216 w 10000"/>
                <a:gd name="connsiteY24" fmla="*/ 9091 h 10000"/>
                <a:gd name="connsiteX25" fmla="*/ 2320 w 10000"/>
                <a:gd name="connsiteY25" fmla="*/ 8252 h 10000"/>
                <a:gd name="connsiteX26" fmla="*/ 2320 w 10000"/>
                <a:gd name="connsiteY26" fmla="*/ 6643 h 10000"/>
                <a:gd name="connsiteX27" fmla="*/ 2216 w 10000"/>
                <a:gd name="connsiteY27" fmla="*/ 5944 h 10000"/>
                <a:gd name="connsiteX28" fmla="*/ 2062 w 10000"/>
                <a:gd name="connsiteY28" fmla="*/ 5385 h 10000"/>
                <a:gd name="connsiteX29" fmla="*/ 1804 w 10000"/>
                <a:gd name="connsiteY29" fmla="*/ 5035 h 10000"/>
                <a:gd name="connsiteX30" fmla="*/ 1985 w 10000"/>
                <a:gd name="connsiteY30" fmla="*/ 4755 h 10000"/>
                <a:gd name="connsiteX31" fmla="*/ 7990 w 10000"/>
                <a:gd name="connsiteY31" fmla="*/ 4755 h 10000"/>
                <a:gd name="connsiteX32" fmla="*/ 8170 w 10000"/>
                <a:gd name="connsiteY32" fmla="*/ 5035 h 10000"/>
                <a:gd name="connsiteX33" fmla="*/ 7706 w 10000"/>
                <a:gd name="connsiteY33" fmla="*/ 6643 h 10000"/>
                <a:gd name="connsiteX34" fmla="*/ 7706 w 10000"/>
                <a:gd name="connsiteY34" fmla="*/ 8252 h 10000"/>
                <a:gd name="connsiteX35" fmla="*/ 8299 w 10000"/>
                <a:gd name="connsiteY35" fmla="*/ 10000 h 10000"/>
                <a:gd name="connsiteX36" fmla="*/ 9356 w 10000"/>
                <a:gd name="connsiteY36" fmla="*/ 10000 h 10000"/>
                <a:gd name="connsiteX37" fmla="*/ 10000 w 10000"/>
                <a:gd name="connsiteY37" fmla="*/ 8252 h 10000"/>
                <a:gd name="connsiteX38" fmla="*/ 10000 w 10000"/>
                <a:gd name="connsiteY38" fmla="*/ 6643 h 10000"/>
                <a:gd name="connsiteX0" fmla="*/ 10000 w 10000"/>
                <a:gd name="connsiteY0" fmla="*/ 6643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1985 w 10000"/>
                <a:gd name="connsiteY23" fmla="*/ 9720 h 10000"/>
                <a:gd name="connsiteX24" fmla="*/ 2216 w 10000"/>
                <a:gd name="connsiteY24" fmla="*/ 9091 h 10000"/>
                <a:gd name="connsiteX25" fmla="*/ 2320 w 10000"/>
                <a:gd name="connsiteY25" fmla="*/ 8252 h 10000"/>
                <a:gd name="connsiteX26" fmla="*/ 2320 w 10000"/>
                <a:gd name="connsiteY26" fmla="*/ 6643 h 10000"/>
                <a:gd name="connsiteX27" fmla="*/ 2062 w 10000"/>
                <a:gd name="connsiteY27" fmla="*/ 5385 h 10000"/>
                <a:gd name="connsiteX28" fmla="*/ 1804 w 10000"/>
                <a:gd name="connsiteY28" fmla="*/ 5035 h 10000"/>
                <a:gd name="connsiteX29" fmla="*/ 1985 w 10000"/>
                <a:gd name="connsiteY29" fmla="*/ 4755 h 10000"/>
                <a:gd name="connsiteX30" fmla="*/ 7990 w 10000"/>
                <a:gd name="connsiteY30" fmla="*/ 4755 h 10000"/>
                <a:gd name="connsiteX31" fmla="*/ 8170 w 10000"/>
                <a:gd name="connsiteY31" fmla="*/ 5035 h 10000"/>
                <a:gd name="connsiteX32" fmla="*/ 7706 w 10000"/>
                <a:gd name="connsiteY32" fmla="*/ 6643 h 10000"/>
                <a:gd name="connsiteX33" fmla="*/ 7706 w 10000"/>
                <a:gd name="connsiteY33" fmla="*/ 8252 h 10000"/>
                <a:gd name="connsiteX34" fmla="*/ 8299 w 10000"/>
                <a:gd name="connsiteY34" fmla="*/ 10000 h 10000"/>
                <a:gd name="connsiteX35" fmla="*/ 9356 w 10000"/>
                <a:gd name="connsiteY35" fmla="*/ 10000 h 10000"/>
                <a:gd name="connsiteX36" fmla="*/ 10000 w 10000"/>
                <a:gd name="connsiteY36" fmla="*/ 8252 h 10000"/>
                <a:gd name="connsiteX37" fmla="*/ 10000 w 10000"/>
                <a:gd name="connsiteY37" fmla="*/ 6643 h 10000"/>
                <a:gd name="connsiteX0" fmla="*/ 10000 w 10000"/>
                <a:gd name="connsiteY0" fmla="*/ 6643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1985 w 10000"/>
                <a:gd name="connsiteY23" fmla="*/ 9720 h 10000"/>
                <a:gd name="connsiteX24" fmla="*/ 2216 w 10000"/>
                <a:gd name="connsiteY24" fmla="*/ 9091 h 10000"/>
                <a:gd name="connsiteX25" fmla="*/ 2320 w 10000"/>
                <a:gd name="connsiteY25" fmla="*/ 8252 h 10000"/>
                <a:gd name="connsiteX26" fmla="*/ 2320 w 10000"/>
                <a:gd name="connsiteY26" fmla="*/ 6643 h 10000"/>
                <a:gd name="connsiteX27" fmla="*/ 1804 w 10000"/>
                <a:gd name="connsiteY27" fmla="*/ 5035 h 10000"/>
                <a:gd name="connsiteX28" fmla="*/ 1985 w 10000"/>
                <a:gd name="connsiteY28" fmla="*/ 4755 h 10000"/>
                <a:gd name="connsiteX29" fmla="*/ 7990 w 10000"/>
                <a:gd name="connsiteY29" fmla="*/ 4755 h 10000"/>
                <a:gd name="connsiteX30" fmla="*/ 8170 w 10000"/>
                <a:gd name="connsiteY30" fmla="*/ 5035 h 10000"/>
                <a:gd name="connsiteX31" fmla="*/ 7706 w 10000"/>
                <a:gd name="connsiteY31" fmla="*/ 6643 h 10000"/>
                <a:gd name="connsiteX32" fmla="*/ 7706 w 10000"/>
                <a:gd name="connsiteY32" fmla="*/ 8252 h 10000"/>
                <a:gd name="connsiteX33" fmla="*/ 8299 w 10000"/>
                <a:gd name="connsiteY33" fmla="*/ 10000 h 10000"/>
                <a:gd name="connsiteX34" fmla="*/ 9356 w 10000"/>
                <a:gd name="connsiteY34" fmla="*/ 10000 h 10000"/>
                <a:gd name="connsiteX35" fmla="*/ 10000 w 10000"/>
                <a:gd name="connsiteY35" fmla="*/ 8252 h 10000"/>
                <a:gd name="connsiteX36" fmla="*/ 10000 w 10000"/>
                <a:gd name="connsiteY36" fmla="*/ 6643 h 10000"/>
                <a:gd name="connsiteX0" fmla="*/ 10000 w 10000"/>
                <a:gd name="connsiteY0" fmla="*/ 6643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1985 w 10000"/>
                <a:gd name="connsiteY23" fmla="*/ 9720 h 10000"/>
                <a:gd name="connsiteX24" fmla="*/ 2216 w 10000"/>
                <a:gd name="connsiteY24" fmla="*/ 9091 h 10000"/>
                <a:gd name="connsiteX25" fmla="*/ 2320 w 10000"/>
                <a:gd name="connsiteY25" fmla="*/ 8252 h 10000"/>
                <a:gd name="connsiteX26" fmla="*/ 2320 w 10000"/>
                <a:gd name="connsiteY26" fmla="*/ 6643 h 10000"/>
                <a:gd name="connsiteX27" fmla="*/ 1804 w 10000"/>
                <a:gd name="connsiteY27" fmla="*/ 5035 h 10000"/>
                <a:gd name="connsiteX28" fmla="*/ 1985 w 10000"/>
                <a:gd name="connsiteY28" fmla="*/ 4755 h 10000"/>
                <a:gd name="connsiteX29" fmla="*/ 7990 w 10000"/>
                <a:gd name="connsiteY29" fmla="*/ 4755 h 10000"/>
                <a:gd name="connsiteX30" fmla="*/ 8170 w 10000"/>
                <a:gd name="connsiteY30" fmla="*/ 5035 h 10000"/>
                <a:gd name="connsiteX31" fmla="*/ 7706 w 10000"/>
                <a:gd name="connsiteY31" fmla="*/ 6643 h 10000"/>
                <a:gd name="connsiteX32" fmla="*/ 7706 w 10000"/>
                <a:gd name="connsiteY32" fmla="*/ 8252 h 10000"/>
                <a:gd name="connsiteX33" fmla="*/ 8299 w 10000"/>
                <a:gd name="connsiteY33" fmla="*/ 10000 h 10000"/>
                <a:gd name="connsiteX34" fmla="*/ 9356 w 10000"/>
                <a:gd name="connsiteY34" fmla="*/ 10000 h 10000"/>
                <a:gd name="connsiteX35" fmla="*/ 10000 w 10000"/>
                <a:gd name="connsiteY35" fmla="*/ 8252 h 10000"/>
                <a:gd name="connsiteX36" fmla="*/ 10000 w 10000"/>
                <a:gd name="connsiteY36" fmla="*/ 6643 h 10000"/>
                <a:gd name="connsiteX0" fmla="*/ 10000 w 10000"/>
                <a:gd name="connsiteY0" fmla="*/ 6643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1985 w 10000"/>
                <a:gd name="connsiteY23" fmla="*/ 9720 h 10000"/>
                <a:gd name="connsiteX24" fmla="*/ 2320 w 10000"/>
                <a:gd name="connsiteY24" fmla="*/ 8252 h 10000"/>
                <a:gd name="connsiteX25" fmla="*/ 2320 w 10000"/>
                <a:gd name="connsiteY25" fmla="*/ 6643 h 10000"/>
                <a:gd name="connsiteX26" fmla="*/ 1804 w 10000"/>
                <a:gd name="connsiteY26" fmla="*/ 5035 h 10000"/>
                <a:gd name="connsiteX27" fmla="*/ 1985 w 10000"/>
                <a:gd name="connsiteY27" fmla="*/ 4755 h 10000"/>
                <a:gd name="connsiteX28" fmla="*/ 7990 w 10000"/>
                <a:gd name="connsiteY28" fmla="*/ 4755 h 10000"/>
                <a:gd name="connsiteX29" fmla="*/ 8170 w 10000"/>
                <a:gd name="connsiteY29" fmla="*/ 5035 h 10000"/>
                <a:gd name="connsiteX30" fmla="*/ 7706 w 10000"/>
                <a:gd name="connsiteY30" fmla="*/ 6643 h 10000"/>
                <a:gd name="connsiteX31" fmla="*/ 7706 w 10000"/>
                <a:gd name="connsiteY31" fmla="*/ 8252 h 10000"/>
                <a:gd name="connsiteX32" fmla="*/ 8299 w 10000"/>
                <a:gd name="connsiteY32" fmla="*/ 10000 h 10000"/>
                <a:gd name="connsiteX33" fmla="*/ 9356 w 10000"/>
                <a:gd name="connsiteY33" fmla="*/ 10000 h 10000"/>
                <a:gd name="connsiteX34" fmla="*/ 10000 w 10000"/>
                <a:gd name="connsiteY34" fmla="*/ 8252 h 10000"/>
                <a:gd name="connsiteX35" fmla="*/ 10000 w 10000"/>
                <a:gd name="connsiteY35" fmla="*/ 6643 h 10000"/>
                <a:gd name="connsiteX0" fmla="*/ 10000 w 10000"/>
                <a:gd name="connsiteY0" fmla="*/ 6643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2320 w 10000"/>
                <a:gd name="connsiteY23" fmla="*/ 8252 h 10000"/>
                <a:gd name="connsiteX24" fmla="*/ 2320 w 10000"/>
                <a:gd name="connsiteY24" fmla="*/ 6643 h 10000"/>
                <a:gd name="connsiteX25" fmla="*/ 1804 w 10000"/>
                <a:gd name="connsiteY25" fmla="*/ 5035 h 10000"/>
                <a:gd name="connsiteX26" fmla="*/ 1985 w 10000"/>
                <a:gd name="connsiteY26" fmla="*/ 4755 h 10000"/>
                <a:gd name="connsiteX27" fmla="*/ 7990 w 10000"/>
                <a:gd name="connsiteY27" fmla="*/ 4755 h 10000"/>
                <a:gd name="connsiteX28" fmla="*/ 8170 w 10000"/>
                <a:gd name="connsiteY28" fmla="*/ 5035 h 10000"/>
                <a:gd name="connsiteX29" fmla="*/ 7706 w 10000"/>
                <a:gd name="connsiteY29" fmla="*/ 6643 h 10000"/>
                <a:gd name="connsiteX30" fmla="*/ 7706 w 10000"/>
                <a:gd name="connsiteY30" fmla="*/ 8252 h 10000"/>
                <a:gd name="connsiteX31" fmla="*/ 8299 w 10000"/>
                <a:gd name="connsiteY31" fmla="*/ 10000 h 10000"/>
                <a:gd name="connsiteX32" fmla="*/ 9356 w 10000"/>
                <a:gd name="connsiteY32" fmla="*/ 10000 h 10000"/>
                <a:gd name="connsiteX33" fmla="*/ 10000 w 10000"/>
                <a:gd name="connsiteY33" fmla="*/ 8252 h 10000"/>
                <a:gd name="connsiteX34" fmla="*/ 10000 w 10000"/>
                <a:gd name="connsiteY34" fmla="*/ 6643 h 10000"/>
                <a:gd name="connsiteX0" fmla="*/ 10000 w 10000"/>
                <a:gd name="connsiteY0" fmla="*/ 6643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1675 w 10000"/>
                <a:gd name="connsiteY22" fmla="*/ 10000 h 10000"/>
                <a:gd name="connsiteX23" fmla="*/ 2320 w 10000"/>
                <a:gd name="connsiteY23" fmla="*/ 8252 h 10000"/>
                <a:gd name="connsiteX24" fmla="*/ 2320 w 10000"/>
                <a:gd name="connsiteY24" fmla="*/ 6643 h 10000"/>
                <a:gd name="connsiteX25" fmla="*/ 1804 w 10000"/>
                <a:gd name="connsiteY25" fmla="*/ 5035 h 10000"/>
                <a:gd name="connsiteX26" fmla="*/ 1985 w 10000"/>
                <a:gd name="connsiteY26" fmla="*/ 4755 h 10000"/>
                <a:gd name="connsiteX27" fmla="*/ 7990 w 10000"/>
                <a:gd name="connsiteY27" fmla="*/ 4755 h 10000"/>
                <a:gd name="connsiteX28" fmla="*/ 8170 w 10000"/>
                <a:gd name="connsiteY28" fmla="*/ 5035 h 10000"/>
                <a:gd name="connsiteX29" fmla="*/ 7706 w 10000"/>
                <a:gd name="connsiteY29" fmla="*/ 6643 h 10000"/>
                <a:gd name="connsiteX30" fmla="*/ 7706 w 10000"/>
                <a:gd name="connsiteY30" fmla="*/ 8252 h 10000"/>
                <a:gd name="connsiteX31" fmla="*/ 8299 w 10000"/>
                <a:gd name="connsiteY31" fmla="*/ 10000 h 10000"/>
                <a:gd name="connsiteX32" fmla="*/ 9356 w 10000"/>
                <a:gd name="connsiteY32" fmla="*/ 10000 h 10000"/>
                <a:gd name="connsiteX33" fmla="*/ 10000 w 10000"/>
                <a:gd name="connsiteY33" fmla="*/ 8252 h 10000"/>
                <a:gd name="connsiteX34" fmla="*/ 10000 w 10000"/>
                <a:gd name="connsiteY34" fmla="*/ 6643 h 10000"/>
                <a:gd name="connsiteX0" fmla="*/ 10000 w 10000"/>
                <a:gd name="connsiteY0" fmla="*/ 6643 h 10000"/>
                <a:gd name="connsiteX1" fmla="*/ 9459 w 10000"/>
                <a:gd name="connsiteY1" fmla="*/ 4196 h 10000"/>
                <a:gd name="connsiteX2" fmla="*/ 8969 w 10000"/>
                <a:gd name="connsiteY2" fmla="*/ 3007 h 10000"/>
                <a:gd name="connsiteX3" fmla="*/ 8351 w 10000"/>
                <a:gd name="connsiteY3" fmla="*/ 1958 h 10000"/>
                <a:gd name="connsiteX4" fmla="*/ 7629 w 10000"/>
                <a:gd name="connsiteY4" fmla="*/ 1189 h 10000"/>
                <a:gd name="connsiteX5" fmla="*/ 6830 w 10000"/>
                <a:gd name="connsiteY5" fmla="*/ 490 h 10000"/>
                <a:gd name="connsiteX6" fmla="*/ 5954 w 10000"/>
                <a:gd name="connsiteY6" fmla="*/ 210 h 10000"/>
                <a:gd name="connsiteX7" fmla="*/ 4974 w 10000"/>
                <a:gd name="connsiteY7" fmla="*/ 0 h 10000"/>
                <a:gd name="connsiteX8" fmla="*/ 4046 w 10000"/>
                <a:gd name="connsiteY8" fmla="*/ 210 h 10000"/>
                <a:gd name="connsiteX9" fmla="*/ 3119 w 10000"/>
                <a:gd name="connsiteY9" fmla="*/ 490 h 10000"/>
                <a:gd name="connsiteX10" fmla="*/ 2320 w 10000"/>
                <a:gd name="connsiteY10" fmla="*/ 1189 h 10000"/>
                <a:gd name="connsiteX11" fmla="*/ 1598 w 10000"/>
                <a:gd name="connsiteY11" fmla="*/ 2028 h 10000"/>
                <a:gd name="connsiteX12" fmla="*/ 1005 w 10000"/>
                <a:gd name="connsiteY12" fmla="*/ 3077 h 10000"/>
                <a:gd name="connsiteX13" fmla="*/ 490 w 10000"/>
                <a:gd name="connsiteY13" fmla="*/ 4266 h 10000"/>
                <a:gd name="connsiteX14" fmla="*/ 180 w 10000"/>
                <a:gd name="connsiteY14" fmla="*/ 5524 h 10000"/>
                <a:gd name="connsiteX15" fmla="*/ 77 w 10000"/>
                <a:gd name="connsiteY15" fmla="*/ 5874 h 10000"/>
                <a:gd name="connsiteX16" fmla="*/ 26 w 10000"/>
                <a:gd name="connsiteY16" fmla="*/ 6224 h 10000"/>
                <a:gd name="connsiteX17" fmla="*/ 0 w 10000"/>
                <a:gd name="connsiteY17" fmla="*/ 6643 h 10000"/>
                <a:gd name="connsiteX18" fmla="*/ 0 w 10000"/>
                <a:gd name="connsiteY18" fmla="*/ 8252 h 10000"/>
                <a:gd name="connsiteX19" fmla="*/ 77 w 10000"/>
                <a:gd name="connsiteY19" fmla="*/ 9091 h 10000"/>
                <a:gd name="connsiteX20" fmla="*/ 309 w 10000"/>
                <a:gd name="connsiteY20" fmla="*/ 9720 h 10000"/>
                <a:gd name="connsiteX21" fmla="*/ 619 w 10000"/>
                <a:gd name="connsiteY21" fmla="*/ 10000 h 10000"/>
                <a:gd name="connsiteX22" fmla="*/ 2320 w 10000"/>
                <a:gd name="connsiteY22" fmla="*/ 8252 h 10000"/>
                <a:gd name="connsiteX23" fmla="*/ 2320 w 10000"/>
                <a:gd name="connsiteY23" fmla="*/ 6643 h 10000"/>
                <a:gd name="connsiteX24" fmla="*/ 1804 w 10000"/>
                <a:gd name="connsiteY24" fmla="*/ 5035 h 10000"/>
                <a:gd name="connsiteX25" fmla="*/ 1985 w 10000"/>
                <a:gd name="connsiteY25" fmla="*/ 4755 h 10000"/>
                <a:gd name="connsiteX26" fmla="*/ 7990 w 10000"/>
                <a:gd name="connsiteY26" fmla="*/ 4755 h 10000"/>
                <a:gd name="connsiteX27" fmla="*/ 8170 w 10000"/>
                <a:gd name="connsiteY27" fmla="*/ 5035 h 10000"/>
                <a:gd name="connsiteX28" fmla="*/ 7706 w 10000"/>
                <a:gd name="connsiteY28" fmla="*/ 6643 h 10000"/>
                <a:gd name="connsiteX29" fmla="*/ 7706 w 10000"/>
                <a:gd name="connsiteY29" fmla="*/ 8252 h 10000"/>
                <a:gd name="connsiteX30" fmla="*/ 8299 w 10000"/>
                <a:gd name="connsiteY30" fmla="*/ 10000 h 10000"/>
                <a:gd name="connsiteX31" fmla="*/ 9356 w 10000"/>
                <a:gd name="connsiteY31" fmla="*/ 10000 h 10000"/>
                <a:gd name="connsiteX32" fmla="*/ 10000 w 10000"/>
                <a:gd name="connsiteY32" fmla="*/ 8252 h 10000"/>
                <a:gd name="connsiteX33" fmla="*/ 10000 w 10000"/>
                <a:gd name="connsiteY33" fmla="*/ 6643 h 10000"/>
                <a:gd name="connsiteX0" fmla="*/ 10000 w 10000"/>
                <a:gd name="connsiteY0" fmla="*/ 6643 h 10064"/>
                <a:gd name="connsiteX1" fmla="*/ 9459 w 10000"/>
                <a:gd name="connsiteY1" fmla="*/ 4196 h 10064"/>
                <a:gd name="connsiteX2" fmla="*/ 8969 w 10000"/>
                <a:gd name="connsiteY2" fmla="*/ 3007 h 10064"/>
                <a:gd name="connsiteX3" fmla="*/ 8351 w 10000"/>
                <a:gd name="connsiteY3" fmla="*/ 1958 h 10064"/>
                <a:gd name="connsiteX4" fmla="*/ 7629 w 10000"/>
                <a:gd name="connsiteY4" fmla="*/ 1189 h 10064"/>
                <a:gd name="connsiteX5" fmla="*/ 6830 w 10000"/>
                <a:gd name="connsiteY5" fmla="*/ 490 h 10064"/>
                <a:gd name="connsiteX6" fmla="*/ 5954 w 10000"/>
                <a:gd name="connsiteY6" fmla="*/ 210 h 10064"/>
                <a:gd name="connsiteX7" fmla="*/ 4974 w 10000"/>
                <a:gd name="connsiteY7" fmla="*/ 0 h 10064"/>
                <a:gd name="connsiteX8" fmla="*/ 4046 w 10000"/>
                <a:gd name="connsiteY8" fmla="*/ 210 h 10064"/>
                <a:gd name="connsiteX9" fmla="*/ 3119 w 10000"/>
                <a:gd name="connsiteY9" fmla="*/ 490 h 10064"/>
                <a:gd name="connsiteX10" fmla="*/ 2320 w 10000"/>
                <a:gd name="connsiteY10" fmla="*/ 1189 h 10064"/>
                <a:gd name="connsiteX11" fmla="*/ 1598 w 10000"/>
                <a:gd name="connsiteY11" fmla="*/ 2028 h 10064"/>
                <a:gd name="connsiteX12" fmla="*/ 1005 w 10000"/>
                <a:gd name="connsiteY12" fmla="*/ 3077 h 10064"/>
                <a:gd name="connsiteX13" fmla="*/ 490 w 10000"/>
                <a:gd name="connsiteY13" fmla="*/ 4266 h 10064"/>
                <a:gd name="connsiteX14" fmla="*/ 180 w 10000"/>
                <a:gd name="connsiteY14" fmla="*/ 5524 h 10064"/>
                <a:gd name="connsiteX15" fmla="*/ 77 w 10000"/>
                <a:gd name="connsiteY15" fmla="*/ 5874 h 10064"/>
                <a:gd name="connsiteX16" fmla="*/ 26 w 10000"/>
                <a:gd name="connsiteY16" fmla="*/ 6224 h 10064"/>
                <a:gd name="connsiteX17" fmla="*/ 0 w 10000"/>
                <a:gd name="connsiteY17" fmla="*/ 6643 h 10064"/>
                <a:gd name="connsiteX18" fmla="*/ 0 w 10000"/>
                <a:gd name="connsiteY18" fmla="*/ 8252 h 10064"/>
                <a:gd name="connsiteX19" fmla="*/ 77 w 10000"/>
                <a:gd name="connsiteY19" fmla="*/ 9091 h 10064"/>
                <a:gd name="connsiteX20" fmla="*/ 309 w 10000"/>
                <a:gd name="connsiteY20" fmla="*/ 9720 h 10064"/>
                <a:gd name="connsiteX21" fmla="*/ 619 w 10000"/>
                <a:gd name="connsiteY21" fmla="*/ 10000 h 10064"/>
                <a:gd name="connsiteX22" fmla="*/ 2320 w 10000"/>
                <a:gd name="connsiteY22" fmla="*/ 8252 h 10064"/>
                <a:gd name="connsiteX23" fmla="*/ 2320 w 10000"/>
                <a:gd name="connsiteY23" fmla="*/ 6643 h 10064"/>
                <a:gd name="connsiteX24" fmla="*/ 1804 w 10000"/>
                <a:gd name="connsiteY24" fmla="*/ 5035 h 10064"/>
                <a:gd name="connsiteX25" fmla="*/ 1985 w 10000"/>
                <a:gd name="connsiteY25" fmla="*/ 4755 h 10064"/>
                <a:gd name="connsiteX26" fmla="*/ 7990 w 10000"/>
                <a:gd name="connsiteY26" fmla="*/ 4755 h 10064"/>
                <a:gd name="connsiteX27" fmla="*/ 8170 w 10000"/>
                <a:gd name="connsiteY27" fmla="*/ 5035 h 10064"/>
                <a:gd name="connsiteX28" fmla="*/ 7706 w 10000"/>
                <a:gd name="connsiteY28" fmla="*/ 6643 h 10064"/>
                <a:gd name="connsiteX29" fmla="*/ 7706 w 10000"/>
                <a:gd name="connsiteY29" fmla="*/ 8252 h 10064"/>
                <a:gd name="connsiteX30" fmla="*/ 8299 w 10000"/>
                <a:gd name="connsiteY30" fmla="*/ 10000 h 10064"/>
                <a:gd name="connsiteX31" fmla="*/ 9356 w 10000"/>
                <a:gd name="connsiteY31" fmla="*/ 10000 h 10064"/>
                <a:gd name="connsiteX32" fmla="*/ 10000 w 10000"/>
                <a:gd name="connsiteY32" fmla="*/ 8252 h 10064"/>
                <a:gd name="connsiteX33" fmla="*/ 10000 w 10000"/>
                <a:gd name="connsiteY33" fmla="*/ 6643 h 10064"/>
                <a:gd name="connsiteX0" fmla="*/ 10000 w 10000"/>
                <a:gd name="connsiteY0" fmla="*/ 6643 h 10090"/>
                <a:gd name="connsiteX1" fmla="*/ 9459 w 10000"/>
                <a:gd name="connsiteY1" fmla="*/ 4196 h 10090"/>
                <a:gd name="connsiteX2" fmla="*/ 8969 w 10000"/>
                <a:gd name="connsiteY2" fmla="*/ 3007 h 10090"/>
                <a:gd name="connsiteX3" fmla="*/ 8351 w 10000"/>
                <a:gd name="connsiteY3" fmla="*/ 1958 h 10090"/>
                <a:gd name="connsiteX4" fmla="*/ 7629 w 10000"/>
                <a:gd name="connsiteY4" fmla="*/ 1189 h 10090"/>
                <a:gd name="connsiteX5" fmla="*/ 6830 w 10000"/>
                <a:gd name="connsiteY5" fmla="*/ 490 h 10090"/>
                <a:gd name="connsiteX6" fmla="*/ 5954 w 10000"/>
                <a:gd name="connsiteY6" fmla="*/ 210 h 10090"/>
                <a:gd name="connsiteX7" fmla="*/ 4974 w 10000"/>
                <a:gd name="connsiteY7" fmla="*/ 0 h 10090"/>
                <a:gd name="connsiteX8" fmla="*/ 4046 w 10000"/>
                <a:gd name="connsiteY8" fmla="*/ 210 h 10090"/>
                <a:gd name="connsiteX9" fmla="*/ 3119 w 10000"/>
                <a:gd name="connsiteY9" fmla="*/ 490 h 10090"/>
                <a:gd name="connsiteX10" fmla="*/ 2320 w 10000"/>
                <a:gd name="connsiteY10" fmla="*/ 1189 h 10090"/>
                <a:gd name="connsiteX11" fmla="*/ 1598 w 10000"/>
                <a:gd name="connsiteY11" fmla="*/ 2028 h 10090"/>
                <a:gd name="connsiteX12" fmla="*/ 1005 w 10000"/>
                <a:gd name="connsiteY12" fmla="*/ 3077 h 10090"/>
                <a:gd name="connsiteX13" fmla="*/ 490 w 10000"/>
                <a:gd name="connsiteY13" fmla="*/ 4266 h 10090"/>
                <a:gd name="connsiteX14" fmla="*/ 180 w 10000"/>
                <a:gd name="connsiteY14" fmla="*/ 5524 h 10090"/>
                <a:gd name="connsiteX15" fmla="*/ 77 w 10000"/>
                <a:gd name="connsiteY15" fmla="*/ 5874 h 10090"/>
                <a:gd name="connsiteX16" fmla="*/ 26 w 10000"/>
                <a:gd name="connsiteY16" fmla="*/ 6224 h 10090"/>
                <a:gd name="connsiteX17" fmla="*/ 0 w 10000"/>
                <a:gd name="connsiteY17" fmla="*/ 6643 h 10090"/>
                <a:gd name="connsiteX18" fmla="*/ 0 w 10000"/>
                <a:gd name="connsiteY18" fmla="*/ 8252 h 10090"/>
                <a:gd name="connsiteX19" fmla="*/ 77 w 10000"/>
                <a:gd name="connsiteY19" fmla="*/ 9091 h 10090"/>
                <a:gd name="connsiteX20" fmla="*/ 309 w 10000"/>
                <a:gd name="connsiteY20" fmla="*/ 9720 h 10090"/>
                <a:gd name="connsiteX21" fmla="*/ 619 w 10000"/>
                <a:gd name="connsiteY21" fmla="*/ 10000 h 10090"/>
                <a:gd name="connsiteX22" fmla="*/ 2320 w 10000"/>
                <a:gd name="connsiteY22" fmla="*/ 8252 h 10090"/>
                <a:gd name="connsiteX23" fmla="*/ 2320 w 10000"/>
                <a:gd name="connsiteY23" fmla="*/ 6643 h 10090"/>
                <a:gd name="connsiteX24" fmla="*/ 1804 w 10000"/>
                <a:gd name="connsiteY24" fmla="*/ 5035 h 10090"/>
                <a:gd name="connsiteX25" fmla="*/ 1985 w 10000"/>
                <a:gd name="connsiteY25" fmla="*/ 4755 h 10090"/>
                <a:gd name="connsiteX26" fmla="*/ 7990 w 10000"/>
                <a:gd name="connsiteY26" fmla="*/ 4755 h 10090"/>
                <a:gd name="connsiteX27" fmla="*/ 8170 w 10000"/>
                <a:gd name="connsiteY27" fmla="*/ 5035 h 10090"/>
                <a:gd name="connsiteX28" fmla="*/ 7706 w 10000"/>
                <a:gd name="connsiteY28" fmla="*/ 6643 h 10090"/>
                <a:gd name="connsiteX29" fmla="*/ 7706 w 10000"/>
                <a:gd name="connsiteY29" fmla="*/ 8252 h 10090"/>
                <a:gd name="connsiteX30" fmla="*/ 8299 w 10000"/>
                <a:gd name="connsiteY30" fmla="*/ 10000 h 10090"/>
                <a:gd name="connsiteX31" fmla="*/ 9356 w 10000"/>
                <a:gd name="connsiteY31" fmla="*/ 10000 h 10090"/>
                <a:gd name="connsiteX32" fmla="*/ 10000 w 10000"/>
                <a:gd name="connsiteY32" fmla="*/ 8252 h 10090"/>
                <a:gd name="connsiteX33" fmla="*/ 10000 w 10000"/>
                <a:gd name="connsiteY33" fmla="*/ 6643 h 10090"/>
                <a:gd name="connsiteX0" fmla="*/ 10000 w 10000"/>
                <a:gd name="connsiteY0" fmla="*/ 6643 h 10137"/>
                <a:gd name="connsiteX1" fmla="*/ 9459 w 10000"/>
                <a:gd name="connsiteY1" fmla="*/ 4196 h 10137"/>
                <a:gd name="connsiteX2" fmla="*/ 8969 w 10000"/>
                <a:gd name="connsiteY2" fmla="*/ 3007 h 10137"/>
                <a:gd name="connsiteX3" fmla="*/ 8351 w 10000"/>
                <a:gd name="connsiteY3" fmla="*/ 1958 h 10137"/>
                <a:gd name="connsiteX4" fmla="*/ 7629 w 10000"/>
                <a:gd name="connsiteY4" fmla="*/ 1189 h 10137"/>
                <a:gd name="connsiteX5" fmla="*/ 6830 w 10000"/>
                <a:gd name="connsiteY5" fmla="*/ 490 h 10137"/>
                <a:gd name="connsiteX6" fmla="*/ 5954 w 10000"/>
                <a:gd name="connsiteY6" fmla="*/ 210 h 10137"/>
                <a:gd name="connsiteX7" fmla="*/ 4974 w 10000"/>
                <a:gd name="connsiteY7" fmla="*/ 0 h 10137"/>
                <a:gd name="connsiteX8" fmla="*/ 4046 w 10000"/>
                <a:gd name="connsiteY8" fmla="*/ 210 h 10137"/>
                <a:gd name="connsiteX9" fmla="*/ 3119 w 10000"/>
                <a:gd name="connsiteY9" fmla="*/ 490 h 10137"/>
                <a:gd name="connsiteX10" fmla="*/ 2320 w 10000"/>
                <a:gd name="connsiteY10" fmla="*/ 1189 h 10137"/>
                <a:gd name="connsiteX11" fmla="*/ 1598 w 10000"/>
                <a:gd name="connsiteY11" fmla="*/ 2028 h 10137"/>
                <a:gd name="connsiteX12" fmla="*/ 1005 w 10000"/>
                <a:gd name="connsiteY12" fmla="*/ 3077 h 10137"/>
                <a:gd name="connsiteX13" fmla="*/ 490 w 10000"/>
                <a:gd name="connsiteY13" fmla="*/ 4266 h 10137"/>
                <a:gd name="connsiteX14" fmla="*/ 180 w 10000"/>
                <a:gd name="connsiteY14" fmla="*/ 5524 h 10137"/>
                <a:gd name="connsiteX15" fmla="*/ 77 w 10000"/>
                <a:gd name="connsiteY15" fmla="*/ 5874 h 10137"/>
                <a:gd name="connsiteX16" fmla="*/ 26 w 10000"/>
                <a:gd name="connsiteY16" fmla="*/ 6224 h 10137"/>
                <a:gd name="connsiteX17" fmla="*/ 0 w 10000"/>
                <a:gd name="connsiteY17" fmla="*/ 6643 h 10137"/>
                <a:gd name="connsiteX18" fmla="*/ 0 w 10000"/>
                <a:gd name="connsiteY18" fmla="*/ 8252 h 10137"/>
                <a:gd name="connsiteX19" fmla="*/ 77 w 10000"/>
                <a:gd name="connsiteY19" fmla="*/ 9091 h 10137"/>
                <a:gd name="connsiteX20" fmla="*/ 309 w 10000"/>
                <a:gd name="connsiteY20" fmla="*/ 9720 h 10137"/>
                <a:gd name="connsiteX21" fmla="*/ 619 w 10000"/>
                <a:gd name="connsiteY21" fmla="*/ 10000 h 10137"/>
                <a:gd name="connsiteX22" fmla="*/ 2320 w 10000"/>
                <a:gd name="connsiteY22" fmla="*/ 8252 h 10137"/>
                <a:gd name="connsiteX23" fmla="*/ 2320 w 10000"/>
                <a:gd name="connsiteY23" fmla="*/ 6643 h 10137"/>
                <a:gd name="connsiteX24" fmla="*/ 1804 w 10000"/>
                <a:gd name="connsiteY24" fmla="*/ 5035 h 10137"/>
                <a:gd name="connsiteX25" fmla="*/ 1985 w 10000"/>
                <a:gd name="connsiteY25" fmla="*/ 4755 h 10137"/>
                <a:gd name="connsiteX26" fmla="*/ 7990 w 10000"/>
                <a:gd name="connsiteY26" fmla="*/ 4755 h 10137"/>
                <a:gd name="connsiteX27" fmla="*/ 8170 w 10000"/>
                <a:gd name="connsiteY27" fmla="*/ 5035 h 10137"/>
                <a:gd name="connsiteX28" fmla="*/ 7706 w 10000"/>
                <a:gd name="connsiteY28" fmla="*/ 6643 h 10137"/>
                <a:gd name="connsiteX29" fmla="*/ 7706 w 10000"/>
                <a:gd name="connsiteY29" fmla="*/ 8252 h 10137"/>
                <a:gd name="connsiteX30" fmla="*/ 8299 w 10000"/>
                <a:gd name="connsiteY30" fmla="*/ 10000 h 10137"/>
                <a:gd name="connsiteX31" fmla="*/ 9356 w 10000"/>
                <a:gd name="connsiteY31" fmla="*/ 10000 h 10137"/>
                <a:gd name="connsiteX32" fmla="*/ 10000 w 10000"/>
                <a:gd name="connsiteY32" fmla="*/ 8252 h 10137"/>
                <a:gd name="connsiteX33" fmla="*/ 10000 w 10000"/>
                <a:gd name="connsiteY33" fmla="*/ 6643 h 10137"/>
                <a:gd name="connsiteX0" fmla="*/ 10000 w 10000"/>
                <a:gd name="connsiteY0" fmla="*/ 6643 h 10105"/>
                <a:gd name="connsiteX1" fmla="*/ 9459 w 10000"/>
                <a:gd name="connsiteY1" fmla="*/ 4196 h 10105"/>
                <a:gd name="connsiteX2" fmla="*/ 8969 w 10000"/>
                <a:gd name="connsiteY2" fmla="*/ 3007 h 10105"/>
                <a:gd name="connsiteX3" fmla="*/ 8351 w 10000"/>
                <a:gd name="connsiteY3" fmla="*/ 1958 h 10105"/>
                <a:gd name="connsiteX4" fmla="*/ 7629 w 10000"/>
                <a:gd name="connsiteY4" fmla="*/ 1189 h 10105"/>
                <a:gd name="connsiteX5" fmla="*/ 6830 w 10000"/>
                <a:gd name="connsiteY5" fmla="*/ 490 h 10105"/>
                <a:gd name="connsiteX6" fmla="*/ 5954 w 10000"/>
                <a:gd name="connsiteY6" fmla="*/ 210 h 10105"/>
                <a:gd name="connsiteX7" fmla="*/ 4974 w 10000"/>
                <a:gd name="connsiteY7" fmla="*/ 0 h 10105"/>
                <a:gd name="connsiteX8" fmla="*/ 4046 w 10000"/>
                <a:gd name="connsiteY8" fmla="*/ 210 h 10105"/>
                <a:gd name="connsiteX9" fmla="*/ 3119 w 10000"/>
                <a:gd name="connsiteY9" fmla="*/ 490 h 10105"/>
                <a:gd name="connsiteX10" fmla="*/ 2320 w 10000"/>
                <a:gd name="connsiteY10" fmla="*/ 1189 h 10105"/>
                <a:gd name="connsiteX11" fmla="*/ 1598 w 10000"/>
                <a:gd name="connsiteY11" fmla="*/ 2028 h 10105"/>
                <a:gd name="connsiteX12" fmla="*/ 1005 w 10000"/>
                <a:gd name="connsiteY12" fmla="*/ 3077 h 10105"/>
                <a:gd name="connsiteX13" fmla="*/ 490 w 10000"/>
                <a:gd name="connsiteY13" fmla="*/ 4266 h 10105"/>
                <a:gd name="connsiteX14" fmla="*/ 180 w 10000"/>
                <a:gd name="connsiteY14" fmla="*/ 5524 h 10105"/>
                <a:gd name="connsiteX15" fmla="*/ 77 w 10000"/>
                <a:gd name="connsiteY15" fmla="*/ 5874 h 10105"/>
                <a:gd name="connsiteX16" fmla="*/ 26 w 10000"/>
                <a:gd name="connsiteY16" fmla="*/ 6224 h 10105"/>
                <a:gd name="connsiteX17" fmla="*/ 0 w 10000"/>
                <a:gd name="connsiteY17" fmla="*/ 6643 h 10105"/>
                <a:gd name="connsiteX18" fmla="*/ 0 w 10000"/>
                <a:gd name="connsiteY18" fmla="*/ 8252 h 10105"/>
                <a:gd name="connsiteX19" fmla="*/ 77 w 10000"/>
                <a:gd name="connsiteY19" fmla="*/ 9091 h 10105"/>
                <a:gd name="connsiteX20" fmla="*/ 309 w 10000"/>
                <a:gd name="connsiteY20" fmla="*/ 9720 h 10105"/>
                <a:gd name="connsiteX21" fmla="*/ 619 w 10000"/>
                <a:gd name="connsiteY21" fmla="*/ 10000 h 10105"/>
                <a:gd name="connsiteX22" fmla="*/ 2320 w 10000"/>
                <a:gd name="connsiteY22" fmla="*/ 8252 h 10105"/>
                <a:gd name="connsiteX23" fmla="*/ 2320 w 10000"/>
                <a:gd name="connsiteY23" fmla="*/ 6643 h 10105"/>
                <a:gd name="connsiteX24" fmla="*/ 1804 w 10000"/>
                <a:gd name="connsiteY24" fmla="*/ 5035 h 10105"/>
                <a:gd name="connsiteX25" fmla="*/ 1985 w 10000"/>
                <a:gd name="connsiteY25" fmla="*/ 4755 h 10105"/>
                <a:gd name="connsiteX26" fmla="*/ 7990 w 10000"/>
                <a:gd name="connsiteY26" fmla="*/ 4755 h 10105"/>
                <a:gd name="connsiteX27" fmla="*/ 8170 w 10000"/>
                <a:gd name="connsiteY27" fmla="*/ 5035 h 10105"/>
                <a:gd name="connsiteX28" fmla="*/ 7706 w 10000"/>
                <a:gd name="connsiteY28" fmla="*/ 6643 h 10105"/>
                <a:gd name="connsiteX29" fmla="*/ 7706 w 10000"/>
                <a:gd name="connsiteY29" fmla="*/ 8252 h 10105"/>
                <a:gd name="connsiteX30" fmla="*/ 8299 w 10000"/>
                <a:gd name="connsiteY30" fmla="*/ 10000 h 10105"/>
                <a:gd name="connsiteX31" fmla="*/ 9356 w 10000"/>
                <a:gd name="connsiteY31" fmla="*/ 10000 h 10105"/>
                <a:gd name="connsiteX32" fmla="*/ 10000 w 10000"/>
                <a:gd name="connsiteY32" fmla="*/ 8252 h 10105"/>
                <a:gd name="connsiteX33" fmla="*/ 10000 w 10000"/>
                <a:gd name="connsiteY33" fmla="*/ 6643 h 10105"/>
                <a:gd name="connsiteX0" fmla="*/ 10001 w 10001"/>
                <a:gd name="connsiteY0" fmla="*/ 6643 h 10105"/>
                <a:gd name="connsiteX1" fmla="*/ 9460 w 10001"/>
                <a:gd name="connsiteY1" fmla="*/ 4196 h 10105"/>
                <a:gd name="connsiteX2" fmla="*/ 8970 w 10001"/>
                <a:gd name="connsiteY2" fmla="*/ 3007 h 10105"/>
                <a:gd name="connsiteX3" fmla="*/ 8352 w 10001"/>
                <a:gd name="connsiteY3" fmla="*/ 1958 h 10105"/>
                <a:gd name="connsiteX4" fmla="*/ 7630 w 10001"/>
                <a:gd name="connsiteY4" fmla="*/ 1189 h 10105"/>
                <a:gd name="connsiteX5" fmla="*/ 6831 w 10001"/>
                <a:gd name="connsiteY5" fmla="*/ 490 h 10105"/>
                <a:gd name="connsiteX6" fmla="*/ 5955 w 10001"/>
                <a:gd name="connsiteY6" fmla="*/ 210 h 10105"/>
                <a:gd name="connsiteX7" fmla="*/ 4975 w 10001"/>
                <a:gd name="connsiteY7" fmla="*/ 0 h 10105"/>
                <a:gd name="connsiteX8" fmla="*/ 4047 w 10001"/>
                <a:gd name="connsiteY8" fmla="*/ 210 h 10105"/>
                <a:gd name="connsiteX9" fmla="*/ 3120 w 10001"/>
                <a:gd name="connsiteY9" fmla="*/ 490 h 10105"/>
                <a:gd name="connsiteX10" fmla="*/ 2321 w 10001"/>
                <a:gd name="connsiteY10" fmla="*/ 1189 h 10105"/>
                <a:gd name="connsiteX11" fmla="*/ 1599 w 10001"/>
                <a:gd name="connsiteY11" fmla="*/ 2028 h 10105"/>
                <a:gd name="connsiteX12" fmla="*/ 1006 w 10001"/>
                <a:gd name="connsiteY12" fmla="*/ 3077 h 10105"/>
                <a:gd name="connsiteX13" fmla="*/ 491 w 10001"/>
                <a:gd name="connsiteY13" fmla="*/ 4266 h 10105"/>
                <a:gd name="connsiteX14" fmla="*/ 181 w 10001"/>
                <a:gd name="connsiteY14" fmla="*/ 5524 h 10105"/>
                <a:gd name="connsiteX15" fmla="*/ 78 w 10001"/>
                <a:gd name="connsiteY15" fmla="*/ 5874 h 10105"/>
                <a:gd name="connsiteX16" fmla="*/ 27 w 10001"/>
                <a:gd name="connsiteY16" fmla="*/ 6224 h 10105"/>
                <a:gd name="connsiteX17" fmla="*/ 1 w 10001"/>
                <a:gd name="connsiteY17" fmla="*/ 8252 h 10105"/>
                <a:gd name="connsiteX18" fmla="*/ 78 w 10001"/>
                <a:gd name="connsiteY18" fmla="*/ 9091 h 10105"/>
                <a:gd name="connsiteX19" fmla="*/ 310 w 10001"/>
                <a:gd name="connsiteY19" fmla="*/ 9720 h 10105"/>
                <a:gd name="connsiteX20" fmla="*/ 620 w 10001"/>
                <a:gd name="connsiteY20" fmla="*/ 10000 h 10105"/>
                <a:gd name="connsiteX21" fmla="*/ 2321 w 10001"/>
                <a:gd name="connsiteY21" fmla="*/ 8252 h 10105"/>
                <a:gd name="connsiteX22" fmla="*/ 2321 w 10001"/>
                <a:gd name="connsiteY22" fmla="*/ 6643 h 10105"/>
                <a:gd name="connsiteX23" fmla="*/ 1805 w 10001"/>
                <a:gd name="connsiteY23" fmla="*/ 5035 h 10105"/>
                <a:gd name="connsiteX24" fmla="*/ 1986 w 10001"/>
                <a:gd name="connsiteY24" fmla="*/ 4755 h 10105"/>
                <a:gd name="connsiteX25" fmla="*/ 7991 w 10001"/>
                <a:gd name="connsiteY25" fmla="*/ 4755 h 10105"/>
                <a:gd name="connsiteX26" fmla="*/ 8171 w 10001"/>
                <a:gd name="connsiteY26" fmla="*/ 5035 h 10105"/>
                <a:gd name="connsiteX27" fmla="*/ 7707 w 10001"/>
                <a:gd name="connsiteY27" fmla="*/ 6643 h 10105"/>
                <a:gd name="connsiteX28" fmla="*/ 7707 w 10001"/>
                <a:gd name="connsiteY28" fmla="*/ 8252 h 10105"/>
                <a:gd name="connsiteX29" fmla="*/ 8300 w 10001"/>
                <a:gd name="connsiteY29" fmla="*/ 10000 h 10105"/>
                <a:gd name="connsiteX30" fmla="*/ 9357 w 10001"/>
                <a:gd name="connsiteY30" fmla="*/ 10000 h 10105"/>
                <a:gd name="connsiteX31" fmla="*/ 10001 w 10001"/>
                <a:gd name="connsiteY31" fmla="*/ 8252 h 10105"/>
                <a:gd name="connsiteX32" fmla="*/ 10001 w 10001"/>
                <a:gd name="connsiteY32" fmla="*/ 6643 h 10105"/>
                <a:gd name="connsiteX0" fmla="*/ 10001 w 10001"/>
                <a:gd name="connsiteY0" fmla="*/ 6643 h 10105"/>
                <a:gd name="connsiteX1" fmla="*/ 9460 w 10001"/>
                <a:gd name="connsiteY1" fmla="*/ 4196 h 10105"/>
                <a:gd name="connsiteX2" fmla="*/ 8970 w 10001"/>
                <a:gd name="connsiteY2" fmla="*/ 3007 h 10105"/>
                <a:gd name="connsiteX3" fmla="*/ 8352 w 10001"/>
                <a:gd name="connsiteY3" fmla="*/ 1958 h 10105"/>
                <a:gd name="connsiteX4" fmla="*/ 7630 w 10001"/>
                <a:gd name="connsiteY4" fmla="*/ 1189 h 10105"/>
                <a:gd name="connsiteX5" fmla="*/ 6831 w 10001"/>
                <a:gd name="connsiteY5" fmla="*/ 490 h 10105"/>
                <a:gd name="connsiteX6" fmla="*/ 5955 w 10001"/>
                <a:gd name="connsiteY6" fmla="*/ 210 h 10105"/>
                <a:gd name="connsiteX7" fmla="*/ 4975 w 10001"/>
                <a:gd name="connsiteY7" fmla="*/ 0 h 10105"/>
                <a:gd name="connsiteX8" fmla="*/ 4047 w 10001"/>
                <a:gd name="connsiteY8" fmla="*/ 210 h 10105"/>
                <a:gd name="connsiteX9" fmla="*/ 3120 w 10001"/>
                <a:gd name="connsiteY9" fmla="*/ 490 h 10105"/>
                <a:gd name="connsiteX10" fmla="*/ 2321 w 10001"/>
                <a:gd name="connsiteY10" fmla="*/ 1189 h 10105"/>
                <a:gd name="connsiteX11" fmla="*/ 1599 w 10001"/>
                <a:gd name="connsiteY11" fmla="*/ 2028 h 10105"/>
                <a:gd name="connsiteX12" fmla="*/ 1006 w 10001"/>
                <a:gd name="connsiteY12" fmla="*/ 3077 h 10105"/>
                <a:gd name="connsiteX13" fmla="*/ 491 w 10001"/>
                <a:gd name="connsiteY13" fmla="*/ 4266 h 10105"/>
                <a:gd name="connsiteX14" fmla="*/ 181 w 10001"/>
                <a:gd name="connsiteY14" fmla="*/ 5524 h 10105"/>
                <a:gd name="connsiteX15" fmla="*/ 27 w 10001"/>
                <a:gd name="connsiteY15" fmla="*/ 6224 h 10105"/>
                <a:gd name="connsiteX16" fmla="*/ 1 w 10001"/>
                <a:gd name="connsiteY16" fmla="*/ 8252 h 10105"/>
                <a:gd name="connsiteX17" fmla="*/ 78 w 10001"/>
                <a:gd name="connsiteY17" fmla="*/ 9091 h 10105"/>
                <a:gd name="connsiteX18" fmla="*/ 310 w 10001"/>
                <a:gd name="connsiteY18" fmla="*/ 9720 h 10105"/>
                <a:gd name="connsiteX19" fmla="*/ 620 w 10001"/>
                <a:gd name="connsiteY19" fmla="*/ 10000 h 10105"/>
                <a:gd name="connsiteX20" fmla="*/ 2321 w 10001"/>
                <a:gd name="connsiteY20" fmla="*/ 8252 h 10105"/>
                <a:gd name="connsiteX21" fmla="*/ 2321 w 10001"/>
                <a:gd name="connsiteY21" fmla="*/ 6643 h 10105"/>
                <a:gd name="connsiteX22" fmla="*/ 1805 w 10001"/>
                <a:gd name="connsiteY22" fmla="*/ 5035 h 10105"/>
                <a:gd name="connsiteX23" fmla="*/ 1986 w 10001"/>
                <a:gd name="connsiteY23" fmla="*/ 4755 h 10105"/>
                <a:gd name="connsiteX24" fmla="*/ 7991 w 10001"/>
                <a:gd name="connsiteY24" fmla="*/ 4755 h 10105"/>
                <a:gd name="connsiteX25" fmla="*/ 8171 w 10001"/>
                <a:gd name="connsiteY25" fmla="*/ 5035 h 10105"/>
                <a:gd name="connsiteX26" fmla="*/ 7707 w 10001"/>
                <a:gd name="connsiteY26" fmla="*/ 6643 h 10105"/>
                <a:gd name="connsiteX27" fmla="*/ 7707 w 10001"/>
                <a:gd name="connsiteY27" fmla="*/ 8252 h 10105"/>
                <a:gd name="connsiteX28" fmla="*/ 8300 w 10001"/>
                <a:gd name="connsiteY28" fmla="*/ 10000 h 10105"/>
                <a:gd name="connsiteX29" fmla="*/ 9357 w 10001"/>
                <a:gd name="connsiteY29" fmla="*/ 10000 h 10105"/>
                <a:gd name="connsiteX30" fmla="*/ 10001 w 10001"/>
                <a:gd name="connsiteY30" fmla="*/ 8252 h 10105"/>
                <a:gd name="connsiteX31" fmla="*/ 10001 w 10001"/>
                <a:gd name="connsiteY31" fmla="*/ 6643 h 10105"/>
                <a:gd name="connsiteX0" fmla="*/ 10001 w 10001"/>
                <a:gd name="connsiteY0" fmla="*/ 6643 h 10105"/>
                <a:gd name="connsiteX1" fmla="*/ 9460 w 10001"/>
                <a:gd name="connsiteY1" fmla="*/ 4196 h 10105"/>
                <a:gd name="connsiteX2" fmla="*/ 8970 w 10001"/>
                <a:gd name="connsiteY2" fmla="*/ 3007 h 10105"/>
                <a:gd name="connsiteX3" fmla="*/ 8352 w 10001"/>
                <a:gd name="connsiteY3" fmla="*/ 1958 h 10105"/>
                <a:gd name="connsiteX4" fmla="*/ 7630 w 10001"/>
                <a:gd name="connsiteY4" fmla="*/ 1189 h 10105"/>
                <a:gd name="connsiteX5" fmla="*/ 6831 w 10001"/>
                <a:gd name="connsiteY5" fmla="*/ 490 h 10105"/>
                <a:gd name="connsiteX6" fmla="*/ 5955 w 10001"/>
                <a:gd name="connsiteY6" fmla="*/ 210 h 10105"/>
                <a:gd name="connsiteX7" fmla="*/ 4975 w 10001"/>
                <a:gd name="connsiteY7" fmla="*/ 0 h 10105"/>
                <a:gd name="connsiteX8" fmla="*/ 4047 w 10001"/>
                <a:gd name="connsiteY8" fmla="*/ 210 h 10105"/>
                <a:gd name="connsiteX9" fmla="*/ 3120 w 10001"/>
                <a:gd name="connsiteY9" fmla="*/ 490 h 10105"/>
                <a:gd name="connsiteX10" fmla="*/ 2321 w 10001"/>
                <a:gd name="connsiteY10" fmla="*/ 1189 h 10105"/>
                <a:gd name="connsiteX11" fmla="*/ 1599 w 10001"/>
                <a:gd name="connsiteY11" fmla="*/ 2028 h 10105"/>
                <a:gd name="connsiteX12" fmla="*/ 1006 w 10001"/>
                <a:gd name="connsiteY12" fmla="*/ 3077 h 10105"/>
                <a:gd name="connsiteX13" fmla="*/ 181 w 10001"/>
                <a:gd name="connsiteY13" fmla="*/ 5524 h 10105"/>
                <a:gd name="connsiteX14" fmla="*/ 27 w 10001"/>
                <a:gd name="connsiteY14" fmla="*/ 6224 h 10105"/>
                <a:gd name="connsiteX15" fmla="*/ 1 w 10001"/>
                <a:gd name="connsiteY15" fmla="*/ 8252 h 10105"/>
                <a:gd name="connsiteX16" fmla="*/ 78 w 10001"/>
                <a:gd name="connsiteY16" fmla="*/ 9091 h 10105"/>
                <a:gd name="connsiteX17" fmla="*/ 310 w 10001"/>
                <a:gd name="connsiteY17" fmla="*/ 9720 h 10105"/>
                <a:gd name="connsiteX18" fmla="*/ 620 w 10001"/>
                <a:gd name="connsiteY18" fmla="*/ 10000 h 10105"/>
                <a:gd name="connsiteX19" fmla="*/ 2321 w 10001"/>
                <a:gd name="connsiteY19" fmla="*/ 8252 h 10105"/>
                <a:gd name="connsiteX20" fmla="*/ 2321 w 10001"/>
                <a:gd name="connsiteY20" fmla="*/ 6643 h 10105"/>
                <a:gd name="connsiteX21" fmla="*/ 1805 w 10001"/>
                <a:gd name="connsiteY21" fmla="*/ 5035 h 10105"/>
                <a:gd name="connsiteX22" fmla="*/ 1986 w 10001"/>
                <a:gd name="connsiteY22" fmla="*/ 4755 h 10105"/>
                <a:gd name="connsiteX23" fmla="*/ 7991 w 10001"/>
                <a:gd name="connsiteY23" fmla="*/ 4755 h 10105"/>
                <a:gd name="connsiteX24" fmla="*/ 8171 w 10001"/>
                <a:gd name="connsiteY24" fmla="*/ 5035 h 10105"/>
                <a:gd name="connsiteX25" fmla="*/ 7707 w 10001"/>
                <a:gd name="connsiteY25" fmla="*/ 6643 h 10105"/>
                <a:gd name="connsiteX26" fmla="*/ 7707 w 10001"/>
                <a:gd name="connsiteY26" fmla="*/ 8252 h 10105"/>
                <a:gd name="connsiteX27" fmla="*/ 8300 w 10001"/>
                <a:gd name="connsiteY27" fmla="*/ 10000 h 10105"/>
                <a:gd name="connsiteX28" fmla="*/ 9357 w 10001"/>
                <a:gd name="connsiteY28" fmla="*/ 10000 h 10105"/>
                <a:gd name="connsiteX29" fmla="*/ 10001 w 10001"/>
                <a:gd name="connsiteY29" fmla="*/ 8252 h 10105"/>
                <a:gd name="connsiteX30" fmla="*/ 10001 w 10001"/>
                <a:gd name="connsiteY30" fmla="*/ 6643 h 10105"/>
                <a:gd name="connsiteX0" fmla="*/ 10001 w 10001"/>
                <a:gd name="connsiteY0" fmla="*/ 6643 h 10105"/>
                <a:gd name="connsiteX1" fmla="*/ 9460 w 10001"/>
                <a:gd name="connsiteY1" fmla="*/ 4196 h 10105"/>
                <a:gd name="connsiteX2" fmla="*/ 8970 w 10001"/>
                <a:gd name="connsiteY2" fmla="*/ 3007 h 10105"/>
                <a:gd name="connsiteX3" fmla="*/ 8352 w 10001"/>
                <a:gd name="connsiteY3" fmla="*/ 1958 h 10105"/>
                <a:gd name="connsiteX4" fmla="*/ 7630 w 10001"/>
                <a:gd name="connsiteY4" fmla="*/ 1189 h 10105"/>
                <a:gd name="connsiteX5" fmla="*/ 6831 w 10001"/>
                <a:gd name="connsiteY5" fmla="*/ 490 h 10105"/>
                <a:gd name="connsiteX6" fmla="*/ 5955 w 10001"/>
                <a:gd name="connsiteY6" fmla="*/ 210 h 10105"/>
                <a:gd name="connsiteX7" fmla="*/ 4975 w 10001"/>
                <a:gd name="connsiteY7" fmla="*/ 0 h 10105"/>
                <a:gd name="connsiteX8" fmla="*/ 4047 w 10001"/>
                <a:gd name="connsiteY8" fmla="*/ 210 h 10105"/>
                <a:gd name="connsiteX9" fmla="*/ 3120 w 10001"/>
                <a:gd name="connsiteY9" fmla="*/ 490 h 10105"/>
                <a:gd name="connsiteX10" fmla="*/ 2321 w 10001"/>
                <a:gd name="connsiteY10" fmla="*/ 1189 h 10105"/>
                <a:gd name="connsiteX11" fmla="*/ 1599 w 10001"/>
                <a:gd name="connsiteY11" fmla="*/ 2028 h 10105"/>
                <a:gd name="connsiteX12" fmla="*/ 181 w 10001"/>
                <a:gd name="connsiteY12" fmla="*/ 5524 h 10105"/>
                <a:gd name="connsiteX13" fmla="*/ 27 w 10001"/>
                <a:gd name="connsiteY13" fmla="*/ 6224 h 10105"/>
                <a:gd name="connsiteX14" fmla="*/ 1 w 10001"/>
                <a:gd name="connsiteY14" fmla="*/ 8252 h 10105"/>
                <a:gd name="connsiteX15" fmla="*/ 78 w 10001"/>
                <a:gd name="connsiteY15" fmla="*/ 9091 h 10105"/>
                <a:gd name="connsiteX16" fmla="*/ 310 w 10001"/>
                <a:gd name="connsiteY16" fmla="*/ 9720 h 10105"/>
                <a:gd name="connsiteX17" fmla="*/ 620 w 10001"/>
                <a:gd name="connsiteY17" fmla="*/ 10000 h 10105"/>
                <a:gd name="connsiteX18" fmla="*/ 2321 w 10001"/>
                <a:gd name="connsiteY18" fmla="*/ 8252 h 10105"/>
                <a:gd name="connsiteX19" fmla="*/ 2321 w 10001"/>
                <a:gd name="connsiteY19" fmla="*/ 6643 h 10105"/>
                <a:gd name="connsiteX20" fmla="*/ 1805 w 10001"/>
                <a:gd name="connsiteY20" fmla="*/ 5035 h 10105"/>
                <a:gd name="connsiteX21" fmla="*/ 1986 w 10001"/>
                <a:gd name="connsiteY21" fmla="*/ 4755 h 10105"/>
                <a:gd name="connsiteX22" fmla="*/ 7991 w 10001"/>
                <a:gd name="connsiteY22" fmla="*/ 4755 h 10105"/>
                <a:gd name="connsiteX23" fmla="*/ 8171 w 10001"/>
                <a:gd name="connsiteY23" fmla="*/ 5035 h 10105"/>
                <a:gd name="connsiteX24" fmla="*/ 7707 w 10001"/>
                <a:gd name="connsiteY24" fmla="*/ 6643 h 10105"/>
                <a:gd name="connsiteX25" fmla="*/ 7707 w 10001"/>
                <a:gd name="connsiteY25" fmla="*/ 8252 h 10105"/>
                <a:gd name="connsiteX26" fmla="*/ 8300 w 10001"/>
                <a:gd name="connsiteY26" fmla="*/ 10000 h 10105"/>
                <a:gd name="connsiteX27" fmla="*/ 9357 w 10001"/>
                <a:gd name="connsiteY27" fmla="*/ 10000 h 10105"/>
                <a:gd name="connsiteX28" fmla="*/ 10001 w 10001"/>
                <a:gd name="connsiteY28" fmla="*/ 8252 h 10105"/>
                <a:gd name="connsiteX29" fmla="*/ 10001 w 10001"/>
                <a:gd name="connsiteY29" fmla="*/ 6643 h 10105"/>
                <a:gd name="connsiteX0" fmla="*/ 10001 w 10001"/>
                <a:gd name="connsiteY0" fmla="*/ 6643 h 10105"/>
                <a:gd name="connsiteX1" fmla="*/ 9460 w 10001"/>
                <a:gd name="connsiteY1" fmla="*/ 4196 h 10105"/>
                <a:gd name="connsiteX2" fmla="*/ 8970 w 10001"/>
                <a:gd name="connsiteY2" fmla="*/ 3007 h 10105"/>
                <a:gd name="connsiteX3" fmla="*/ 8352 w 10001"/>
                <a:gd name="connsiteY3" fmla="*/ 1958 h 10105"/>
                <a:gd name="connsiteX4" fmla="*/ 7630 w 10001"/>
                <a:gd name="connsiteY4" fmla="*/ 1189 h 10105"/>
                <a:gd name="connsiteX5" fmla="*/ 6831 w 10001"/>
                <a:gd name="connsiteY5" fmla="*/ 490 h 10105"/>
                <a:gd name="connsiteX6" fmla="*/ 5955 w 10001"/>
                <a:gd name="connsiteY6" fmla="*/ 210 h 10105"/>
                <a:gd name="connsiteX7" fmla="*/ 4975 w 10001"/>
                <a:gd name="connsiteY7" fmla="*/ 0 h 10105"/>
                <a:gd name="connsiteX8" fmla="*/ 4047 w 10001"/>
                <a:gd name="connsiteY8" fmla="*/ 210 h 10105"/>
                <a:gd name="connsiteX9" fmla="*/ 3120 w 10001"/>
                <a:gd name="connsiteY9" fmla="*/ 490 h 10105"/>
                <a:gd name="connsiteX10" fmla="*/ 2321 w 10001"/>
                <a:gd name="connsiteY10" fmla="*/ 1189 h 10105"/>
                <a:gd name="connsiteX11" fmla="*/ 181 w 10001"/>
                <a:gd name="connsiteY11" fmla="*/ 5524 h 10105"/>
                <a:gd name="connsiteX12" fmla="*/ 27 w 10001"/>
                <a:gd name="connsiteY12" fmla="*/ 6224 h 10105"/>
                <a:gd name="connsiteX13" fmla="*/ 1 w 10001"/>
                <a:gd name="connsiteY13" fmla="*/ 8252 h 10105"/>
                <a:gd name="connsiteX14" fmla="*/ 78 w 10001"/>
                <a:gd name="connsiteY14" fmla="*/ 9091 h 10105"/>
                <a:gd name="connsiteX15" fmla="*/ 310 w 10001"/>
                <a:gd name="connsiteY15" fmla="*/ 9720 h 10105"/>
                <a:gd name="connsiteX16" fmla="*/ 620 w 10001"/>
                <a:gd name="connsiteY16" fmla="*/ 10000 h 10105"/>
                <a:gd name="connsiteX17" fmla="*/ 2321 w 10001"/>
                <a:gd name="connsiteY17" fmla="*/ 8252 h 10105"/>
                <a:gd name="connsiteX18" fmla="*/ 2321 w 10001"/>
                <a:gd name="connsiteY18" fmla="*/ 6643 h 10105"/>
                <a:gd name="connsiteX19" fmla="*/ 1805 w 10001"/>
                <a:gd name="connsiteY19" fmla="*/ 5035 h 10105"/>
                <a:gd name="connsiteX20" fmla="*/ 1986 w 10001"/>
                <a:gd name="connsiteY20" fmla="*/ 4755 h 10105"/>
                <a:gd name="connsiteX21" fmla="*/ 7991 w 10001"/>
                <a:gd name="connsiteY21" fmla="*/ 4755 h 10105"/>
                <a:gd name="connsiteX22" fmla="*/ 8171 w 10001"/>
                <a:gd name="connsiteY22" fmla="*/ 5035 h 10105"/>
                <a:gd name="connsiteX23" fmla="*/ 7707 w 10001"/>
                <a:gd name="connsiteY23" fmla="*/ 6643 h 10105"/>
                <a:gd name="connsiteX24" fmla="*/ 7707 w 10001"/>
                <a:gd name="connsiteY24" fmla="*/ 8252 h 10105"/>
                <a:gd name="connsiteX25" fmla="*/ 8300 w 10001"/>
                <a:gd name="connsiteY25" fmla="*/ 10000 h 10105"/>
                <a:gd name="connsiteX26" fmla="*/ 9357 w 10001"/>
                <a:gd name="connsiteY26" fmla="*/ 10000 h 10105"/>
                <a:gd name="connsiteX27" fmla="*/ 10001 w 10001"/>
                <a:gd name="connsiteY27" fmla="*/ 8252 h 10105"/>
                <a:gd name="connsiteX28" fmla="*/ 10001 w 10001"/>
                <a:gd name="connsiteY28" fmla="*/ 6643 h 10105"/>
                <a:gd name="connsiteX0" fmla="*/ 10001 w 10001"/>
                <a:gd name="connsiteY0" fmla="*/ 6643 h 10105"/>
                <a:gd name="connsiteX1" fmla="*/ 9460 w 10001"/>
                <a:gd name="connsiteY1" fmla="*/ 4196 h 10105"/>
                <a:gd name="connsiteX2" fmla="*/ 8970 w 10001"/>
                <a:gd name="connsiteY2" fmla="*/ 3007 h 10105"/>
                <a:gd name="connsiteX3" fmla="*/ 8352 w 10001"/>
                <a:gd name="connsiteY3" fmla="*/ 1958 h 10105"/>
                <a:gd name="connsiteX4" fmla="*/ 7630 w 10001"/>
                <a:gd name="connsiteY4" fmla="*/ 1189 h 10105"/>
                <a:gd name="connsiteX5" fmla="*/ 6831 w 10001"/>
                <a:gd name="connsiteY5" fmla="*/ 490 h 10105"/>
                <a:gd name="connsiteX6" fmla="*/ 5955 w 10001"/>
                <a:gd name="connsiteY6" fmla="*/ 210 h 10105"/>
                <a:gd name="connsiteX7" fmla="*/ 4975 w 10001"/>
                <a:gd name="connsiteY7" fmla="*/ 0 h 10105"/>
                <a:gd name="connsiteX8" fmla="*/ 4047 w 10001"/>
                <a:gd name="connsiteY8" fmla="*/ 210 h 10105"/>
                <a:gd name="connsiteX9" fmla="*/ 3120 w 10001"/>
                <a:gd name="connsiteY9" fmla="*/ 490 h 10105"/>
                <a:gd name="connsiteX10" fmla="*/ 2321 w 10001"/>
                <a:gd name="connsiteY10" fmla="*/ 1189 h 10105"/>
                <a:gd name="connsiteX11" fmla="*/ 181 w 10001"/>
                <a:gd name="connsiteY11" fmla="*/ 5524 h 10105"/>
                <a:gd name="connsiteX12" fmla="*/ 27 w 10001"/>
                <a:gd name="connsiteY12" fmla="*/ 6224 h 10105"/>
                <a:gd name="connsiteX13" fmla="*/ 1 w 10001"/>
                <a:gd name="connsiteY13" fmla="*/ 8252 h 10105"/>
                <a:gd name="connsiteX14" fmla="*/ 78 w 10001"/>
                <a:gd name="connsiteY14" fmla="*/ 9091 h 10105"/>
                <a:gd name="connsiteX15" fmla="*/ 310 w 10001"/>
                <a:gd name="connsiteY15" fmla="*/ 9720 h 10105"/>
                <a:gd name="connsiteX16" fmla="*/ 620 w 10001"/>
                <a:gd name="connsiteY16" fmla="*/ 10000 h 10105"/>
                <a:gd name="connsiteX17" fmla="*/ 2321 w 10001"/>
                <a:gd name="connsiteY17" fmla="*/ 8252 h 10105"/>
                <a:gd name="connsiteX18" fmla="*/ 2321 w 10001"/>
                <a:gd name="connsiteY18" fmla="*/ 6643 h 10105"/>
                <a:gd name="connsiteX19" fmla="*/ 1805 w 10001"/>
                <a:gd name="connsiteY19" fmla="*/ 5035 h 10105"/>
                <a:gd name="connsiteX20" fmla="*/ 1986 w 10001"/>
                <a:gd name="connsiteY20" fmla="*/ 4755 h 10105"/>
                <a:gd name="connsiteX21" fmla="*/ 7991 w 10001"/>
                <a:gd name="connsiteY21" fmla="*/ 4755 h 10105"/>
                <a:gd name="connsiteX22" fmla="*/ 8171 w 10001"/>
                <a:gd name="connsiteY22" fmla="*/ 5035 h 10105"/>
                <a:gd name="connsiteX23" fmla="*/ 7707 w 10001"/>
                <a:gd name="connsiteY23" fmla="*/ 6643 h 10105"/>
                <a:gd name="connsiteX24" fmla="*/ 7707 w 10001"/>
                <a:gd name="connsiteY24" fmla="*/ 8252 h 10105"/>
                <a:gd name="connsiteX25" fmla="*/ 8300 w 10001"/>
                <a:gd name="connsiteY25" fmla="*/ 10000 h 10105"/>
                <a:gd name="connsiteX26" fmla="*/ 9357 w 10001"/>
                <a:gd name="connsiteY26" fmla="*/ 10000 h 10105"/>
                <a:gd name="connsiteX27" fmla="*/ 10001 w 10001"/>
                <a:gd name="connsiteY27" fmla="*/ 8252 h 10105"/>
                <a:gd name="connsiteX28" fmla="*/ 10001 w 10001"/>
                <a:gd name="connsiteY28" fmla="*/ 6643 h 10105"/>
                <a:gd name="connsiteX0" fmla="*/ 10001 w 10001"/>
                <a:gd name="connsiteY0" fmla="*/ 6643 h 10105"/>
                <a:gd name="connsiteX1" fmla="*/ 9460 w 10001"/>
                <a:gd name="connsiteY1" fmla="*/ 4196 h 10105"/>
                <a:gd name="connsiteX2" fmla="*/ 8970 w 10001"/>
                <a:gd name="connsiteY2" fmla="*/ 3007 h 10105"/>
                <a:gd name="connsiteX3" fmla="*/ 8352 w 10001"/>
                <a:gd name="connsiteY3" fmla="*/ 1958 h 10105"/>
                <a:gd name="connsiteX4" fmla="*/ 7630 w 10001"/>
                <a:gd name="connsiteY4" fmla="*/ 1189 h 10105"/>
                <a:gd name="connsiteX5" fmla="*/ 6831 w 10001"/>
                <a:gd name="connsiteY5" fmla="*/ 490 h 10105"/>
                <a:gd name="connsiteX6" fmla="*/ 5955 w 10001"/>
                <a:gd name="connsiteY6" fmla="*/ 210 h 10105"/>
                <a:gd name="connsiteX7" fmla="*/ 4975 w 10001"/>
                <a:gd name="connsiteY7" fmla="*/ 0 h 10105"/>
                <a:gd name="connsiteX8" fmla="*/ 4047 w 10001"/>
                <a:gd name="connsiteY8" fmla="*/ 210 h 10105"/>
                <a:gd name="connsiteX9" fmla="*/ 3120 w 10001"/>
                <a:gd name="connsiteY9" fmla="*/ 490 h 10105"/>
                <a:gd name="connsiteX10" fmla="*/ 181 w 10001"/>
                <a:gd name="connsiteY10" fmla="*/ 5524 h 10105"/>
                <a:gd name="connsiteX11" fmla="*/ 27 w 10001"/>
                <a:gd name="connsiteY11" fmla="*/ 6224 h 10105"/>
                <a:gd name="connsiteX12" fmla="*/ 1 w 10001"/>
                <a:gd name="connsiteY12" fmla="*/ 8252 h 10105"/>
                <a:gd name="connsiteX13" fmla="*/ 78 w 10001"/>
                <a:gd name="connsiteY13" fmla="*/ 9091 h 10105"/>
                <a:gd name="connsiteX14" fmla="*/ 310 w 10001"/>
                <a:gd name="connsiteY14" fmla="*/ 9720 h 10105"/>
                <a:gd name="connsiteX15" fmla="*/ 620 w 10001"/>
                <a:gd name="connsiteY15" fmla="*/ 10000 h 10105"/>
                <a:gd name="connsiteX16" fmla="*/ 2321 w 10001"/>
                <a:gd name="connsiteY16" fmla="*/ 8252 h 10105"/>
                <a:gd name="connsiteX17" fmla="*/ 2321 w 10001"/>
                <a:gd name="connsiteY17" fmla="*/ 6643 h 10105"/>
                <a:gd name="connsiteX18" fmla="*/ 1805 w 10001"/>
                <a:gd name="connsiteY18" fmla="*/ 5035 h 10105"/>
                <a:gd name="connsiteX19" fmla="*/ 1986 w 10001"/>
                <a:gd name="connsiteY19" fmla="*/ 4755 h 10105"/>
                <a:gd name="connsiteX20" fmla="*/ 7991 w 10001"/>
                <a:gd name="connsiteY20" fmla="*/ 4755 h 10105"/>
                <a:gd name="connsiteX21" fmla="*/ 8171 w 10001"/>
                <a:gd name="connsiteY21" fmla="*/ 5035 h 10105"/>
                <a:gd name="connsiteX22" fmla="*/ 7707 w 10001"/>
                <a:gd name="connsiteY22" fmla="*/ 6643 h 10105"/>
                <a:gd name="connsiteX23" fmla="*/ 7707 w 10001"/>
                <a:gd name="connsiteY23" fmla="*/ 8252 h 10105"/>
                <a:gd name="connsiteX24" fmla="*/ 8300 w 10001"/>
                <a:gd name="connsiteY24" fmla="*/ 10000 h 10105"/>
                <a:gd name="connsiteX25" fmla="*/ 9357 w 10001"/>
                <a:gd name="connsiteY25" fmla="*/ 10000 h 10105"/>
                <a:gd name="connsiteX26" fmla="*/ 10001 w 10001"/>
                <a:gd name="connsiteY26" fmla="*/ 8252 h 10105"/>
                <a:gd name="connsiteX27" fmla="*/ 10001 w 10001"/>
                <a:gd name="connsiteY27" fmla="*/ 6643 h 10105"/>
                <a:gd name="connsiteX0" fmla="*/ 10001 w 10001"/>
                <a:gd name="connsiteY0" fmla="*/ 6643 h 10105"/>
                <a:gd name="connsiteX1" fmla="*/ 9460 w 10001"/>
                <a:gd name="connsiteY1" fmla="*/ 4196 h 10105"/>
                <a:gd name="connsiteX2" fmla="*/ 8970 w 10001"/>
                <a:gd name="connsiteY2" fmla="*/ 3007 h 10105"/>
                <a:gd name="connsiteX3" fmla="*/ 8352 w 10001"/>
                <a:gd name="connsiteY3" fmla="*/ 1958 h 10105"/>
                <a:gd name="connsiteX4" fmla="*/ 7630 w 10001"/>
                <a:gd name="connsiteY4" fmla="*/ 1189 h 10105"/>
                <a:gd name="connsiteX5" fmla="*/ 6831 w 10001"/>
                <a:gd name="connsiteY5" fmla="*/ 490 h 10105"/>
                <a:gd name="connsiteX6" fmla="*/ 5955 w 10001"/>
                <a:gd name="connsiteY6" fmla="*/ 210 h 10105"/>
                <a:gd name="connsiteX7" fmla="*/ 4975 w 10001"/>
                <a:gd name="connsiteY7" fmla="*/ 0 h 10105"/>
                <a:gd name="connsiteX8" fmla="*/ 4047 w 10001"/>
                <a:gd name="connsiteY8" fmla="*/ 210 h 10105"/>
                <a:gd name="connsiteX9" fmla="*/ 181 w 10001"/>
                <a:gd name="connsiteY9" fmla="*/ 5524 h 10105"/>
                <a:gd name="connsiteX10" fmla="*/ 27 w 10001"/>
                <a:gd name="connsiteY10" fmla="*/ 6224 h 10105"/>
                <a:gd name="connsiteX11" fmla="*/ 1 w 10001"/>
                <a:gd name="connsiteY11" fmla="*/ 8252 h 10105"/>
                <a:gd name="connsiteX12" fmla="*/ 78 w 10001"/>
                <a:gd name="connsiteY12" fmla="*/ 9091 h 10105"/>
                <a:gd name="connsiteX13" fmla="*/ 310 w 10001"/>
                <a:gd name="connsiteY13" fmla="*/ 9720 h 10105"/>
                <a:gd name="connsiteX14" fmla="*/ 620 w 10001"/>
                <a:gd name="connsiteY14" fmla="*/ 10000 h 10105"/>
                <a:gd name="connsiteX15" fmla="*/ 2321 w 10001"/>
                <a:gd name="connsiteY15" fmla="*/ 8252 h 10105"/>
                <a:gd name="connsiteX16" fmla="*/ 2321 w 10001"/>
                <a:gd name="connsiteY16" fmla="*/ 6643 h 10105"/>
                <a:gd name="connsiteX17" fmla="*/ 1805 w 10001"/>
                <a:gd name="connsiteY17" fmla="*/ 5035 h 10105"/>
                <a:gd name="connsiteX18" fmla="*/ 1986 w 10001"/>
                <a:gd name="connsiteY18" fmla="*/ 4755 h 10105"/>
                <a:gd name="connsiteX19" fmla="*/ 7991 w 10001"/>
                <a:gd name="connsiteY19" fmla="*/ 4755 h 10105"/>
                <a:gd name="connsiteX20" fmla="*/ 8171 w 10001"/>
                <a:gd name="connsiteY20" fmla="*/ 5035 h 10105"/>
                <a:gd name="connsiteX21" fmla="*/ 7707 w 10001"/>
                <a:gd name="connsiteY21" fmla="*/ 6643 h 10105"/>
                <a:gd name="connsiteX22" fmla="*/ 7707 w 10001"/>
                <a:gd name="connsiteY22" fmla="*/ 8252 h 10105"/>
                <a:gd name="connsiteX23" fmla="*/ 8300 w 10001"/>
                <a:gd name="connsiteY23" fmla="*/ 10000 h 10105"/>
                <a:gd name="connsiteX24" fmla="*/ 9357 w 10001"/>
                <a:gd name="connsiteY24" fmla="*/ 10000 h 10105"/>
                <a:gd name="connsiteX25" fmla="*/ 10001 w 10001"/>
                <a:gd name="connsiteY25" fmla="*/ 8252 h 10105"/>
                <a:gd name="connsiteX26" fmla="*/ 10001 w 10001"/>
                <a:gd name="connsiteY26" fmla="*/ 6643 h 10105"/>
                <a:gd name="connsiteX0" fmla="*/ 10001 w 10001"/>
                <a:gd name="connsiteY0" fmla="*/ 6643 h 10105"/>
                <a:gd name="connsiteX1" fmla="*/ 9460 w 10001"/>
                <a:gd name="connsiteY1" fmla="*/ 4196 h 10105"/>
                <a:gd name="connsiteX2" fmla="*/ 8970 w 10001"/>
                <a:gd name="connsiteY2" fmla="*/ 3007 h 10105"/>
                <a:gd name="connsiteX3" fmla="*/ 8352 w 10001"/>
                <a:gd name="connsiteY3" fmla="*/ 1958 h 10105"/>
                <a:gd name="connsiteX4" fmla="*/ 7630 w 10001"/>
                <a:gd name="connsiteY4" fmla="*/ 1189 h 10105"/>
                <a:gd name="connsiteX5" fmla="*/ 6831 w 10001"/>
                <a:gd name="connsiteY5" fmla="*/ 490 h 10105"/>
                <a:gd name="connsiteX6" fmla="*/ 5955 w 10001"/>
                <a:gd name="connsiteY6" fmla="*/ 210 h 10105"/>
                <a:gd name="connsiteX7" fmla="*/ 4975 w 10001"/>
                <a:gd name="connsiteY7" fmla="*/ 0 h 10105"/>
                <a:gd name="connsiteX8" fmla="*/ 181 w 10001"/>
                <a:gd name="connsiteY8" fmla="*/ 5524 h 10105"/>
                <a:gd name="connsiteX9" fmla="*/ 27 w 10001"/>
                <a:gd name="connsiteY9" fmla="*/ 6224 h 10105"/>
                <a:gd name="connsiteX10" fmla="*/ 1 w 10001"/>
                <a:gd name="connsiteY10" fmla="*/ 8252 h 10105"/>
                <a:gd name="connsiteX11" fmla="*/ 78 w 10001"/>
                <a:gd name="connsiteY11" fmla="*/ 9091 h 10105"/>
                <a:gd name="connsiteX12" fmla="*/ 310 w 10001"/>
                <a:gd name="connsiteY12" fmla="*/ 9720 h 10105"/>
                <a:gd name="connsiteX13" fmla="*/ 620 w 10001"/>
                <a:gd name="connsiteY13" fmla="*/ 10000 h 10105"/>
                <a:gd name="connsiteX14" fmla="*/ 2321 w 10001"/>
                <a:gd name="connsiteY14" fmla="*/ 8252 h 10105"/>
                <a:gd name="connsiteX15" fmla="*/ 2321 w 10001"/>
                <a:gd name="connsiteY15" fmla="*/ 6643 h 10105"/>
                <a:gd name="connsiteX16" fmla="*/ 1805 w 10001"/>
                <a:gd name="connsiteY16" fmla="*/ 5035 h 10105"/>
                <a:gd name="connsiteX17" fmla="*/ 1986 w 10001"/>
                <a:gd name="connsiteY17" fmla="*/ 4755 h 10105"/>
                <a:gd name="connsiteX18" fmla="*/ 7991 w 10001"/>
                <a:gd name="connsiteY18" fmla="*/ 4755 h 10105"/>
                <a:gd name="connsiteX19" fmla="*/ 8171 w 10001"/>
                <a:gd name="connsiteY19" fmla="*/ 5035 h 10105"/>
                <a:gd name="connsiteX20" fmla="*/ 7707 w 10001"/>
                <a:gd name="connsiteY20" fmla="*/ 6643 h 10105"/>
                <a:gd name="connsiteX21" fmla="*/ 7707 w 10001"/>
                <a:gd name="connsiteY21" fmla="*/ 8252 h 10105"/>
                <a:gd name="connsiteX22" fmla="*/ 8300 w 10001"/>
                <a:gd name="connsiteY22" fmla="*/ 10000 h 10105"/>
                <a:gd name="connsiteX23" fmla="*/ 9357 w 10001"/>
                <a:gd name="connsiteY23" fmla="*/ 10000 h 10105"/>
                <a:gd name="connsiteX24" fmla="*/ 10001 w 10001"/>
                <a:gd name="connsiteY24" fmla="*/ 8252 h 10105"/>
                <a:gd name="connsiteX25" fmla="*/ 10001 w 10001"/>
                <a:gd name="connsiteY25" fmla="*/ 6643 h 10105"/>
                <a:gd name="connsiteX0" fmla="*/ 10001 w 10001"/>
                <a:gd name="connsiteY0" fmla="*/ 6433 h 9895"/>
                <a:gd name="connsiteX1" fmla="*/ 9460 w 10001"/>
                <a:gd name="connsiteY1" fmla="*/ 3986 h 9895"/>
                <a:gd name="connsiteX2" fmla="*/ 8970 w 10001"/>
                <a:gd name="connsiteY2" fmla="*/ 2797 h 9895"/>
                <a:gd name="connsiteX3" fmla="*/ 8352 w 10001"/>
                <a:gd name="connsiteY3" fmla="*/ 1748 h 9895"/>
                <a:gd name="connsiteX4" fmla="*/ 7630 w 10001"/>
                <a:gd name="connsiteY4" fmla="*/ 979 h 9895"/>
                <a:gd name="connsiteX5" fmla="*/ 6831 w 10001"/>
                <a:gd name="connsiteY5" fmla="*/ 280 h 9895"/>
                <a:gd name="connsiteX6" fmla="*/ 5955 w 10001"/>
                <a:gd name="connsiteY6" fmla="*/ 0 h 9895"/>
                <a:gd name="connsiteX7" fmla="*/ 181 w 10001"/>
                <a:gd name="connsiteY7" fmla="*/ 5314 h 9895"/>
                <a:gd name="connsiteX8" fmla="*/ 27 w 10001"/>
                <a:gd name="connsiteY8" fmla="*/ 6014 h 9895"/>
                <a:gd name="connsiteX9" fmla="*/ 1 w 10001"/>
                <a:gd name="connsiteY9" fmla="*/ 8042 h 9895"/>
                <a:gd name="connsiteX10" fmla="*/ 78 w 10001"/>
                <a:gd name="connsiteY10" fmla="*/ 8881 h 9895"/>
                <a:gd name="connsiteX11" fmla="*/ 310 w 10001"/>
                <a:gd name="connsiteY11" fmla="*/ 9510 h 9895"/>
                <a:gd name="connsiteX12" fmla="*/ 620 w 10001"/>
                <a:gd name="connsiteY12" fmla="*/ 9790 h 9895"/>
                <a:gd name="connsiteX13" fmla="*/ 2321 w 10001"/>
                <a:gd name="connsiteY13" fmla="*/ 8042 h 9895"/>
                <a:gd name="connsiteX14" fmla="*/ 2321 w 10001"/>
                <a:gd name="connsiteY14" fmla="*/ 6433 h 9895"/>
                <a:gd name="connsiteX15" fmla="*/ 1805 w 10001"/>
                <a:gd name="connsiteY15" fmla="*/ 4825 h 9895"/>
                <a:gd name="connsiteX16" fmla="*/ 1986 w 10001"/>
                <a:gd name="connsiteY16" fmla="*/ 4545 h 9895"/>
                <a:gd name="connsiteX17" fmla="*/ 7991 w 10001"/>
                <a:gd name="connsiteY17" fmla="*/ 4545 h 9895"/>
                <a:gd name="connsiteX18" fmla="*/ 8171 w 10001"/>
                <a:gd name="connsiteY18" fmla="*/ 4825 h 9895"/>
                <a:gd name="connsiteX19" fmla="*/ 7707 w 10001"/>
                <a:gd name="connsiteY19" fmla="*/ 6433 h 9895"/>
                <a:gd name="connsiteX20" fmla="*/ 7707 w 10001"/>
                <a:gd name="connsiteY20" fmla="*/ 8042 h 9895"/>
                <a:gd name="connsiteX21" fmla="*/ 8300 w 10001"/>
                <a:gd name="connsiteY21" fmla="*/ 9790 h 9895"/>
                <a:gd name="connsiteX22" fmla="*/ 9357 w 10001"/>
                <a:gd name="connsiteY22" fmla="*/ 9790 h 9895"/>
                <a:gd name="connsiteX23" fmla="*/ 10001 w 10001"/>
                <a:gd name="connsiteY23" fmla="*/ 8042 h 9895"/>
                <a:gd name="connsiteX24" fmla="*/ 10001 w 10001"/>
                <a:gd name="connsiteY24" fmla="*/ 6433 h 9895"/>
                <a:gd name="connsiteX0" fmla="*/ 10000 w 10000"/>
                <a:gd name="connsiteY0" fmla="*/ 6218 h 9718"/>
                <a:gd name="connsiteX1" fmla="*/ 9459 w 10000"/>
                <a:gd name="connsiteY1" fmla="*/ 3745 h 9718"/>
                <a:gd name="connsiteX2" fmla="*/ 8969 w 10000"/>
                <a:gd name="connsiteY2" fmla="*/ 2544 h 9718"/>
                <a:gd name="connsiteX3" fmla="*/ 8351 w 10000"/>
                <a:gd name="connsiteY3" fmla="*/ 1484 h 9718"/>
                <a:gd name="connsiteX4" fmla="*/ 7629 w 10000"/>
                <a:gd name="connsiteY4" fmla="*/ 706 h 9718"/>
                <a:gd name="connsiteX5" fmla="*/ 6830 w 10000"/>
                <a:gd name="connsiteY5" fmla="*/ 0 h 9718"/>
                <a:gd name="connsiteX6" fmla="*/ 181 w 10000"/>
                <a:gd name="connsiteY6" fmla="*/ 5087 h 9718"/>
                <a:gd name="connsiteX7" fmla="*/ 27 w 10000"/>
                <a:gd name="connsiteY7" fmla="*/ 5795 h 9718"/>
                <a:gd name="connsiteX8" fmla="*/ 1 w 10000"/>
                <a:gd name="connsiteY8" fmla="*/ 7844 h 9718"/>
                <a:gd name="connsiteX9" fmla="*/ 78 w 10000"/>
                <a:gd name="connsiteY9" fmla="*/ 8692 h 9718"/>
                <a:gd name="connsiteX10" fmla="*/ 310 w 10000"/>
                <a:gd name="connsiteY10" fmla="*/ 9328 h 9718"/>
                <a:gd name="connsiteX11" fmla="*/ 620 w 10000"/>
                <a:gd name="connsiteY11" fmla="*/ 9611 h 9718"/>
                <a:gd name="connsiteX12" fmla="*/ 2321 w 10000"/>
                <a:gd name="connsiteY12" fmla="*/ 7844 h 9718"/>
                <a:gd name="connsiteX13" fmla="*/ 2321 w 10000"/>
                <a:gd name="connsiteY13" fmla="*/ 6218 h 9718"/>
                <a:gd name="connsiteX14" fmla="*/ 1805 w 10000"/>
                <a:gd name="connsiteY14" fmla="*/ 4593 h 9718"/>
                <a:gd name="connsiteX15" fmla="*/ 1986 w 10000"/>
                <a:gd name="connsiteY15" fmla="*/ 4310 h 9718"/>
                <a:gd name="connsiteX16" fmla="*/ 7990 w 10000"/>
                <a:gd name="connsiteY16" fmla="*/ 4310 h 9718"/>
                <a:gd name="connsiteX17" fmla="*/ 8170 w 10000"/>
                <a:gd name="connsiteY17" fmla="*/ 4593 h 9718"/>
                <a:gd name="connsiteX18" fmla="*/ 7706 w 10000"/>
                <a:gd name="connsiteY18" fmla="*/ 6218 h 9718"/>
                <a:gd name="connsiteX19" fmla="*/ 7706 w 10000"/>
                <a:gd name="connsiteY19" fmla="*/ 7844 h 9718"/>
                <a:gd name="connsiteX20" fmla="*/ 8299 w 10000"/>
                <a:gd name="connsiteY20" fmla="*/ 9611 h 9718"/>
                <a:gd name="connsiteX21" fmla="*/ 9356 w 10000"/>
                <a:gd name="connsiteY21" fmla="*/ 9611 h 9718"/>
                <a:gd name="connsiteX22" fmla="*/ 10000 w 10000"/>
                <a:gd name="connsiteY22" fmla="*/ 7844 h 9718"/>
                <a:gd name="connsiteX23" fmla="*/ 10000 w 10000"/>
                <a:gd name="connsiteY23" fmla="*/ 6218 h 9718"/>
                <a:gd name="connsiteX0" fmla="*/ 10000 w 10000"/>
                <a:gd name="connsiteY0" fmla="*/ 5672 h 9274"/>
                <a:gd name="connsiteX1" fmla="*/ 9459 w 10000"/>
                <a:gd name="connsiteY1" fmla="*/ 3128 h 9274"/>
                <a:gd name="connsiteX2" fmla="*/ 8969 w 10000"/>
                <a:gd name="connsiteY2" fmla="*/ 1892 h 9274"/>
                <a:gd name="connsiteX3" fmla="*/ 8351 w 10000"/>
                <a:gd name="connsiteY3" fmla="*/ 801 h 9274"/>
                <a:gd name="connsiteX4" fmla="*/ 7629 w 10000"/>
                <a:gd name="connsiteY4" fmla="*/ 0 h 9274"/>
                <a:gd name="connsiteX5" fmla="*/ 181 w 10000"/>
                <a:gd name="connsiteY5" fmla="*/ 4509 h 9274"/>
                <a:gd name="connsiteX6" fmla="*/ 27 w 10000"/>
                <a:gd name="connsiteY6" fmla="*/ 5237 h 9274"/>
                <a:gd name="connsiteX7" fmla="*/ 1 w 10000"/>
                <a:gd name="connsiteY7" fmla="*/ 7346 h 9274"/>
                <a:gd name="connsiteX8" fmla="*/ 78 w 10000"/>
                <a:gd name="connsiteY8" fmla="*/ 8218 h 9274"/>
                <a:gd name="connsiteX9" fmla="*/ 310 w 10000"/>
                <a:gd name="connsiteY9" fmla="*/ 8873 h 9274"/>
                <a:gd name="connsiteX10" fmla="*/ 620 w 10000"/>
                <a:gd name="connsiteY10" fmla="*/ 9164 h 9274"/>
                <a:gd name="connsiteX11" fmla="*/ 2321 w 10000"/>
                <a:gd name="connsiteY11" fmla="*/ 7346 h 9274"/>
                <a:gd name="connsiteX12" fmla="*/ 2321 w 10000"/>
                <a:gd name="connsiteY12" fmla="*/ 5672 h 9274"/>
                <a:gd name="connsiteX13" fmla="*/ 1805 w 10000"/>
                <a:gd name="connsiteY13" fmla="*/ 4000 h 9274"/>
                <a:gd name="connsiteX14" fmla="*/ 1986 w 10000"/>
                <a:gd name="connsiteY14" fmla="*/ 3709 h 9274"/>
                <a:gd name="connsiteX15" fmla="*/ 7990 w 10000"/>
                <a:gd name="connsiteY15" fmla="*/ 3709 h 9274"/>
                <a:gd name="connsiteX16" fmla="*/ 8170 w 10000"/>
                <a:gd name="connsiteY16" fmla="*/ 4000 h 9274"/>
                <a:gd name="connsiteX17" fmla="*/ 7706 w 10000"/>
                <a:gd name="connsiteY17" fmla="*/ 5672 h 9274"/>
                <a:gd name="connsiteX18" fmla="*/ 7706 w 10000"/>
                <a:gd name="connsiteY18" fmla="*/ 7346 h 9274"/>
                <a:gd name="connsiteX19" fmla="*/ 8299 w 10000"/>
                <a:gd name="connsiteY19" fmla="*/ 9164 h 9274"/>
                <a:gd name="connsiteX20" fmla="*/ 9356 w 10000"/>
                <a:gd name="connsiteY20" fmla="*/ 9164 h 9274"/>
                <a:gd name="connsiteX21" fmla="*/ 10000 w 10000"/>
                <a:gd name="connsiteY21" fmla="*/ 7346 h 9274"/>
                <a:gd name="connsiteX22" fmla="*/ 10000 w 10000"/>
                <a:gd name="connsiteY22" fmla="*/ 5672 h 9274"/>
                <a:gd name="connsiteX0" fmla="*/ 10000 w 10000"/>
                <a:gd name="connsiteY0" fmla="*/ 5252 h 9136"/>
                <a:gd name="connsiteX1" fmla="*/ 9459 w 10000"/>
                <a:gd name="connsiteY1" fmla="*/ 2509 h 9136"/>
                <a:gd name="connsiteX2" fmla="*/ 8969 w 10000"/>
                <a:gd name="connsiteY2" fmla="*/ 1176 h 9136"/>
                <a:gd name="connsiteX3" fmla="*/ 8351 w 10000"/>
                <a:gd name="connsiteY3" fmla="*/ 0 h 9136"/>
                <a:gd name="connsiteX4" fmla="*/ 181 w 10000"/>
                <a:gd name="connsiteY4" fmla="*/ 3998 h 9136"/>
                <a:gd name="connsiteX5" fmla="*/ 27 w 10000"/>
                <a:gd name="connsiteY5" fmla="*/ 4783 h 9136"/>
                <a:gd name="connsiteX6" fmla="*/ 1 w 10000"/>
                <a:gd name="connsiteY6" fmla="*/ 7057 h 9136"/>
                <a:gd name="connsiteX7" fmla="*/ 78 w 10000"/>
                <a:gd name="connsiteY7" fmla="*/ 7997 h 9136"/>
                <a:gd name="connsiteX8" fmla="*/ 310 w 10000"/>
                <a:gd name="connsiteY8" fmla="*/ 8704 h 9136"/>
                <a:gd name="connsiteX9" fmla="*/ 620 w 10000"/>
                <a:gd name="connsiteY9" fmla="*/ 9017 h 9136"/>
                <a:gd name="connsiteX10" fmla="*/ 2321 w 10000"/>
                <a:gd name="connsiteY10" fmla="*/ 7057 h 9136"/>
                <a:gd name="connsiteX11" fmla="*/ 2321 w 10000"/>
                <a:gd name="connsiteY11" fmla="*/ 5252 h 9136"/>
                <a:gd name="connsiteX12" fmla="*/ 1805 w 10000"/>
                <a:gd name="connsiteY12" fmla="*/ 3449 h 9136"/>
                <a:gd name="connsiteX13" fmla="*/ 1986 w 10000"/>
                <a:gd name="connsiteY13" fmla="*/ 3135 h 9136"/>
                <a:gd name="connsiteX14" fmla="*/ 7990 w 10000"/>
                <a:gd name="connsiteY14" fmla="*/ 3135 h 9136"/>
                <a:gd name="connsiteX15" fmla="*/ 8170 w 10000"/>
                <a:gd name="connsiteY15" fmla="*/ 3449 h 9136"/>
                <a:gd name="connsiteX16" fmla="*/ 7706 w 10000"/>
                <a:gd name="connsiteY16" fmla="*/ 5252 h 9136"/>
                <a:gd name="connsiteX17" fmla="*/ 7706 w 10000"/>
                <a:gd name="connsiteY17" fmla="*/ 7057 h 9136"/>
                <a:gd name="connsiteX18" fmla="*/ 8299 w 10000"/>
                <a:gd name="connsiteY18" fmla="*/ 9017 h 9136"/>
                <a:gd name="connsiteX19" fmla="*/ 9356 w 10000"/>
                <a:gd name="connsiteY19" fmla="*/ 9017 h 9136"/>
                <a:gd name="connsiteX20" fmla="*/ 10000 w 10000"/>
                <a:gd name="connsiteY20" fmla="*/ 7057 h 9136"/>
                <a:gd name="connsiteX21" fmla="*/ 10000 w 10000"/>
                <a:gd name="connsiteY21" fmla="*/ 5252 h 9136"/>
                <a:gd name="connsiteX0" fmla="*/ 10000 w 10000"/>
                <a:gd name="connsiteY0" fmla="*/ 6507 h 10758"/>
                <a:gd name="connsiteX1" fmla="*/ 9459 w 10000"/>
                <a:gd name="connsiteY1" fmla="*/ 3504 h 10758"/>
                <a:gd name="connsiteX2" fmla="*/ 8969 w 10000"/>
                <a:gd name="connsiteY2" fmla="*/ 2045 h 10758"/>
                <a:gd name="connsiteX3" fmla="*/ 8351 w 10000"/>
                <a:gd name="connsiteY3" fmla="*/ 758 h 10758"/>
                <a:gd name="connsiteX4" fmla="*/ 181 w 10000"/>
                <a:gd name="connsiteY4" fmla="*/ 5134 h 10758"/>
                <a:gd name="connsiteX5" fmla="*/ 27 w 10000"/>
                <a:gd name="connsiteY5" fmla="*/ 5993 h 10758"/>
                <a:gd name="connsiteX6" fmla="*/ 1 w 10000"/>
                <a:gd name="connsiteY6" fmla="*/ 8482 h 10758"/>
                <a:gd name="connsiteX7" fmla="*/ 78 w 10000"/>
                <a:gd name="connsiteY7" fmla="*/ 9511 h 10758"/>
                <a:gd name="connsiteX8" fmla="*/ 310 w 10000"/>
                <a:gd name="connsiteY8" fmla="*/ 10285 h 10758"/>
                <a:gd name="connsiteX9" fmla="*/ 620 w 10000"/>
                <a:gd name="connsiteY9" fmla="*/ 10628 h 10758"/>
                <a:gd name="connsiteX10" fmla="*/ 2321 w 10000"/>
                <a:gd name="connsiteY10" fmla="*/ 8482 h 10758"/>
                <a:gd name="connsiteX11" fmla="*/ 2321 w 10000"/>
                <a:gd name="connsiteY11" fmla="*/ 6507 h 10758"/>
                <a:gd name="connsiteX12" fmla="*/ 1805 w 10000"/>
                <a:gd name="connsiteY12" fmla="*/ 4533 h 10758"/>
                <a:gd name="connsiteX13" fmla="*/ 1986 w 10000"/>
                <a:gd name="connsiteY13" fmla="*/ 4189 h 10758"/>
                <a:gd name="connsiteX14" fmla="*/ 7990 w 10000"/>
                <a:gd name="connsiteY14" fmla="*/ 4189 h 10758"/>
                <a:gd name="connsiteX15" fmla="*/ 8170 w 10000"/>
                <a:gd name="connsiteY15" fmla="*/ 4533 h 10758"/>
                <a:gd name="connsiteX16" fmla="*/ 7706 w 10000"/>
                <a:gd name="connsiteY16" fmla="*/ 6507 h 10758"/>
                <a:gd name="connsiteX17" fmla="*/ 7706 w 10000"/>
                <a:gd name="connsiteY17" fmla="*/ 8482 h 10758"/>
                <a:gd name="connsiteX18" fmla="*/ 8299 w 10000"/>
                <a:gd name="connsiteY18" fmla="*/ 10628 h 10758"/>
                <a:gd name="connsiteX19" fmla="*/ 9356 w 10000"/>
                <a:gd name="connsiteY19" fmla="*/ 10628 h 10758"/>
                <a:gd name="connsiteX20" fmla="*/ 10000 w 10000"/>
                <a:gd name="connsiteY20" fmla="*/ 8482 h 10758"/>
                <a:gd name="connsiteX21" fmla="*/ 10000 w 10000"/>
                <a:gd name="connsiteY21" fmla="*/ 6507 h 10758"/>
                <a:gd name="connsiteX0" fmla="*/ 10000 w 10000"/>
                <a:gd name="connsiteY0" fmla="*/ 8240 h 12491"/>
                <a:gd name="connsiteX1" fmla="*/ 9459 w 10000"/>
                <a:gd name="connsiteY1" fmla="*/ 5237 h 12491"/>
                <a:gd name="connsiteX2" fmla="*/ 8969 w 10000"/>
                <a:gd name="connsiteY2" fmla="*/ 3778 h 12491"/>
                <a:gd name="connsiteX3" fmla="*/ 8351 w 10000"/>
                <a:gd name="connsiteY3" fmla="*/ 2491 h 12491"/>
                <a:gd name="connsiteX4" fmla="*/ 181 w 10000"/>
                <a:gd name="connsiteY4" fmla="*/ 6867 h 12491"/>
                <a:gd name="connsiteX5" fmla="*/ 27 w 10000"/>
                <a:gd name="connsiteY5" fmla="*/ 7726 h 12491"/>
                <a:gd name="connsiteX6" fmla="*/ 1 w 10000"/>
                <a:gd name="connsiteY6" fmla="*/ 10215 h 12491"/>
                <a:gd name="connsiteX7" fmla="*/ 78 w 10000"/>
                <a:gd name="connsiteY7" fmla="*/ 11244 h 12491"/>
                <a:gd name="connsiteX8" fmla="*/ 310 w 10000"/>
                <a:gd name="connsiteY8" fmla="*/ 12018 h 12491"/>
                <a:gd name="connsiteX9" fmla="*/ 620 w 10000"/>
                <a:gd name="connsiteY9" fmla="*/ 12361 h 12491"/>
                <a:gd name="connsiteX10" fmla="*/ 2321 w 10000"/>
                <a:gd name="connsiteY10" fmla="*/ 10215 h 12491"/>
                <a:gd name="connsiteX11" fmla="*/ 2321 w 10000"/>
                <a:gd name="connsiteY11" fmla="*/ 8240 h 12491"/>
                <a:gd name="connsiteX12" fmla="*/ 1805 w 10000"/>
                <a:gd name="connsiteY12" fmla="*/ 6266 h 12491"/>
                <a:gd name="connsiteX13" fmla="*/ 1986 w 10000"/>
                <a:gd name="connsiteY13" fmla="*/ 5922 h 12491"/>
                <a:gd name="connsiteX14" fmla="*/ 7990 w 10000"/>
                <a:gd name="connsiteY14" fmla="*/ 5922 h 12491"/>
                <a:gd name="connsiteX15" fmla="*/ 8170 w 10000"/>
                <a:gd name="connsiteY15" fmla="*/ 6266 h 12491"/>
                <a:gd name="connsiteX16" fmla="*/ 7706 w 10000"/>
                <a:gd name="connsiteY16" fmla="*/ 8240 h 12491"/>
                <a:gd name="connsiteX17" fmla="*/ 7706 w 10000"/>
                <a:gd name="connsiteY17" fmla="*/ 10215 h 12491"/>
                <a:gd name="connsiteX18" fmla="*/ 8299 w 10000"/>
                <a:gd name="connsiteY18" fmla="*/ 12361 h 12491"/>
                <a:gd name="connsiteX19" fmla="*/ 9356 w 10000"/>
                <a:gd name="connsiteY19" fmla="*/ 12361 h 12491"/>
                <a:gd name="connsiteX20" fmla="*/ 10000 w 10000"/>
                <a:gd name="connsiteY20" fmla="*/ 10215 h 12491"/>
                <a:gd name="connsiteX21" fmla="*/ 10000 w 10000"/>
                <a:gd name="connsiteY21" fmla="*/ 8240 h 12491"/>
                <a:gd name="connsiteX0" fmla="*/ 10000 w 10000"/>
                <a:gd name="connsiteY0" fmla="*/ 5749 h 10000"/>
                <a:gd name="connsiteX1" fmla="*/ 9459 w 10000"/>
                <a:gd name="connsiteY1" fmla="*/ 2746 h 10000"/>
                <a:gd name="connsiteX2" fmla="*/ 8969 w 10000"/>
                <a:gd name="connsiteY2" fmla="*/ 1287 h 10000"/>
                <a:gd name="connsiteX3" fmla="*/ 8351 w 10000"/>
                <a:gd name="connsiteY3" fmla="*/ 0 h 10000"/>
                <a:gd name="connsiteX4" fmla="*/ 27 w 10000"/>
                <a:gd name="connsiteY4" fmla="*/ 5235 h 10000"/>
                <a:gd name="connsiteX5" fmla="*/ 1 w 10000"/>
                <a:gd name="connsiteY5" fmla="*/ 7724 h 10000"/>
                <a:gd name="connsiteX6" fmla="*/ 78 w 10000"/>
                <a:gd name="connsiteY6" fmla="*/ 8753 h 10000"/>
                <a:gd name="connsiteX7" fmla="*/ 310 w 10000"/>
                <a:gd name="connsiteY7" fmla="*/ 9527 h 10000"/>
                <a:gd name="connsiteX8" fmla="*/ 620 w 10000"/>
                <a:gd name="connsiteY8" fmla="*/ 9870 h 10000"/>
                <a:gd name="connsiteX9" fmla="*/ 2321 w 10000"/>
                <a:gd name="connsiteY9" fmla="*/ 7724 h 10000"/>
                <a:gd name="connsiteX10" fmla="*/ 2321 w 10000"/>
                <a:gd name="connsiteY10" fmla="*/ 5749 h 10000"/>
                <a:gd name="connsiteX11" fmla="*/ 1805 w 10000"/>
                <a:gd name="connsiteY11" fmla="*/ 3775 h 10000"/>
                <a:gd name="connsiteX12" fmla="*/ 1986 w 10000"/>
                <a:gd name="connsiteY12" fmla="*/ 3431 h 10000"/>
                <a:gd name="connsiteX13" fmla="*/ 7990 w 10000"/>
                <a:gd name="connsiteY13" fmla="*/ 3431 h 10000"/>
                <a:gd name="connsiteX14" fmla="*/ 8170 w 10000"/>
                <a:gd name="connsiteY14" fmla="*/ 3775 h 10000"/>
                <a:gd name="connsiteX15" fmla="*/ 7706 w 10000"/>
                <a:gd name="connsiteY15" fmla="*/ 5749 h 10000"/>
                <a:gd name="connsiteX16" fmla="*/ 7706 w 10000"/>
                <a:gd name="connsiteY16" fmla="*/ 7724 h 10000"/>
                <a:gd name="connsiteX17" fmla="*/ 8299 w 10000"/>
                <a:gd name="connsiteY17" fmla="*/ 9870 h 10000"/>
                <a:gd name="connsiteX18" fmla="*/ 9356 w 10000"/>
                <a:gd name="connsiteY18" fmla="*/ 9870 h 10000"/>
                <a:gd name="connsiteX19" fmla="*/ 10000 w 10000"/>
                <a:gd name="connsiteY19" fmla="*/ 7724 h 10000"/>
                <a:gd name="connsiteX20" fmla="*/ 10000 w 10000"/>
                <a:gd name="connsiteY20" fmla="*/ 5749 h 10000"/>
                <a:gd name="connsiteX0" fmla="*/ 10002 w 10002"/>
                <a:gd name="connsiteY0" fmla="*/ 5749 h 10000"/>
                <a:gd name="connsiteX1" fmla="*/ 9461 w 10002"/>
                <a:gd name="connsiteY1" fmla="*/ 2746 h 10000"/>
                <a:gd name="connsiteX2" fmla="*/ 8971 w 10002"/>
                <a:gd name="connsiteY2" fmla="*/ 1287 h 10000"/>
                <a:gd name="connsiteX3" fmla="*/ 8353 w 10002"/>
                <a:gd name="connsiteY3" fmla="*/ 0 h 10000"/>
                <a:gd name="connsiteX4" fmla="*/ 13 w 10002"/>
                <a:gd name="connsiteY4" fmla="*/ 5180 h 10000"/>
                <a:gd name="connsiteX5" fmla="*/ 3 w 10002"/>
                <a:gd name="connsiteY5" fmla="*/ 7724 h 10000"/>
                <a:gd name="connsiteX6" fmla="*/ 80 w 10002"/>
                <a:gd name="connsiteY6" fmla="*/ 8753 h 10000"/>
                <a:gd name="connsiteX7" fmla="*/ 312 w 10002"/>
                <a:gd name="connsiteY7" fmla="*/ 9527 h 10000"/>
                <a:gd name="connsiteX8" fmla="*/ 622 w 10002"/>
                <a:gd name="connsiteY8" fmla="*/ 9870 h 10000"/>
                <a:gd name="connsiteX9" fmla="*/ 2323 w 10002"/>
                <a:gd name="connsiteY9" fmla="*/ 7724 h 10000"/>
                <a:gd name="connsiteX10" fmla="*/ 2323 w 10002"/>
                <a:gd name="connsiteY10" fmla="*/ 5749 h 10000"/>
                <a:gd name="connsiteX11" fmla="*/ 1807 w 10002"/>
                <a:gd name="connsiteY11" fmla="*/ 3775 h 10000"/>
                <a:gd name="connsiteX12" fmla="*/ 1988 w 10002"/>
                <a:gd name="connsiteY12" fmla="*/ 3431 h 10000"/>
                <a:gd name="connsiteX13" fmla="*/ 7992 w 10002"/>
                <a:gd name="connsiteY13" fmla="*/ 3431 h 10000"/>
                <a:gd name="connsiteX14" fmla="*/ 8172 w 10002"/>
                <a:gd name="connsiteY14" fmla="*/ 3775 h 10000"/>
                <a:gd name="connsiteX15" fmla="*/ 7708 w 10002"/>
                <a:gd name="connsiteY15" fmla="*/ 5749 h 10000"/>
                <a:gd name="connsiteX16" fmla="*/ 7708 w 10002"/>
                <a:gd name="connsiteY16" fmla="*/ 7724 h 10000"/>
                <a:gd name="connsiteX17" fmla="*/ 8301 w 10002"/>
                <a:gd name="connsiteY17" fmla="*/ 9870 h 10000"/>
                <a:gd name="connsiteX18" fmla="*/ 9358 w 10002"/>
                <a:gd name="connsiteY18" fmla="*/ 9870 h 10000"/>
                <a:gd name="connsiteX19" fmla="*/ 10002 w 10002"/>
                <a:gd name="connsiteY19" fmla="*/ 7724 h 10000"/>
                <a:gd name="connsiteX20" fmla="*/ 10002 w 10002"/>
                <a:gd name="connsiteY20" fmla="*/ 5749 h 10000"/>
                <a:gd name="connsiteX0" fmla="*/ 10002 w 10002"/>
                <a:gd name="connsiteY0" fmla="*/ 6060 h 10311"/>
                <a:gd name="connsiteX1" fmla="*/ 9461 w 10002"/>
                <a:gd name="connsiteY1" fmla="*/ 3057 h 10311"/>
                <a:gd name="connsiteX2" fmla="*/ 8971 w 10002"/>
                <a:gd name="connsiteY2" fmla="*/ 1598 h 10311"/>
                <a:gd name="connsiteX3" fmla="*/ 8353 w 10002"/>
                <a:gd name="connsiteY3" fmla="*/ 311 h 10311"/>
                <a:gd name="connsiteX4" fmla="*/ 13 w 10002"/>
                <a:gd name="connsiteY4" fmla="*/ 5491 h 10311"/>
                <a:gd name="connsiteX5" fmla="*/ 3 w 10002"/>
                <a:gd name="connsiteY5" fmla="*/ 8035 h 10311"/>
                <a:gd name="connsiteX6" fmla="*/ 80 w 10002"/>
                <a:gd name="connsiteY6" fmla="*/ 9064 h 10311"/>
                <a:gd name="connsiteX7" fmla="*/ 312 w 10002"/>
                <a:gd name="connsiteY7" fmla="*/ 9838 h 10311"/>
                <a:gd name="connsiteX8" fmla="*/ 622 w 10002"/>
                <a:gd name="connsiteY8" fmla="*/ 10181 h 10311"/>
                <a:gd name="connsiteX9" fmla="*/ 2323 w 10002"/>
                <a:gd name="connsiteY9" fmla="*/ 8035 h 10311"/>
                <a:gd name="connsiteX10" fmla="*/ 2323 w 10002"/>
                <a:gd name="connsiteY10" fmla="*/ 6060 h 10311"/>
                <a:gd name="connsiteX11" fmla="*/ 1807 w 10002"/>
                <a:gd name="connsiteY11" fmla="*/ 4086 h 10311"/>
                <a:gd name="connsiteX12" fmla="*/ 1988 w 10002"/>
                <a:gd name="connsiteY12" fmla="*/ 3742 h 10311"/>
                <a:gd name="connsiteX13" fmla="*/ 7992 w 10002"/>
                <a:gd name="connsiteY13" fmla="*/ 3742 h 10311"/>
                <a:gd name="connsiteX14" fmla="*/ 8172 w 10002"/>
                <a:gd name="connsiteY14" fmla="*/ 4086 h 10311"/>
                <a:gd name="connsiteX15" fmla="*/ 7708 w 10002"/>
                <a:gd name="connsiteY15" fmla="*/ 6060 h 10311"/>
                <a:gd name="connsiteX16" fmla="*/ 7708 w 10002"/>
                <a:gd name="connsiteY16" fmla="*/ 8035 h 10311"/>
                <a:gd name="connsiteX17" fmla="*/ 8301 w 10002"/>
                <a:gd name="connsiteY17" fmla="*/ 10181 h 10311"/>
                <a:gd name="connsiteX18" fmla="*/ 9358 w 10002"/>
                <a:gd name="connsiteY18" fmla="*/ 10181 h 10311"/>
                <a:gd name="connsiteX19" fmla="*/ 10002 w 10002"/>
                <a:gd name="connsiteY19" fmla="*/ 8035 h 10311"/>
                <a:gd name="connsiteX20" fmla="*/ 10002 w 10002"/>
                <a:gd name="connsiteY20" fmla="*/ 6060 h 10311"/>
                <a:gd name="connsiteX0" fmla="*/ 10002 w 10002"/>
                <a:gd name="connsiteY0" fmla="*/ 8145 h 12396"/>
                <a:gd name="connsiteX1" fmla="*/ 9461 w 10002"/>
                <a:gd name="connsiteY1" fmla="*/ 5142 h 12396"/>
                <a:gd name="connsiteX2" fmla="*/ 8971 w 10002"/>
                <a:gd name="connsiteY2" fmla="*/ 3683 h 12396"/>
                <a:gd name="connsiteX3" fmla="*/ 8353 w 10002"/>
                <a:gd name="connsiteY3" fmla="*/ 2396 h 12396"/>
                <a:gd name="connsiteX4" fmla="*/ 13 w 10002"/>
                <a:gd name="connsiteY4" fmla="*/ 7576 h 12396"/>
                <a:gd name="connsiteX5" fmla="*/ 3 w 10002"/>
                <a:gd name="connsiteY5" fmla="*/ 10120 h 12396"/>
                <a:gd name="connsiteX6" fmla="*/ 80 w 10002"/>
                <a:gd name="connsiteY6" fmla="*/ 11149 h 12396"/>
                <a:gd name="connsiteX7" fmla="*/ 312 w 10002"/>
                <a:gd name="connsiteY7" fmla="*/ 11923 h 12396"/>
                <a:gd name="connsiteX8" fmla="*/ 622 w 10002"/>
                <a:gd name="connsiteY8" fmla="*/ 12266 h 12396"/>
                <a:gd name="connsiteX9" fmla="*/ 2323 w 10002"/>
                <a:gd name="connsiteY9" fmla="*/ 10120 h 12396"/>
                <a:gd name="connsiteX10" fmla="*/ 2323 w 10002"/>
                <a:gd name="connsiteY10" fmla="*/ 8145 h 12396"/>
                <a:gd name="connsiteX11" fmla="*/ 1807 w 10002"/>
                <a:gd name="connsiteY11" fmla="*/ 6171 h 12396"/>
                <a:gd name="connsiteX12" fmla="*/ 1988 w 10002"/>
                <a:gd name="connsiteY12" fmla="*/ 5827 h 12396"/>
                <a:gd name="connsiteX13" fmla="*/ 7992 w 10002"/>
                <a:gd name="connsiteY13" fmla="*/ 5827 h 12396"/>
                <a:gd name="connsiteX14" fmla="*/ 8172 w 10002"/>
                <a:gd name="connsiteY14" fmla="*/ 6171 h 12396"/>
                <a:gd name="connsiteX15" fmla="*/ 7708 w 10002"/>
                <a:gd name="connsiteY15" fmla="*/ 8145 h 12396"/>
                <a:gd name="connsiteX16" fmla="*/ 7708 w 10002"/>
                <a:gd name="connsiteY16" fmla="*/ 10120 h 12396"/>
                <a:gd name="connsiteX17" fmla="*/ 8301 w 10002"/>
                <a:gd name="connsiteY17" fmla="*/ 12266 h 12396"/>
                <a:gd name="connsiteX18" fmla="*/ 9358 w 10002"/>
                <a:gd name="connsiteY18" fmla="*/ 12266 h 12396"/>
                <a:gd name="connsiteX19" fmla="*/ 10002 w 10002"/>
                <a:gd name="connsiteY19" fmla="*/ 10120 h 12396"/>
                <a:gd name="connsiteX20" fmla="*/ 10002 w 10002"/>
                <a:gd name="connsiteY20" fmla="*/ 8145 h 12396"/>
                <a:gd name="connsiteX0" fmla="*/ 10002 w 10002"/>
                <a:gd name="connsiteY0" fmla="*/ 8145 h 12396"/>
                <a:gd name="connsiteX1" fmla="*/ 9461 w 10002"/>
                <a:gd name="connsiteY1" fmla="*/ 5142 h 12396"/>
                <a:gd name="connsiteX2" fmla="*/ 8971 w 10002"/>
                <a:gd name="connsiteY2" fmla="*/ 3683 h 12396"/>
                <a:gd name="connsiteX3" fmla="*/ 8353 w 10002"/>
                <a:gd name="connsiteY3" fmla="*/ 2396 h 12396"/>
                <a:gd name="connsiteX4" fmla="*/ 13 w 10002"/>
                <a:gd name="connsiteY4" fmla="*/ 7576 h 12396"/>
                <a:gd name="connsiteX5" fmla="*/ 3 w 10002"/>
                <a:gd name="connsiteY5" fmla="*/ 10120 h 12396"/>
                <a:gd name="connsiteX6" fmla="*/ 80 w 10002"/>
                <a:gd name="connsiteY6" fmla="*/ 11149 h 12396"/>
                <a:gd name="connsiteX7" fmla="*/ 312 w 10002"/>
                <a:gd name="connsiteY7" fmla="*/ 11923 h 12396"/>
                <a:gd name="connsiteX8" fmla="*/ 622 w 10002"/>
                <a:gd name="connsiteY8" fmla="*/ 12266 h 12396"/>
                <a:gd name="connsiteX9" fmla="*/ 2323 w 10002"/>
                <a:gd name="connsiteY9" fmla="*/ 10120 h 12396"/>
                <a:gd name="connsiteX10" fmla="*/ 2323 w 10002"/>
                <a:gd name="connsiteY10" fmla="*/ 8145 h 12396"/>
                <a:gd name="connsiteX11" fmla="*/ 1807 w 10002"/>
                <a:gd name="connsiteY11" fmla="*/ 6171 h 12396"/>
                <a:gd name="connsiteX12" fmla="*/ 1988 w 10002"/>
                <a:gd name="connsiteY12" fmla="*/ 5827 h 12396"/>
                <a:gd name="connsiteX13" fmla="*/ 7992 w 10002"/>
                <a:gd name="connsiteY13" fmla="*/ 5827 h 12396"/>
                <a:gd name="connsiteX14" fmla="*/ 8172 w 10002"/>
                <a:gd name="connsiteY14" fmla="*/ 6171 h 12396"/>
                <a:gd name="connsiteX15" fmla="*/ 7708 w 10002"/>
                <a:gd name="connsiteY15" fmla="*/ 8145 h 12396"/>
                <a:gd name="connsiteX16" fmla="*/ 7708 w 10002"/>
                <a:gd name="connsiteY16" fmla="*/ 10120 h 12396"/>
                <a:gd name="connsiteX17" fmla="*/ 8301 w 10002"/>
                <a:gd name="connsiteY17" fmla="*/ 12266 h 12396"/>
                <a:gd name="connsiteX18" fmla="*/ 9358 w 10002"/>
                <a:gd name="connsiteY18" fmla="*/ 12266 h 12396"/>
                <a:gd name="connsiteX19" fmla="*/ 10002 w 10002"/>
                <a:gd name="connsiteY19" fmla="*/ 10120 h 12396"/>
                <a:gd name="connsiteX20" fmla="*/ 10002 w 10002"/>
                <a:gd name="connsiteY20" fmla="*/ 8145 h 12396"/>
                <a:gd name="connsiteX0" fmla="*/ 10002 w 10002"/>
                <a:gd name="connsiteY0" fmla="*/ 8169 h 12420"/>
                <a:gd name="connsiteX1" fmla="*/ 9461 w 10002"/>
                <a:gd name="connsiteY1" fmla="*/ 5166 h 12420"/>
                <a:gd name="connsiteX2" fmla="*/ 8971 w 10002"/>
                <a:gd name="connsiteY2" fmla="*/ 3707 h 12420"/>
                <a:gd name="connsiteX3" fmla="*/ 8353 w 10002"/>
                <a:gd name="connsiteY3" fmla="*/ 2420 h 12420"/>
                <a:gd name="connsiteX4" fmla="*/ 13 w 10002"/>
                <a:gd name="connsiteY4" fmla="*/ 7600 h 12420"/>
                <a:gd name="connsiteX5" fmla="*/ 3 w 10002"/>
                <a:gd name="connsiteY5" fmla="*/ 10144 h 12420"/>
                <a:gd name="connsiteX6" fmla="*/ 80 w 10002"/>
                <a:gd name="connsiteY6" fmla="*/ 11173 h 12420"/>
                <a:gd name="connsiteX7" fmla="*/ 312 w 10002"/>
                <a:gd name="connsiteY7" fmla="*/ 11947 h 12420"/>
                <a:gd name="connsiteX8" fmla="*/ 622 w 10002"/>
                <a:gd name="connsiteY8" fmla="*/ 12290 h 12420"/>
                <a:gd name="connsiteX9" fmla="*/ 2323 w 10002"/>
                <a:gd name="connsiteY9" fmla="*/ 10144 h 12420"/>
                <a:gd name="connsiteX10" fmla="*/ 2323 w 10002"/>
                <a:gd name="connsiteY10" fmla="*/ 8169 h 12420"/>
                <a:gd name="connsiteX11" fmla="*/ 1807 w 10002"/>
                <a:gd name="connsiteY11" fmla="*/ 6195 h 12420"/>
                <a:gd name="connsiteX12" fmla="*/ 1988 w 10002"/>
                <a:gd name="connsiteY12" fmla="*/ 5851 h 12420"/>
                <a:gd name="connsiteX13" fmla="*/ 7992 w 10002"/>
                <a:gd name="connsiteY13" fmla="*/ 5851 h 12420"/>
                <a:gd name="connsiteX14" fmla="*/ 8172 w 10002"/>
                <a:gd name="connsiteY14" fmla="*/ 6195 h 12420"/>
                <a:gd name="connsiteX15" fmla="*/ 7708 w 10002"/>
                <a:gd name="connsiteY15" fmla="*/ 8169 h 12420"/>
                <a:gd name="connsiteX16" fmla="*/ 7708 w 10002"/>
                <a:gd name="connsiteY16" fmla="*/ 10144 h 12420"/>
                <a:gd name="connsiteX17" fmla="*/ 8301 w 10002"/>
                <a:gd name="connsiteY17" fmla="*/ 12290 h 12420"/>
                <a:gd name="connsiteX18" fmla="*/ 9358 w 10002"/>
                <a:gd name="connsiteY18" fmla="*/ 12290 h 12420"/>
                <a:gd name="connsiteX19" fmla="*/ 10002 w 10002"/>
                <a:gd name="connsiteY19" fmla="*/ 10144 h 12420"/>
                <a:gd name="connsiteX20" fmla="*/ 10002 w 10002"/>
                <a:gd name="connsiteY20" fmla="*/ 8169 h 12420"/>
                <a:gd name="connsiteX0" fmla="*/ 10002 w 10002"/>
                <a:gd name="connsiteY0" fmla="*/ 8169 h 12420"/>
                <a:gd name="connsiteX1" fmla="*/ 9461 w 10002"/>
                <a:gd name="connsiteY1" fmla="*/ 5166 h 12420"/>
                <a:gd name="connsiteX2" fmla="*/ 8353 w 10002"/>
                <a:gd name="connsiteY2" fmla="*/ 2420 h 12420"/>
                <a:gd name="connsiteX3" fmla="*/ 13 w 10002"/>
                <a:gd name="connsiteY3" fmla="*/ 7600 h 12420"/>
                <a:gd name="connsiteX4" fmla="*/ 3 w 10002"/>
                <a:gd name="connsiteY4" fmla="*/ 10144 h 12420"/>
                <a:gd name="connsiteX5" fmla="*/ 80 w 10002"/>
                <a:gd name="connsiteY5" fmla="*/ 11173 h 12420"/>
                <a:gd name="connsiteX6" fmla="*/ 312 w 10002"/>
                <a:gd name="connsiteY6" fmla="*/ 11947 h 12420"/>
                <a:gd name="connsiteX7" fmla="*/ 622 w 10002"/>
                <a:gd name="connsiteY7" fmla="*/ 12290 h 12420"/>
                <a:gd name="connsiteX8" fmla="*/ 2323 w 10002"/>
                <a:gd name="connsiteY8" fmla="*/ 10144 h 12420"/>
                <a:gd name="connsiteX9" fmla="*/ 2323 w 10002"/>
                <a:gd name="connsiteY9" fmla="*/ 8169 h 12420"/>
                <a:gd name="connsiteX10" fmla="*/ 1807 w 10002"/>
                <a:gd name="connsiteY10" fmla="*/ 6195 h 12420"/>
                <a:gd name="connsiteX11" fmla="*/ 1988 w 10002"/>
                <a:gd name="connsiteY11" fmla="*/ 5851 h 12420"/>
                <a:gd name="connsiteX12" fmla="*/ 7992 w 10002"/>
                <a:gd name="connsiteY12" fmla="*/ 5851 h 12420"/>
                <a:gd name="connsiteX13" fmla="*/ 8172 w 10002"/>
                <a:gd name="connsiteY13" fmla="*/ 6195 h 12420"/>
                <a:gd name="connsiteX14" fmla="*/ 7708 w 10002"/>
                <a:gd name="connsiteY14" fmla="*/ 8169 h 12420"/>
                <a:gd name="connsiteX15" fmla="*/ 7708 w 10002"/>
                <a:gd name="connsiteY15" fmla="*/ 10144 h 12420"/>
                <a:gd name="connsiteX16" fmla="*/ 8301 w 10002"/>
                <a:gd name="connsiteY16" fmla="*/ 12290 h 12420"/>
                <a:gd name="connsiteX17" fmla="*/ 9358 w 10002"/>
                <a:gd name="connsiteY17" fmla="*/ 12290 h 12420"/>
                <a:gd name="connsiteX18" fmla="*/ 10002 w 10002"/>
                <a:gd name="connsiteY18" fmla="*/ 10144 h 12420"/>
                <a:gd name="connsiteX19" fmla="*/ 10002 w 10002"/>
                <a:gd name="connsiteY19" fmla="*/ 8169 h 12420"/>
                <a:gd name="connsiteX0" fmla="*/ 10002 w 10002"/>
                <a:gd name="connsiteY0" fmla="*/ 8169 h 12420"/>
                <a:gd name="connsiteX1" fmla="*/ 8353 w 10002"/>
                <a:gd name="connsiteY1" fmla="*/ 2420 h 12420"/>
                <a:gd name="connsiteX2" fmla="*/ 13 w 10002"/>
                <a:gd name="connsiteY2" fmla="*/ 7600 h 12420"/>
                <a:gd name="connsiteX3" fmla="*/ 3 w 10002"/>
                <a:gd name="connsiteY3" fmla="*/ 10144 h 12420"/>
                <a:gd name="connsiteX4" fmla="*/ 80 w 10002"/>
                <a:gd name="connsiteY4" fmla="*/ 11173 h 12420"/>
                <a:gd name="connsiteX5" fmla="*/ 312 w 10002"/>
                <a:gd name="connsiteY5" fmla="*/ 11947 h 12420"/>
                <a:gd name="connsiteX6" fmla="*/ 622 w 10002"/>
                <a:gd name="connsiteY6" fmla="*/ 12290 h 12420"/>
                <a:gd name="connsiteX7" fmla="*/ 2323 w 10002"/>
                <a:gd name="connsiteY7" fmla="*/ 10144 h 12420"/>
                <a:gd name="connsiteX8" fmla="*/ 2323 w 10002"/>
                <a:gd name="connsiteY8" fmla="*/ 8169 h 12420"/>
                <a:gd name="connsiteX9" fmla="*/ 1807 w 10002"/>
                <a:gd name="connsiteY9" fmla="*/ 6195 h 12420"/>
                <a:gd name="connsiteX10" fmla="*/ 1988 w 10002"/>
                <a:gd name="connsiteY10" fmla="*/ 5851 h 12420"/>
                <a:gd name="connsiteX11" fmla="*/ 7992 w 10002"/>
                <a:gd name="connsiteY11" fmla="*/ 5851 h 12420"/>
                <a:gd name="connsiteX12" fmla="*/ 8172 w 10002"/>
                <a:gd name="connsiteY12" fmla="*/ 6195 h 12420"/>
                <a:gd name="connsiteX13" fmla="*/ 7708 w 10002"/>
                <a:gd name="connsiteY13" fmla="*/ 8169 h 12420"/>
                <a:gd name="connsiteX14" fmla="*/ 7708 w 10002"/>
                <a:gd name="connsiteY14" fmla="*/ 10144 h 12420"/>
                <a:gd name="connsiteX15" fmla="*/ 8301 w 10002"/>
                <a:gd name="connsiteY15" fmla="*/ 12290 h 12420"/>
                <a:gd name="connsiteX16" fmla="*/ 9358 w 10002"/>
                <a:gd name="connsiteY16" fmla="*/ 12290 h 12420"/>
                <a:gd name="connsiteX17" fmla="*/ 10002 w 10002"/>
                <a:gd name="connsiteY17" fmla="*/ 10144 h 12420"/>
                <a:gd name="connsiteX18" fmla="*/ 10002 w 10002"/>
                <a:gd name="connsiteY18" fmla="*/ 8169 h 12420"/>
                <a:gd name="connsiteX0" fmla="*/ 10002 w 10002"/>
                <a:gd name="connsiteY0" fmla="*/ 8169 h 12420"/>
                <a:gd name="connsiteX1" fmla="*/ 8353 w 10002"/>
                <a:gd name="connsiteY1" fmla="*/ 2420 h 12420"/>
                <a:gd name="connsiteX2" fmla="*/ 13 w 10002"/>
                <a:gd name="connsiteY2" fmla="*/ 7600 h 12420"/>
                <a:gd name="connsiteX3" fmla="*/ 3 w 10002"/>
                <a:gd name="connsiteY3" fmla="*/ 10144 h 12420"/>
                <a:gd name="connsiteX4" fmla="*/ 80 w 10002"/>
                <a:gd name="connsiteY4" fmla="*/ 11173 h 12420"/>
                <a:gd name="connsiteX5" fmla="*/ 312 w 10002"/>
                <a:gd name="connsiteY5" fmla="*/ 11947 h 12420"/>
                <a:gd name="connsiteX6" fmla="*/ 622 w 10002"/>
                <a:gd name="connsiteY6" fmla="*/ 12290 h 12420"/>
                <a:gd name="connsiteX7" fmla="*/ 2323 w 10002"/>
                <a:gd name="connsiteY7" fmla="*/ 10144 h 12420"/>
                <a:gd name="connsiteX8" fmla="*/ 2323 w 10002"/>
                <a:gd name="connsiteY8" fmla="*/ 8169 h 12420"/>
                <a:gd name="connsiteX9" fmla="*/ 1807 w 10002"/>
                <a:gd name="connsiteY9" fmla="*/ 6195 h 12420"/>
                <a:gd name="connsiteX10" fmla="*/ 1988 w 10002"/>
                <a:gd name="connsiteY10" fmla="*/ 5851 h 12420"/>
                <a:gd name="connsiteX11" fmla="*/ 7992 w 10002"/>
                <a:gd name="connsiteY11" fmla="*/ 5851 h 12420"/>
                <a:gd name="connsiteX12" fmla="*/ 8172 w 10002"/>
                <a:gd name="connsiteY12" fmla="*/ 6195 h 12420"/>
                <a:gd name="connsiteX13" fmla="*/ 7708 w 10002"/>
                <a:gd name="connsiteY13" fmla="*/ 8169 h 12420"/>
                <a:gd name="connsiteX14" fmla="*/ 7708 w 10002"/>
                <a:gd name="connsiteY14" fmla="*/ 10144 h 12420"/>
                <a:gd name="connsiteX15" fmla="*/ 8301 w 10002"/>
                <a:gd name="connsiteY15" fmla="*/ 12290 h 12420"/>
                <a:gd name="connsiteX16" fmla="*/ 9358 w 10002"/>
                <a:gd name="connsiteY16" fmla="*/ 12290 h 12420"/>
                <a:gd name="connsiteX17" fmla="*/ 10002 w 10002"/>
                <a:gd name="connsiteY17" fmla="*/ 10144 h 12420"/>
                <a:gd name="connsiteX18" fmla="*/ 10002 w 10002"/>
                <a:gd name="connsiteY18" fmla="*/ 8169 h 12420"/>
                <a:gd name="connsiteX0" fmla="*/ 10002 w 10002"/>
                <a:gd name="connsiteY0" fmla="*/ 8169 h 12420"/>
                <a:gd name="connsiteX1" fmla="*/ 8353 w 10002"/>
                <a:gd name="connsiteY1" fmla="*/ 2420 h 12420"/>
                <a:gd name="connsiteX2" fmla="*/ 13 w 10002"/>
                <a:gd name="connsiteY2" fmla="*/ 7600 h 12420"/>
                <a:gd name="connsiteX3" fmla="*/ 3 w 10002"/>
                <a:gd name="connsiteY3" fmla="*/ 10144 h 12420"/>
                <a:gd name="connsiteX4" fmla="*/ 80 w 10002"/>
                <a:gd name="connsiteY4" fmla="*/ 11173 h 12420"/>
                <a:gd name="connsiteX5" fmla="*/ 312 w 10002"/>
                <a:gd name="connsiteY5" fmla="*/ 11947 h 12420"/>
                <a:gd name="connsiteX6" fmla="*/ 622 w 10002"/>
                <a:gd name="connsiteY6" fmla="*/ 12290 h 12420"/>
                <a:gd name="connsiteX7" fmla="*/ 2323 w 10002"/>
                <a:gd name="connsiteY7" fmla="*/ 10144 h 12420"/>
                <a:gd name="connsiteX8" fmla="*/ 2323 w 10002"/>
                <a:gd name="connsiteY8" fmla="*/ 8169 h 12420"/>
                <a:gd name="connsiteX9" fmla="*/ 1807 w 10002"/>
                <a:gd name="connsiteY9" fmla="*/ 6195 h 12420"/>
                <a:gd name="connsiteX10" fmla="*/ 1988 w 10002"/>
                <a:gd name="connsiteY10" fmla="*/ 5851 h 12420"/>
                <a:gd name="connsiteX11" fmla="*/ 7992 w 10002"/>
                <a:gd name="connsiteY11" fmla="*/ 5851 h 12420"/>
                <a:gd name="connsiteX12" fmla="*/ 8172 w 10002"/>
                <a:gd name="connsiteY12" fmla="*/ 6195 h 12420"/>
                <a:gd name="connsiteX13" fmla="*/ 7708 w 10002"/>
                <a:gd name="connsiteY13" fmla="*/ 8169 h 12420"/>
                <a:gd name="connsiteX14" fmla="*/ 7708 w 10002"/>
                <a:gd name="connsiteY14" fmla="*/ 10144 h 12420"/>
                <a:gd name="connsiteX15" fmla="*/ 8301 w 10002"/>
                <a:gd name="connsiteY15" fmla="*/ 12290 h 12420"/>
                <a:gd name="connsiteX16" fmla="*/ 9358 w 10002"/>
                <a:gd name="connsiteY16" fmla="*/ 12290 h 12420"/>
                <a:gd name="connsiteX17" fmla="*/ 10002 w 10002"/>
                <a:gd name="connsiteY17" fmla="*/ 10144 h 12420"/>
                <a:gd name="connsiteX18" fmla="*/ 10002 w 10002"/>
                <a:gd name="connsiteY18" fmla="*/ 8169 h 12420"/>
                <a:gd name="connsiteX0" fmla="*/ 10002 w 10002"/>
                <a:gd name="connsiteY0" fmla="*/ 8169 h 12420"/>
                <a:gd name="connsiteX1" fmla="*/ 8353 w 10002"/>
                <a:gd name="connsiteY1" fmla="*/ 2420 h 12420"/>
                <a:gd name="connsiteX2" fmla="*/ 13 w 10002"/>
                <a:gd name="connsiteY2" fmla="*/ 7600 h 12420"/>
                <a:gd name="connsiteX3" fmla="*/ 3 w 10002"/>
                <a:gd name="connsiteY3" fmla="*/ 10144 h 12420"/>
                <a:gd name="connsiteX4" fmla="*/ 80 w 10002"/>
                <a:gd name="connsiteY4" fmla="*/ 11173 h 12420"/>
                <a:gd name="connsiteX5" fmla="*/ 312 w 10002"/>
                <a:gd name="connsiteY5" fmla="*/ 11947 h 12420"/>
                <a:gd name="connsiteX6" fmla="*/ 622 w 10002"/>
                <a:gd name="connsiteY6" fmla="*/ 12290 h 12420"/>
                <a:gd name="connsiteX7" fmla="*/ 2323 w 10002"/>
                <a:gd name="connsiteY7" fmla="*/ 10144 h 12420"/>
                <a:gd name="connsiteX8" fmla="*/ 2323 w 10002"/>
                <a:gd name="connsiteY8" fmla="*/ 8169 h 12420"/>
                <a:gd name="connsiteX9" fmla="*/ 1807 w 10002"/>
                <a:gd name="connsiteY9" fmla="*/ 6195 h 12420"/>
                <a:gd name="connsiteX10" fmla="*/ 1988 w 10002"/>
                <a:gd name="connsiteY10" fmla="*/ 5851 h 12420"/>
                <a:gd name="connsiteX11" fmla="*/ 7992 w 10002"/>
                <a:gd name="connsiteY11" fmla="*/ 5851 h 12420"/>
                <a:gd name="connsiteX12" fmla="*/ 8172 w 10002"/>
                <a:gd name="connsiteY12" fmla="*/ 6195 h 12420"/>
                <a:gd name="connsiteX13" fmla="*/ 7708 w 10002"/>
                <a:gd name="connsiteY13" fmla="*/ 8169 h 12420"/>
                <a:gd name="connsiteX14" fmla="*/ 7708 w 10002"/>
                <a:gd name="connsiteY14" fmla="*/ 10144 h 12420"/>
                <a:gd name="connsiteX15" fmla="*/ 8301 w 10002"/>
                <a:gd name="connsiteY15" fmla="*/ 12290 h 12420"/>
                <a:gd name="connsiteX16" fmla="*/ 9358 w 10002"/>
                <a:gd name="connsiteY16" fmla="*/ 12290 h 12420"/>
                <a:gd name="connsiteX17" fmla="*/ 10002 w 10002"/>
                <a:gd name="connsiteY17" fmla="*/ 10144 h 12420"/>
                <a:gd name="connsiteX18" fmla="*/ 10002 w 10002"/>
                <a:gd name="connsiteY18" fmla="*/ 8169 h 12420"/>
                <a:gd name="connsiteX0" fmla="*/ 10002 w 10002"/>
                <a:gd name="connsiteY0" fmla="*/ 8169 h 12420"/>
                <a:gd name="connsiteX1" fmla="*/ 8353 w 10002"/>
                <a:gd name="connsiteY1" fmla="*/ 2420 h 12420"/>
                <a:gd name="connsiteX2" fmla="*/ 13 w 10002"/>
                <a:gd name="connsiteY2" fmla="*/ 7600 h 12420"/>
                <a:gd name="connsiteX3" fmla="*/ 3 w 10002"/>
                <a:gd name="connsiteY3" fmla="*/ 10144 h 12420"/>
                <a:gd name="connsiteX4" fmla="*/ 80 w 10002"/>
                <a:gd name="connsiteY4" fmla="*/ 11173 h 12420"/>
                <a:gd name="connsiteX5" fmla="*/ 312 w 10002"/>
                <a:gd name="connsiteY5" fmla="*/ 11947 h 12420"/>
                <a:gd name="connsiteX6" fmla="*/ 622 w 10002"/>
                <a:gd name="connsiteY6" fmla="*/ 12290 h 12420"/>
                <a:gd name="connsiteX7" fmla="*/ 2323 w 10002"/>
                <a:gd name="connsiteY7" fmla="*/ 10144 h 12420"/>
                <a:gd name="connsiteX8" fmla="*/ 2323 w 10002"/>
                <a:gd name="connsiteY8" fmla="*/ 8169 h 12420"/>
                <a:gd name="connsiteX9" fmla="*/ 1807 w 10002"/>
                <a:gd name="connsiteY9" fmla="*/ 6195 h 12420"/>
                <a:gd name="connsiteX10" fmla="*/ 1988 w 10002"/>
                <a:gd name="connsiteY10" fmla="*/ 5851 h 12420"/>
                <a:gd name="connsiteX11" fmla="*/ 7992 w 10002"/>
                <a:gd name="connsiteY11" fmla="*/ 5851 h 12420"/>
                <a:gd name="connsiteX12" fmla="*/ 8172 w 10002"/>
                <a:gd name="connsiteY12" fmla="*/ 6195 h 12420"/>
                <a:gd name="connsiteX13" fmla="*/ 7708 w 10002"/>
                <a:gd name="connsiteY13" fmla="*/ 8169 h 12420"/>
                <a:gd name="connsiteX14" fmla="*/ 7708 w 10002"/>
                <a:gd name="connsiteY14" fmla="*/ 10144 h 12420"/>
                <a:gd name="connsiteX15" fmla="*/ 8301 w 10002"/>
                <a:gd name="connsiteY15" fmla="*/ 12290 h 12420"/>
                <a:gd name="connsiteX16" fmla="*/ 9358 w 10002"/>
                <a:gd name="connsiteY16" fmla="*/ 12290 h 12420"/>
                <a:gd name="connsiteX17" fmla="*/ 10002 w 10002"/>
                <a:gd name="connsiteY17" fmla="*/ 10144 h 12420"/>
                <a:gd name="connsiteX18" fmla="*/ 10002 w 10002"/>
                <a:gd name="connsiteY18" fmla="*/ 8169 h 12420"/>
                <a:gd name="connsiteX0" fmla="*/ 10002 w 10002"/>
                <a:gd name="connsiteY0" fmla="*/ 8169 h 12420"/>
                <a:gd name="connsiteX1" fmla="*/ 8353 w 10002"/>
                <a:gd name="connsiteY1" fmla="*/ 2420 h 12420"/>
                <a:gd name="connsiteX2" fmla="*/ 13 w 10002"/>
                <a:gd name="connsiteY2" fmla="*/ 7600 h 12420"/>
                <a:gd name="connsiteX3" fmla="*/ 3 w 10002"/>
                <a:gd name="connsiteY3" fmla="*/ 10144 h 12420"/>
                <a:gd name="connsiteX4" fmla="*/ 80 w 10002"/>
                <a:gd name="connsiteY4" fmla="*/ 11173 h 12420"/>
                <a:gd name="connsiteX5" fmla="*/ 312 w 10002"/>
                <a:gd name="connsiteY5" fmla="*/ 11947 h 12420"/>
                <a:gd name="connsiteX6" fmla="*/ 622 w 10002"/>
                <a:gd name="connsiteY6" fmla="*/ 12290 h 12420"/>
                <a:gd name="connsiteX7" fmla="*/ 2323 w 10002"/>
                <a:gd name="connsiteY7" fmla="*/ 10144 h 12420"/>
                <a:gd name="connsiteX8" fmla="*/ 2323 w 10002"/>
                <a:gd name="connsiteY8" fmla="*/ 8169 h 12420"/>
                <a:gd name="connsiteX9" fmla="*/ 1807 w 10002"/>
                <a:gd name="connsiteY9" fmla="*/ 6195 h 12420"/>
                <a:gd name="connsiteX10" fmla="*/ 1988 w 10002"/>
                <a:gd name="connsiteY10" fmla="*/ 5851 h 12420"/>
                <a:gd name="connsiteX11" fmla="*/ 7992 w 10002"/>
                <a:gd name="connsiteY11" fmla="*/ 5851 h 12420"/>
                <a:gd name="connsiteX12" fmla="*/ 8172 w 10002"/>
                <a:gd name="connsiteY12" fmla="*/ 6195 h 12420"/>
                <a:gd name="connsiteX13" fmla="*/ 7708 w 10002"/>
                <a:gd name="connsiteY13" fmla="*/ 10144 h 12420"/>
                <a:gd name="connsiteX14" fmla="*/ 8301 w 10002"/>
                <a:gd name="connsiteY14" fmla="*/ 12290 h 12420"/>
                <a:gd name="connsiteX15" fmla="*/ 9358 w 10002"/>
                <a:gd name="connsiteY15" fmla="*/ 12290 h 12420"/>
                <a:gd name="connsiteX16" fmla="*/ 10002 w 10002"/>
                <a:gd name="connsiteY16" fmla="*/ 10144 h 12420"/>
                <a:gd name="connsiteX17" fmla="*/ 10002 w 10002"/>
                <a:gd name="connsiteY17" fmla="*/ 8169 h 12420"/>
                <a:gd name="connsiteX0" fmla="*/ 10002 w 10002"/>
                <a:gd name="connsiteY0" fmla="*/ 8169 h 12420"/>
                <a:gd name="connsiteX1" fmla="*/ 8353 w 10002"/>
                <a:gd name="connsiteY1" fmla="*/ 2420 h 12420"/>
                <a:gd name="connsiteX2" fmla="*/ 13 w 10002"/>
                <a:gd name="connsiteY2" fmla="*/ 7600 h 12420"/>
                <a:gd name="connsiteX3" fmla="*/ 3 w 10002"/>
                <a:gd name="connsiteY3" fmla="*/ 10144 h 12420"/>
                <a:gd name="connsiteX4" fmla="*/ 80 w 10002"/>
                <a:gd name="connsiteY4" fmla="*/ 11173 h 12420"/>
                <a:gd name="connsiteX5" fmla="*/ 312 w 10002"/>
                <a:gd name="connsiteY5" fmla="*/ 11947 h 12420"/>
                <a:gd name="connsiteX6" fmla="*/ 622 w 10002"/>
                <a:gd name="connsiteY6" fmla="*/ 12290 h 12420"/>
                <a:gd name="connsiteX7" fmla="*/ 2323 w 10002"/>
                <a:gd name="connsiteY7" fmla="*/ 10144 h 12420"/>
                <a:gd name="connsiteX8" fmla="*/ 2323 w 10002"/>
                <a:gd name="connsiteY8" fmla="*/ 8169 h 12420"/>
                <a:gd name="connsiteX9" fmla="*/ 1807 w 10002"/>
                <a:gd name="connsiteY9" fmla="*/ 6195 h 12420"/>
                <a:gd name="connsiteX10" fmla="*/ 1988 w 10002"/>
                <a:gd name="connsiteY10" fmla="*/ 5851 h 12420"/>
                <a:gd name="connsiteX11" fmla="*/ 7992 w 10002"/>
                <a:gd name="connsiteY11" fmla="*/ 5851 h 12420"/>
                <a:gd name="connsiteX12" fmla="*/ 8172 w 10002"/>
                <a:gd name="connsiteY12" fmla="*/ 6195 h 12420"/>
                <a:gd name="connsiteX13" fmla="*/ 7708 w 10002"/>
                <a:gd name="connsiteY13" fmla="*/ 10144 h 12420"/>
                <a:gd name="connsiteX14" fmla="*/ 8301 w 10002"/>
                <a:gd name="connsiteY14" fmla="*/ 12290 h 12420"/>
                <a:gd name="connsiteX15" fmla="*/ 9358 w 10002"/>
                <a:gd name="connsiteY15" fmla="*/ 12290 h 12420"/>
                <a:gd name="connsiteX16" fmla="*/ 10002 w 10002"/>
                <a:gd name="connsiteY16" fmla="*/ 10144 h 12420"/>
                <a:gd name="connsiteX17" fmla="*/ 10002 w 10002"/>
                <a:gd name="connsiteY17" fmla="*/ 8169 h 12420"/>
                <a:gd name="connsiteX0" fmla="*/ 10002 w 10002"/>
                <a:gd name="connsiteY0" fmla="*/ 8169 h 12420"/>
                <a:gd name="connsiteX1" fmla="*/ 8353 w 10002"/>
                <a:gd name="connsiteY1" fmla="*/ 2420 h 12420"/>
                <a:gd name="connsiteX2" fmla="*/ 13 w 10002"/>
                <a:gd name="connsiteY2" fmla="*/ 7600 h 12420"/>
                <a:gd name="connsiteX3" fmla="*/ 3 w 10002"/>
                <a:gd name="connsiteY3" fmla="*/ 10144 h 12420"/>
                <a:gd name="connsiteX4" fmla="*/ 80 w 10002"/>
                <a:gd name="connsiteY4" fmla="*/ 11173 h 12420"/>
                <a:gd name="connsiteX5" fmla="*/ 312 w 10002"/>
                <a:gd name="connsiteY5" fmla="*/ 11947 h 12420"/>
                <a:gd name="connsiteX6" fmla="*/ 622 w 10002"/>
                <a:gd name="connsiteY6" fmla="*/ 12290 h 12420"/>
                <a:gd name="connsiteX7" fmla="*/ 2323 w 10002"/>
                <a:gd name="connsiteY7" fmla="*/ 10144 h 12420"/>
                <a:gd name="connsiteX8" fmla="*/ 2323 w 10002"/>
                <a:gd name="connsiteY8" fmla="*/ 8169 h 12420"/>
                <a:gd name="connsiteX9" fmla="*/ 1807 w 10002"/>
                <a:gd name="connsiteY9" fmla="*/ 6195 h 12420"/>
                <a:gd name="connsiteX10" fmla="*/ 1988 w 10002"/>
                <a:gd name="connsiteY10" fmla="*/ 5851 h 12420"/>
                <a:gd name="connsiteX11" fmla="*/ 7992 w 10002"/>
                <a:gd name="connsiteY11" fmla="*/ 5851 h 12420"/>
                <a:gd name="connsiteX12" fmla="*/ 8172 w 10002"/>
                <a:gd name="connsiteY12" fmla="*/ 6195 h 12420"/>
                <a:gd name="connsiteX13" fmla="*/ 7708 w 10002"/>
                <a:gd name="connsiteY13" fmla="*/ 10144 h 12420"/>
                <a:gd name="connsiteX14" fmla="*/ 8301 w 10002"/>
                <a:gd name="connsiteY14" fmla="*/ 12290 h 12420"/>
                <a:gd name="connsiteX15" fmla="*/ 9358 w 10002"/>
                <a:gd name="connsiteY15" fmla="*/ 12290 h 12420"/>
                <a:gd name="connsiteX16" fmla="*/ 10002 w 10002"/>
                <a:gd name="connsiteY16" fmla="*/ 10144 h 12420"/>
                <a:gd name="connsiteX17" fmla="*/ 10002 w 10002"/>
                <a:gd name="connsiteY17" fmla="*/ 8169 h 12420"/>
                <a:gd name="connsiteX0" fmla="*/ 10002 w 10002"/>
                <a:gd name="connsiteY0" fmla="*/ 8169 h 12420"/>
                <a:gd name="connsiteX1" fmla="*/ 8353 w 10002"/>
                <a:gd name="connsiteY1" fmla="*/ 2420 h 12420"/>
                <a:gd name="connsiteX2" fmla="*/ 13 w 10002"/>
                <a:gd name="connsiteY2" fmla="*/ 7600 h 12420"/>
                <a:gd name="connsiteX3" fmla="*/ 3 w 10002"/>
                <a:gd name="connsiteY3" fmla="*/ 10144 h 12420"/>
                <a:gd name="connsiteX4" fmla="*/ 80 w 10002"/>
                <a:gd name="connsiteY4" fmla="*/ 11173 h 12420"/>
                <a:gd name="connsiteX5" fmla="*/ 312 w 10002"/>
                <a:gd name="connsiteY5" fmla="*/ 11947 h 12420"/>
                <a:gd name="connsiteX6" fmla="*/ 622 w 10002"/>
                <a:gd name="connsiteY6" fmla="*/ 12290 h 12420"/>
                <a:gd name="connsiteX7" fmla="*/ 2323 w 10002"/>
                <a:gd name="connsiteY7" fmla="*/ 10144 h 12420"/>
                <a:gd name="connsiteX8" fmla="*/ 2323 w 10002"/>
                <a:gd name="connsiteY8" fmla="*/ 8169 h 12420"/>
                <a:gd name="connsiteX9" fmla="*/ 1807 w 10002"/>
                <a:gd name="connsiteY9" fmla="*/ 6195 h 12420"/>
                <a:gd name="connsiteX10" fmla="*/ 1988 w 10002"/>
                <a:gd name="connsiteY10" fmla="*/ 5851 h 12420"/>
                <a:gd name="connsiteX11" fmla="*/ 7992 w 10002"/>
                <a:gd name="connsiteY11" fmla="*/ 5851 h 12420"/>
                <a:gd name="connsiteX12" fmla="*/ 8172 w 10002"/>
                <a:gd name="connsiteY12" fmla="*/ 6195 h 12420"/>
                <a:gd name="connsiteX13" fmla="*/ 7708 w 10002"/>
                <a:gd name="connsiteY13" fmla="*/ 10144 h 12420"/>
                <a:gd name="connsiteX14" fmla="*/ 8301 w 10002"/>
                <a:gd name="connsiteY14" fmla="*/ 12290 h 12420"/>
                <a:gd name="connsiteX15" fmla="*/ 9358 w 10002"/>
                <a:gd name="connsiteY15" fmla="*/ 12290 h 12420"/>
                <a:gd name="connsiteX16" fmla="*/ 10002 w 10002"/>
                <a:gd name="connsiteY16" fmla="*/ 10144 h 12420"/>
                <a:gd name="connsiteX17" fmla="*/ 10002 w 10002"/>
                <a:gd name="connsiteY17" fmla="*/ 8169 h 12420"/>
                <a:gd name="connsiteX0" fmla="*/ 10002 w 10002"/>
                <a:gd name="connsiteY0" fmla="*/ 8169 h 12420"/>
                <a:gd name="connsiteX1" fmla="*/ 8353 w 10002"/>
                <a:gd name="connsiteY1" fmla="*/ 2420 h 12420"/>
                <a:gd name="connsiteX2" fmla="*/ 13 w 10002"/>
                <a:gd name="connsiteY2" fmla="*/ 7600 h 12420"/>
                <a:gd name="connsiteX3" fmla="*/ 3 w 10002"/>
                <a:gd name="connsiteY3" fmla="*/ 10144 h 12420"/>
                <a:gd name="connsiteX4" fmla="*/ 80 w 10002"/>
                <a:gd name="connsiteY4" fmla="*/ 11173 h 12420"/>
                <a:gd name="connsiteX5" fmla="*/ 312 w 10002"/>
                <a:gd name="connsiteY5" fmla="*/ 11947 h 12420"/>
                <a:gd name="connsiteX6" fmla="*/ 622 w 10002"/>
                <a:gd name="connsiteY6" fmla="*/ 12290 h 12420"/>
                <a:gd name="connsiteX7" fmla="*/ 2323 w 10002"/>
                <a:gd name="connsiteY7" fmla="*/ 10144 h 12420"/>
                <a:gd name="connsiteX8" fmla="*/ 2323 w 10002"/>
                <a:gd name="connsiteY8" fmla="*/ 8169 h 12420"/>
                <a:gd name="connsiteX9" fmla="*/ 1807 w 10002"/>
                <a:gd name="connsiteY9" fmla="*/ 6195 h 12420"/>
                <a:gd name="connsiteX10" fmla="*/ 1988 w 10002"/>
                <a:gd name="connsiteY10" fmla="*/ 5851 h 12420"/>
                <a:gd name="connsiteX11" fmla="*/ 7992 w 10002"/>
                <a:gd name="connsiteY11" fmla="*/ 5851 h 12420"/>
                <a:gd name="connsiteX12" fmla="*/ 8172 w 10002"/>
                <a:gd name="connsiteY12" fmla="*/ 6195 h 12420"/>
                <a:gd name="connsiteX13" fmla="*/ 7708 w 10002"/>
                <a:gd name="connsiteY13" fmla="*/ 10144 h 12420"/>
                <a:gd name="connsiteX14" fmla="*/ 8301 w 10002"/>
                <a:gd name="connsiteY14" fmla="*/ 12290 h 12420"/>
                <a:gd name="connsiteX15" fmla="*/ 9358 w 10002"/>
                <a:gd name="connsiteY15" fmla="*/ 12290 h 12420"/>
                <a:gd name="connsiteX16" fmla="*/ 10002 w 10002"/>
                <a:gd name="connsiteY16" fmla="*/ 10144 h 12420"/>
                <a:gd name="connsiteX17" fmla="*/ 10002 w 10002"/>
                <a:gd name="connsiteY17" fmla="*/ 8169 h 12420"/>
                <a:gd name="connsiteX0" fmla="*/ 10002 w 10002"/>
                <a:gd name="connsiteY0" fmla="*/ 8169 h 12420"/>
                <a:gd name="connsiteX1" fmla="*/ 8353 w 10002"/>
                <a:gd name="connsiteY1" fmla="*/ 2420 h 12420"/>
                <a:gd name="connsiteX2" fmla="*/ 13 w 10002"/>
                <a:gd name="connsiteY2" fmla="*/ 7600 h 12420"/>
                <a:gd name="connsiteX3" fmla="*/ 3 w 10002"/>
                <a:gd name="connsiteY3" fmla="*/ 10144 h 12420"/>
                <a:gd name="connsiteX4" fmla="*/ 80 w 10002"/>
                <a:gd name="connsiteY4" fmla="*/ 11173 h 12420"/>
                <a:gd name="connsiteX5" fmla="*/ 622 w 10002"/>
                <a:gd name="connsiteY5" fmla="*/ 12290 h 12420"/>
                <a:gd name="connsiteX6" fmla="*/ 2323 w 10002"/>
                <a:gd name="connsiteY6" fmla="*/ 10144 h 12420"/>
                <a:gd name="connsiteX7" fmla="*/ 2323 w 10002"/>
                <a:gd name="connsiteY7" fmla="*/ 8169 h 12420"/>
                <a:gd name="connsiteX8" fmla="*/ 1807 w 10002"/>
                <a:gd name="connsiteY8" fmla="*/ 6195 h 12420"/>
                <a:gd name="connsiteX9" fmla="*/ 1988 w 10002"/>
                <a:gd name="connsiteY9" fmla="*/ 5851 h 12420"/>
                <a:gd name="connsiteX10" fmla="*/ 7992 w 10002"/>
                <a:gd name="connsiteY10" fmla="*/ 5851 h 12420"/>
                <a:gd name="connsiteX11" fmla="*/ 8172 w 10002"/>
                <a:gd name="connsiteY11" fmla="*/ 6195 h 12420"/>
                <a:gd name="connsiteX12" fmla="*/ 7708 w 10002"/>
                <a:gd name="connsiteY12" fmla="*/ 10144 h 12420"/>
                <a:gd name="connsiteX13" fmla="*/ 8301 w 10002"/>
                <a:gd name="connsiteY13" fmla="*/ 12290 h 12420"/>
                <a:gd name="connsiteX14" fmla="*/ 9358 w 10002"/>
                <a:gd name="connsiteY14" fmla="*/ 12290 h 12420"/>
                <a:gd name="connsiteX15" fmla="*/ 10002 w 10002"/>
                <a:gd name="connsiteY15" fmla="*/ 10144 h 12420"/>
                <a:gd name="connsiteX16" fmla="*/ 10002 w 10002"/>
                <a:gd name="connsiteY16" fmla="*/ 8169 h 12420"/>
                <a:gd name="connsiteX0" fmla="*/ 10002 w 10002"/>
                <a:gd name="connsiteY0" fmla="*/ 8169 h 12420"/>
                <a:gd name="connsiteX1" fmla="*/ 8353 w 10002"/>
                <a:gd name="connsiteY1" fmla="*/ 2420 h 12420"/>
                <a:gd name="connsiteX2" fmla="*/ 13 w 10002"/>
                <a:gd name="connsiteY2" fmla="*/ 7600 h 12420"/>
                <a:gd name="connsiteX3" fmla="*/ 3 w 10002"/>
                <a:gd name="connsiteY3" fmla="*/ 10144 h 12420"/>
                <a:gd name="connsiteX4" fmla="*/ 80 w 10002"/>
                <a:gd name="connsiteY4" fmla="*/ 11173 h 12420"/>
                <a:gd name="connsiteX5" fmla="*/ 622 w 10002"/>
                <a:gd name="connsiteY5" fmla="*/ 12290 h 12420"/>
                <a:gd name="connsiteX6" fmla="*/ 2323 w 10002"/>
                <a:gd name="connsiteY6" fmla="*/ 10144 h 12420"/>
                <a:gd name="connsiteX7" fmla="*/ 2323 w 10002"/>
                <a:gd name="connsiteY7" fmla="*/ 8169 h 12420"/>
                <a:gd name="connsiteX8" fmla="*/ 1807 w 10002"/>
                <a:gd name="connsiteY8" fmla="*/ 6195 h 12420"/>
                <a:gd name="connsiteX9" fmla="*/ 1988 w 10002"/>
                <a:gd name="connsiteY9" fmla="*/ 5851 h 12420"/>
                <a:gd name="connsiteX10" fmla="*/ 7992 w 10002"/>
                <a:gd name="connsiteY10" fmla="*/ 5851 h 12420"/>
                <a:gd name="connsiteX11" fmla="*/ 8172 w 10002"/>
                <a:gd name="connsiteY11" fmla="*/ 6195 h 12420"/>
                <a:gd name="connsiteX12" fmla="*/ 7708 w 10002"/>
                <a:gd name="connsiteY12" fmla="*/ 10144 h 12420"/>
                <a:gd name="connsiteX13" fmla="*/ 8301 w 10002"/>
                <a:gd name="connsiteY13" fmla="*/ 12290 h 12420"/>
                <a:gd name="connsiteX14" fmla="*/ 9358 w 10002"/>
                <a:gd name="connsiteY14" fmla="*/ 12290 h 12420"/>
                <a:gd name="connsiteX15" fmla="*/ 10002 w 10002"/>
                <a:gd name="connsiteY15" fmla="*/ 10144 h 12420"/>
                <a:gd name="connsiteX16" fmla="*/ 10002 w 10002"/>
                <a:gd name="connsiteY16" fmla="*/ 8169 h 12420"/>
                <a:gd name="connsiteX0" fmla="*/ 10002 w 10002"/>
                <a:gd name="connsiteY0" fmla="*/ 8169 h 12420"/>
                <a:gd name="connsiteX1" fmla="*/ 8353 w 10002"/>
                <a:gd name="connsiteY1" fmla="*/ 2420 h 12420"/>
                <a:gd name="connsiteX2" fmla="*/ 13 w 10002"/>
                <a:gd name="connsiteY2" fmla="*/ 7600 h 12420"/>
                <a:gd name="connsiteX3" fmla="*/ 3 w 10002"/>
                <a:gd name="connsiteY3" fmla="*/ 10144 h 12420"/>
                <a:gd name="connsiteX4" fmla="*/ 80 w 10002"/>
                <a:gd name="connsiteY4" fmla="*/ 11173 h 12420"/>
                <a:gd name="connsiteX5" fmla="*/ 622 w 10002"/>
                <a:gd name="connsiteY5" fmla="*/ 12290 h 12420"/>
                <a:gd name="connsiteX6" fmla="*/ 2323 w 10002"/>
                <a:gd name="connsiteY6" fmla="*/ 10144 h 12420"/>
                <a:gd name="connsiteX7" fmla="*/ 2323 w 10002"/>
                <a:gd name="connsiteY7" fmla="*/ 8169 h 12420"/>
                <a:gd name="connsiteX8" fmla="*/ 1807 w 10002"/>
                <a:gd name="connsiteY8" fmla="*/ 6195 h 12420"/>
                <a:gd name="connsiteX9" fmla="*/ 1988 w 10002"/>
                <a:gd name="connsiteY9" fmla="*/ 5851 h 12420"/>
                <a:gd name="connsiteX10" fmla="*/ 7992 w 10002"/>
                <a:gd name="connsiteY10" fmla="*/ 5851 h 12420"/>
                <a:gd name="connsiteX11" fmla="*/ 8172 w 10002"/>
                <a:gd name="connsiteY11" fmla="*/ 6195 h 12420"/>
                <a:gd name="connsiteX12" fmla="*/ 7708 w 10002"/>
                <a:gd name="connsiteY12" fmla="*/ 10144 h 12420"/>
                <a:gd name="connsiteX13" fmla="*/ 8301 w 10002"/>
                <a:gd name="connsiteY13" fmla="*/ 12290 h 12420"/>
                <a:gd name="connsiteX14" fmla="*/ 9358 w 10002"/>
                <a:gd name="connsiteY14" fmla="*/ 12290 h 12420"/>
                <a:gd name="connsiteX15" fmla="*/ 10002 w 10002"/>
                <a:gd name="connsiteY15" fmla="*/ 10144 h 12420"/>
                <a:gd name="connsiteX16" fmla="*/ 10002 w 10002"/>
                <a:gd name="connsiteY16" fmla="*/ 8169 h 12420"/>
                <a:gd name="connsiteX0" fmla="*/ 10002 w 10002"/>
                <a:gd name="connsiteY0" fmla="*/ 8169 h 12350"/>
                <a:gd name="connsiteX1" fmla="*/ 8353 w 10002"/>
                <a:gd name="connsiteY1" fmla="*/ 2420 h 12350"/>
                <a:gd name="connsiteX2" fmla="*/ 13 w 10002"/>
                <a:gd name="connsiteY2" fmla="*/ 7600 h 12350"/>
                <a:gd name="connsiteX3" fmla="*/ 3 w 10002"/>
                <a:gd name="connsiteY3" fmla="*/ 10144 h 12350"/>
                <a:gd name="connsiteX4" fmla="*/ 80 w 10002"/>
                <a:gd name="connsiteY4" fmla="*/ 11173 h 12350"/>
                <a:gd name="connsiteX5" fmla="*/ 622 w 10002"/>
                <a:gd name="connsiteY5" fmla="*/ 12290 h 12350"/>
                <a:gd name="connsiteX6" fmla="*/ 2323 w 10002"/>
                <a:gd name="connsiteY6" fmla="*/ 10144 h 12350"/>
                <a:gd name="connsiteX7" fmla="*/ 2323 w 10002"/>
                <a:gd name="connsiteY7" fmla="*/ 8169 h 12350"/>
                <a:gd name="connsiteX8" fmla="*/ 1807 w 10002"/>
                <a:gd name="connsiteY8" fmla="*/ 6195 h 12350"/>
                <a:gd name="connsiteX9" fmla="*/ 1988 w 10002"/>
                <a:gd name="connsiteY9" fmla="*/ 5851 h 12350"/>
                <a:gd name="connsiteX10" fmla="*/ 7992 w 10002"/>
                <a:gd name="connsiteY10" fmla="*/ 5851 h 12350"/>
                <a:gd name="connsiteX11" fmla="*/ 8172 w 10002"/>
                <a:gd name="connsiteY11" fmla="*/ 6195 h 12350"/>
                <a:gd name="connsiteX12" fmla="*/ 7708 w 10002"/>
                <a:gd name="connsiteY12" fmla="*/ 10144 h 12350"/>
                <a:gd name="connsiteX13" fmla="*/ 8301 w 10002"/>
                <a:gd name="connsiteY13" fmla="*/ 12290 h 12350"/>
                <a:gd name="connsiteX14" fmla="*/ 9358 w 10002"/>
                <a:gd name="connsiteY14" fmla="*/ 12290 h 12350"/>
                <a:gd name="connsiteX15" fmla="*/ 10002 w 10002"/>
                <a:gd name="connsiteY15" fmla="*/ 10144 h 12350"/>
                <a:gd name="connsiteX16" fmla="*/ 10002 w 10002"/>
                <a:gd name="connsiteY16" fmla="*/ 8169 h 12350"/>
                <a:gd name="connsiteX0" fmla="*/ 10002 w 10002"/>
                <a:gd name="connsiteY0" fmla="*/ 8169 h 12350"/>
                <a:gd name="connsiteX1" fmla="*/ 8353 w 10002"/>
                <a:gd name="connsiteY1" fmla="*/ 2420 h 12350"/>
                <a:gd name="connsiteX2" fmla="*/ 13 w 10002"/>
                <a:gd name="connsiteY2" fmla="*/ 7600 h 12350"/>
                <a:gd name="connsiteX3" fmla="*/ 3 w 10002"/>
                <a:gd name="connsiteY3" fmla="*/ 10144 h 12350"/>
                <a:gd name="connsiteX4" fmla="*/ 80 w 10002"/>
                <a:gd name="connsiteY4" fmla="*/ 11173 h 12350"/>
                <a:gd name="connsiteX5" fmla="*/ 622 w 10002"/>
                <a:gd name="connsiteY5" fmla="*/ 12290 h 12350"/>
                <a:gd name="connsiteX6" fmla="*/ 2323 w 10002"/>
                <a:gd name="connsiteY6" fmla="*/ 10144 h 12350"/>
                <a:gd name="connsiteX7" fmla="*/ 2323 w 10002"/>
                <a:gd name="connsiteY7" fmla="*/ 8169 h 12350"/>
                <a:gd name="connsiteX8" fmla="*/ 1807 w 10002"/>
                <a:gd name="connsiteY8" fmla="*/ 6195 h 12350"/>
                <a:gd name="connsiteX9" fmla="*/ 1988 w 10002"/>
                <a:gd name="connsiteY9" fmla="*/ 5851 h 12350"/>
                <a:gd name="connsiteX10" fmla="*/ 7992 w 10002"/>
                <a:gd name="connsiteY10" fmla="*/ 5851 h 12350"/>
                <a:gd name="connsiteX11" fmla="*/ 8172 w 10002"/>
                <a:gd name="connsiteY11" fmla="*/ 6195 h 12350"/>
                <a:gd name="connsiteX12" fmla="*/ 8301 w 10002"/>
                <a:gd name="connsiteY12" fmla="*/ 12290 h 12350"/>
                <a:gd name="connsiteX13" fmla="*/ 9358 w 10002"/>
                <a:gd name="connsiteY13" fmla="*/ 12290 h 12350"/>
                <a:gd name="connsiteX14" fmla="*/ 10002 w 10002"/>
                <a:gd name="connsiteY14" fmla="*/ 10144 h 12350"/>
                <a:gd name="connsiteX15" fmla="*/ 10002 w 10002"/>
                <a:gd name="connsiteY15" fmla="*/ 8169 h 12350"/>
                <a:gd name="connsiteX0" fmla="*/ 10002 w 10002"/>
                <a:gd name="connsiteY0" fmla="*/ 8169 h 12350"/>
                <a:gd name="connsiteX1" fmla="*/ 8353 w 10002"/>
                <a:gd name="connsiteY1" fmla="*/ 2420 h 12350"/>
                <a:gd name="connsiteX2" fmla="*/ 13 w 10002"/>
                <a:gd name="connsiteY2" fmla="*/ 7600 h 12350"/>
                <a:gd name="connsiteX3" fmla="*/ 3 w 10002"/>
                <a:gd name="connsiteY3" fmla="*/ 10144 h 12350"/>
                <a:gd name="connsiteX4" fmla="*/ 80 w 10002"/>
                <a:gd name="connsiteY4" fmla="*/ 11173 h 12350"/>
                <a:gd name="connsiteX5" fmla="*/ 622 w 10002"/>
                <a:gd name="connsiteY5" fmla="*/ 12290 h 12350"/>
                <a:gd name="connsiteX6" fmla="*/ 2323 w 10002"/>
                <a:gd name="connsiteY6" fmla="*/ 10144 h 12350"/>
                <a:gd name="connsiteX7" fmla="*/ 2323 w 10002"/>
                <a:gd name="connsiteY7" fmla="*/ 8169 h 12350"/>
                <a:gd name="connsiteX8" fmla="*/ 1807 w 10002"/>
                <a:gd name="connsiteY8" fmla="*/ 6195 h 12350"/>
                <a:gd name="connsiteX9" fmla="*/ 1988 w 10002"/>
                <a:gd name="connsiteY9" fmla="*/ 5851 h 12350"/>
                <a:gd name="connsiteX10" fmla="*/ 7992 w 10002"/>
                <a:gd name="connsiteY10" fmla="*/ 5851 h 12350"/>
                <a:gd name="connsiteX11" fmla="*/ 8172 w 10002"/>
                <a:gd name="connsiteY11" fmla="*/ 6195 h 12350"/>
                <a:gd name="connsiteX12" fmla="*/ 8301 w 10002"/>
                <a:gd name="connsiteY12" fmla="*/ 12290 h 12350"/>
                <a:gd name="connsiteX13" fmla="*/ 9358 w 10002"/>
                <a:gd name="connsiteY13" fmla="*/ 12290 h 12350"/>
                <a:gd name="connsiteX14" fmla="*/ 10002 w 10002"/>
                <a:gd name="connsiteY14" fmla="*/ 10144 h 12350"/>
                <a:gd name="connsiteX15" fmla="*/ 10002 w 10002"/>
                <a:gd name="connsiteY15" fmla="*/ 8169 h 12350"/>
                <a:gd name="connsiteX0" fmla="*/ 10002 w 10002"/>
                <a:gd name="connsiteY0" fmla="*/ 8169 h 12350"/>
                <a:gd name="connsiteX1" fmla="*/ 8353 w 10002"/>
                <a:gd name="connsiteY1" fmla="*/ 2420 h 12350"/>
                <a:gd name="connsiteX2" fmla="*/ 13 w 10002"/>
                <a:gd name="connsiteY2" fmla="*/ 7600 h 12350"/>
                <a:gd name="connsiteX3" fmla="*/ 3 w 10002"/>
                <a:gd name="connsiteY3" fmla="*/ 10144 h 12350"/>
                <a:gd name="connsiteX4" fmla="*/ 80 w 10002"/>
                <a:gd name="connsiteY4" fmla="*/ 11173 h 12350"/>
                <a:gd name="connsiteX5" fmla="*/ 622 w 10002"/>
                <a:gd name="connsiteY5" fmla="*/ 12290 h 12350"/>
                <a:gd name="connsiteX6" fmla="*/ 2323 w 10002"/>
                <a:gd name="connsiteY6" fmla="*/ 10144 h 12350"/>
                <a:gd name="connsiteX7" fmla="*/ 2323 w 10002"/>
                <a:gd name="connsiteY7" fmla="*/ 8169 h 12350"/>
                <a:gd name="connsiteX8" fmla="*/ 1807 w 10002"/>
                <a:gd name="connsiteY8" fmla="*/ 6195 h 12350"/>
                <a:gd name="connsiteX9" fmla="*/ 1988 w 10002"/>
                <a:gd name="connsiteY9" fmla="*/ 5851 h 12350"/>
                <a:gd name="connsiteX10" fmla="*/ 7992 w 10002"/>
                <a:gd name="connsiteY10" fmla="*/ 5851 h 12350"/>
                <a:gd name="connsiteX11" fmla="*/ 8172 w 10002"/>
                <a:gd name="connsiteY11" fmla="*/ 6195 h 12350"/>
                <a:gd name="connsiteX12" fmla="*/ 8301 w 10002"/>
                <a:gd name="connsiteY12" fmla="*/ 12290 h 12350"/>
                <a:gd name="connsiteX13" fmla="*/ 9358 w 10002"/>
                <a:gd name="connsiteY13" fmla="*/ 12290 h 12350"/>
                <a:gd name="connsiteX14" fmla="*/ 10002 w 10002"/>
                <a:gd name="connsiteY14" fmla="*/ 10144 h 12350"/>
                <a:gd name="connsiteX15" fmla="*/ 10002 w 10002"/>
                <a:gd name="connsiteY15" fmla="*/ 8169 h 12350"/>
                <a:gd name="connsiteX0" fmla="*/ 10002 w 10002"/>
                <a:gd name="connsiteY0" fmla="*/ 8169 h 12350"/>
                <a:gd name="connsiteX1" fmla="*/ 8353 w 10002"/>
                <a:gd name="connsiteY1" fmla="*/ 2420 h 12350"/>
                <a:gd name="connsiteX2" fmla="*/ 13 w 10002"/>
                <a:gd name="connsiteY2" fmla="*/ 7600 h 12350"/>
                <a:gd name="connsiteX3" fmla="*/ 3 w 10002"/>
                <a:gd name="connsiteY3" fmla="*/ 10144 h 12350"/>
                <a:gd name="connsiteX4" fmla="*/ 80 w 10002"/>
                <a:gd name="connsiteY4" fmla="*/ 11173 h 12350"/>
                <a:gd name="connsiteX5" fmla="*/ 622 w 10002"/>
                <a:gd name="connsiteY5" fmla="*/ 12290 h 12350"/>
                <a:gd name="connsiteX6" fmla="*/ 2323 w 10002"/>
                <a:gd name="connsiteY6" fmla="*/ 10144 h 12350"/>
                <a:gd name="connsiteX7" fmla="*/ 2323 w 10002"/>
                <a:gd name="connsiteY7" fmla="*/ 8169 h 12350"/>
                <a:gd name="connsiteX8" fmla="*/ 1807 w 10002"/>
                <a:gd name="connsiteY8" fmla="*/ 6195 h 12350"/>
                <a:gd name="connsiteX9" fmla="*/ 1988 w 10002"/>
                <a:gd name="connsiteY9" fmla="*/ 5851 h 12350"/>
                <a:gd name="connsiteX10" fmla="*/ 7992 w 10002"/>
                <a:gd name="connsiteY10" fmla="*/ 5851 h 12350"/>
                <a:gd name="connsiteX11" fmla="*/ 8172 w 10002"/>
                <a:gd name="connsiteY11" fmla="*/ 6195 h 12350"/>
                <a:gd name="connsiteX12" fmla="*/ 8301 w 10002"/>
                <a:gd name="connsiteY12" fmla="*/ 12290 h 12350"/>
                <a:gd name="connsiteX13" fmla="*/ 9358 w 10002"/>
                <a:gd name="connsiteY13" fmla="*/ 12290 h 12350"/>
                <a:gd name="connsiteX14" fmla="*/ 10002 w 10002"/>
                <a:gd name="connsiteY14" fmla="*/ 10144 h 12350"/>
                <a:gd name="connsiteX15" fmla="*/ 10002 w 10002"/>
                <a:gd name="connsiteY15" fmla="*/ 8169 h 12350"/>
                <a:gd name="connsiteX0" fmla="*/ 10002 w 10002"/>
                <a:gd name="connsiteY0" fmla="*/ 8169 h 12350"/>
                <a:gd name="connsiteX1" fmla="*/ 8353 w 10002"/>
                <a:gd name="connsiteY1" fmla="*/ 2420 h 12350"/>
                <a:gd name="connsiteX2" fmla="*/ 13 w 10002"/>
                <a:gd name="connsiteY2" fmla="*/ 7600 h 12350"/>
                <a:gd name="connsiteX3" fmla="*/ 3 w 10002"/>
                <a:gd name="connsiteY3" fmla="*/ 10144 h 12350"/>
                <a:gd name="connsiteX4" fmla="*/ 80 w 10002"/>
                <a:gd name="connsiteY4" fmla="*/ 11173 h 12350"/>
                <a:gd name="connsiteX5" fmla="*/ 622 w 10002"/>
                <a:gd name="connsiteY5" fmla="*/ 12290 h 12350"/>
                <a:gd name="connsiteX6" fmla="*/ 2323 w 10002"/>
                <a:gd name="connsiteY6" fmla="*/ 10144 h 12350"/>
                <a:gd name="connsiteX7" fmla="*/ 2323 w 10002"/>
                <a:gd name="connsiteY7" fmla="*/ 8169 h 12350"/>
                <a:gd name="connsiteX8" fmla="*/ 1807 w 10002"/>
                <a:gd name="connsiteY8" fmla="*/ 6195 h 12350"/>
                <a:gd name="connsiteX9" fmla="*/ 1988 w 10002"/>
                <a:gd name="connsiteY9" fmla="*/ 5851 h 12350"/>
                <a:gd name="connsiteX10" fmla="*/ 7992 w 10002"/>
                <a:gd name="connsiteY10" fmla="*/ 5851 h 12350"/>
                <a:gd name="connsiteX11" fmla="*/ 8172 w 10002"/>
                <a:gd name="connsiteY11" fmla="*/ 6195 h 12350"/>
                <a:gd name="connsiteX12" fmla="*/ 8301 w 10002"/>
                <a:gd name="connsiteY12" fmla="*/ 12290 h 12350"/>
                <a:gd name="connsiteX13" fmla="*/ 9358 w 10002"/>
                <a:gd name="connsiteY13" fmla="*/ 12290 h 12350"/>
                <a:gd name="connsiteX14" fmla="*/ 10002 w 10002"/>
                <a:gd name="connsiteY14" fmla="*/ 10144 h 12350"/>
                <a:gd name="connsiteX15" fmla="*/ 10002 w 10002"/>
                <a:gd name="connsiteY15" fmla="*/ 8169 h 12350"/>
                <a:gd name="connsiteX0" fmla="*/ 10002 w 10002"/>
                <a:gd name="connsiteY0" fmla="*/ 8169 h 12350"/>
                <a:gd name="connsiteX1" fmla="*/ 8353 w 10002"/>
                <a:gd name="connsiteY1" fmla="*/ 2420 h 12350"/>
                <a:gd name="connsiteX2" fmla="*/ 13 w 10002"/>
                <a:gd name="connsiteY2" fmla="*/ 7600 h 12350"/>
                <a:gd name="connsiteX3" fmla="*/ 3 w 10002"/>
                <a:gd name="connsiteY3" fmla="*/ 10144 h 12350"/>
                <a:gd name="connsiteX4" fmla="*/ 80 w 10002"/>
                <a:gd name="connsiteY4" fmla="*/ 11173 h 12350"/>
                <a:gd name="connsiteX5" fmla="*/ 622 w 10002"/>
                <a:gd name="connsiteY5" fmla="*/ 12290 h 12350"/>
                <a:gd name="connsiteX6" fmla="*/ 2323 w 10002"/>
                <a:gd name="connsiteY6" fmla="*/ 10144 h 12350"/>
                <a:gd name="connsiteX7" fmla="*/ 2323 w 10002"/>
                <a:gd name="connsiteY7" fmla="*/ 8169 h 12350"/>
                <a:gd name="connsiteX8" fmla="*/ 1807 w 10002"/>
                <a:gd name="connsiteY8" fmla="*/ 6195 h 12350"/>
                <a:gd name="connsiteX9" fmla="*/ 1988 w 10002"/>
                <a:gd name="connsiteY9" fmla="*/ 5851 h 12350"/>
                <a:gd name="connsiteX10" fmla="*/ 7992 w 10002"/>
                <a:gd name="connsiteY10" fmla="*/ 5851 h 12350"/>
                <a:gd name="connsiteX11" fmla="*/ 8172 w 10002"/>
                <a:gd name="connsiteY11" fmla="*/ 6195 h 12350"/>
                <a:gd name="connsiteX12" fmla="*/ 8301 w 10002"/>
                <a:gd name="connsiteY12" fmla="*/ 12290 h 12350"/>
                <a:gd name="connsiteX13" fmla="*/ 9358 w 10002"/>
                <a:gd name="connsiteY13" fmla="*/ 12290 h 12350"/>
                <a:gd name="connsiteX14" fmla="*/ 10002 w 10002"/>
                <a:gd name="connsiteY14" fmla="*/ 10144 h 12350"/>
                <a:gd name="connsiteX15" fmla="*/ 10002 w 10002"/>
                <a:gd name="connsiteY15" fmla="*/ 8169 h 12350"/>
                <a:gd name="connsiteX0" fmla="*/ 10002 w 10002"/>
                <a:gd name="connsiteY0" fmla="*/ 8169 h 12350"/>
                <a:gd name="connsiteX1" fmla="*/ 8353 w 10002"/>
                <a:gd name="connsiteY1" fmla="*/ 2420 h 12350"/>
                <a:gd name="connsiteX2" fmla="*/ 13 w 10002"/>
                <a:gd name="connsiteY2" fmla="*/ 7600 h 12350"/>
                <a:gd name="connsiteX3" fmla="*/ 3 w 10002"/>
                <a:gd name="connsiteY3" fmla="*/ 10144 h 12350"/>
                <a:gd name="connsiteX4" fmla="*/ 80 w 10002"/>
                <a:gd name="connsiteY4" fmla="*/ 11173 h 12350"/>
                <a:gd name="connsiteX5" fmla="*/ 622 w 10002"/>
                <a:gd name="connsiteY5" fmla="*/ 12290 h 12350"/>
                <a:gd name="connsiteX6" fmla="*/ 2323 w 10002"/>
                <a:gd name="connsiteY6" fmla="*/ 10144 h 12350"/>
                <a:gd name="connsiteX7" fmla="*/ 2323 w 10002"/>
                <a:gd name="connsiteY7" fmla="*/ 8169 h 12350"/>
                <a:gd name="connsiteX8" fmla="*/ 1807 w 10002"/>
                <a:gd name="connsiteY8" fmla="*/ 6195 h 12350"/>
                <a:gd name="connsiteX9" fmla="*/ 1988 w 10002"/>
                <a:gd name="connsiteY9" fmla="*/ 5851 h 12350"/>
                <a:gd name="connsiteX10" fmla="*/ 7992 w 10002"/>
                <a:gd name="connsiteY10" fmla="*/ 5851 h 12350"/>
                <a:gd name="connsiteX11" fmla="*/ 8172 w 10002"/>
                <a:gd name="connsiteY11" fmla="*/ 6195 h 12350"/>
                <a:gd name="connsiteX12" fmla="*/ 8301 w 10002"/>
                <a:gd name="connsiteY12" fmla="*/ 12290 h 12350"/>
                <a:gd name="connsiteX13" fmla="*/ 9358 w 10002"/>
                <a:gd name="connsiteY13" fmla="*/ 12290 h 12350"/>
                <a:gd name="connsiteX14" fmla="*/ 10002 w 10002"/>
                <a:gd name="connsiteY14" fmla="*/ 10144 h 12350"/>
                <a:gd name="connsiteX15" fmla="*/ 10002 w 10002"/>
                <a:gd name="connsiteY15" fmla="*/ 8169 h 12350"/>
                <a:gd name="connsiteX0" fmla="*/ 10002 w 10033"/>
                <a:gd name="connsiteY0" fmla="*/ 8169 h 12350"/>
                <a:gd name="connsiteX1" fmla="*/ 8353 w 10033"/>
                <a:gd name="connsiteY1" fmla="*/ 2420 h 12350"/>
                <a:gd name="connsiteX2" fmla="*/ 13 w 10033"/>
                <a:gd name="connsiteY2" fmla="*/ 7600 h 12350"/>
                <a:gd name="connsiteX3" fmla="*/ 3 w 10033"/>
                <a:gd name="connsiteY3" fmla="*/ 10144 h 12350"/>
                <a:gd name="connsiteX4" fmla="*/ 80 w 10033"/>
                <a:gd name="connsiteY4" fmla="*/ 11173 h 12350"/>
                <a:gd name="connsiteX5" fmla="*/ 622 w 10033"/>
                <a:gd name="connsiteY5" fmla="*/ 12290 h 12350"/>
                <a:gd name="connsiteX6" fmla="*/ 2323 w 10033"/>
                <a:gd name="connsiteY6" fmla="*/ 10144 h 12350"/>
                <a:gd name="connsiteX7" fmla="*/ 2323 w 10033"/>
                <a:gd name="connsiteY7" fmla="*/ 8169 h 12350"/>
                <a:gd name="connsiteX8" fmla="*/ 1807 w 10033"/>
                <a:gd name="connsiteY8" fmla="*/ 6195 h 12350"/>
                <a:gd name="connsiteX9" fmla="*/ 1988 w 10033"/>
                <a:gd name="connsiteY9" fmla="*/ 5851 h 12350"/>
                <a:gd name="connsiteX10" fmla="*/ 7992 w 10033"/>
                <a:gd name="connsiteY10" fmla="*/ 5851 h 12350"/>
                <a:gd name="connsiteX11" fmla="*/ 8172 w 10033"/>
                <a:gd name="connsiteY11" fmla="*/ 6195 h 12350"/>
                <a:gd name="connsiteX12" fmla="*/ 8301 w 10033"/>
                <a:gd name="connsiteY12" fmla="*/ 12290 h 12350"/>
                <a:gd name="connsiteX13" fmla="*/ 9358 w 10033"/>
                <a:gd name="connsiteY13" fmla="*/ 12290 h 12350"/>
                <a:gd name="connsiteX14" fmla="*/ 10002 w 10033"/>
                <a:gd name="connsiteY14" fmla="*/ 8169 h 12350"/>
                <a:gd name="connsiteX0" fmla="*/ 10002 w 10056"/>
                <a:gd name="connsiteY0" fmla="*/ 8169 h 12350"/>
                <a:gd name="connsiteX1" fmla="*/ 8353 w 10056"/>
                <a:gd name="connsiteY1" fmla="*/ 2420 h 12350"/>
                <a:gd name="connsiteX2" fmla="*/ 13 w 10056"/>
                <a:gd name="connsiteY2" fmla="*/ 7600 h 12350"/>
                <a:gd name="connsiteX3" fmla="*/ 3 w 10056"/>
                <a:gd name="connsiteY3" fmla="*/ 10144 h 12350"/>
                <a:gd name="connsiteX4" fmla="*/ 80 w 10056"/>
                <a:gd name="connsiteY4" fmla="*/ 11173 h 12350"/>
                <a:gd name="connsiteX5" fmla="*/ 622 w 10056"/>
                <a:gd name="connsiteY5" fmla="*/ 12290 h 12350"/>
                <a:gd name="connsiteX6" fmla="*/ 2323 w 10056"/>
                <a:gd name="connsiteY6" fmla="*/ 10144 h 12350"/>
                <a:gd name="connsiteX7" fmla="*/ 2323 w 10056"/>
                <a:gd name="connsiteY7" fmla="*/ 8169 h 12350"/>
                <a:gd name="connsiteX8" fmla="*/ 1807 w 10056"/>
                <a:gd name="connsiteY8" fmla="*/ 6195 h 12350"/>
                <a:gd name="connsiteX9" fmla="*/ 1988 w 10056"/>
                <a:gd name="connsiteY9" fmla="*/ 5851 h 12350"/>
                <a:gd name="connsiteX10" fmla="*/ 7992 w 10056"/>
                <a:gd name="connsiteY10" fmla="*/ 5851 h 12350"/>
                <a:gd name="connsiteX11" fmla="*/ 8172 w 10056"/>
                <a:gd name="connsiteY11" fmla="*/ 6195 h 12350"/>
                <a:gd name="connsiteX12" fmla="*/ 8301 w 10056"/>
                <a:gd name="connsiteY12" fmla="*/ 12290 h 12350"/>
                <a:gd name="connsiteX13" fmla="*/ 9358 w 10056"/>
                <a:gd name="connsiteY13" fmla="*/ 12290 h 12350"/>
                <a:gd name="connsiteX14" fmla="*/ 10002 w 10056"/>
                <a:gd name="connsiteY14" fmla="*/ 8169 h 12350"/>
                <a:gd name="connsiteX0" fmla="*/ 10002 w 10031"/>
                <a:gd name="connsiteY0" fmla="*/ 8169 h 12350"/>
                <a:gd name="connsiteX1" fmla="*/ 8353 w 10031"/>
                <a:gd name="connsiteY1" fmla="*/ 2420 h 12350"/>
                <a:gd name="connsiteX2" fmla="*/ 13 w 10031"/>
                <a:gd name="connsiteY2" fmla="*/ 7600 h 12350"/>
                <a:gd name="connsiteX3" fmla="*/ 3 w 10031"/>
                <a:gd name="connsiteY3" fmla="*/ 10144 h 12350"/>
                <a:gd name="connsiteX4" fmla="*/ 80 w 10031"/>
                <a:gd name="connsiteY4" fmla="*/ 11173 h 12350"/>
                <a:gd name="connsiteX5" fmla="*/ 622 w 10031"/>
                <a:gd name="connsiteY5" fmla="*/ 12290 h 12350"/>
                <a:gd name="connsiteX6" fmla="*/ 2323 w 10031"/>
                <a:gd name="connsiteY6" fmla="*/ 10144 h 12350"/>
                <a:gd name="connsiteX7" fmla="*/ 2323 w 10031"/>
                <a:gd name="connsiteY7" fmla="*/ 8169 h 12350"/>
                <a:gd name="connsiteX8" fmla="*/ 1807 w 10031"/>
                <a:gd name="connsiteY8" fmla="*/ 6195 h 12350"/>
                <a:gd name="connsiteX9" fmla="*/ 1988 w 10031"/>
                <a:gd name="connsiteY9" fmla="*/ 5851 h 12350"/>
                <a:gd name="connsiteX10" fmla="*/ 7992 w 10031"/>
                <a:gd name="connsiteY10" fmla="*/ 5851 h 12350"/>
                <a:gd name="connsiteX11" fmla="*/ 8172 w 10031"/>
                <a:gd name="connsiteY11" fmla="*/ 6195 h 12350"/>
                <a:gd name="connsiteX12" fmla="*/ 8301 w 10031"/>
                <a:gd name="connsiteY12" fmla="*/ 12290 h 12350"/>
                <a:gd name="connsiteX13" fmla="*/ 9358 w 10031"/>
                <a:gd name="connsiteY13" fmla="*/ 12290 h 12350"/>
                <a:gd name="connsiteX14" fmla="*/ 10002 w 10031"/>
                <a:gd name="connsiteY14" fmla="*/ 8169 h 12350"/>
                <a:gd name="connsiteX0" fmla="*/ 10002 w 10050"/>
                <a:gd name="connsiteY0" fmla="*/ 8169 h 12350"/>
                <a:gd name="connsiteX1" fmla="*/ 8353 w 10050"/>
                <a:gd name="connsiteY1" fmla="*/ 2420 h 12350"/>
                <a:gd name="connsiteX2" fmla="*/ 13 w 10050"/>
                <a:gd name="connsiteY2" fmla="*/ 7600 h 12350"/>
                <a:gd name="connsiteX3" fmla="*/ 3 w 10050"/>
                <a:gd name="connsiteY3" fmla="*/ 10144 h 12350"/>
                <a:gd name="connsiteX4" fmla="*/ 80 w 10050"/>
                <a:gd name="connsiteY4" fmla="*/ 11173 h 12350"/>
                <a:gd name="connsiteX5" fmla="*/ 622 w 10050"/>
                <a:gd name="connsiteY5" fmla="*/ 12290 h 12350"/>
                <a:gd name="connsiteX6" fmla="*/ 2323 w 10050"/>
                <a:gd name="connsiteY6" fmla="*/ 10144 h 12350"/>
                <a:gd name="connsiteX7" fmla="*/ 2323 w 10050"/>
                <a:gd name="connsiteY7" fmla="*/ 8169 h 12350"/>
                <a:gd name="connsiteX8" fmla="*/ 1807 w 10050"/>
                <a:gd name="connsiteY8" fmla="*/ 6195 h 12350"/>
                <a:gd name="connsiteX9" fmla="*/ 1988 w 10050"/>
                <a:gd name="connsiteY9" fmla="*/ 5851 h 12350"/>
                <a:gd name="connsiteX10" fmla="*/ 7992 w 10050"/>
                <a:gd name="connsiteY10" fmla="*/ 5851 h 12350"/>
                <a:gd name="connsiteX11" fmla="*/ 8172 w 10050"/>
                <a:gd name="connsiteY11" fmla="*/ 6195 h 12350"/>
                <a:gd name="connsiteX12" fmla="*/ 8301 w 10050"/>
                <a:gd name="connsiteY12" fmla="*/ 12290 h 12350"/>
                <a:gd name="connsiteX13" fmla="*/ 9358 w 10050"/>
                <a:gd name="connsiteY13" fmla="*/ 12290 h 12350"/>
                <a:gd name="connsiteX14" fmla="*/ 10002 w 10050"/>
                <a:gd name="connsiteY14" fmla="*/ 8169 h 12350"/>
                <a:gd name="connsiteX0" fmla="*/ 10002 w 10043"/>
                <a:gd name="connsiteY0" fmla="*/ 8169 h 12350"/>
                <a:gd name="connsiteX1" fmla="*/ 8353 w 10043"/>
                <a:gd name="connsiteY1" fmla="*/ 2420 h 12350"/>
                <a:gd name="connsiteX2" fmla="*/ 13 w 10043"/>
                <a:gd name="connsiteY2" fmla="*/ 7600 h 12350"/>
                <a:gd name="connsiteX3" fmla="*/ 3 w 10043"/>
                <a:gd name="connsiteY3" fmla="*/ 10144 h 12350"/>
                <a:gd name="connsiteX4" fmla="*/ 80 w 10043"/>
                <a:gd name="connsiteY4" fmla="*/ 11173 h 12350"/>
                <a:gd name="connsiteX5" fmla="*/ 622 w 10043"/>
                <a:gd name="connsiteY5" fmla="*/ 12290 h 12350"/>
                <a:gd name="connsiteX6" fmla="*/ 2323 w 10043"/>
                <a:gd name="connsiteY6" fmla="*/ 10144 h 12350"/>
                <a:gd name="connsiteX7" fmla="*/ 2323 w 10043"/>
                <a:gd name="connsiteY7" fmla="*/ 8169 h 12350"/>
                <a:gd name="connsiteX8" fmla="*/ 1807 w 10043"/>
                <a:gd name="connsiteY8" fmla="*/ 6195 h 12350"/>
                <a:gd name="connsiteX9" fmla="*/ 1988 w 10043"/>
                <a:gd name="connsiteY9" fmla="*/ 5851 h 12350"/>
                <a:gd name="connsiteX10" fmla="*/ 7992 w 10043"/>
                <a:gd name="connsiteY10" fmla="*/ 5851 h 12350"/>
                <a:gd name="connsiteX11" fmla="*/ 8172 w 10043"/>
                <a:gd name="connsiteY11" fmla="*/ 6195 h 12350"/>
                <a:gd name="connsiteX12" fmla="*/ 8301 w 10043"/>
                <a:gd name="connsiteY12" fmla="*/ 12290 h 12350"/>
                <a:gd name="connsiteX13" fmla="*/ 9358 w 10043"/>
                <a:gd name="connsiteY13" fmla="*/ 12290 h 12350"/>
                <a:gd name="connsiteX14" fmla="*/ 10002 w 10043"/>
                <a:gd name="connsiteY14" fmla="*/ 8169 h 12350"/>
                <a:gd name="connsiteX0" fmla="*/ 10002 w 10043"/>
                <a:gd name="connsiteY0" fmla="*/ 8169 h 12350"/>
                <a:gd name="connsiteX1" fmla="*/ 8353 w 10043"/>
                <a:gd name="connsiteY1" fmla="*/ 2420 h 12350"/>
                <a:gd name="connsiteX2" fmla="*/ 13 w 10043"/>
                <a:gd name="connsiteY2" fmla="*/ 7600 h 12350"/>
                <a:gd name="connsiteX3" fmla="*/ 3 w 10043"/>
                <a:gd name="connsiteY3" fmla="*/ 10144 h 12350"/>
                <a:gd name="connsiteX4" fmla="*/ 622 w 10043"/>
                <a:gd name="connsiteY4" fmla="*/ 12290 h 12350"/>
                <a:gd name="connsiteX5" fmla="*/ 2323 w 10043"/>
                <a:gd name="connsiteY5" fmla="*/ 10144 h 12350"/>
                <a:gd name="connsiteX6" fmla="*/ 2323 w 10043"/>
                <a:gd name="connsiteY6" fmla="*/ 8169 h 12350"/>
                <a:gd name="connsiteX7" fmla="*/ 1807 w 10043"/>
                <a:gd name="connsiteY7" fmla="*/ 6195 h 12350"/>
                <a:gd name="connsiteX8" fmla="*/ 1988 w 10043"/>
                <a:gd name="connsiteY8" fmla="*/ 5851 h 12350"/>
                <a:gd name="connsiteX9" fmla="*/ 7992 w 10043"/>
                <a:gd name="connsiteY9" fmla="*/ 5851 h 12350"/>
                <a:gd name="connsiteX10" fmla="*/ 8172 w 10043"/>
                <a:gd name="connsiteY10" fmla="*/ 6195 h 12350"/>
                <a:gd name="connsiteX11" fmla="*/ 8301 w 10043"/>
                <a:gd name="connsiteY11" fmla="*/ 12290 h 12350"/>
                <a:gd name="connsiteX12" fmla="*/ 9358 w 10043"/>
                <a:gd name="connsiteY12" fmla="*/ 12290 h 12350"/>
                <a:gd name="connsiteX13" fmla="*/ 10002 w 10043"/>
                <a:gd name="connsiteY13" fmla="*/ 8169 h 12350"/>
                <a:gd name="connsiteX0" fmla="*/ 10499 w 10540"/>
                <a:gd name="connsiteY0" fmla="*/ 8169 h 12350"/>
                <a:gd name="connsiteX1" fmla="*/ 8850 w 10540"/>
                <a:gd name="connsiteY1" fmla="*/ 2420 h 12350"/>
                <a:gd name="connsiteX2" fmla="*/ 510 w 10540"/>
                <a:gd name="connsiteY2" fmla="*/ 7600 h 12350"/>
                <a:gd name="connsiteX3" fmla="*/ 1119 w 10540"/>
                <a:gd name="connsiteY3" fmla="*/ 12290 h 12350"/>
                <a:gd name="connsiteX4" fmla="*/ 2820 w 10540"/>
                <a:gd name="connsiteY4" fmla="*/ 10144 h 12350"/>
                <a:gd name="connsiteX5" fmla="*/ 2820 w 10540"/>
                <a:gd name="connsiteY5" fmla="*/ 8169 h 12350"/>
                <a:gd name="connsiteX6" fmla="*/ 2304 w 10540"/>
                <a:gd name="connsiteY6" fmla="*/ 6195 h 12350"/>
                <a:gd name="connsiteX7" fmla="*/ 2485 w 10540"/>
                <a:gd name="connsiteY7" fmla="*/ 5851 h 12350"/>
                <a:gd name="connsiteX8" fmla="*/ 8489 w 10540"/>
                <a:gd name="connsiteY8" fmla="*/ 5851 h 12350"/>
                <a:gd name="connsiteX9" fmla="*/ 8669 w 10540"/>
                <a:gd name="connsiteY9" fmla="*/ 6195 h 12350"/>
                <a:gd name="connsiteX10" fmla="*/ 8798 w 10540"/>
                <a:gd name="connsiteY10" fmla="*/ 12290 h 12350"/>
                <a:gd name="connsiteX11" fmla="*/ 9855 w 10540"/>
                <a:gd name="connsiteY11" fmla="*/ 12290 h 12350"/>
                <a:gd name="connsiteX12" fmla="*/ 10499 w 10540"/>
                <a:gd name="connsiteY12" fmla="*/ 8169 h 12350"/>
                <a:gd name="connsiteX0" fmla="*/ 9989 w 10030"/>
                <a:gd name="connsiteY0" fmla="*/ 8169 h 12350"/>
                <a:gd name="connsiteX1" fmla="*/ 8340 w 10030"/>
                <a:gd name="connsiteY1" fmla="*/ 2420 h 12350"/>
                <a:gd name="connsiteX2" fmla="*/ 0 w 10030"/>
                <a:gd name="connsiteY2" fmla="*/ 7600 h 12350"/>
                <a:gd name="connsiteX3" fmla="*/ 609 w 10030"/>
                <a:gd name="connsiteY3" fmla="*/ 12290 h 12350"/>
                <a:gd name="connsiteX4" fmla="*/ 2310 w 10030"/>
                <a:gd name="connsiteY4" fmla="*/ 10144 h 12350"/>
                <a:gd name="connsiteX5" fmla="*/ 2310 w 10030"/>
                <a:gd name="connsiteY5" fmla="*/ 8169 h 12350"/>
                <a:gd name="connsiteX6" fmla="*/ 1794 w 10030"/>
                <a:gd name="connsiteY6" fmla="*/ 6195 h 12350"/>
                <a:gd name="connsiteX7" fmla="*/ 1975 w 10030"/>
                <a:gd name="connsiteY7" fmla="*/ 5851 h 12350"/>
                <a:gd name="connsiteX8" fmla="*/ 7979 w 10030"/>
                <a:gd name="connsiteY8" fmla="*/ 5851 h 12350"/>
                <a:gd name="connsiteX9" fmla="*/ 8159 w 10030"/>
                <a:gd name="connsiteY9" fmla="*/ 6195 h 12350"/>
                <a:gd name="connsiteX10" fmla="*/ 8288 w 10030"/>
                <a:gd name="connsiteY10" fmla="*/ 12290 h 12350"/>
                <a:gd name="connsiteX11" fmla="*/ 9345 w 10030"/>
                <a:gd name="connsiteY11" fmla="*/ 12290 h 12350"/>
                <a:gd name="connsiteX12" fmla="*/ 9989 w 10030"/>
                <a:gd name="connsiteY12" fmla="*/ 8169 h 12350"/>
                <a:gd name="connsiteX0" fmla="*/ 9989 w 10030"/>
                <a:gd name="connsiteY0" fmla="*/ 8287 h 12468"/>
                <a:gd name="connsiteX1" fmla="*/ 8340 w 10030"/>
                <a:gd name="connsiteY1" fmla="*/ 2538 h 12468"/>
                <a:gd name="connsiteX2" fmla="*/ 0 w 10030"/>
                <a:gd name="connsiteY2" fmla="*/ 7718 h 12468"/>
                <a:gd name="connsiteX3" fmla="*/ 609 w 10030"/>
                <a:gd name="connsiteY3" fmla="*/ 12408 h 12468"/>
                <a:gd name="connsiteX4" fmla="*/ 2310 w 10030"/>
                <a:gd name="connsiteY4" fmla="*/ 10262 h 12468"/>
                <a:gd name="connsiteX5" fmla="*/ 2310 w 10030"/>
                <a:gd name="connsiteY5" fmla="*/ 8287 h 12468"/>
                <a:gd name="connsiteX6" fmla="*/ 1794 w 10030"/>
                <a:gd name="connsiteY6" fmla="*/ 6313 h 12468"/>
                <a:gd name="connsiteX7" fmla="*/ 1975 w 10030"/>
                <a:gd name="connsiteY7" fmla="*/ 5969 h 12468"/>
                <a:gd name="connsiteX8" fmla="*/ 7979 w 10030"/>
                <a:gd name="connsiteY8" fmla="*/ 5969 h 12468"/>
                <a:gd name="connsiteX9" fmla="*/ 8159 w 10030"/>
                <a:gd name="connsiteY9" fmla="*/ 6313 h 12468"/>
                <a:gd name="connsiteX10" fmla="*/ 8288 w 10030"/>
                <a:gd name="connsiteY10" fmla="*/ 12408 h 12468"/>
                <a:gd name="connsiteX11" fmla="*/ 9345 w 10030"/>
                <a:gd name="connsiteY11" fmla="*/ 12408 h 12468"/>
                <a:gd name="connsiteX12" fmla="*/ 9989 w 10030"/>
                <a:gd name="connsiteY12" fmla="*/ 8287 h 12468"/>
                <a:gd name="connsiteX0" fmla="*/ 9989 w 10030"/>
                <a:gd name="connsiteY0" fmla="*/ 8302 h 12483"/>
                <a:gd name="connsiteX1" fmla="*/ 8340 w 10030"/>
                <a:gd name="connsiteY1" fmla="*/ 2553 h 12483"/>
                <a:gd name="connsiteX2" fmla="*/ 0 w 10030"/>
                <a:gd name="connsiteY2" fmla="*/ 7733 h 12483"/>
                <a:gd name="connsiteX3" fmla="*/ 609 w 10030"/>
                <a:gd name="connsiteY3" fmla="*/ 12423 h 12483"/>
                <a:gd name="connsiteX4" fmla="*/ 2310 w 10030"/>
                <a:gd name="connsiteY4" fmla="*/ 10277 h 12483"/>
                <a:gd name="connsiteX5" fmla="*/ 2310 w 10030"/>
                <a:gd name="connsiteY5" fmla="*/ 8302 h 12483"/>
                <a:gd name="connsiteX6" fmla="*/ 1794 w 10030"/>
                <a:gd name="connsiteY6" fmla="*/ 6328 h 12483"/>
                <a:gd name="connsiteX7" fmla="*/ 1975 w 10030"/>
                <a:gd name="connsiteY7" fmla="*/ 5984 h 12483"/>
                <a:gd name="connsiteX8" fmla="*/ 7979 w 10030"/>
                <a:gd name="connsiteY8" fmla="*/ 5984 h 12483"/>
                <a:gd name="connsiteX9" fmla="*/ 8159 w 10030"/>
                <a:gd name="connsiteY9" fmla="*/ 6328 h 12483"/>
                <a:gd name="connsiteX10" fmla="*/ 8288 w 10030"/>
                <a:gd name="connsiteY10" fmla="*/ 12423 h 12483"/>
                <a:gd name="connsiteX11" fmla="*/ 9345 w 10030"/>
                <a:gd name="connsiteY11" fmla="*/ 12423 h 12483"/>
                <a:gd name="connsiteX12" fmla="*/ 9989 w 10030"/>
                <a:gd name="connsiteY12" fmla="*/ 8302 h 12483"/>
                <a:gd name="connsiteX0" fmla="*/ 9989 w 10030"/>
                <a:gd name="connsiteY0" fmla="*/ 8288 h 12469"/>
                <a:gd name="connsiteX1" fmla="*/ 8340 w 10030"/>
                <a:gd name="connsiteY1" fmla="*/ 2539 h 12469"/>
                <a:gd name="connsiteX2" fmla="*/ 0 w 10030"/>
                <a:gd name="connsiteY2" fmla="*/ 7719 h 12469"/>
                <a:gd name="connsiteX3" fmla="*/ 609 w 10030"/>
                <a:gd name="connsiteY3" fmla="*/ 12409 h 12469"/>
                <a:gd name="connsiteX4" fmla="*/ 2310 w 10030"/>
                <a:gd name="connsiteY4" fmla="*/ 10263 h 12469"/>
                <a:gd name="connsiteX5" fmla="*/ 2310 w 10030"/>
                <a:gd name="connsiteY5" fmla="*/ 8288 h 12469"/>
                <a:gd name="connsiteX6" fmla="*/ 1794 w 10030"/>
                <a:gd name="connsiteY6" fmla="*/ 6314 h 12469"/>
                <a:gd name="connsiteX7" fmla="*/ 1975 w 10030"/>
                <a:gd name="connsiteY7" fmla="*/ 5970 h 12469"/>
                <a:gd name="connsiteX8" fmla="*/ 7979 w 10030"/>
                <a:gd name="connsiteY8" fmla="*/ 5970 h 12469"/>
                <a:gd name="connsiteX9" fmla="*/ 8159 w 10030"/>
                <a:gd name="connsiteY9" fmla="*/ 6314 h 12469"/>
                <a:gd name="connsiteX10" fmla="*/ 8288 w 10030"/>
                <a:gd name="connsiteY10" fmla="*/ 12409 h 12469"/>
                <a:gd name="connsiteX11" fmla="*/ 9345 w 10030"/>
                <a:gd name="connsiteY11" fmla="*/ 12409 h 12469"/>
                <a:gd name="connsiteX12" fmla="*/ 9989 w 10030"/>
                <a:gd name="connsiteY12" fmla="*/ 8288 h 12469"/>
                <a:gd name="connsiteX0" fmla="*/ 9989 w 10030"/>
                <a:gd name="connsiteY0" fmla="*/ 4293 h 8474"/>
                <a:gd name="connsiteX1" fmla="*/ 0 w 10030"/>
                <a:gd name="connsiteY1" fmla="*/ 3724 h 8474"/>
                <a:gd name="connsiteX2" fmla="*/ 609 w 10030"/>
                <a:gd name="connsiteY2" fmla="*/ 8414 h 8474"/>
                <a:gd name="connsiteX3" fmla="*/ 2310 w 10030"/>
                <a:gd name="connsiteY3" fmla="*/ 6268 h 8474"/>
                <a:gd name="connsiteX4" fmla="*/ 2310 w 10030"/>
                <a:gd name="connsiteY4" fmla="*/ 4293 h 8474"/>
                <a:gd name="connsiteX5" fmla="*/ 1794 w 10030"/>
                <a:gd name="connsiteY5" fmla="*/ 2319 h 8474"/>
                <a:gd name="connsiteX6" fmla="*/ 1975 w 10030"/>
                <a:gd name="connsiteY6" fmla="*/ 1975 h 8474"/>
                <a:gd name="connsiteX7" fmla="*/ 7979 w 10030"/>
                <a:gd name="connsiteY7" fmla="*/ 1975 h 8474"/>
                <a:gd name="connsiteX8" fmla="*/ 8159 w 10030"/>
                <a:gd name="connsiteY8" fmla="*/ 2319 h 8474"/>
                <a:gd name="connsiteX9" fmla="*/ 8288 w 10030"/>
                <a:gd name="connsiteY9" fmla="*/ 8414 h 8474"/>
                <a:gd name="connsiteX10" fmla="*/ 9345 w 10030"/>
                <a:gd name="connsiteY10" fmla="*/ 8414 h 8474"/>
                <a:gd name="connsiteX11" fmla="*/ 9989 w 10030"/>
                <a:gd name="connsiteY11" fmla="*/ 4293 h 8474"/>
                <a:gd name="connsiteX0" fmla="*/ 9959 w 10000"/>
                <a:gd name="connsiteY0" fmla="*/ 6717 h 11651"/>
                <a:gd name="connsiteX1" fmla="*/ 0 w 10000"/>
                <a:gd name="connsiteY1" fmla="*/ 6046 h 11651"/>
                <a:gd name="connsiteX2" fmla="*/ 607 w 10000"/>
                <a:gd name="connsiteY2" fmla="*/ 11580 h 11651"/>
                <a:gd name="connsiteX3" fmla="*/ 2303 w 10000"/>
                <a:gd name="connsiteY3" fmla="*/ 9048 h 11651"/>
                <a:gd name="connsiteX4" fmla="*/ 2303 w 10000"/>
                <a:gd name="connsiteY4" fmla="*/ 6717 h 11651"/>
                <a:gd name="connsiteX5" fmla="*/ 1789 w 10000"/>
                <a:gd name="connsiteY5" fmla="*/ 4388 h 11651"/>
                <a:gd name="connsiteX6" fmla="*/ 1969 w 10000"/>
                <a:gd name="connsiteY6" fmla="*/ 3982 h 11651"/>
                <a:gd name="connsiteX7" fmla="*/ 7955 w 10000"/>
                <a:gd name="connsiteY7" fmla="*/ 3982 h 11651"/>
                <a:gd name="connsiteX8" fmla="*/ 8135 w 10000"/>
                <a:gd name="connsiteY8" fmla="*/ 4388 h 11651"/>
                <a:gd name="connsiteX9" fmla="*/ 8263 w 10000"/>
                <a:gd name="connsiteY9" fmla="*/ 11580 h 11651"/>
                <a:gd name="connsiteX10" fmla="*/ 9317 w 10000"/>
                <a:gd name="connsiteY10" fmla="*/ 11580 h 11651"/>
                <a:gd name="connsiteX11" fmla="*/ 9959 w 10000"/>
                <a:gd name="connsiteY11" fmla="*/ 6717 h 11651"/>
                <a:gd name="connsiteX0" fmla="*/ 9959 w 10000"/>
                <a:gd name="connsiteY0" fmla="*/ 9426 h 14360"/>
                <a:gd name="connsiteX1" fmla="*/ 0 w 10000"/>
                <a:gd name="connsiteY1" fmla="*/ 8755 h 14360"/>
                <a:gd name="connsiteX2" fmla="*/ 607 w 10000"/>
                <a:gd name="connsiteY2" fmla="*/ 14289 h 14360"/>
                <a:gd name="connsiteX3" fmla="*/ 2303 w 10000"/>
                <a:gd name="connsiteY3" fmla="*/ 11757 h 14360"/>
                <a:gd name="connsiteX4" fmla="*/ 2303 w 10000"/>
                <a:gd name="connsiteY4" fmla="*/ 9426 h 14360"/>
                <a:gd name="connsiteX5" fmla="*/ 1789 w 10000"/>
                <a:gd name="connsiteY5" fmla="*/ 7097 h 14360"/>
                <a:gd name="connsiteX6" fmla="*/ 1969 w 10000"/>
                <a:gd name="connsiteY6" fmla="*/ 6691 h 14360"/>
                <a:gd name="connsiteX7" fmla="*/ 7955 w 10000"/>
                <a:gd name="connsiteY7" fmla="*/ 6691 h 14360"/>
                <a:gd name="connsiteX8" fmla="*/ 8135 w 10000"/>
                <a:gd name="connsiteY8" fmla="*/ 7097 h 14360"/>
                <a:gd name="connsiteX9" fmla="*/ 8263 w 10000"/>
                <a:gd name="connsiteY9" fmla="*/ 14289 h 14360"/>
                <a:gd name="connsiteX10" fmla="*/ 9317 w 10000"/>
                <a:gd name="connsiteY10" fmla="*/ 14289 h 14360"/>
                <a:gd name="connsiteX11" fmla="*/ 9959 w 10000"/>
                <a:gd name="connsiteY11" fmla="*/ 9426 h 14360"/>
                <a:gd name="connsiteX0" fmla="*/ 9959 w 10000"/>
                <a:gd name="connsiteY0" fmla="*/ 9943 h 14877"/>
                <a:gd name="connsiteX1" fmla="*/ 0 w 10000"/>
                <a:gd name="connsiteY1" fmla="*/ 9272 h 14877"/>
                <a:gd name="connsiteX2" fmla="*/ 607 w 10000"/>
                <a:gd name="connsiteY2" fmla="*/ 14806 h 14877"/>
                <a:gd name="connsiteX3" fmla="*/ 2303 w 10000"/>
                <a:gd name="connsiteY3" fmla="*/ 12274 h 14877"/>
                <a:gd name="connsiteX4" fmla="*/ 2303 w 10000"/>
                <a:gd name="connsiteY4" fmla="*/ 9943 h 14877"/>
                <a:gd name="connsiteX5" fmla="*/ 1789 w 10000"/>
                <a:gd name="connsiteY5" fmla="*/ 7614 h 14877"/>
                <a:gd name="connsiteX6" fmla="*/ 1969 w 10000"/>
                <a:gd name="connsiteY6" fmla="*/ 7208 h 14877"/>
                <a:gd name="connsiteX7" fmla="*/ 7955 w 10000"/>
                <a:gd name="connsiteY7" fmla="*/ 7208 h 14877"/>
                <a:gd name="connsiteX8" fmla="*/ 8135 w 10000"/>
                <a:gd name="connsiteY8" fmla="*/ 7614 h 14877"/>
                <a:gd name="connsiteX9" fmla="*/ 8263 w 10000"/>
                <a:gd name="connsiteY9" fmla="*/ 14806 h 14877"/>
                <a:gd name="connsiteX10" fmla="*/ 9317 w 10000"/>
                <a:gd name="connsiteY10" fmla="*/ 14806 h 14877"/>
                <a:gd name="connsiteX11" fmla="*/ 9959 w 10000"/>
                <a:gd name="connsiteY11" fmla="*/ 9943 h 14877"/>
                <a:gd name="connsiteX0" fmla="*/ 9959 w 10000"/>
                <a:gd name="connsiteY0" fmla="*/ 10574 h 15508"/>
                <a:gd name="connsiteX1" fmla="*/ 0 w 10000"/>
                <a:gd name="connsiteY1" fmla="*/ 9903 h 15508"/>
                <a:gd name="connsiteX2" fmla="*/ 607 w 10000"/>
                <a:gd name="connsiteY2" fmla="*/ 15437 h 15508"/>
                <a:gd name="connsiteX3" fmla="*/ 2303 w 10000"/>
                <a:gd name="connsiteY3" fmla="*/ 12905 h 15508"/>
                <a:gd name="connsiteX4" fmla="*/ 2303 w 10000"/>
                <a:gd name="connsiteY4" fmla="*/ 10574 h 15508"/>
                <a:gd name="connsiteX5" fmla="*/ 1789 w 10000"/>
                <a:gd name="connsiteY5" fmla="*/ 8245 h 15508"/>
                <a:gd name="connsiteX6" fmla="*/ 1969 w 10000"/>
                <a:gd name="connsiteY6" fmla="*/ 7839 h 15508"/>
                <a:gd name="connsiteX7" fmla="*/ 7955 w 10000"/>
                <a:gd name="connsiteY7" fmla="*/ 7839 h 15508"/>
                <a:gd name="connsiteX8" fmla="*/ 8135 w 10000"/>
                <a:gd name="connsiteY8" fmla="*/ 8245 h 15508"/>
                <a:gd name="connsiteX9" fmla="*/ 8263 w 10000"/>
                <a:gd name="connsiteY9" fmla="*/ 15437 h 15508"/>
                <a:gd name="connsiteX10" fmla="*/ 9317 w 10000"/>
                <a:gd name="connsiteY10" fmla="*/ 15437 h 15508"/>
                <a:gd name="connsiteX11" fmla="*/ 9959 w 10000"/>
                <a:gd name="connsiteY11" fmla="*/ 10574 h 15508"/>
                <a:gd name="connsiteX0" fmla="*/ 9959 w 10000"/>
                <a:gd name="connsiteY0" fmla="*/ 10258 h 15192"/>
                <a:gd name="connsiteX1" fmla="*/ 0 w 10000"/>
                <a:gd name="connsiteY1" fmla="*/ 9587 h 15192"/>
                <a:gd name="connsiteX2" fmla="*/ 607 w 10000"/>
                <a:gd name="connsiteY2" fmla="*/ 15121 h 15192"/>
                <a:gd name="connsiteX3" fmla="*/ 2303 w 10000"/>
                <a:gd name="connsiteY3" fmla="*/ 12589 h 15192"/>
                <a:gd name="connsiteX4" fmla="*/ 2303 w 10000"/>
                <a:gd name="connsiteY4" fmla="*/ 10258 h 15192"/>
                <a:gd name="connsiteX5" fmla="*/ 1789 w 10000"/>
                <a:gd name="connsiteY5" fmla="*/ 7929 h 15192"/>
                <a:gd name="connsiteX6" fmla="*/ 1969 w 10000"/>
                <a:gd name="connsiteY6" fmla="*/ 7523 h 15192"/>
                <a:gd name="connsiteX7" fmla="*/ 7955 w 10000"/>
                <a:gd name="connsiteY7" fmla="*/ 7523 h 15192"/>
                <a:gd name="connsiteX8" fmla="*/ 8135 w 10000"/>
                <a:gd name="connsiteY8" fmla="*/ 7929 h 15192"/>
                <a:gd name="connsiteX9" fmla="*/ 8263 w 10000"/>
                <a:gd name="connsiteY9" fmla="*/ 15121 h 15192"/>
                <a:gd name="connsiteX10" fmla="*/ 9317 w 10000"/>
                <a:gd name="connsiteY10" fmla="*/ 15121 h 15192"/>
                <a:gd name="connsiteX11" fmla="*/ 9959 w 10000"/>
                <a:gd name="connsiteY11" fmla="*/ 10258 h 15192"/>
                <a:gd name="connsiteX0" fmla="*/ 9959 w 10000"/>
                <a:gd name="connsiteY0" fmla="*/ 8298 h 13232"/>
                <a:gd name="connsiteX1" fmla="*/ 0 w 10000"/>
                <a:gd name="connsiteY1" fmla="*/ 7627 h 13232"/>
                <a:gd name="connsiteX2" fmla="*/ 607 w 10000"/>
                <a:gd name="connsiteY2" fmla="*/ 13161 h 13232"/>
                <a:gd name="connsiteX3" fmla="*/ 2303 w 10000"/>
                <a:gd name="connsiteY3" fmla="*/ 10629 h 13232"/>
                <a:gd name="connsiteX4" fmla="*/ 2303 w 10000"/>
                <a:gd name="connsiteY4" fmla="*/ 8298 h 13232"/>
                <a:gd name="connsiteX5" fmla="*/ 1789 w 10000"/>
                <a:gd name="connsiteY5" fmla="*/ 5969 h 13232"/>
                <a:gd name="connsiteX6" fmla="*/ 1969 w 10000"/>
                <a:gd name="connsiteY6" fmla="*/ 5563 h 13232"/>
                <a:gd name="connsiteX7" fmla="*/ 7955 w 10000"/>
                <a:gd name="connsiteY7" fmla="*/ 5563 h 13232"/>
                <a:gd name="connsiteX8" fmla="*/ 8135 w 10000"/>
                <a:gd name="connsiteY8" fmla="*/ 5969 h 13232"/>
                <a:gd name="connsiteX9" fmla="*/ 8263 w 10000"/>
                <a:gd name="connsiteY9" fmla="*/ 13161 h 13232"/>
                <a:gd name="connsiteX10" fmla="*/ 9317 w 10000"/>
                <a:gd name="connsiteY10" fmla="*/ 13161 h 13232"/>
                <a:gd name="connsiteX11" fmla="*/ 9959 w 10000"/>
                <a:gd name="connsiteY11" fmla="*/ 8298 h 13232"/>
                <a:gd name="connsiteX0" fmla="*/ 9959 w 10000"/>
                <a:gd name="connsiteY0" fmla="*/ 8467 h 13401"/>
                <a:gd name="connsiteX1" fmla="*/ 0 w 10000"/>
                <a:gd name="connsiteY1" fmla="*/ 7796 h 13401"/>
                <a:gd name="connsiteX2" fmla="*/ 607 w 10000"/>
                <a:gd name="connsiteY2" fmla="*/ 13330 h 13401"/>
                <a:gd name="connsiteX3" fmla="*/ 2303 w 10000"/>
                <a:gd name="connsiteY3" fmla="*/ 10798 h 13401"/>
                <a:gd name="connsiteX4" fmla="*/ 2303 w 10000"/>
                <a:gd name="connsiteY4" fmla="*/ 8467 h 13401"/>
                <a:gd name="connsiteX5" fmla="*/ 1789 w 10000"/>
                <a:gd name="connsiteY5" fmla="*/ 6138 h 13401"/>
                <a:gd name="connsiteX6" fmla="*/ 1969 w 10000"/>
                <a:gd name="connsiteY6" fmla="*/ 5732 h 13401"/>
                <a:gd name="connsiteX7" fmla="*/ 7955 w 10000"/>
                <a:gd name="connsiteY7" fmla="*/ 5732 h 13401"/>
                <a:gd name="connsiteX8" fmla="*/ 8135 w 10000"/>
                <a:gd name="connsiteY8" fmla="*/ 6138 h 13401"/>
                <a:gd name="connsiteX9" fmla="*/ 8263 w 10000"/>
                <a:gd name="connsiteY9" fmla="*/ 13330 h 13401"/>
                <a:gd name="connsiteX10" fmla="*/ 9317 w 10000"/>
                <a:gd name="connsiteY10" fmla="*/ 13330 h 13401"/>
                <a:gd name="connsiteX11" fmla="*/ 9959 w 10000"/>
                <a:gd name="connsiteY11" fmla="*/ 8467 h 13401"/>
                <a:gd name="connsiteX0" fmla="*/ 9959 w 10000"/>
                <a:gd name="connsiteY0" fmla="*/ 8659 h 13593"/>
                <a:gd name="connsiteX1" fmla="*/ 0 w 10000"/>
                <a:gd name="connsiteY1" fmla="*/ 7988 h 13593"/>
                <a:gd name="connsiteX2" fmla="*/ 607 w 10000"/>
                <a:gd name="connsiteY2" fmla="*/ 13522 h 13593"/>
                <a:gd name="connsiteX3" fmla="*/ 2303 w 10000"/>
                <a:gd name="connsiteY3" fmla="*/ 10990 h 13593"/>
                <a:gd name="connsiteX4" fmla="*/ 2303 w 10000"/>
                <a:gd name="connsiteY4" fmla="*/ 8659 h 13593"/>
                <a:gd name="connsiteX5" fmla="*/ 1789 w 10000"/>
                <a:gd name="connsiteY5" fmla="*/ 6330 h 13593"/>
                <a:gd name="connsiteX6" fmla="*/ 1969 w 10000"/>
                <a:gd name="connsiteY6" fmla="*/ 5924 h 13593"/>
                <a:gd name="connsiteX7" fmla="*/ 7955 w 10000"/>
                <a:gd name="connsiteY7" fmla="*/ 5924 h 13593"/>
                <a:gd name="connsiteX8" fmla="*/ 8135 w 10000"/>
                <a:gd name="connsiteY8" fmla="*/ 6330 h 13593"/>
                <a:gd name="connsiteX9" fmla="*/ 8263 w 10000"/>
                <a:gd name="connsiteY9" fmla="*/ 13522 h 13593"/>
                <a:gd name="connsiteX10" fmla="*/ 9317 w 10000"/>
                <a:gd name="connsiteY10" fmla="*/ 13522 h 13593"/>
                <a:gd name="connsiteX11" fmla="*/ 9959 w 10000"/>
                <a:gd name="connsiteY11" fmla="*/ 8659 h 13593"/>
                <a:gd name="connsiteX0" fmla="*/ 9959 w 10000"/>
                <a:gd name="connsiteY0" fmla="*/ 8659 h 13524"/>
                <a:gd name="connsiteX1" fmla="*/ 0 w 10000"/>
                <a:gd name="connsiteY1" fmla="*/ 7988 h 13524"/>
                <a:gd name="connsiteX2" fmla="*/ 607 w 10000"/>
                <a:gd name="connsiteY2" fmla="*/ 13522 h 13524"/>
                <a:gd name="connsiteX3" fmla="*/ 2303 w 10000"/>
                <a:gd name="connsiteY3" fmla="*/ 8659 h 13524"/>
                <a:gd name="connsiteX4" fmla="*/ 1789 w 10000"/>
                <a:gd name="connsiteY4" fmla="*/ 6330 h 13524"/>
                <a:gd name="connsiteX5" fmla="*/ 1969 w 10000"/>
                <a:gd name="connsiteY5" fmla="*/ 5924 h 13524"/>
                <a:gd name="connsiteX6" fmla="*/ 7955 w 10000"/>
                <a:gd name="connsiteY6" fmla="*/ 5924 h 13524"/>
                <a:gd name="connsiteX7" fmla="*/ 8135 w 10000"/>
                <a:gd name="connsiteY7" fmla="*/ 6330 h 13524"/>
                <a:gd name="connsiteX8" fmla="*/ 8263 w 10000"/>
                <a:gd name="connsiteY8" fmla="*/ 13522 h 13524"/>
                <a:gd name="connsiteX9" fmla="*/ 9317 w 10000"/>
                <a:gd name="connsiteY9" fmla="*/ 13522 h 13524"/>
                <a:gd name="connsiteX10" fmla="*/ 9959 w 10000"/>
                <a:gd name="connsiteY10" fmla="*/ 8659 h 13524"/>
                <a:gd name="connsiteX0" fmla="*/ 9959 w 10000"/>
                <a:gd name="connsiteY0" fmla="*/ 8659 h 13538"/>
                <a:gd name="connsiteX1" fmla="*/ 0 w 10000"/>
                <a:gd name="connsiteY1" fmla="*/ 7988 h 13538"/>
                <a:gd name="connsiteX2" fmla="*/ 607 w 10000"/>
                <a:gd name="connsiteY2" fmla="*/ 13522 h 13538"/>
                <a:gd name="connsiteX3" fmla="*/ 2303 w 10000"/>
                <a:gd name="connsiteY3" fmla="*/ 8659 h 13538"/>
                <a:gd name="connsiteX4" fmla="*/ 1789 w 10000"/>
                <a:gd name="connsiteY4" fmla="*/ 6330 h 13538"/>
                <a:gd name="connsiteX5" fmla="*/ 1969 w 10000"/>
                <a:gd name="connsiteY5" fmla="*/ 5924 h 13538"/>
                <a:gd name="connsiteX6" fmla="*/ 7955 w 10000"/>
                <a:gd name="connsiteY6" fmla="*/ 5924 h 13538"/>
                <a:gd name="connsiteX7" fmla="*/ 8135 w 10000"/>
                <a:gd name="connsiteY7" fmla="*/ 6330 h 13538"/>
                <a:gd name="connsiteX8" fmla="*/ 8263 w 10000"/>
                <a:gd name="connsiteY8" fmla="*/ 13522 h 13538"/>
                <a:gd name="connsiteX9" fmla="*/ 9317 w 10000"/>
                <a:gd name="connsiteY9" fmla="*/ 13522 h 13538"/>
                <a:gd name="connsiteX10" fmla="*/ 9959 w 10000"/>
                <a:gd name="connsiteY10" fmla="*/ 8659 h 13538"/>
                <a:gd name="connsiteX0" fmla="*/ 9959 w 10000"/>
                <a:gd name="connsiteY0" fmla="*/ 8659 h 13553"/>
                <a:gd name="connsiteX1" fmla="*/ 0 w 10000"/>
                <a:gd name="connsiteY1" fmla="*/ 7988 h 13553"/>
                <a:gd name="connsiteX2" fmla="*/ 607 w 10000"/>
                <a:gd name="connsiteY2" fmla="*/ 13522 h 13553"/>
                <a:gd name="connsiteX3" fmla="*/ 2303 w 10000"/>
                <a:gd name="connsiteY3" fmla="*/ 8659 h 13553"/>
                <a:gd name="connsiteX4" fmla="*/ 1789 w 10000"/>
                <a:gd name="connsiteY4" fmla="*/ 6330 h 13553"/>
                <a:gd name="connsiteX5" fmla="*/ 1969 w 10000"/>
                <a:gd name="connsiteY5" fmla="*/ 5924 h 13553"/>
                <a:gd name="connsiteX6" fmla="*/ 7955 w 10000"/>
                <a:gd name="connsiteY6" fmla="*/ 5924 h 13553"/>
                <a:gd name="connsiteX7" fmla="*/ 8135 w 10000"/>
                <a:gd name="connsiteY7" fmla="*/ 6330 h 13553"/>
                <a:gd name="connsiteX8" fmla="*/ 8263 w 10000"/>
                <a:gd name="connsiteY8" fmla="*/ 13522 h 13553"/>
                <a:gd name="connsiteX9" fmla="*/ 9317 w 10000"/>
                <a:gd name="connsiteY9" fmla="*/ 13522 h 13553"/>
                <a:gd name="connsiteX10" fmla="*/ 9959 w 10000"/>
                <a:gd name="connsiteY10" fmla="*/ 8659 h 13553"/>
                <a:gd name="connsiteX0" fmla="*/ 9959 w 10000"/>
                <a:gd name="connsiteY0" fmla="*/ 8659 h 13522"/>
                <a:gd name="connsiteX1" fmla="*/ 0 w 10000"/>
                <a:gd name="connsiteY1" fmla="*/ 7988 h 13522"/>
                <a:gd name="connsiteX2" fmla="*/ 607 w 10000"/>
                <a:gd name="connsiteY2" fmla="*/ 13522 h 13522"/>
                <a:gd name="connsiteX3" fmla="*/ 2303 w 10000"/>
                <a:gd name="connsiteY3" fmla="*/ 8659 h 13522"/>
                <a:gd name="connsiteX4" fmla="*/ 1789 w 10000"/>
                <a:gd name="connsiteY4" fmla="*/ 6330 h 13522"/>
                <a:gd name="connsiteX5" fmla="*/ 1969 w 10000"/>
                <a:gd name="connsiteY5" fmla="*/ 5924 h 13522"/>
                <a:gd name="connsiteX6" fmla="*/ 7955 w 10000"/>
                <a:gd name="connsiteY6" fmla="*/ 5924 h 13522"/>
                <a:gd name="connsiteX7" fmla="*/ 8135 w 10000"/>
                <a:gd name="connsiteY7" fmla="*/ 6330 h 13522"/>
                <a:gd name="connsiteX8" fmla="*/ 8263 w 10000"/>
                <a:gd name="connsiteY8" fmla="*/ 13522 h 13522"/>
                <a:gd name="connsiteX9" fmla="*/ 9317 w 10000"/>
                <a:gd name="connsiteY9" fmla="*/ 13522 h 13522"/>
                <a:gd name="connsiteX10" fmla="*/ 9959 w 10000"/>
                <a:gd name="connsiteY10" fmla="*/ 8659 h 13522"/>
                <a:gd name="connsiteX0" fmla="*/ 9959 w 10000"/>
                <a:gd name="connsiteY0" fmla="*/ 8659 h 13571"/>
                <a:gd name="connsiteX1" fmla="*/ 0 w 10000"/>
                <a:gd name="connsiteY1" fmla="*/ 7988 h 13571"/>
                <a:gd name="connsiteX2" fmla="*/ 607 w 10000"/>
                <a:gd name="connsiteY2" fmla="*/ 13522 h 13571"/>
                <a:gd name="connsiteX3" fmla="*/ 2303 w 10000"/>
                <a:gd name="connsiteY3" fmla="*/ 8659 h 13571"/>
                <a:gd name="connsiteX4" fmla="*/ 1789 w 10000"/>
                <a:gd name="connsiteY4" fmla="*/ 6330 h 13571"/>
                <a:gd name="connsiteX5" fmla="*/ 1969 w 10000"/>
                <a:gd name="connsiteY5" fmla="*/ 5924 h 13571"/>
                <a:gd name="connsiteX6" fmla="*/ 7955 w 10000"/>
                <a:gd name="connsiteY6" fmla="*/ 5924 h 13571"/>
                <a:gd name="connsiteX7" fmla="*/ 8135 w 10000"/>
                <a:gd name="connsiteY7" fmla="*/ 6330 h 13571"/>
                <a:gd name="connsiteX8" fmla="*/ 8263 w 10000"/>
                <a:gd name="connsiteY8" fmla="*/ 13522 h 13571"/>
                <a:gd name="connsiteX9" fmla="*/ 9317 w 10000"/>
                <a:gd name="connsiteY9" fmla="*/ 13522 h 13571"/>
                <a:gd name="connsiteX10" fmla="*/ 9959 w 10000"/>
                <a:gd name="connsiteY10" fmla="*/ 8659 h 13571"/>
                <a:gd name="connsiteX0" fmla="*/ 9959 w 10000"/>
                <a:gd name="connsiteY0" fmla="*/ 8659 h 13525"/>
                <a:gd name="connsiteX1" fmla="*/ 0 w 10000"/>
                <a:gd name="connsiteY1" fmla="*/ 7988 h 13525"/>
                <a:gd name="connsiteX2" fmla="*/ 607 w 10000"/>
                <a:gd name="connsiteY2" fmla="*/ 13522 h 13525"/>
                <a:gd name="connsiteX3" fmla="*/ 2303 w 10000"/>
                <a:gd name="connsiteY3" fmla="*/ 8659 h 13525"/>
                <a:gd name="connsiteX4" fmla="*/ 1789 w 10000"/>
                <a:gd name="connsiteY4" fmla="*/ 6330 h 13525"/>
                <a:gd name="connsiteX5" fmla="*/ 1969 w 10000"/>
                <a:gd name="connsiteY5" fmla="*/ 5924 h 13525"/>
                <a:gd name="connsiteX6" fmla="*/ 7955 w 10000"/>
                <a:gd name="connsiteY6" fmla="*/ 5924 h 13525"/>
                <a:gd name="connsiteX7" fmla="*/ 8135 w 10000"/>
                <a:gd name="connsiteY7" fmla="*/ 6330 h 13525"/>
                <a:gd name="connsiteX8" fmla="*/ 8263 w 10000"/>
                <a:gd name="connsiteY8" fmla="*/ 13522 h 13525"/>
                <a:gd name="connsiteX9" fmla="*/ 9317 w 10000"/>
                <a:gd name="connsiteY9" fmla="*/ 13522 h 13525"/>
                <a:gd name="connsiteX10" fmla="*/ 9959 w 10000"/>
                <a:gd name="connsiteY10" fmla="*/ 8659 h 13525"/>
                <a:gd name="connsiteX0" fmla="*/ 9959 w 10000"/>
                <a:gd name="connsiteY0" fmla="*/ 8659 h 13526"/>
                <a:gd name="connsiteX1" fmla="*/ 0 w 10000"/>
                <a:gd name="connsiteY1" fmla="*/ 7988 h 13526"/>
                <a:gd name="connsiteX2" fmla="*/ 607 w 10000"/>
                <a:gd name="connsiteY2" fmla="*/ 13522 h 13526"/>
                <a:gd name="connsiteX3" fmla="*/ 2303 w 10000"/>
                <a:gd name="connsiteY3" fmla="*/ 8659 h 13526"/>
                <a:gd name="connsiteX4" fmla="*/ 1789 w 10000"/>
                <a:gd name="connsiteY4" fmla="*/ 6330 h 13526"/>
                <a:gd name="connsiteX5" fmla="*/ 1969 w 10000"/>
                <a:gd name="connsiteY5" fmla="*/ 5924 h 13526"/>
                <a:gd name="connsiteX6" fmla="*/ 7955 w 10000"/>
                <a:gd name="connsiteY6" fmla="*/ 5924 h 13526"/>
                <a:gd name="connsiteX7" fmla="*/ 8135 w 10000"/>
                <a:gd name="connsiteY7" fmla="*/ 6330 h 13526"/>
                <a:gd name="connsiteX8" fmla="*/ 8263 w 10000"/>
                <a:gd name="connsiteY8" fmla="*/ 13522 h 13526"/>
                <a:gd name="connsiteX9" fmla="*/ 9317 w 10000"/>
                <a:gd name="connsiteY9" fmla="*/ 13522 h 13526"/>
                <a:gd name="connsiteX10" fmla="*/ 9959 w 10000"/>
                <a:gd name="connsiteY10" fmla="*/ 8659 h 13526"/>
                <a:gd name="connsiteX0" fmla="*/ 9959 w 10000"/>
                <a:gd name="connsiteY0" fmla="*/ 8659 h 13525"/>
                <a:gd name="connsiteX1" fmla="*/ 0 w 10000"/>
                <a:gd name="connsiteY1" fmla="*/ 7988 h 13525"/>
                <a:gd name="connsiteX2" fmla="*/ 607 w 10000"/>
                <a:gd name="connsiteY2" fmla="*/ 13522 h 13525"/>
                <a:gd name="connsiteX3" fmla="*/ 2303 w 10000"/>
                <a:gd name="connsiteY3" fmla="*/ 8659 h 13525"/>
                <a:gd name="connsiteX4" fmla="*/ 1789 w 10000"/>
                <a:gd name="connsiteY4" fmla="*/ 6330 h 13525"/>
                <a:gd name="connsiteX5" fmla="*/ 1969 w 10000"/>
                <a:gd name="connsiteY5" fmla="*/ 5924 h 13525"/>
                <a:gd name="connsiteX6" fmla="*/ 7955 w 10000"/>
                <a:gd name="connsiteY6" fmla="*/ 5924 h 13525"/>
                <a:gd name="connsiteX7" fmla="*/ 8135 w 10000"/>
                <a:gd name="connsiteY7" fmla="*/ 6330 h 13525"/>
                <a:gd name="connsiteX8" fmla="*/ 8263 w 10000"/>
                <a:gd name="connsiteY8" fmla="*/ 13522 h 13525"/>
                <a:gd name="connsiteX9" fmla="*/ 9317 w 10000"/>
                <a:gd name="connsiteY9" fmla="*/ 13522 h 13525"/>
                <a:gd name="connsiteX10" fmla="*/ 9959 w 10000"/>
                <a:gd name="connsiteY10" fmla="*/ 8659 h 13525"/>
                <a:gd name="connsiteX0" fmla="*/ 9959 w 10000"/>
                <a:gd name="connsiteY0" fmla="*/ 8659 h 13528"/>
                <a:gd name="connsiteX1" fmla="*/ 0 w 10000"/>
                <a:gd name="connsiteY1" fmla="*/ 7988 h 13528"/>
                <a:gd name="connsiteX2" fmla="*/ 607 w 10000"/>
                <a:gd name="connsiteY2" fmla="*/ 13522 h 13528"/>
                <a:gd name="connsiteX3" fmla="*/ 2303 w 10000"/>
                <a:gd name="connsiteY3" fmla="*/ 8659 h 13528"/>
                <a:gd name="connsiteX4" fmla="*/ 1789 w 10000"/>
                <a:gd name="connsiteY4" fmla="*/ 6330 h 13528"/>
                <a:gd name="connsiteX5" fmla="*/ 1969 w 10000"/>
                <a:gd name="connsiteY5" fmla="*/ 5924 h 13528"/>
                <a:gd name="connsiteX6" fmla="*/ 7955 w 10000"/>
                <a:gd name="connsiteY6" fmla="*/ 5924 h 13528"/>
                <a:gd name="connsiteX7" fmla="*/ 8135 w 10000"/>
                <a:gd name="connsiteY7" fmla="*/ 6330 h 13528"/>
                <a:gd name="connsiteX8" fmla="*/ 8263 w 10000"/>
                <a:gd name="connsiteY8" fmla="*/ 13522 h 13528"/>
                <a:gd name="connsiteX9" fmla="*/ 9317 w 10000"/>
                <a:gd name="connsiteY9" fmla="*/ 13522 h 13528"/>
                <a:gd name="connsiteX10" fmla="*/ 9959 w 10000"/>
                <a:gd name="connsiteY10" fmla="*/ 8659 h 13528"/>
                <a:gd name="connsiteX0" fmla="*/ 9959 w 10000"/>
                <a:gd name="connsiteY0" fmla="*/ 8659 h 13646"/>
                <a:gd name="connsiteX1" fmla="*/ 0 w 10000"/>
                <a:gd name="connsiteY1" fmla="*/ 7988 h 13646"/>
                <a:gd name="connsiteX2" fmla="*/ 607 w 10000"/>
                <a:gd name="connsiteY2" fmla="*/ 13522 h 13646"/>
                <a:gd name="connsiteX3" fmla="*/ 2303 w 10000"/>
                <a:gd name="connsiteY3" fmla="*/ 8659 h 13646"/>
                <a:gd name="connsiteX4" fmla="*/ 1789 w 10000"/>
                <a:gd name="connsiteY4" fmla="*/ 6330 h 13646"/>
                <a:gd name="connsiteX5" fmla="*/ 1969 w 10000"/>
                <a:gd name="connsiteY5" fmla="*/ 5924 h 13646"/>
                <a:gd name="connsiteX6" fmla="*/ 7955 w 10000"/>
                <a:gd name="connsiteY6" fmla="*/ 5924 h 13646"/>
                <a:gd name="connsiteX7" fmla="*/ 8135 w 10000"/>
                <a:gd name="connsiteY7" fmla="*/ 6330 h 13646"/>
                <a:gd name="connsiteX8" fmla="*/ 8263 w 10000"/>
                <a:gd name="connsiteY8" fmla="*/ 13522 h 13646"/>
                <a:gd name="connsiteX9" fmla="*/ 9317 w 10000"/>
                <a:gd name="connsiteY9" fmla="*/ 13522 h 13646"/>
                <a:gd name="connsiteX10" fmla="*/ 9959 w 10000"/>
                <a:gd name="connsiteY10" fmla="*/ 8659 h 13646"/>
                <a:gd name="connsiteX0" fmla="*/ 9959 w 10000"/>
                <a:gd name="connsiteY0" fmla="*/ 8659 h 13712"/>
                <a:gd name="connsiteX1" fmla="*/ 0 w 10000"/>
                <a:gd name="connsiteY1" fmla="*/ 7988 h 13712"/>
                <a:gd name="connsiteX2" fmla="*/ 607 w 10000"/>
                <a:gd name="connsiteY2" fmla="*/ 13522 h 13712"/>
                <a:gd name="connsiteX3" fmla="*/ 2287 w 10000"/>
                <a:gd name="connsiteY3" fmla="*/ 9240 h 13712"/>
                <a:gd name="connsiteX4" fmla="*/ 1789 w 10000"/>
                <a:gd name="connsiteY4" fmla="*/ 6330 h 13712"/>
                <a:gd name="connsiteX5" fmla="*/ 1969 w 10000"/>
                <a:gd name="connsiteY5" fmla="*/ 5924 h 13712"/>
                <a:gd name="connsiteX6" fmla="*/ 7955 w 10000"/>
                <a:gd name="connsiteY6" fmla="*/ 5924 h 13712"/>
                <a:gd name="connsiteX7" fmla="*/ 8135 w 10000"/>
                <a:gd name="connsiteY7" fmla="*/ 6330 h 13712"/>
                <a:gd name="connsiteX8" fmla="*/ 8263 w 10000"/>
                <a:gd name="connsiteY8" fmla="*/ 13522 h 13712"/>
                <a:gd name="connsiteX9" fmla="*/ 9317 w 10000"/>
                <a:gd name="connsiteY9" fmla="*/ 13522 h 13712"/>
                <a:gd name="connsiteX10" fmla="*/ 9959 w 10000"/>
                <a:gd name="connsiteY10" fmla="*/ 8659 h 13712"/>
                <a:gd name="connsiteX0" fmla="*/ 9959 w 10000"/>
                <a:gd name="connsiteY0" fmla="*/ 8659 h 13596"/>
                <a:gd name="connsiteX1" fmla="*/ 0 w 10000"/>
                <a:gd name="connsiteY1" fmla="*/ 7988 h 13596"/>
                <a:gd name="connsiteX2" fmla="*/ 607 w 10000"/>
                <a:gd name="connsiteY2" fmla="*/ 13522 h 13596"/>
                <a:gd name="connsiteX3" fmla="*/ 2287 w 10000"/>
                <a:gd name="connsiteY3" fmla="*/ 9240 h 13596"/>
                <a:gd name="connsiteX4" fmla="*/ 1789 w 10000"/>
                <a:gd name="connsiteY4" fmla="*/ 6330 h 13596"/>
                <a:gd name="connsiteX5" fmla="*/ 1969 w 10000"/>
                <a:gd name="connsiteY5" fmla="*/ 5924 h 13596"/>
                <a:gd name="connsiteX6" fmla="*/ 7955 w 10000"/>
                <a:gd name="connsiteY6" fmla="*/ 5924 h 13596"/>
                <a:gd name="connsiteX7" fmla="*/ 8135 w 10000"/>
                <a:gd name="connsiteY7" fmla="*/ 6330 h 13596"/>
                <a:gd name="connsiteX8" fmla="*/ 8263 w 10000"/>
                <a:gd name="connsiteY8" fmla="*/ 13522 h 13596"/>
                <a:gd name="connsiteX9" fmla="*/ 9317 w 10000"/>
                <a:gd name="connsiteY9" fmla="*/ 13522 h 13596"/>
                <a:gd name="connsiteX10" fmla="*/ 9959 w 10000"/>
                <a:gd name="connsiteY10" fmla="*/ 8659 h 13596"/>
                <a:gd name="connsiteX0" fmla="*/ 9959 w 10000"/>
                <a:gd name="connsiteY0" fmla="*/ 8659 h 13585"/>
                <a:gd name="connsiteX1" fmla="*/ 0 w 10000"/>
                <a:gd name="connsiteY1" fmla="*/ 7988 h 13585"/>
                <a:gd name="connsiteX2" fmla="*/ 607 w 10000"/>
                <a:gd name="connsiteY2" fmla="*/ 13522 h 13585"/>
                <a:gd name="connsiteX3" fmla="*/ 2287 w 10000"/>
                <a:gd name="connsiteY3" fmla="*/ 9240 h 13585"/>
                <a:gd name="connsiteX4" fmla="*/ 1789 w 10000"/>
                <a:gd name="connsiteY4" fmla="*/ 6330 h 13585"/>
                <a:gd name="connsiteX5" fmla="*/ 1969 w 10000"/>
                <a:gd name="connsiteY5" fmla="*/ 5924 h 13585"/>
                <a:gd name="connsiteX6" fmla="*/ 7955 w 10000"/>
                <a:gd name="connsiteY6" fmla="*/ 5924 h 13585"/>
                <a:gd name="connsiteX7" fmla="*/ 8135 w 10000"/>
                <a:gd name="connsiteY7" fmla="*/ 6330 h 13585"/>
                <a:gd name="connsiteX8" fmla="*/ 8263 w 10000"/>
                <a:gd name="connsiteY8" fmla="*/ 13522 h 13585"/>
                <a:gd name="connsiteX9" fmla="*/ 9317 w 10000"/>
                <a:gd name="connsiteY9" fmla="*/ 13522 h 13585"/>
                <a:gd name="connsiteX10" fmla="*/ 9959 w 10000"/>
                <a:gd name="connsiteY10" fmla="*/ 8659 h 13585"/>
                <a:gd name="connsiteX0" fmla="*/ 9959 w 10000"/>
                <a:gd name="connsiteY0" fmla="*/ 8659 h 13586"/>
                <a:gd name="connsiteX1" fmla="*/ 0 w 10000"/>
                <a:gd name="connsiteY1" fmla="*/ 7988 h 13586"/>
                <a:gd name="connsiteX2" fmla="*/ 607 w 10000"/>
                <a:gd name="connsiteY2" fmla="*/ 13522 h 13586"/>
                <a:gd name="connsiteX3" fmla="*/ 2287 w 10000"/>
                <a:gd name="connsiteY3" fmla="*/ 9240 h 13586"/>
                <a:gd name="connsiteX4" fmla="*/ 1789 w 10000"/>
                <a:gd name="connsiteY4" fmla="*/ 6330 h 13586"/>
                <a:gd name="connsiteX5" fmla="*/ 1969 w 10000"/>
                <a:gd name="connsiteY5" fmla="*/ 5924 h 13586"/>
                <a:gd name="connsiteX6" fmla="*/ 7955 w 10000"/>
                <a:gd name="connsiteY6" fmla="*/ 5924 h 13586"/>
                <a:gd name="connsiteX7" fmla="*/ 8135 w 10000"/>
                <a:gd name="connsiteY7" fmla="*/ 6330 h 13586"/>
                <a:gd name="connsiteX8" fmla="*/ 8263 w 10000"/>
                <a:gd name="connsiteY8" fmla="*/ 13522 h 13586"/>
                <a:gd name="connsiteX9" fmla="*/ 9317 w 10000"/>
                <a:gd name="connsiteY9" fmla="*/ 13522 h 13586"/>
                <a:gd name="connsiteX10" fmla="*/ 9959 w 10000"/>
                <a:gd name="connsiteY10" fmla="*/ 8659 h 13586"/>
                <a:gd name="connsiteX0" fmla="*/ 9959 w 10000"/>
                <a:gd name="connsiteY0" fmla="*/ 8659 h 13599"/>
                <a:gd name="connsiteX1" fmla="*/ 0 w 10000"/>
                <a:gd name="connsiteY1" fmla="*/ 7988 h 13599"/>
                <a:gd name="connsiteX2" fmla="*/ 607 w 10000"/>
                <a:gd name="connsiteY2" fmla="*/ 13522 h 13599"/>
                <a:gd name="connsiteX3" fmla="*/ 2205 w 10000"/>
                <a:gd name="connsiteY3" fmla="*/ 9626 h 13599"/>
                <a:gd name="connsiteX4" fmla="*/ 1789 w 10000"/>
                <a:gd name="connsiteY4" fmla="*/ 6330 h 13599"/>
                <a:gd name="connsiteX5" fmla="*/ 1969 w 10000"/>
                <a:gd name="connsiteY5" fmla="*/ 5924 h 13599"/>
                <a:gd name="connsiteX6" fmla="*/ 7955 w 10000"/>
                <a:gd name="connsiteY6" fmla="*/ 5924 h 13599"/>
                <a:gd name="connsiteX7" fmla="*/ 8135 w 10000"/>
                <a:gd name="connsiteY7" fmla="*/ 6330 h 13599"/>
                <a:gd name="connsiteX8" fmla="*/ 8263 w 10000"/>
                <a:gd name="connsiteY8" fmla="*/ 13522 h 13599"/>
                <a:gd name="connsiteX9" fmla="*/ 9317 w 10000"/>
                <a:gd name="connsiteY9" fmla="*/ 13522 h 13599"/>
                <a:gd name="connsiteX10" fmla="*/ 9959 w 10000"/>
                <a:gd name="connsiteY10" fmla="*/ 8659 h 13599"/>
                <a:gd name="connsiteX0" fmla="*/ 9959 w 10000"/>
                <a:gd name="connsiteY0" fmla="*/ 8659 h 13593"/>
                <a:gd name="connsiteX1" fmla="*/ 0 w 10000"/>
                <a:gd name="connsiteY1" fmla="*/ 7988 h 13593"/>
                <a:gd name="connsiteX2" fmla="*/ 607 w 10000"/>
                <a:gd name="connsiteY2" fmla="*/ 13522 h 13593"/>
                <a:gd name="connsiteX3" fmla="*/ 2205 w 10000"/>
                <a:gd name="connsiteY3" fmla="*/ 9626 h 13593"/>
                <a:gd name="connsiteX4" fmla="*/ 1789 w 10000"/>
                <a:gd name="connsiteY4" fmla="*/ 6330 h 13593"/>
                <a:gd name="connsiteX5" fmla="*/ 1969 w 10000"/>
                <a:gd name="connsiteY5" fmla="*/ 5924 h 13593"/>
                <a:gd name="connsiteX6" fmla="*/ 7955 w 10000"/>
                <a:gd name="connsiteY6" fmla="*/ 5924 h 13593"/>
                <a:gd name="connsiteX7" fmla="*/ 8135 w 10000"/>
                <a:gd name="connsiteY7" fmla="*/ 6330 h 13593"/>
                <a:gd name="connsiteX8" fmla="*/ 8263 w 10000"/>
                <a:gd name="connsiteY8" fmla="*/ 13522 h 13593"/>
                <a:gd name="connsiteX9" fmla="*/ 9317 w 10000"/>
                <a:gd name="connsiteY9" fmla="*/ 13522 h 13593"/>
                <a:gd name="connsiteX10" fmla="*/ 9959 w 10000"/>
                <a:gd name="connsiteY10" fmla="*/ 8659 h 13593"/>
                <a:gd name="connsiteX0" fmla="*/ 9959 w 10000"/>
                <a:gd name="connsiteY0" fmla="*/ 8659 h 13593"/>
                <a:gd name="connsiteX1" fmla="*/ 0 w 10000"/>
                <a:gd name="connsiteY1" fmla="*/ 7988 h 13593"/>
                <a:gd name="connsiteX2" fmla="*/ 607 w 10000"/>
                <a:gd name="connsiteY2" fmla="*/ 13522 h 13593"/>
                <a:gd name="connsiteX3" fmla="*/ 2205 w 10000"/>
                <a:gd name="connsiteY3" fmla="*/ 9626 h 13593"/>
                <a:gd name="connsiteX4" fmla="*/ 1789 w 10000"/>
                <a:gd name="connsiteY4" fmla="*/ 6330 h 13593"/>
                <a:gd name="connsiteX5" fmla="*/ 1969 w 10000"/>
                <a:gd name="connsiteY5" fmla="*/ 5924 h 13593"/>
                <a:gd name="connsiteX6" fmla="*/ 7955 w 10000"/>
                <a:gd name="connsiteY6" fmla="*/ 5924 h 13593"/>
                <a:gd name="connsiteX7" fmla="*/ 8135 w 10000"/>
                <a:gd name="connsiteY7" fmla="*/ 6330 h 13593"/>
                <a:gd name="connsiteX8" fmla="*/ 8263 w 10000"/>
                <a:gd name="connsiteY8" fmla="*/ 13522 h 13593"/>
                <a:gd name="connsiteX9" fmla="*/ 9317 w 10000"/>
                <a:gd name="connsiteY9" fmla="*/ 13522 h 13593"/>
                <a:gd name="connsiteX10" fmla="*/ 9959 w 10000"/>
                <a:gd name="connsiteY10" fmla="*/ 8659 h 13593"/>
                <a:gd name="connsiteX0" fmla="*/ 9959 w 10000"/>
                <a:gd name="connsiteY0" fmla="*/ 8659 h 13607"/>
                <a:gd name="connsiteX1" fmla="*/ 0 w 10000"/>
                <a:gd name="connsiteY1" fmla="*/ 7988 h 13607"/>
                <a:gd name="connsiteX2" fmla="*/ 607 w 10000"/>
                <a:gd name="connsiteY2" fmla="*/ 13522 h 13607"/>
                <a:gd name="connsiteX3" fmla="*/ 2205 w 10000"/>
                <a:gd name="connsiteY3" fmla="*/ 9626 h 13607"/>
                <a:gd name="connsiteX4" fmla="*/ 1789 w 10000"/>
                <a:gd name="connsiteY4" fmla="*/ 6330 h 13607"/>
                <a:gd name="connsiteX5" fmla="*/ 1969 w 10000"/>
                <a:gd name="connsiteY5" fmla="*/ 5924 h 13607"/>
                <a:gd name="connsiteX6" fmla="*/ 7955 w 10000"/>
                <a:gd name="connsiteY6" fmla="*/ 5924 h 13607"/>
                <a:gd name="connsiteX7" fmla="*/ 8135 w 10000"/>
                <a:gd name="connsiteY7" fmla="*/ 6330 h 13607"/>
                <a:gd name="connsiteX8" fmla="*/ 8263 w 10000"/>
                <a:gd name="connsiteY8" fmla="*/ 13522 h 13607"/>
                <a:gd name="connsiteX9" fmla="*/ 9317 w 10000"/>
                <a:gd name="connsiteY9" fmla="*/ 13522 h 13607"/>
                <a:gd name="connsiteX10" fmla="*/ 9959 w 10000"/>
                <a:gd name="connsiteY10" fmla="*/ 8659 h 13607"/>
                <a:gd name="connsiteX0" fmla="*/ 9959 w 10000"/>
                <a:gd name="connsiteY0" fmla="*/ 8659 h 13620"/>
                <a:gd name="connsiteX1" fmla="*/ 0 w 10000"/>
                <a:gd name="connsiteY1" fmla="*/ 7988 h 13620"/>
                <a:gd name="connsiteX2" fmla="*/ 607 w 10000"/>
                <a:gd name="connsiteY2" fmla="*/ 13522 h 13620"/>
                <a:gd name="connsiteX3" fmla="*/ 2205 w 10000"/>
                <a:gd name="connsiteY3" fmla="*/ 9626 h 13620"/>
                <a:gd name="connsiteX4" fmla="*/ 1789 w 10000"/>
                <a:gd name="connsiteY4" fmla="*/ 6330 h 13620"/>
                <a:gd name="connsiteX5" fmla="*/ 1969 w 10000"/>
                <a:gd name="connsiteY5" fmla="*/ 5924 h 13620"/>
                <a:gd name="connsiteX6" fmla="*/ 7955 w 10000"/>
                <a:gd name="connsiteY6" fmla="*/ 5924 h 13620"/>
                <a:gd name="connsiteX7" fmla="*/ 8135 w 10000"/>
                <a:gd name="connsiteY7" fmla="*/ 6330 h 13620"/>
                <a:gd name="connsiteX8" fmla="*/ 8263 w 10000"/>
                <a:gd name="connsiteY8" fmla="*/ 13522 h 13620"/>
                <a:gd name="connsiteX9" fmla="*/ 9317 w 10000"/>
                <a:gd name="connsiteY9" fmla="*/ 13522 h 13620"/>
                <a:gd name="connsiteX10" fmla="*/ 9959 w 10000"/>
                <a:gd name="connsiteY10" fmla="*/ 8659 h 13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13620">
                  <a:moveTo>
                    <a:pt x="9959" y="8659"/>
                  </a:moveTo>
                  <a:cubicBezTo>
                    <a:pt x="9656" y="-3218"/>
                    <a:pt x="-18" y="-2333"/>
                    <a:pt x="0" y="7988"/>
                  </a:cubicBezTo>
                  <a:cubicBezTo>
                    <a:pt x="11" y="11998"/>
                    <a:pt x="223" y="13022"/>
                    <a:pt x="607" y="13522"/>
                  </a:cubicBezTo>
                  <a:cubicBezTo>
                    <a:pt x="1566" y="13956"/>
                    <a:pt x="2190" y="13017"/>
                    <a:pt x="2205" y="9626"/>
                  </a:cubicBezTo>
                  <a:cubicBezTo>
                    <a:pt x="2234" y="8915"/>
                    <a:pt x="2140" y="6721"/>
                    <a:pt x="1789" y="6330"/>
                  </a:cubicBezTo>
                  <a:cubicBezTo>
                    <a:pt x="1848" y="6194"/>
                    <a:pt x="1909" y="6059"/>
                    <a:pt x="1969" y="5924"/>
                  </a:cubicBezTo>
                  <a:cubicBezTo>
                    <a:pt x="3736" y="2175"/>
                    <a:pt x="6780" y="3532"/>
                    <a:pt x="7955" y="5924"/>
                  </a:cubicBezTo>
                  <a:lnTo>
                    <a:pt x="8135" y="6330"/>
                  </a:lnTo>
                  <a:cubicBezTo>
                    <a:pt x="7398" y="6497"/>
                    <a:pt x="7409" y="13553"/>
                    <a:pt x="8263" y="13522"/>
                  </a:cubicBezTo>
                  <a:lnTo>
                    <a:pt x="9317" y="13522"/>
                  </a:lnTo>
                  <a:cubicBezTo>
                    <a:pt x="9911" y="13163"/>
                    <a:pt x="10093" y="11377"/>
                    <a:pt x="9959" y="8659"/>
                  </a:cubicBezTo>
                  <a:close/>
                </a:path>
              </a:pathLst>
            </a:custGeom>
            <a:grpFill/>
            <a:ln w="0">
              <a:noFill/>
              <a:prstDash val="solid"/>
              <a:round/>
              <a:headEnd/>
              <a:tailEnd/>
            </a:ln>
          </p:spPr>
          <p:txBody>
            <a:bodyPr vert="horz" wrap="square" lIns="121920" tIns="60960" rIns="121920" bIns="60960" numCol="1" anchor="ctr" anchorCtr="0" compatLnSpc="1">
              <a:prstTxWarp prst="textNoShape">
                <a:avLst/>
              </a:prstTxWarp>
            </a:bodyPr>
            <a:lstStyle/>
            <a:p>
              <a:pPr marL="0" marR="0" lvl="0" indent="0" algn="l" defTabSz="467539"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black"/>
                </a:solidFill>
                <a:effectLst/>
                <a:uLnTx/>
                <a:uFillTx/>
                <a:latin typeface="Arial"/>
                <a:ea typeface="+mn-ea"/>
                <a:cs typeface="+mn-cs"/>
              </a:endParaRPr>
            </a:p>
          </p:txBody>
        </p:sp>
      </p:grpSp>
      <p:grpSp>
        <p:nvGrpSpPr>
          <p:cNvPr id="427" name="Group 44">
            <a:extLst>
              <a:ext uri="{FF2B5EF4-FFF2-40B4-BE49-F238E27FC236}">
                <a16:creationId xmlns:a16="http://schemas.microsoft.com/office/drawing/2014/main" id="{21828F7B-E7BD-61C5-EFC2-EA52AEDF4107}"/>
              </a:ext>
            </a:extLst>
          </p:cNvPr>
          <p:cNvGrpSpPr/>
          <p:nvPr/>
        </p:nvGrpSpPr>
        <p:grpSpPr>
          <a:xfrm>
            <a:off x="602392" y="4964472"/>
            <a:ext cx="252436" cy="394201"/>
            <a:chOff x="2983932" y="1204028"/>
            <a:chExt cx="842510" cy="1083211"/>
          </a:xfrm>
          <a:solidFill>
            <a:schemeClr val="accent1"/>
          </a:solidFill>
          <a:effectLst/>
        </p:grpSpPr>
        <p:grpSp>
          <p:nvGrpSpPr>
            <p:cNvPr id="428" name="Group 45">
              <a:extLst>
                <a:ext uri="{FF2B5EF4-FFF2-40B4-BE49-F238E27FC236}">
                  <a16:creationId xmlns:a16="http://schemas.microsoft.com/office/drawing/2014/main" id="{452F94E6-0824-73C1-B224-36F8A6441EAD}"/>
                </a:ext>
              </a:extLst>
            </p:cNvPr>
            <p:cNvGrpSpPr/>
            <p:nvPr/>
          </p:nvGrpSpPr>
          <p:grpSpPr>
            <a:xfrm>
              <a:off x="3181349" y="1368863"/>
              <a:ext cx="319088" cy="258262"/>
              <a:chOff x="815794" y="1447611"/>
              <a:chExt cx="353251" cy="285914"/>
            </a:xfrm>
            <a:grpFill/>
          </p:grpSpPr>
          <p:sp>
            <p:nvSpPr>
              <p:cNvPr id="433" name="Freeform 50">
                <a:extLst>
                  <a:ext uri="{FF2B5EF4-FFF2-40B4-BE49-F238E27FC236}">
                    <a16:creationId xmlns:a16="http://schemas.microsoft.com/office/drawing/2014/main" id="{ADEC42D6-2DEC-5F5E-AC8C-04F08E2BB685}"/>
                  </a:ext>
                </a:extLst>
              </p:cNvPr>
              <p:cNvSpPr/>
              <p:nvPr/>
            </p:nvSpPr>
            <p:spPr>
              <a:xfrm rot="14011">
                <a:off x="815794" y="1447611"/>
                <a:ext cx="353251" cy="285914"/>
              </a:xfrm>
              <a:custGeom>
                <a:avLst/>
                <a:gdLst>
                  <a:gd name="connsiteX0" fmla="*/ 989966 w 1965784"/>
                  <a:gd name="connsiteY0" fmla="*/ 394302 h 1580366"/>
                  <a:gd name="connsiteX1" fmla="*/ 926142 w 1965784"/>
                  <a:gd name="connsiteY1" fmla="*/ 728352 h 1580366"/>
                  <a:gd name="connsiteX2" fmla="*/ 273445 w 1965784"/>
                  <a:gd name="connsiteY2" fmla="*/ 721653 h 1580366"/>
                  <a:gd name="connsiteX3" fmla="*/ 272497 w 1965784"/>
                  <a:gd name="connsiteY3" fmla="*/ 726313 h 1580366"/>
                  <a:gd name="connsiteX4" fmla="*/ 298714 w 1965784"/>
                  <a:gd name="connsiteY4" fmla="*/ 994378 h 1580366"/>
                  <a:gd name="connsiteX5" fmla="*/ 1145665 w 1965784"/>
                  <a:gd name="connsiteY5" fmla="*/ 1444708 h 1580366"/>
                  <a:gd name="connsiteX6" fmla="*/ 1622215 w 1965784"/>
                  <a:gd name="connsiteY6" fmla="*/ 865823 h 1580366"/>
                  <a:gd name="connsiteX7" fmla="*/ 1616575 w 1965784"/>
                  <a:gd name="connsiteY7" fmla="*/ 735439 h 1580366"/>
                  <a:gd name="connsiteX8" fmla="*/ 1163568 w 1965784"/>
                  <a:gd name="connsiteY8" fmla="*/ 730789 h 1580366"/>
                  <a:gd name="connsiteX9" fmla="*/ 1090659 w 1965784"/>
                  <a:gd name="connsiteY9" fmla="*/ 596552 h 1580366"/>
                  <a:gd name="connsiteX10" fmla="*/ 1065946 w 1965784"/>
                  <a:gd name="connsiteY10" fmla="*/ 729787 h 1580366"/>
                  <a:gd name="connsiteX11" fmla="*/ 1052001 w 1965784"/>
                  <a:gd name="connsiteY11" fmla="*/ 729644 h 1580366"/>
                  <a:gd name="connsiteX12" fmla="*/ 656984 w 1965784"/>
                  <a:gd name="connsiteY12" fmla="*/ 37890 h 1580366"/>
                  <a:gd name="connsiteX13" fmla="*/ 1131790 w 1965784"/>
                  <a:gd name="connsiteY13" fmla="*/ 15622 h 1580366"/>
                  <a:gd name="connsiteX14" fmla="*/ 1877987 w 1965784"/>
                  <a:gd name="connsiteY14" fmla="*/ 1580366 h 1580366"/>
                  <a:gd name="connsiteX15" fmla="*/ 0 w 1965784"/>
                  <a:gd name="connsiteY15" fmla="*/ 1577175 h 1580366"/>
                  <a:gd name="connsiteX16" fmla="*/ 173542 w 1965784"/>
                  <a:gd name="connsiteY16" fmla="*/ 1273930 h 1580366"/>
                  <a:gd name="connsiteX17" fmla="*/ 311525 w 1965784"/>
                  <a:gd name="connsiteY17" fmla="*/ 246826 h 1580366"/>
                  <a:gd name="connsiteX18" fmla="*/ 656984 w 1965784"/>
                  <a:gd name="connsiteY18" fmla="*/ 37890 h 1580366"/>
                  <a:gd name="connsiteX0" fmla="*/ 989966 w 1965784"/>
                  <a:gd name="connsiteY0" fmla="*/ 394302 h 1580366"/>
                  <a:gd name="connsiteX1" fmla="*/ 929623 w 1965784"/>
                  <a:gd name="connsiteY1" fmla="*/ 739738 h 1580366"/>
                  <a:gd name="connsiteX2" fmla="*/ 273445 w 1965784"/>
                  <a:gd name="connsiteY2" fmla="*/ 721653 h 1580366"/>
                  <a:gd name="connsiteX3" fmla="*/ 272497 w 1965784"/>
                  <a:gd name="connsiteY3" fmla="*/ 726313 h 1580366"/>
                  <a:gd name="connsiteX4" fmla="*/ 298714 w 1965784"/>
                  <a:gd name="connsiteY4" fmla="*/ 994378 h 1580366"/>
                  <a:gd name="connsiteX5" fmla="*/ 1145665 w 1965784"/>
                  <a:gd name="connsiteY5" fmla="*/ 1444708 h 1580366"/>
                  <a:gd name="connsiteX6" fmla="*/ 1622215 w 1965784"/>
                  <a:gd name="connsiteY6" fmla="*/ 865823 h 1580366"/>
                  <a:gd name="connsiteX7" fmla="*/ 1616575 w 1965784"/>
                  <a:gd name="connsiteY7" fmla="*/ 735439 h 1580366"/>
                  <a:gd name="connsiteX8" fmla="*/ 1163568 w 1965784"/>
                  <a:gd name="connsiteY8" fmla="*/ 730789 h 1580366"/>
                  <a:gd name="connsiteX9" fmla="*/ 1090659 w 1965784"/>
                  <a:gd name="connsiteY9" fmla="*/ 596552 h 1580366"/>
                  <a:gd name="connsiteX10" fmla="*/ 1065946 w 1965784"/>
                  <a:gd name="connsiteY10" fmla="*/ 729787 h 1580366"/>
                  <a:gd name="connsiteX11" fmla="*/ 1052001 w 1965784"/>
                  <a:gd name="connsiteY11" fmla="*/ 729644 h 1580366"/>
                  <a:gd name="connsiteX12" fmla="*/ 989966 w 1965784"/>
                  <a:gd name="connsiteY12" fmla="*/ 394302 h 1580366"/>
                  <a:gd name="connsiteX13" fmla="*/ 656984 w 1965784"/>
                  <a:gd name="connsiteY13" fmla="*/ 37890 h 1580366"/>
                  <a:gd name="connsiteX14" fmla="*/ 1131790 w 1965784"/>
                  <a:gd name="connsiteY14" fmla="*/ 15622 h 1580366"/>
                  <a:gd name="connsiteX15" fmla="*/ 1877987 w 1965784"/>
                  <a:gd name="connsiteY15" fmla="*/ 1580366 h 1580366"/>
                  <a:gd name="connsiteX16" fmla="*/ 0 w 1965784"/>
                  <a:gd name="connsiteY16" fmla="*/ 1577175 h 1580366"/>
                  <a:gd name="connsiteX17" fmla="*/ 173542 w 1965784"/>
                  <a:gd name="connsiteY17" fmla="*/ 1273930 h 1580366"/>
                  <a:gd name="connsiteX18" fmla="*/ 311525 w 1965784"/>
                  <a:gd name="connsiteY18" fmla="*/ 246826 h 1580366"/>
                  <a:gd name="connsiteX19" fmla="*/ 656984 w 1965784"/>
                  <a:gd name="connsiteY19" fmla="*/ 37890 h 1580366"/>
                  <a:gd name="connsiteX0" fmla="*/ 989966 w 1965784"/>
                  <a:gd name="connsiteY0" fmla="*/ 394302 h 1580366"/>
                  <a:gd name="connsiteX1" fmla="*/ 929623 w 1965784"/>
                  <a:gd name="connsiteY1" fmla="*/ 739738 h 1580366"/>
                  <a:gd name="connsiteX2" fmla="*/ 273445 w 1965784"/>
                  <a:gd name="connsiteY2" fmla="*/ 721653 h 1580366"/>
                  <a:gd name="connsiteX3" fmla="*/ 272497 w 1965784"/>
                  <a:gd name="connsiteY3" fmla="*/ 726313 h 1580366"/>
                  <a:gd name="connsiteX4" fmla="*/ 298714 w 1965784"/>
                  <a:gd name="connsiteY4" fmla="*/ 994378 h 1580366"/>
                  <a:gd name="connsiteX5" fmla="*/ 1145665 w 1965784"/>
                  <a:gd name="connsiteY5" fmla="*/ 1444708 h 1580366"/>
                  <a:gd name="connsiteX6" fmla="*/ 1622215 w 1965784"/>
                  <a:gd name="connsiteY6" fmla="*/ 865823 h 1580366"/>
                  <a:gd name="connsiteX7" fmla="*/ 1616575 w 1965784"/>
                  <a:gd name="connsiteY7" fmla="*/ 735439 h 1580366"/>
                  <a:gd name="connsiteX8" fmla="*/ 1163568 w 1965784"/>
                  <a:gd name="connsiteY8" fmla="*/ 730789 h 1580366"/>
                  <a:gd name="connsiteX9" fmla="*/ 1090659 w 1965784"/>
                  <a:gd name="connsiteY9" fmla="*/ 596552 h 1580366"/>
                  <a:gd name="connsiteX10" fmla="*/ 1065946 w 1965784"/>
                  <a:gd name="connsiteY10" fmla="*/ 729787 h 1580366"/>
                  <a:gd name="connsiteX11" fmla="*/ 1034479 w 1965784"/>
                  <a:gd name="connsiteY11" fmla="*/ 737491 h 1580366"/>
                  <a:gd name="connsiteX12" fmla="*/ 989966 w 1965784"/>
                  <a:gd name="connsiteY12" fmla="*/ 394302 h 1580366"/>
                  <a:gd name="connsiteX13" fmla="*/ 656984 w 1965784"/>
                  <a:gd name="connsiteY13" fmla="*/ 37890 h 1580366"/>
                  <a:gd name="connsiteX14" fmla="*/ 1131790 w 1965784"/>
                  <a:gd name="connsiteY14" fmla="*/ 15622 h 1580366"/>
                  <a:gd name="connsiteX15" fmla="*/ 1877987 w 1965784"/>
                  <a:gd name="connsiteY15" fmla="*/ 1580366 h 1580366"/>
                  <a:gd name="connsiteX16" fmla="*/ 0 w 1965784"/>
                  <a:gd name="connsiteY16" fmla="*/ 1577175 h 1580366"/>
                  <a:gd name="connsiteX17" fmla="*/ 173542 w 1965784"/>
                  <a:gd name="connsiteY17" fmla="*/ 1273930 h 1580366"/>
                  <a:gd name="connsiteX18" fmla="*/ 311525 w 1965784"/>
                  <a:gd name="connsiteY18" fmla="*/ 246826 h 1580366"/>
                  <a:gd name="connsiteX19" fmla="*/ 656984 w 1965784"/>
                  <a:gd name="connsiteY19" fmla="*/ 37890 h 1580366"/>
                  <a:gd name="connsiteX0" fmla="*/ 989966 w 1965784"/>
                  <a:gd name="connsiteY0" fmla="*/ 394302 h 1580366"/>
                  <a:gd name="connsiteX1" fmla="*/ 929623 w 1965784"/>
                  <a:gd name="connsiteY1" fmla="*/ 739738 h 1580366"/>
                  <a:gd name="connsiteX2" fmla="*/ 273445 w 1965784"/>
                  <a:gd name="connsiteY2" fmla="*/ 721653 h 1580366"/>
                  <a:gd name="connsiteX3" fmla="*/ 272497 w 1965784"/>
                  <a:gd name="connsiteY3" fmla="*/ 726313 h 1580366"/>
                  <a:gd name="connsiteX4" fmla="*/ 298714 w 1965784"/>
                  <a:gd name="connsiteY4" fmla="*/ 994378 h 1580366"/>
                  <a:gd name="connsiteX5" fmla="*/ 1145665 w 1965784"/>
                  <a:gd name="connsiteY5" fmla="*/ 1444708 h 1580366"/>
                  <a:gd name="connsiteX6" fmla="*/ 1622215 w 1965784"/>
                  <a:gd name="connsiteY6" fmla="*/ 865823 h 1580366"/>
                  <a:gd name="connsiteX7" fmla="*/ 1616575 w 1965784"/>
                  <a:gd name="connsiteY7" fmla="*/ 735439 h 1580366"/>
                  <a:gd name="connsiteX8" fmla="*/ 1163568 w 1965784"/>
                  <a:gd name="connsiteY8" fmla="*/ 730789 h 1580366"/>
                  <a:gd name="connsiteX9" fmla="*/ 1090659 w 1965784"/>
                  <a:gd name="connsiteY9" fmla="*/ 596552 h 1580366"/>
                  <a:gd name="connsiteX10" fmla="*/ 1065946 w 1965784"/>
                  <a:gd name="connsiteY10" fmla="*/ 729787 h 1580366"/>
                  <a:gd name="connsiteX11" fmla="*/ 1034479 w 1965784"/>
                  <a:gd name="connsiteY11" fmla="*/ 737491 h 1580366"/>
                  <a:gd name="connsiteX12" fmla="*/ 989966 w 1965784"/>
                  <a:gd name="connsiteY12" fmla="*/ 394302 h 1580366"/>
                  <a:gd name="connsiteX13" fmla="*/ 656984 w 1965784"/>
                  <a:gd name="connsiteY13" fmla="*/ 37890 h 1580366"/>
                  <a:gd name="connsiteX14" fmla="*/ 1131790 w 1965784"/>
                  <a:gd name="connsiteY14" fmla="*/ 15622 h 1580366"/>
                  <a:gd name="connsiteX15" fmla="*/ 1877987 w 1965784"/>
                  <a:gd name="connsiteY15" fmla="*/ 1580366 h 1580366"/>
                  <a:gd name="connsiteX16" fmla="*/ 0 w 1965784"/>
                  <a:gd name="connsiteY16" fmla="*/ 1577175 h 1580366"/>
                  <a:gd name="connsiteX17" fmla="*/ 173542 w 1965784"/>
                  <a:gd name="connsiteY17" fmla="*/ 1273930 h 1580366"/>
                  <a:gd name="connsiteX18" fmla="*/ 311525 w 1965784"/>
                  <a:gd name="connsiteY18" fmla="*/ 246826 h 1580366"/>
                  <a:gd name="connsiteX19" fmla="*/ 656984 w 1965784"/>
                  <a:gd name="connsiteY19" fmla="*/ 37890 h 1580366"/>
                  <a:gd name="connsiteX0" fmla="*/ 989966 w 1965784"/>
                  <a:gd name="connsiteY0" fmla="*/ 394302 h 1580366"/>
                  <a:gd name="connsiteX1" fmla="*/ 929623 w 1965784"/>
                  <a:gd name="connsiteY1" fmla="*/ 739738 h 1580366"/>
                  <a:gd name="connsiteX2" fmla="*/ 273445 w 1965784"/>
                  <a:gd name="connsiteY2" fmla="*/ 721653 h 1580366"/>
                  <a:gd name="connsiteX3" fmla="*/ 272497 w 1965784"/>
                  <a:gd name="connsiteY3" fmla="*/ 726313 h 1580366"/>
                  <a:gd name="connsiteX4" fmla="*/ 298714 w 1965784"/>
                  <a:gd name="connsiteY4" fmla="*/ 994378 h 1580366"/>
                  <a:gd name="connsiteX5" fmla="*/ 1145665 w 1965784"/>
                  <a:gd name="connsiteY5" fmla="*/ 1444708 h 1580366"/>
                  <a:gd name="connsiteX6" fmla="*/ 1622215 w 1965784"/>
                  <a:gd name="connsiteY6" fmla="*/ 865823 h 1580366"/>
                  <a:gd name="connsiteX7" fmla="*/ 1616575 w 1965784"/>
                  <a:gd name="connsiteY7" fmla="*/ 735439 h 1580366"/>
                  <a:gd name="connsiteX8" fmla="*/ 1168630 w 1965784"/>
                  <a:gd name="connsiteY8" fmla="*/ 739202 h 1580366"/>
                  <a:gd name="connsiteX9" fmla="*/ 1090659 w 1965784"/>
                  <a:gd name="connsiteY9" fmla="*/ 596552 h 1580366"/>
                  <a:gd name="connsiteX10" fmla="*/ 1065946 w 1965784"/>
                  <a:gd name="connsiteY10" fmla="*/ 729787 h 1580366"/>
                  <a:gd name="connsiteX11" fmla="*/ 1034479 w 1965784"/>
                  <a:gd name="connsiteY11" fmla="*/ 737491 h 1580366"/>
                  <a:gd name="connsiteX12" fmla="*/ 989966 w 1965784"/>
                  <a:gd name="connsiteY12" fmla="*/ 394302 h 1580366"/>
                  <a:gd name="connsiteX13" fmla="*/ 656984 w 1965784"/>
                  <a:gd name="connsiteY13" fmla="*/ 37890 h 1580366"/>
                  <a:gd name="connsiteX14" fmla="*/ 1131790 w 1965784"/>
                  <a:gd name="connsiteY14" fmla="*/ 15622 h 1580366"/>
                  <a:gd name="connsiteX15" fmla="*/ 1877987 w 1965784"/>
                  <a:gd name="connsiteY15" fmla="*/ 1580366 h 1580366"/>
                  <a:gd name="connsiteX16" fmla="*/ 0 w 1965784"/>
                  <a:gd name="connsiteY16" fmla="*/ 1577175 h 1580366"/>
                  <a:gd name="connsiteX17" fmla="*/ 173542 w 1965784"/>
                  <a:gd name="connsiteY17" fmla="*/ 1273930 h 1580366"/>
                  <a:gd name="connsiteX18" fmla="*/ 311525 w 1965784"/>
                  <a:gd name="connsiteY18" fmla="*/ 246826 h 1580366"/>
                  <a:gd name="connsiteX19" fmla="*/ 656984 w 1965784"/>
                  <a:gd name="connsiteY19" fmla="*/ 37890 h 1580366"/>
                  <a:gd name="connsiteX0" fmla="*/ 989966 w 1984181"/>
                  <a:gd name="connsiteY0" fmla="*/ 394302 h 1578654"/>
                  <a:gd name="connsiteX1" fmla="*/ 929623 w 1984181"/>
                  <a:gd name="connsiteY1" fmla="*/ 739738 h 1578654"/>
                  <a:gd name="connsiteX2" fmla="*/ 273445 w 1984181"/>
                  <a:gd name="connsiteY2" fmla="*/ 721653 h 1578654"/>
                  <a:gd name="connsiteX3" fmla="*/ 272497 w 1984181"/>
                  <a:gd name="connsiteY3" fmla="*/ 726313 h 1578654"/>
                  <a:gd name="connsiteX4" fmla="*/ 298714 w 1984181"/>
                  <a:gd name="connsiteY4" fmla="*/ 994378 h 1578654"/>
                  <a:gd name="connsiteX5" fmla="*/ 1145665 w 1984181"/>
                  <a:gd name="connsiteY5" fmla="*/ 1444708 h 1578654"/>
                  <a:gd name="connsiteX6" fmla="*/ 1622215 w 1984181"/>
                  <a:gd name="connsiteY6" fmla="*/ 865823 h 1578654"/>
                  <a:gd name="connsiteX7" fmla="*/ 1616575 w 1984181"/>
                  <a:gd name="connsiteY7" fmla="*/ 735439 h 1578654"/>
                  <a:gd name="connsiteX8" fmla="*/ 1168630 w 1984181"/>
                  <a:gd name="connsiteY8" fmla="*/ 739202 h 1578654"/>
                  <a:gd name="connsiteX9" fmla="*/ 1090659 w 1984181"/>
                  <a:gd name="connsiteY9" fmla="*/ 596552 h 1578654"/>
                  <a:gd name="connsiteX10" fmla="*/ 1065946 w 1984181"/>
                  <a:gd name="connsiteY10" fmla="*/ 729787 h 1578654"/>
                  <a:gd name="connsiteX11" fmla="*/ 1034479 w 1984181"/>
                  <a:gd name="connsiteY11" fmla="*/ 737491 h 1578654"/>
                  <a:gd name="connsiteX12" fmla="*/ 989966 w 1984181"/>
                  <a:gd name="connsiteY12" fmla="*/ 394302 h 1578654"/>
                  <a:gd name="connsiteX13" fmla="*/ 656984 w 1984181"/>
                  <a:gd name="connsiteY13" fmla="*/ 37890 h 1578654"/>
                  <a:gd name="connsiteX14" fmla="*/ 1131790 w 1984181"/>
                  <a:gd name="connsiteY14" fmla="*/ 15622 h 1578654"/>
                  <a:gd name="connsiteX15" fmla="*/ 1899877 w 1984181"/>
                  <a:gd name="connsiteY15" fmla="*/ 1578654 h 1578654"/>
                  <a:gd name="connsiteX16" fmla="*/ 0 w 1984181"/>
                  <a:gd name="connsiteY16" fmla="*/ 1577175 h 1578654"/>
                  <a:gd name="connsiteX17" fmla="*/ 173542 w 1984181"/>
                  <a:gd name="connsiteY17" fmla="*/ 1273930 h 1578654"/>
                  <a:gd name="connsiteX18" fmla="*/ 311525 w 1984181"/>
                  <a:gd name="connsiteY18" fmla="*/ 246826 h 1578654"/>
                  <a:gd name="connsiteX19" fmla="*/ 656984 w 1984181"/>
                  <a:gd name="connsiteY19" fmla="*/ 37890 h 1578654"/>
                  <a:gd name="connsiteX0" fmla="*/ 989966 w 1969955"/>
                  <a:gd name="connsiteY0" fmla="*/ 394302 h 1578654"/>
                  <a:gd name="connsiteX1" fmla="*/ 929623 w 1969955"/>
                  <a:gd name="connsiteY1" fmla="*/ 739738 h 1578654"/>
                  <a:gd name="connsiteX2" fmla="*/ 273445 w 1969955"/>
                  <a:gd name="connsiteY2" fmla="*/ 721653 h 1578654"/>
                  <a:gd name="connsiteX3" fmla="*/ 272497 w 1969955"/>
                  <a:gd name="connsiteY3" fmla="*/ 726313 h 1578654"/>
                  <a:gd name="connsiteX4" fmla="*/ 298714 w 1969955"/>
                  <a:gd name="connsiteY4" fmla="*/ 994378 h 1578654"/>
                  <a:gd name="connsiteX5" fmla="*/ 1145665 w 1969955"/>
                  <a:gd name="connsiteY5" fmla="*/ 1444708 h 1578654"/>
                  <a:gd name="connsiteX6" fmla="*/ 1622215 w 1969955"/>
                  <a:gd name="connsiteY6" fmla="*/ 865823 h 1578654"/>
                  <a:gd name="connsiteX7" fmla="*/ 1616575 w 1969955"/>
                  <a:gd name="connsiteY7" fmla="*/ 735439 h 1578654"/>
                  <a:gd name="connsiteX8" fmla="*/ 1168630 w 1969955"/>
                  <a:gd name="connsiteY8" fmla="*/ 739202 h 1578654"/>
                  <a:gd name="connsiteX9" fmla="*/ 1090659 w 1969955"/>
                  <a:gd name="connsiteY9" fmla="*/ 596552 h 1578654"/>
                  <a:gd name="connsiteX10" fmla="*/ 1065946 w 1969955"/>
                  <a:gd name="connsiteY10" fmla="*/ 729787 h 1578654"/>
                  <a:gd name="connsiteX11" fmla="*/ 1034479 w 1969955"/>
                  <a:gd name="connsiteY11" fmla="*/ 737491 h 1578654"/>
                  <a:gd name="connsiteX12" fmla="*/ 989966 w 1969955"/>
                  <a:gd name="connsiteY12" fmla="*/ 394302 h 1578654"/>
                  <a:gd name="connsiteX13" fmla="*/ 656984 w 1969955"/>
                  <a:gd name="connsiteY13" fmla="*/ 37890 h 1578654"/>
                  <a:gd name="connsiteX14" fmla="*/ 1131790 w 1969955"/>
                  <a:gd name="connsiteY14" fmla="*/ 15622 h 1578654"/>
                  <a:gd name="connsiteX15" fmla="*/ 1899877 w 1969955"/>
                  <a:gd name="connsiteY15" fmla="*/ 1578654 h 1578654"/>
                  <a:gd name="connsiteX16" fmla="*/ 0 w 1969955"/>
                  <a:gd name="connsiteY16" fmla="*/ 1577175 h 1578654"/>
                  <a:gd name="connsiteX17" fmla="*/ 173542 w 1969955"/>
                  <a:gd name="connsiteY17" fmla="*/ 1273930 h 1578654"/>
                  <a:gd name="connsiteX18" fmla="*/ 311525 w 1969955"/>
                  <a:gd name="connsiteY18" fmla="*/ 246826 h 1578654"/>
                  <a:gd name="connsiteX19" fmla="*/ 656984 w 1969955"/>
                  <a:gd name="connsiteY19" fmla="*/ 37890 h 1578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69955" h="1578654">
                    <a:moveTo>
                      <a:pt x="989966" y="394302"/>
                    </a:moveTo>
                    <a:lnTo>
                      <a:pt x="929623" y="739738"/>
                    </a:lnTo>
                    <a:lnTo>
                      <a:pt x="273445" y="721653"/>
                    </a:lnTo>
                    <a:lnTo>
                      <a:pt x="272497" y="726313"/>
                    </a:lnTo>
                    <a:cubicBezTo>
                      <a:pt x="263400" y="813951"/>
                      <a:pt x="271334" y="904819"/>
                      <a:pt x="298714" y="994378"/>
                    </a:cubicBezTo>
                    <a:cubicBezTo>
                      <a:pt x="408238" y="1352612"/>
                      <a:pt x="787431" y="1554232"/>
                      <a:pt x="1145665" y="1444708"/>
                    </a:cubicBezTo>
                    <a:cubicBezTo>
                      <a:pt x="1414341" y="1362566"/>
                      <a:pt x="1594922" y="1128735"/>
                      <a:pt x="1622215" y="865823"/>
                    </a:cubicBezTo>
                    <a:cubicBezTo>
                      <a:pt x="1622361" y="831703"/>
                      <a:pt x="1616430" y="769559"/>
                      <a:pt x="1616575" y="735439"/>
                    </a:cubicBezTo>
                    <a:lnTo>
                      <a:pt x="1168630" y="739202"/>
                    </a:lnTo>
                    <a:lnTo>
                      <a:pt x="1090659" y="596552"/>
                    </a:lnTo>
                    <a:lnTo>
                      <a:pt x="1065946" y="729787"/>
                    </a:lnTo>
                    <a:lnTo>
                      <a:pt x="1034479" y="737491"/>
                    </a:lnTo>
                    <a:lnTo>
                      <a:pt x="989966" y="394302"/>
                    </a:lnTo>
                    <a:close/>
                    <a:moveTo>
                      <a:pt x="656984" y="37890"/>
                    </a:moveTo>
                    <a:cubicBezTo>
                      <a:pt x="774915" y="2181"/>
                      <a:pt x="929046" y="-14481"/>
                      <a:pt x="1131790" y="15622"/>
                    </a:cubicBezTo>
                    <a:cubicBezTo>
                      <a:pt x="1914945" y="91608"/>
                      <a:pt x="2089159" y="1262634"/>
                      <a:pt x="1899877" y="1578654"/>
                    </a:cubicBezTo>
                    <a:lnTo>
                      <a:pt x="0" y="1577175"/>
                    </a:lnTo>
                    <a:cubicBezTo>
                      <a:pt x="159774" y="1456551"/>
                      <a:pt x="130296" y="1433629"/>
                      <a:pt x="173542" y="1273930"/>
                    </a:cubicBezTo>
                    <a:cubicBezTo>
                      <a:pt x="214644" y="1187044"/>
                      <a:pt x="-83140" y="675869"/>
                      <a:pt x="311525" y="246826"/>
                    </a:cubicBezTo>
                    <a:cubicBezTo>
                      <a:pt x="364438" y="209827"/>
                      <a:pt x="460433" y="97405"/>
                      <a:pt x="656984" y="37890"/>
                    </a:cubicBezTo>
                    <a:close/>
                  </a:path>
                </a:pathLst>
              </a:custGeom>
              <a:grpFill/>
              <a:ln w="12700" cap="flat" cmpd="sng" algn="ctr">
                <a:noFill/>
                <a:prstDash val="solid"/>
                <a:miter lim="800000"/>
              </a:ln>
              <a:effectLst/>
            </p:spPr>
            <p:txBody>
              <a:bodyPr rtlCol="0" anchor="ctr"/>
              <a:lstStyle/>
              <a:p>
                <a:pPr marL="0" marR="0" lvl="0" indent="0" algn="ctr" defTabSz="467539"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34" name="Oval 51">
                <a:extLst>
                  <a:ext uri="{FF2B5EF4-FFF2-40B4-BE49-F238E27FC236}">
                    <a16:creationId xmlns:a16="http://schemas.microsoft.com/office/drawing/2014/main" id="{E2E61B28-8C72-386D-AF40-FE21CEE72442}"/>
                  </a:ext>
                </a:extLst>
              </p:cNvPr>
              <p:cNvSpPr/>
              <p:nvPr/>
            </p:nvSpPr>
            <p:spPr>
              <a:xfrm rot="20594011">
                <a:off x="916201" y="1608187"/>
                <a:ext cx="32576" cy="32576"/>
              </a:xfrm>
              <a:prstGeom prst="ellipse">
                <a:avLst/>
              </a:prstGeom>
              <a:grpFill/>
              <a:ln w="12700" cap="flat" cmpd="sng" algn="ctr">
                <a:noFill/>
                <a:prstDash val="solid"/>
                <a:miter lim="800000"/>
              </a:ln>
              <a:effectLst/>
            </p:spPr>
            <p:txBody>
              <a:bodyPr rtlCol="0" anchor="ctr"/>
              <a:lstStyle/>
              <a:p>
                <a:pPr marL="0" marR="0" lvl="0" indent="0" algn="ctr" defTabSz="467539"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35" name="Oval 52">
                <a:extLst>
                  <a:ext uri="{FF2B5EF4-FFF2-40B4-BE49-F238E27FC236}">
                    <a16:creationId xmlns:a16="http://schemas.microsoft.com/office/drawing/2014/main" id="{47A19DCC-1E21-21E9-41DF-A4771DE275C5}"/>
                  </a:ext>
                </a:extLst>
              </p:cNvPr>
              <p:cNvSpPr/>
              <p:nvPr/>
            </p:nvSpPr>
            <p:spPr>
              <a:xfrm rot="20594011">
                <a:off x="1015333" y="1606950"/>
                <a:ext cx="32576" cy="32576"/>
              </a:xfrm>
              <a:prstGeom prst="ellipse">
                <a:avLst/>
              </a:prstGeom>
              <a:grpFill/>
              <a:ln w="12700" cap="flat" cmpd="sng" algn="ctr">
                <a:noFill/>
                <a:prstDash val="solid"/>
                <a:miter lim="800000"/>
              </a:ln>
              <a:effectLst/>
            </p:spPr>
            <p:txBody>
              <a:bodyPr rtlCol="0" anchor="ctr"/>
              <a:lstStyle/>
              <a:p>
                <a:pPr marL="0" marR="0" lvl="0" indent="0" algn="ctr" defTabSz="467539"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429" name="Group 46">
              <a:extLst>
                <a:ext uri="{FF2B5EF4-FFF2-40B4-BE49-F238E27FC236}">
                  <a16:creationId xmlns:a16="http://schemas.microsoft.com/office/drawing/2014/main" id="{40427CD7-1AB3-FD96-88AC-EFBCC90EFCA4}"/>
                </a:ext>
              </a:extLst>
            </p:cNvPr>
            <p:cNvGrpSpPr/>
            <p:nvPr/>
          </p:nvGrpSpPr>
          <p:grpSpPr>
            <a:xfrm>
              <a:off x="2983932" y="1204028"/>
              <a:ext cx="842510" cy="1083211"/>
              <a:chOff x="2983932" y="1204028"/>
              <a:chExt cx="842510" cy="1083211"/>
            </a:xfrm>
            <a:grpFill/>
          </p:grpSpPr>
          <p:sp>
            <p:nvSpPr>
              <p:cNvPr id="430" name="Freeform 47">
                <a:extLst>
                  <a:ext uri="{FF2B5EF4-FFF2-40B4-BE49-F238E27FC236}">
                    <a16:creationId xmlns:a16="http://schemas.microsoft.com/office/drawing/2014/main" id="{16E7BFD5-A7AA-592C-6489-D185F2ACBEFD}"/>
                  </a:ext>
                </a:extLst>
              </p:cNvPr>
              <p:cNvSpPr/>
              <p:nvPr/>
            </p:nvSpPr>
            <p:spPr>
              <a:xfrm rot="20731586">
                <a:off x="2983932" y="1204028"/>
                <a:ext cx="842510" cy="994748"/>
              </a:xfrm>
              <a:custGeom>
                <a:avLst/>
                <a:gdLst>
                  <a:gd name="connsiteX0" fmla="*/ 269840 w 842510"/>
                  <a:gd name="connsiteY0" fmla="*/ 2089 h 994748"/>
                  <a:gd name="connsiteX1" fmla="*/ 793472 w 842510"/>
                  <a:gd name="connsiteY1" fmla="*/ 137252 h 994748"/>
                  <a:gd name="connsiteX2" fmla="*/ 840421 w 842510"/>
                  <a:gd name="connsiteY2" fmla="*/ 216871 h 994748"/>
                  <a:gd name="connsiteX3" fmla="*/ 652289 w 842510"/>
                  <a:gd name="connsiteY3" fmla="*/ 945710 h 994748"/>
                  <a:gd name="connsiteX4" fmla="*/ 572670 w 842510"/>
                  <a:gd name="connsiteY4" fmla="*/ 992658 h 994748"/>
                  <a:gd name="connsiteX5" fmla="*/ 501482 w 842510"/>
                  <a:gd name="connsiteY5" fmla="*/ 974283 h 994748"/>
                  <a:gd name="connsiteX6" fmla="*/ 562455 w 842510"/>
                  <a:gd name="connsiteY6" fmla="*/ 866010 h 994748"/>
                  <a:gd name="connsiteX7" fmla="*/ 607643 w 842510"/>
                  <a:gd name="connsiteY7" fmla="*/ 877674 h 994748"/>
                  <a:gd name="connsiteX8" fmla="*/ 777350 w 842510"/>
                  <a:gd name="connsiteY8" fmla="*/ 220214 h 994748"/>
                  <a:gd name="connsiteX9" fmla="*/ 250711 w 842510"/>
                  <a:gd name="connsiteY9" fmla="*/ 84275 h 994748"/>
                  <a:gd name="connsiteX10" fmla="*/ 81004 w 842510"/>
                  <a:gd name="connsiteY10" fmla="*/ 741735 h 994748"/>
                  <a:gd name="connsiteX11" fmla="*/ 237718 w 842510"/>
                  <a:gd name="connsiteY11" fmla="*/ 782187 h 994748"/>
                  <a:gd name="connsiteX12" fmla="*/ 228745 w 842510"/>
                  <a:gd name="connsiteY12" fmla="*/ 903882 h 994748"/>
                  <a:gd name="connsiteX13" fmla="*/ 49038 w 842510"/>
                  <a:gd name="connsiteY13" fmla="*/ 857496 h 994748"/>
                  <a:gd name="connsiteX14" fmla="*/ 2090 w 842510"/>
                  <a:gd name="connsiteY14" fmla="*/ 777877 h 994748"/>
                  <a:gd name="connsiteX15" fmla="*/ 190222 w 842510"/>
                  <a:gd name="connsiteY15" fmla="*/ 49038 h 994748"/>
                  <a:gd name="connsiteX16" fmla="*/ 269840 w 842510"/>
                  <a:gd name="connsiteY16" fmla="*/ 2089 h 994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42510" h="994748">
                    <a:moveTo>
                      <a:pt x="269840" y="2089"/>
                    </a:moveTo>
                    <a:lnTo>
                      <a:pt x="793472" y="137252"/>
                    </a:lnTo>
                    <a:cubicBezTo>
                      <a:pt x="828423" y="146274"/>
                      <a:pt x="849442" y="181921"/>
                      <a:pt x="840421" y="216871"/>
                    </a:cubicBezTo>
                    <a:lnTo>
                      <a:pt x="652289" y="945710"/>
                    </a:lnTo>
                    <a:cubicBezTo>
                      <a:pt x="643267" y="980660"/>
                      <a:pt x="607621" y="1001680"/>
                      <a:pt x="572670" y="992658"/>
                    </a:cubicBezTo>
                    <a:lnTo>
                      <a:pt x="501482" y="974283"/>
                    </a:lnTo>
                    <a:lnTo>
                      <a:pt x="562455" y="866010"/>
                    </a:lnTo>
                    <a:lnTo>
                      <a:pt x="607643" y="877674"/>
                    </a:lnTo>
                    <a:lnTo>
                      <a:pt x="777350" y="220214"/>
                    </a:lnTo>
                    <a:lnTo>
                      <a:pt x="250711" y="84275"/>
                    </a:lnTo>
                    <a:lnTo>
                      <a:pt x="81004" y="741735"/>
                    </a:lnTo>
                    <a:lnTo>
                      <a:pt x="237718" y="782187"/>
                    </a:lnTo>
                    <a:lnTo>
                      <a:pt x="228745" y="903882"/>
                    </a:lnTo>
                    <a:lnTo>
                      <a:pt x="49038" y="857496"/>
                    </a:lnTo>
                    <a:cubicBezTo>
                      <a:pt x="14088" y="848474"/>
                      <a:pt x="-6932" y="812827"/>
                      <a:pt x="2090" y="777877"/>
                    </a:cubicBezTo>
                    <a:lnTo>
                      <a:pt x="190222" y="49038"/>
                    </a:lnTo>
                    <a:cubicBezTo>
                      <a:pt x="199243" y="14088"/>
                      <a:pt x="234890" y="-6932"/>
                      <a:pt x="269840" y="2089"/>
                    </a:cubicBezTo>
                    <a:close/>
                  </a:path>
                </a:pathLst>
              </a:custGeom>
              <a:grpFill/>
              <a:ln w="12700" cap="flat" cmpd="sng" algn="ctr">
                <a:noFill/>
                <a:prstDash val="solid"/>
                <a:miter lim="800000"/>
              </a:ln>
              <a:effectLst/>
            </p:spPr>
            <p:txBody>
              <a:bodyPr rtlCol="0" anchor="ctr"/>
              <a:lstStyle/>
              <a:p>
                <a:pPr marL="0" marR="0" lvl="0" indent="0" algn="ctr" defTabSz="467539"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31" name="Freeform 48">
                <a:extLst>
                  <a:ext uri="{FF2B5EF4-FFF2-40B4-BE49-F238E27FC236}">
                    <a16:creationId xmlns:a16="http://schemas.microsoft.com/office/drawing/2014/main" id="{2397A815-C744-4BF7-BFCC-4ACC1D4D251C}"/>
                  </a:ext>
                </a:extLst>
              </p:cNvPr>
              <p:cNvSpPr>
                <a:spLocks/>
              </p:cNvSpPr>
              <p:nvPr/>
            </p:nvSpPr>
            <p:spPr bwMode="auto">
              <a:xfrm>
                <a:off x="3362302" y="2157723"/>
                <a:ext cx="247657" cy="129516"/>
              </a:xfrm>
              <a:custGeom>
                <a:avLst/>
                <a:gdLst>
                  <a:gd name="T0" fmla="*/ 85 w 99"/>
                  <a:gd name="T1" fmla="*/ 0 h 58"/>
                  <a:gd name="T2" fmla="*/ 99 w 99"/>
                  <a:gd name="T3" fmla="*/ 36 h 58"/>
                  <a:gd name="T4" fmla="*/ 0 w 99"/>
                  <a:gd name="T5" fmla="*/ 58 h 58"/>
                  <a:gd name="T6" fmla="*/ 0 w 99"/>
                  <a:gd name="T7" fmla="*/ 29 h 58"/>
                  <a:gd name="T8" fmla="*/ 85 w 99"/>
                  <a:gd name="T9" fmla="*/ 0 h 58"/>
                  <a:gd name="connsiteX0" fmla="*/ 9400 w 10814"/>
                  <a:gd name="connsiteY0" fmla="*/ 0 h 10794"/>
                  <a:gd name="connsiteX1" fmla="*/ 10814 w 10814"/>
                  <a:gd name="connsiteY1" fmla="*/ 6207 h 10794"/>
                  <a:gd name="connsiteX2" fmla="*/ 0 w 10814"/>
                  <a:gd name="connsiteY2" fmla="*/ 10794 h 10794"/>
                  <a:gd name="connsiteX3" fmla="*/ 814 w 10814"/>
                  <a:gd name="connsiteY3" fmla="*/ 5000 h 10794"/>
                  <a:gd name="connsiteX4" fmla="*/ 9400 w 10814"/>
                  <a:gd name="connsiteY4" fmla="*/ 0 h 10794"/>
                  <a:gd name="connsiteX0" fmla="*/ 10562 w 11976"/>
                  <a:gd name="connsiteY0" fmla="*/ 0 h 10794"/>
                  <a:gd name="connsiteX1" fmla="*/ 11976 w 11976"/>
                  <a:gd name="connsiteY1" fmla="*/ 6207 h 10794"/>
                  <a:gd name="connsiteX2" fmla="*/ 1162 w 11976"/>
                  <a:gd name="connsiteY2" fmla="*/ 10794 h 10794"/>
                  <a:gd name="connsiteX3" fmla="*/ 0 w 11976"/>
                  <a:gd name="connsiteY3" fmla="*/ 5198 h 10794"/>
                  <a:gd name="connsiteX4" fmla="*/ 10562 w 11976"/>
                  <a:gd name="connsiteY4" fmla="*/ 0 h 10794"/>
                  <a:gd name="connsiteX0" fmla="*/ 11143 w 11976"/>
                  <a:gd name="connsiteY0" fmla="*/ 0 h 10794"/>
                  <a:gd name="connsiteX1" fmla="*/ 11976 w 11976"/>
                  <a:gd name="connsiteY1" fmla="*/ 6207 h 10794"/>
                  <a:gd name="connsiteX2" fmla="*/ 1162 w 11976"/>
                  <a:gd name="connsiteY2" fmla="*/ 10794 h 10794"/>
                  <a:gd name="connsiteX3" fmla="*/ 0 w 11976"/>
                  <a:gd name="connsiteY3" fmla="*/ 5198 h 10794"/>
                  <a:gd name="connsiteX4" fmla="*/ 11143 w 11976"/>
                  <a:gd name="connsiteY4" fmla="*/ 0 h 10794"/>
                  <a:gd name="connsiteX0" fmla="*/ 11143 w 12325"/>
                  <a:gd name="connsiteY0" fmla="*/ 0 h 10794"/>
                  <a:gd name="connsiteX1" fmla="*/ 12325 w 12325"/>
                  <a:gd name="connsiteY1" fmla="*/ 5810 h 10794"/>
                  <a:gd name="connsiteX2" fmla="*/ 1162 w 12325"/>
                  <a:gd name="connsiteY2" fmla="*/ 10794 h 10794"/>
                  <a:gd name="connsiteX3" fmla="*/ 0 w 12325"/>
                  <a:gd name="connsiteY3" fmla="*/ 5198 h 10794"/>
                  <a:gd name="connsiteX4" fmla="*/ 11143 w 12325"/>
                  <a:gd name="connsiteY4" fmla="*/ 0 h 10794"/>
                  <a:gd name="connsiteX0" fmla="*/ 11143 w 12092"/>
                  <a:gd name="connsiteY0" fmla="*/ 0 h 10794"/>
                  <a:gd name="connsiteX1" fmla="*/ 12092 w 12092"/>
                  <a:gd name="connsiteY1" fmla="*/ 6405 h 10794"/>
                  <a:gd name="connsiteX2" fmla="*/ 1162 w 12092"/>
                  <a:gd name="connsiteY2" fmla="*/ 10794 h 10794"/>
                  <a:gd name="connsiteX3" fmla="*/ 0 w 12092"/>
                  <a:gd name="connsiteY3" fmla="*/ 5198 h 10794"/>
                  <a:gd name="connsiteX4" fmla="*/ 11143 w 12092"/>
                  <a:gd name="connsiteY4" fmla="*/ 0 h 10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92" h="10794">
                    <a:moveTo>
                      <a:pt x="11143" y="0"/>
                    </a:moveTo>
                    <a:lnTo>
                      <a:pt x="12092" y="6405"/>
                    </a:lnTo>
                    <a:lnTo>
                      <a:pt x="1162" y="10794"/>
                    </a:lnTo>
                    <a:lnTo>
                      <a:pt x="0" y="5198"/>
                    </a:lnTo>
                    <a:lnTo>
                      <a:pt x="11143" y="0"/>
                    </a:lnTo>
                    <a:close/>
                  </a:path>
                </a:pathLst>
              </a:custGeom>
              <a:grpFill/>
              <a:ln w="0">
                <a:noFill/>
                <a:prstDash val="solid"/>
                <a:round/>
                <a:headEnd/>
                <a:tailEnd/>
              </a:ln>
              <a:effectLst/>
            </p:spPr>
            <p:txBody>
              <a:bodyPr vert="horz" wrap="square" lIns="121920" tIns="60960" rIns="121920" bIns="60960" numCol="1" anchor="ctr" anchorCtr="0" compatLnSpc="1">
                <a:prstTxWarp prst="textNoShape">
                  <a:avLst/>
                </a:prstTxWarp>
              </a:bodyPr>
              <a:lstStyle/>
              <a:p>
                <a:pPr marL="0" marR="0" lvl="0" indent="0" algn="l" defTabSz="467539"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black"/>
                  </a:solidFill>
                  <a:effectLst/>
                  <a:uLnTx/>
                  <a:uFillTx/>
                  <a:latin typeface="Arial"/>
                  <a:ea typeface="+mn-ea"/>
                  <a:cs typeface="+mn-cs"/>
                </a:endParaRPr>
              </a:p>
            </p:txBody>
          </p:sp>
          <p:sp>
            <p:nvSpPr>
              <p:cNvPr id="432" name="Rectangle 24">
                <a:extLst>
                  <a:ext uri="{FF2B5EF4-FFF2-40B4-BE49-F238E27FC236}">
                    <a16:creationId xmlns:a16="http://schemas.microsoft.com/office/drawing/2014/main" id="{493A0F89-87B0-DED8-D9E4-405E4BD96E03}"/>
                  </a:ext>
                </a:extLst>
              </p:cNvPr>
              <p:cNvSpPr/>
              <p:nvPr/>
            </p:nvSpPr>
            <p:spPr>
              <a:xfrm>
                <a:off x="3328988" y="1702595"/>
                <a:ext cx="271463" cy="464344"/>
              </a:xfrm>
              <a:custGeom>
                <a:avLst/>
                <a:gdLst>
                  <a:gd name="connsiteX0" fmla="*/ 0 w 221456"/>
                  <a:gd name="connsiteY0" fmla="*/ 0 h 302418"/>
                  <a:gd name="connsiteX1" fmla="*/ 221456 w 221456"/>
                  <a:gd name="connsiteY1" fmla="*/ 0 h 302418"/>
                  <a:gd name="connsiteX2" fmla="*/ 221456 w 221456"/>
                  <a:gd name="connsiteY2" fmla="*/ 302418 h 302418"/>
                  <a:gd name="connsiteX3" fmla="*/ 0 w 221456"/>
                  <a:gd name="connsiteY3" fmla="*/ 302418 h 302418"/>
                  <a:gd name="connsiteX4" fmla="*/ 0 w 221456"/>
                  <a:gd name="connsiteY4" fmla="*/ 0 h 302418"/>
                  <a:gd name="connsiteX0" fmla="*/ 0 w 221456"/>
                  <a:gd name="connsiteY0" fmla="*/ 0 h 304800"/>
                  <a:gd name="connsiteX1" fmla="*/ 221456 w 221456"/>
                  <a:gd name="connsiteY1" fmla="*/ 0 h 304800"/>
                  <a:gd name="connsiteX2" fmla="*/ 209549 w 221456"/>
                  <a:gd name="connsiteY2" fmla="*/ 304800 h 304800"/>
                  <a:gd name="connsiteX3" fmla="*/ 0 w 221456"/>
                  <a:gd name="connsiteY3" fmla="*/ 302418 h 304800"/>
                  <a:gd name="connsiteX4" fmla="*/ 0 w 221456"/>
                  <a:gd name="connsiteY4" fmla="*/ 0 h 304800"/>
                  <a:gd name="connsiteX0" fmla="*/ 0 w 257175"/>
                  <a:gd name="connsiteY0" fmla="*/ 0 h 304800"/>
                  <a:gd name="connsiteX1" fmla="*/ 257175 w 257175"/>
                  <a:gd name="connsiteY1" fmla="*/ 102394 h 304800"/>
                  <a:gd name="connsiteX2" fmla="*/ 209549 w 257175"/>
                  <a:gd name="connsiteY2" fmla="*/ 304800 h 304800"/>
                  <a:gd name="connsiteX3" fmla="*/ 0 w 257175"/>
                  <a:gd name="connsiteY3" fmla="*/ 302418 h 304800"/>
                  <a:gd name="connsiteX4" fmla="*/ 0 w 257175"/>
                  <a:gd name="connsiteY4" fmla="*/ 0 h 304800"/>
                  <a:gd name="connsiteX0" fmla="*/ 0 w 257175"/>
                  <a:gd name="connsiteY0" fmla="*/ 0 h 304800"/>
                  <a:gd name="connsiteX1" fmla="*/ 257175 w 257175"/>
                  <a:gd name="connsiteY1" fmla="*/ 97632 h 304800"/>
                  <a:gd name="connsiteX2" fmla="*/ 209549 w 257175"/>
                  <a:gd name="connsiteY2" fmla="*/ 304800 h 304800"/>
                  <a:gd name="connsiteX3" fmla="*/ 0 w 257175"/>
                  <a:gd name="connsiteY3" fmla="*/ 302418 h 304800"/>
                  <a:gd name="connsiteX4" fmla="*/ 0 w 257175"/>
                  <a:gd name="connsiteY4" fmla="*/ 0 h 304800"/>
                  <a:gd name="connsiteX0" fmla="*/ 0 w 257175"/>
                  <a:gd name="connsiteY0" fmla="*/ 0 h 304800"/>
                  <a:gd name="connsiteX1" fmla="*/ 128586 w 257175"/>
                  <a:gd name="connsiteY1" fmla="*/ 54768 h 304800"/>
                  <a:gd name="connsiteX2" fmla="*/ 257175 w 257175"/>
                  <a:gd name="connsiteY2" fmla="*/ 97632 h 304800"/>
                  <a:gd name="connsiteX3" fmla="*/ 209549 w 257175"/>
                  <a:gd name="connsiteY3" fmla="*/ 304800 h 304800"/>
                  <a:gd name="connsiteX4" fmla="*/ 0 w 257175"/>
                  <a:gd name="connsiteY4" fmla="*/ 302418 h 304800"/>
                  <a:gd name="connsiteX5" fmla="*/ 0 w 257175"/>
                  <a:gd name="connsiteY5" fmla="*/ 0 h 304800"/>
                  <a:gd name="connsiteX0" fmla="*/ 0 w 257175"/>
                  <a:gd name="connsiteY0" fmla="*/ 0 h 304800"/>
                  <a:gd name="connsiteX1" fmla="*/ 233361 w 257175"/>
                  <a:gd name="connsiteY1" fmla="*/ 85724 h 304800"/>
                  <a:gd name="connsiteX2" fmla="*/ 257175 w 257175"/>
                  <a:gd name="connsiteY2" fmla="*/ 97632 h 304800"/>
                  <a:gd name="connsiteX3" fmla="*/ 209549 w 257175"/>
                  <a:gd name="connsiteY3" fmla="*/ 304800 h 304800"/>
                  <a:gd name="connsiteX4" fmla="*/ 0 w 257175"/>
                  <a:gd name="connsiteY4" fmla="*/ 302418 h 304800"/>
                  <a:gd name="connsiteX5" fmla="*/ 0 w 257175"/>
                  <a:gd name="connsiteY5" fmla="*/ 0 h 304800"/>
                  <a:gd name="connsiteX0" fmla="*/ 0 w 257175"/>
                  <a:gd name="connsiteY0" fmla="*/ 0 h 304800"/>
                  <a:gd name="connsiteX1" fmla="*/ 233361 w 257175"/>
                  <a:gd name="connsiteY1" fmla="*/ 85724 h 304800"/>
                  <a:gd name="connsiteX2" fmla="*/ 257175 w 257175"/>
                  <a:gd name="connsiteY2" fmla="*/ 97632 h 304800"/>
                  <a:gd name="connsiteX3" fmla="*/ 209549 w 257175"/>
                  <a:gd name="connsiteY3" fmla="*/ 304800 h 304800"/>
                  <a:gd name="connsiteX4" fmla="*/ 0 w 257175"/>
                  <a:gd name="connsiteY4" fmla="*/ 302418 h 304800"/>
                  <a:gd name="connsiteX5" fmla="*/ 0 w 257175"/>
                  <a:gd name="connsiteY5" fmla="*/ 0 h 304800"/>
                  <a:gd name="connsiteX0" fmla="*/ 0 w 257175"/>
                  <a:gd name="connsiteY0" fmla="*/ 0 h 304800"/>
                  <a:gd name="connsiteX1" fmla="*/ 178593 w 257175"/>
                  <a:gd name="connsiteY1" fmla="*/ 64293 h 304800"/>
                  <a:gd name="connsiteX2" fmla="*/ 233361 w 257175"/>
                  <a:gd name="connsiteY2" fmla="*/ 85724 h 304800"/>
                  <a:gd name="connsiteX3" fmla="*/ 257175 w 257175"/>
                  <a:gd name="connsiteY3" fmla="*/ 97632 h 304800"/>
                  <a:gd name="connsiteX4" fmla="*/ 209549 w 257175"/>
                  <a:gd name="connsiteY4" fmla="*/ 304800 h 304800"/>
                  <a:gd name="connsiteX5" fmla="*/ 0 w 257175"/>
                  <a:gd name="connsiteY5" fmla="*/ 302418 h 304800"/>
                  <a:gd name="connsiteX6" fmla="*/ 0 w 257175"/>
                  <a:gd name="connsiteY6" fmla="*/ 0 h 304800"/>
                  <a:gd name="connsiteX0" fmla="*/ 0 w 257175"/>
                  <a:gd name="connsiteY0" fmla="*/ 0 h 304800"/>
                  <a:gd name="connsiteX1" fmla="*/ 226218 w 257175"/>
                  <a:gd name="connsiteY1" fmla="*/ 42861 h 304800"/>
                  <a:gd name="connsiteX2" fmla="*/ 233361 w 257175"/>
                  <a:gd name="connsiteY2" fmla="*/ 85724 h 304800"/>
                  <a:gd name="connsiteX3" fmla="*/ 257175 w 257175"/>
                  <a:gd name="connsiteY3" fmla="*/ 97632 h 304800"/>
                  <a:gd name="connsiteX4" fmla="*/ 209549 w 257175"/>
                  <a:gd name="connsiteY4" fmla="*/ 304800 h 304800"/>
                  <a:gd name="connsiteX5" fmla="*/ 0 w 257175"/>
                  <a:gd name="connsiteY5" fmla="*/ 302418 h 304800"/>
                  <a:gd name="connsiteX6" fmla="*/ 0 w 257175"/>
                  <a:gd name="connsiteY6" fmla="*/ 0 h 304800"/>
                  <a:gd name="connsiteX0" fmla="*/ 0 w 257175"/>
                  <a:gd name="connsiteY0" fmla="*/ 0 h 304800"/>
                  <a:gd name="connsiteX1" fmla="*/ 116680 w 257175"/>
                  <a:gd name="connsiteY1" fmla="*/ 19049 h 304800"/>
                  <a:gd name="connsiteX2" fmla="*/ 226218 w 257175"/>
                  <a:gd name="connsiteY2" fmla="*/ 42861 h 304800"/>
                  <a:gd name="connsiteX3" fmla="*/ 233361 w 257175"/>
                  <a:gd name="connsiteY3" fmla="*/ 85724 h 304800"/>
                  <a:gd name="connsiteX4" fmla="*/ 257175 w 257175"/>
                  <a:gd name="connsiteY4" fmla="*/ 97632 h 304800"/>
                  <a:gd name="connsiteX5" fmla="*/ 209549 w 257175"/>
                  <a:gd name="connsiteY5" fmla="*/ 304800 h 304800"/>
                  <a:gd name="connsiteX6" fmla="*/ 0 w 257175"/>
                  <a:gd name="connsiteY6" fmla="*/ 302418 h 304800"/>
                  <a:gd name="connsiteX7" fmla="*/ 0 w 257175"/>
                  <a:gd name="connsiteY7" fmla="*/ 0 h 304800"/>
                  <a:gd name="connsiteX0" fmla="*/ 0 w 257175"/>
                  <a:gd name="connsiteY0" fmla="*/ 0 h 304800"/>
                  <a:gd name="connsiteX1" fmla="*/ 185737 w 257175"/>
                  <a:gd name="connsiteY1" fmla="*/ 28574 h 304800"/>
                  <a:gd name="connsiteX2" fmla="*/ 226218 w 257175"/>
                  <a:gd name="connsiteY2" fmla="*/ 42861 h 304800"/>
                  <a:gd name="connsiteX3" fmla="*/ 233361 w 257175"/>
                  <a:gd name="connsiteY3" fmla="*/ 85724 h 304800"/>
                  <a:gd name="connsiteX4" fmla="*/ 257175 w 257175"/>
                  <a:gd name="connsiteY4" fmla="*/ 97632 h 304800"/>
                  <a:gd name="connsiteX5" fmla="*/ 209549 w 257175"/>
                  <a:gd name="connsiteY5" fmla="*/ 304800 h 304800"/>
                  <a:gd name="connsiteX6" fmla="*/ 0 w 257175"/>
                  <a:gd name="connsiteY6" fmla="*/ 302418 h 304800"/>
                  <a:gd name="connsiteX7" fmla="*/ 0 w 257175"/>
                  <a:gd name="connsiteY7" fmla="*/ 0 h 304800"/>
                  <a:gd name="connsiteX0" fmla="*/ 0 w 257175"/>
                  <a:gd name="connsiteY0" fmla="*/ 0 h 304800"/>
                  <a:gd name="connsiteX1" fmla="*/ 202406 w 257175"/>
                  <a:gd name="connsiteY1" fmla="*/ 33336 h 304800"/>
                  <a:gd name="connsiteX2" fmla="*/ 226218 w 257175"/>
                  <a:gd name="connsiteY2" fmla="*/ 42861 h 304800"/>
                  <a:gd name="connsiteX3" fmla="*/ 233361 w 257175"/>
                  <a:gd name="connsiteY3" fmla="*/ 85724 h 304800"/>
                  <a:gd name="connsiteX4" fmla="*/ 257175 w 257175"/>
                  <a:gd name="connsiteY4" fmla="*/ 97632 h 304800"/>
                  <a:gd name="connsiteX5" fmla="*/ 209549 w 257175"/>
                  <a:gd name="connsiteY5" fmla="*/ 304800 h 304800"/>
                  <a:gd name="connsiteX6" fmla="*/ 0 w 257175"/>
                  <a:gd name="connsiteY6" fmla="*/ 302418 h 304800"/>
                  <a:gd name="connsiteX7" fmla="*/ 0 w 257175"/>
                  <a:gd name="connsiteY7" fmla="*/ 0 h 304800"/>
                  <a:gd name="connsiteX0" fmla="*/ 0 w 257175"/>
                  <a:gd name="connsiteY0" fmla="*/ 0 h 304800"/>
                  <a:gd name="connsiteX1" fmla="*/ 111918 w 257175"/>
                  <a:gd name="connsiteY1" fmla="*/ 16668 h 304800"/>
                  <a:gd name="connsiteX2" fmla="*/ 202406 w 257175"/>
                  <a:gd name="connsiteY2" fmla="*/ 33336 h 304800"/>
                  <a:gd name="connsiteX3" fmla="*/ 226218 w 257175"/>
                  <a:gd name="connsiteY3" fmla="*/ 42861 h 304800"/>
                  <a:gd name="connsiteX4" fmla="*/ 233361 w 257175"/>
                  <a:gd name="connsiteY4" fmla="*/ 85724 h 304800"/>
                  <a:gd name="connsiteX5" fmla="*/ 257175 w 257175"/>
                  <a:gd name="connsiteY5" fmla="*/ 97632 h 304800"/>
                  <a:gd name="connsiteX6" fmla="*/ 209549 w 257175"/>
                  <a:gd name="connsiteY6" fmla="*/ 304800 h 304800"/>
                  <a:gd name="connsiteX7" fmla="*/ 0 w 257175"/>
                  <a:gd name="connsiteY7" fmla="*/ 302418 h 304800"/>
                  <a:gd name="connsiteX8" fmla="*/ 0 w 257175"/>
                  <a:gd name="connsiteY8" fmla="*/ 0 h 304800"/>
                  <a:gd name="connsiteX0" fmla="*/ 0 w 257175"/>
                  <a:gd name="connsiteY0" fmla="*/ 0 h 304800"/>
                  <a:gd name="connsiteX1" fmla="*/ 183355 w 257175"/>
                  <a:gd name="connsiteY1" fmla="*/ 42862 h 304800"/>
                  <a:gd name="connsiteX2" fmla="*/ 202406 w 257175"/>
                  <a:gd name="connsiteY2" fmla="*/ 33336 h 304800"/>
                  <a:gd name="connsiteX3" fmla="*/ 226218 w 257175"/>
                  <a:gd name="connsiteY3" fmla="*/ 42861 h 304800"/>
                  <a:gd name="connsiteX4" fmla="*/ 233361 w 257175"/>
                  <a:gd name="connsiteY4" fmla="*/ 85724 h 304800"/>
                  <a:gd name="connsiteX5" fmla="*/ 257175 w 257175"/>
                  <a:gd name="connsiteY5" fmla="*/ 97632 h 304800"/>
                  <a:gd name="connsiteX6" fmla="*/ 209549 w 257175"/>
                  <a:gd name="connsiteY6" fmla="*/ 304800 h 304800"/>
                  <a:gd name="connsiteX7" fmla="*/ 0 w 257175"/>
                  <a:gd name="connsiteY7" fmla="*/ 302418 h 304800"/>
                  <a:gd name="connsiteX8" fmla="*/ 0 w 257175"/>
                  <a:gd name="connsiteY8" fmla="*/ 0 h 304800"/>
                  <a:gd name="connsiteX0" fmla="*/ 0 w 257175"/>
                  <a:gd name="connsiteY0" fmla="*/ 0 h 304800"/>
                  <a:gd name="connsiteX1" fmla="*/ 71436 w 257175"/>
                  <a:gd name="connsiteY1" fmla="*/ 14287 h 304800"/>
                  <a:gd name="connsiteX2" fmla="*/ 183355 w 257175"/>
                  <a:gd name="connsiteY2" fmla="*/ 42862 h 304800"/>
                  <a:gd name="connsiteX3" fmla="*/ 202406 w 257175"/>
                  <a:gd name="connsiteY3" fmla="*/ 33336 h 304800"/>
                  <a:gd name="connsiteX4" fmla="*/ 226218 w 257175"/>
                  <a:gd name="connsiteY4" fmla="*/ 42861 h 304800"/>
                  <a:gd name="connsiteX5" fmla="*/ 233361 w 257175"/>
                  <a:gd name="connsiteY5" fmla="*/ 85724 h 304800"/>
                  <a:gd name="connsiteX6" fmla="*/ 257175 w 257175"/>
                  <a:gd name="connsiteY6" fmla="*/ 97632 h 304800"/>
                  <a:gd name="connsiteX7" fmla="*/ 209549 w 257175"/>
                  <a:gd name="connsiteY7" fmla="*/ 304800 h 304800"/>
                  <a:gd name="connsiteX8" fmla="*/ 0 w 257175"/>
                  <a:gd name="connsiteY8" fmla="*/ 302418 h 304800"/>
                  <a:gd name="connsiteX9" fmla="*/ 0 w 257175"/>
                  <a:gd name="connsiteY9" fmla="*/ 0 h 304800"/>
                  <a:gd name="connsiteX0" fmla="*/ 0 w 257175"/>
                  <a:gd name="connsiteY0" fmla="*/ 0 h 304800"/>
                  <a:gd name="connsiteX1" fmla="*/ 164305 w 257175"/>
                  <a:gd name="connsiteY1" fmla="*/ 40481 h 304800"/>
                  <a:gd name="connsiteX2" fmla="*/ 183355 w 257175"/>
                  <a:gd name="connsiteY2" fmla="*/ 42862 h 304800"/>
                  <a:gd name="connsiteX3" fmla="*/ 202406 w 257175"/>
                  <a:gd name="connsiteY3" fmla="*/ 33336 h 304800"/>
                  <a:gd name="connsiteX4" fmla="*/ 226218 w 257175"/>
                  <a:gd name="connsiteY4" fmla="*/ 42861 h 304800"/>
                  <a:gd name="connsiteX5" fmla="*/ 233361 w 257175"/>
                  <a:gd name="connsiteY5" fmla="*/ 85724 h 304800"/>
                  <a:gd name="connsiteX6" fmla="*/ 257175 w 257175"/>
                  <a:gd name="connsiteY6" fmla="*/ 97632 h 304800"/>
                  <a:gd name="connsiteX7" fmla="*/ 209549 w 257175"/>
                  <a:gd name="connsiteY7" fmla="*/ 304800 h 304800"/>
                  <a:gd name="connsiteX8" fmla="*/ 0 w 257175"/>
                  <a:gd name="connsiteY8" fmla="*/ 302418 h 304800"/>
                  <a:gd name="connsiteX9" fmla="*/ 0 w 257175"/>
                  <a:gd name="connsiteY9" fmla="*/ 0 h 304800"/>
                  <a:gd name="connsiteX0" fmla="*/ 0 w 257175"/>
                  <a:gd name="connsiteY0" fmla="*/ 0 h 304800"/>
                  <a:gd name="connsiteX1" fmla="*/ 73818 w 257175"/>
                  <a:gd name="connsiteY1" fmla="*/ 21430 h 304800"/>
                  <a:gd name="connsiteX2" fmla="*/ 164305 w 257175"/>
                  <a:gd name="connsiteY2" fmla="*/ 40481 h 304800"/>
                  <a:gd name="connsiteX3" fmla="*/ 183355 w 257175"/>
                  <a:gd name="connsiteY3" fmla="*/ 42862 h 304800"/>
                  <a:gd name="connsiteX4" fmla="*/ 202406 w 257175"/>
                  <a:gd name="connsiteY4" fmla="*/ 33336 h 304800"/>
                  <a:gd name="connsiteX5" fmla="*/ 226218 w 257175"/>
                  <a:gd name="connsiteY5" fmla="*/ 42861 h 304800"/>
                  <a:gd name="connsiteX6" fmla="*/ 233361 w 257175"/>
                  <a:gd name="connsiteY6" fmla="*/ 85724 h 304800"/>
                  <a:gd name="connsiteX7" fmla="*/ 257175 w 257175"/>
                  <a:gd name="connsiteY7" fmla="*/ 97632 h 304800"/>
                  <a:gd name="connsiteX8" fmla="*/ 209549 w 257175"/>
                  <a:gd name="connsiteY8" fmla="*/ 304800 h 304800"/>
                  <a:gd name="connsiteX9" fmla="*/ 0 w 257175"/>
                  <a:gd name="connsiteY9" fmla="*/ 302418 h 304800"/>
                  <a:gd name="connsiteX10" fmla="*/ 0 w 257175"/>
                  <a:gd name="connsiteY10" fmla="*/ 0 h 304800"/>
                  <a:gd name="connsiteX0" fmla="*/ 0 w 257175"/>
                  <a:gd name="connsiteY0" fmla="*/ 0 h 304800"/>
                  <a:gd name="connsiteX1" fmla="*/ 173830 w 257175"/>
                  <a:gd name="connsiteY1" fmla="*/ 7142 h 304800"/>
                  <a:gd name="connsiteX2" fmla="*/ 164305 w 257175"/>
                  <a:gd name="connsiteY2" fmla="*/ 40481 h 304800"/>
                  <a:gd name="connsiteX3" fmla="*/ 183355 w 257175"/>
                  <a:gd name="connsiteY3" fmla="*/ 42862 h 304800"/>
                  <a:gd name="connsiteX4" fmla="*/ 202406 w 257175"/>
                  <a:gd name="connsiteY4" fmla="*/ 33336 h 304800"/>
                  <a:gd name="connsiteX5" fmla="*/ 226218 w 257175"/>
                  <a:gd name="connsiteY5" fmla="*/ 42861 h 304800"/>
                  <a:gd name="connsiteX6" fmla="*/ 233361 w 257175"/>
                  <a:gd name="connsiteY6" fmla="*/ 85724 h 304800"/>
                  <a:gd name="connsiteX7" fmla="*/ 257175 w 257175"/>
                  <a:gd name="connsiteY7" fmla="*/ 97632 h 304800"/>
                  <a:gd name="connsiteX8" fmla="*/ 209549 w 257175"/>
                  <a:gd name="connsiteY8" fmla="*/ 304800 h 304800"/>
                  <a:gd name="connsiteX9" fmla="*/ 0 w 257175"/>
                  <a:gd name="connsiteY9" fmla="*/ 302418 h 304800"/>
                  <a:gd name="connsiteX10" fmla="*/ 0 w 257175"/>
                  <a:gd name="connsiteY10" fmla="*/ 0 h 304800"/>
                  <a:gd name="connsiteX0" fmla="*/ 0 w 257175"/>
                  <a:gd name="connsiteY0" fmla="*/ 0 h 304800"/>
                  <a:gd name="connsiteX1" fmla="*/ 173830 w 257175"/>
                  <a:gd name="connsiteY1" fmla="*/ 7142 h 304800"/>
                  <a:gd name="connsiteX2" fmla="*/ 176211 w 257175"/>
                  <a:gd name="connsiteY2" fmla="*/ 45244 h 304800"/>
                  <a:gd name="connsiteX3" fmla="*/ 183355 w 257175"/>
                  <a:gd name="connsiteY3" fmla="*/ 42862 h 304800"/>
                  <a:gd name="connsiteX4" fmla="*/ 202406 w 257175"/>
                  <a:gd name="connsiteY4" fmla="*/ 33336 h 304800"/>
                  <a:gd name="connsiteX5" fmla="*/ 226218 w 257175"/>
                  <a:gd name="connsiteY5" fmla="*/ 42861 h 304800"/>
                  <a:gd name="connsiteX6" fmla="*/ 233361 w 257175"/>
                  <a:gd name="connsiteY6" fmla="*/ 85724 h 304800"/>
                  <a:gd name="connsiteX7" fmla="*/ 257175 w 257175"/>
                  <a:gd name="connsiteY7" fmla="*/ 97632 h 304800"/>
                  <a:gd name="connsiteX8" fmla="*/ 209549 w 257175"/>
                  <a:gd name="connsiteY8" fmla="*/ 304800 h 304800"/>
                  <a:gd name="connsiteX9" fmla="*/ 0 w 257175"/>
                  <a:gd name="connsiteY9" fmla="*/ 302418 h 304800"/>
                  <a:gd name="connsiteX10" fmla="*/ 0 w 257175"/>
                  <a:gd name="connsiteY10" fmla="*/ 0 h 304800"/>
                  <a:gd name="connsiteX0" fmla="*/ 0 w 257175"/>
                  <a:gd name="connsiteY0" fmla="*/ 0 h 304800"/>
                  <a:gd name="connsiteX1" fmla="*/ 88105 w 257175"/>
                  <a:gd name="connsiteY1" fmla="*/ 7143 h 304800"/>
                  <a:gd name="connsiteX2" fmla="*/ 173830 w 257175"/>
                  <a:gd name="connsiteY2" fmla="*/ 7142 h 304800"/>
                  <a:gd name="connsiteX3" fmla="*/ 176211 w 257175"/>
                  <a:gd name="connsiteY3" fmla="*/ 45244 h 304800"/>
                  <a:gd name="connsiteX4" fmla="*/ 183355 w 257175"/>
                  <a:gd name="connsiteY4" fmla="*/ 42862 h 304800"/>
                  <a:gd name="connsiteX5" fmla="*/ 202406 w 257175"/>
                  <a:gd name="connsiteY5" fmla="*/ 33336 h 304800"/>
                  <a:gd name="connsiteX6" fmla="*/ 226218 w 257175"/>
                  <a:gd name="connsiteY6" fmla="*/ 42861 h 304800"/>
                  <a:gd name="connsiteX7" fmla="*/ 233361 w 257175"/>
                  <a:gd name="connsiteY7" fmla="*/ 85724 h 304800"/>
                  <a:gd name="connsiteX8" fmla="*/ 257175 w 257175"/>
                  <a:gd name="connsiteY8" fmla="*/ 97632 h 304800"/>
                  <a:gd name="connsiteX9" fmla="*/ 209549 w 257175"/>
                  <a:gd name="connsiteY9" fmla="*/ 304800 h 304800"/>
                  <a:gd name="connsiteX10" fmla="*/ 0 w 257175"/>
                  <a:gd name="connsiteY10" fmla="*/ 302418 h 304800"/>
                  <a:gd name="connsiteX11" fmla="*/ 0 w 257175"/>
                  <a:gd name="connsiteY11" fmla="*/ 0 h 304800"/>
                  <a:gd name="connsiteX0" fmla="*/ 0 w 257175"/>
                  <a:gd name="connsiteY0" fmla="*/ 2382 h 307182"/>
                  <a:gd name="connsiteX1" fmla="*/ 142874 w 257175"/>
                  <a:gd name="connsiteY1" fmla="*/ 0 h 307182"/>
                  <a:gd name="connsiteX2" fmla="*/ 173830 w 257175"/>
                  <a:gd name="connsiteY2" fmla="*/ 9524 h 307182"/>
                  <a:gd name="connsiteX3" fmla="*/ 176211 w 257175"/>
                  <a:gd name="connsiteY3" fmla="*/ 47626 h 307182"/>
                  <a:gd name="connsiteX4" fmla="*/ 183355 w 257175"/>
                  <a:gd name="connsiteY4" fmla="*/ 45244 h 307182"/>
                  <a:gd name="connsiteX5" fmla="*/ 202406 w 257175"/>
                  <a:gd name="connsiteY5" fmla="*/ 35718 h 307182"/>
                  <a:gd name="connsiteX6" fmla="*/ 226218 w 257175"/>
                  <a:gd name="connsiteY6" fmla="*/ 45243 h 307182"/>
                  <a:gd name="connsiteX7" fmla="*/ 233361 w 257175"/>
                  <a:gd name="connsiteY7" fmla="*/ 88106 h 307182"/>
                  <a:gd name="connsiteX8" fmla="*/ 257175 w 257175"/>
                  <a:gd name="connsiteY8" fmla="*/ 100014 h 307182"/>
                  <a:gd name="connsiteX9" fmla="*/ 209549 w 257175"/>
                  <a:gd name="connsiteY9" fmla="*/ 307182 h 307182"/>
                  <a:gd name="connsiteX10" fmla="*/ 0 w 257175"/>
                  <a:gd name="connsiteY10" fmla="*/ 304800 h 307182"/>
                  <a:gd name="connsiteX11" fmla="*/ 0 w 257175"/>
                  <a:gd name="connsiteY11" fmla="*/ 2382 h 307182"/>
                  <a:gd name="connsiteX0" fmla="*/ 0 w 257175"/>
                  <a:gd name="connsiteY0" fmla="*/ 4764 h 309564"/>
                  <a:gd name="connsiteX1" fmla="*/ 142874 w 257175"/>
                  <a:gd name="connsiteY1" fmla="*/ 0 h 309564"/>
                  <a:gd name="connsiteX2" fmla="*/ 173830 w 257175"/>
                  <a:gd name="connsiteY2" fmla="*/ 11906 h 309564"/>
                  <a:gd name="connsiteX3" fmla="*/ 176211 w 257175"/>
                  <a:gd name="connsiteY3" fmla="*/ 50008 h 309564"/>
                  <a:gd name="connsiteX4" fmla="*/ 183355 w 257175"/>
                  <a:gd name="connsiteY4" fmla="*/ 47626 h 309564"/>
                  <a:gd name="connsiteX5" fmla="*/ 202406 w 257175"/>
                  <a:gd name="connsiteY5" fmla="*/ 38100 h 309564"/>
                  <a:gd name="connsiteX6" fmla="*/ 226218 w 257175"/>
                  <a:gd name="connsiteY6" fmla="*/ 47625 h 309564"/>
                  <a:gd name="connsiteX7" fmla="*/ 233361 w 257175"/>
                  <a:gd name="connsiteY7" fmla="*/ 90488 h 309564"/>
                  <a:gd name="connsiteX8" fmla="*/ 257175 w 257175"/>
                  <a:gd name="connsiteY8" fmla="*/ 102396 h 309564"/>
                  <a:gd name="connsiteX9" fmla="*/ 209549 w 257175"/>
                  <a:gd name="connsiteY9" fmla="*/ 309564 h 309564"/>
                  <a:gd name="connsiteX10" fmla="*/ 0 w 257175"/>
                  <a:gd name="connsiteY10" fmla="*/ 307182 h 309564"/>
                  <a:gd name="connsiteX11" fmla="*/ 0 w 257175"/>
                  <a:gd name="connsiteY11" fmla="*/ 4764 h 309564"/>
                  <a:gd name="connsiteX0" fmla="*/ 0 w 257175"/>
                  <a:gd name="connsiteY0" fmla="*/ 4764 h 309564"/>
                  <a:gd name="connsiteX1" fmla="*/ 64293 w 257175"/>
                  <a:gd name="connsiteY1" fmla="*/ 2382 h 309564"/>
                  <a:gd name="connsiteX2" fmla="*/ 142874 w 257175"/>
                  <a:gd name="connsiteY2" fmla="*/ 0 h 309564"/>
                  <a:gd name="connsiteX3" fmla="*/ 173830 w 257175"/>
                  <a:gd name="connsiteY3" fmla="*/ 11906 h 309564"/>
                  <a:gd name="connsiteX4" fmla="*/ 176211 w 257175"/>
                  <a:gd name="connsiteY4" fmla="*/ 50008 h 309564"/>
                  <a:gd name="connsiteX5" fmla="*/ 183355 w 257175"/>
                  <a:gd name="connsiteY5" fmla="*/ 47626 h 309564"/>
                  <a:gd name="connsiteX6" fmla="*/ 202406 w 257175"/>
                  <a:gd name="connsiteY6" fmla="*/ 38100 h 309564"/>
                  <a:gd name="connsiteX7" fmla="*/ 226218 w 257175"/>
                  <a:gd name="connsiteY7" fmla="*/ 47625 h 309564"/>
                  <a:gd name="connsiteX8" fmla="*/ 233361 w 257175"/>
                  <a:gd name="connsiteY8" fmla="*/ 90488 h 309564"/>
                  <a:gd name="connsiteX9" fmla="*/ 257175 w 257175"/>
                  <a:gd name="connsiteY9" fmla="*/ 102396 h 309564"/>
                  <a:gd name="connsiteX10" fmla="*/ 209549 w 257175"/>
                  <a:gd name="connsiteY10" fmla="*/ 309564 h 309564"/>
                  <a:gd name="connsiteX11" fmla="*/ 0 w 257175"/>
                  <a:gd name="connsiteY11" fmla="*/ 307182 h 309564"/>
                  <a:gd name="connsiteX12" fmla="*/ 0 w 257175"/>
                  <a:gd name="connsiteY12" fmla="*/ 4764 h 309564"/>
                  <a:gd name="connsiteX0" fmla="*/ 0 w 257175"/>
                  <a:gd name="connsiteY0" fmla="*/ 4764 h 309564"/>
                  <a:gd name="connsiteX1" fmla="*/ 128587 w 257175"/>
                  <a:gd name="connsiteY1" fmla="*/ 33338 h 309564"/>
                  <a:gd name="connsiteX2" fmla="*/ 142874 w 257175"/>
                  <a:gd name="connsiteY2" fmla="*/ 0 h 309564"/>
                  <a:gd name="connsiteX3" fmla="*/ 173830 w 257175"/>
                  <a:gd name="connsiteY3" fmla="*/ 11906 h 309564"/>
                  <a:gd name="connsiteX4" fmla="*/ 176211 w 257175"/>
                  <a:gd name="connsiteY4" fmla="*/ 50008 h 309564"/>
                  <a:gd name="connsiteX5" fmla="*/ 183355 w 257175"/>
                  <a:gd name="connsiteY5" fmla="*/ 47626 h 309564"/>
                  <a:gd name="connsiteX6" fmla="*/ 202406 w 257175"/>
                  <a:gd name="connsiteY6" fmla="*/ 38100 h 309564"/>
                  <a:gd name="connsiteX7" fmla="*/ 226218 w 257175"/>
                  <a:gd name="connsiteY7" fmla="*/ 47625 h 309564"/>
                  <a:gd name="connsiteX8" fmla="*/ 233361 w 257175"/>
                  <a:gd name="connsiteY8" fmla="*/ 90488 h 309564"/>
                  <a:gd name="connsiteX9" fmla="*/ 257175 w 257175"/>
                  <a:gd name="connsiteY9" fmla="*/ 102396 h 309564"/>
                  <a:gd name="connsiteX10" fmla="*/ 209549 w 257175"/>
                  <a:gd name="connsiteY10" fmla="*/ 309564 h 309564"/>
                  <a:gd name="connsiteX11" fmla="*/ 0 w 257175"/>
                  <a:gd name="connsiteY11" fmla="*/ 307182 h 309564"/>
                  <a:gd name="connsiteX12" fmla="*/ 0 w 257175"/>
                  <a:gd name="connsiteY12" fmla="*/ 4764 h 309564"/>
                  <a:gd name="connsiteX0" fmla="*/ 0 w 257175"/>
                  <a:gd name="connsiteY0" fmla="*/ 4764 h 309564"/>
                  <a:gd name="connsiteX1" fmla="*/ 128587 w 257175"/>
                  <a:gd name="connsiteY1" fmla="*/ 33338 h 309564"/>
                  <a:gd name="connsiteX2" fmla="*/ 142874 w 257175"/>
                  <a:gd name="connsiteY2" fmla="*/ 0 h 309564"/>
                  <a:gd name="connsiteX3" fmla="*/ 173830 w 257175"/>
                  <a:gd name="connsiteY3" fmla="*/ 11906 h 309564"/>
                  <a:gd name="connsiteX4" fmla="*/ 176211 w 257175"/>
                  <a:gd name="connsiteY4" fmla="*/ 50008 h 309564"/>
                  <a:gd name="connsiteX5" fmla="*/ 197643 w 257175"/>
                  <a:gd name="connsiteY5" fmla="*/ 57151 h 309564"/>
                  <a:gd name="connsiteX6" fmla="*/ 202406 w 257175"/>
                  <a:gd name="connsiteY6" fmla="*/ 38100 h 309564"/>
                  <a:gd name="connsiteX7" fmla="*/ 226218 w 257175"/>
                  <a:gd name="connsiteY7" fmla="*/ 47625 h 309564"/>
                  <a:gd name="connsiteX8" fmla="*/ 233361 w 257175"/>
                  <a:gd name="connsiteY8" fmla="*/ 90488 h 309564"/>
                  <a:gd name="connsiteX9" fmla="*/ 257175 w 257175"/>
                  <a:gd name="connsiteY9" fmla="*/ 102396 h 309564"/>
                  <a:gd name="connsiteX10" fmla="*/ 209549 w 257175"/>
                  <a:gd name="connsiteY10" fmla="*/ 309564 h 309564"/>
                  <a:gd name="connsiteX11" fmla="*/ 0 w 257175"/>
                  <a:gd name="connsiteY11" fmla="*/ 307182 h 309564"/>
                  <a:gd name="connsiteX12" fmla="*/ 0 w 257175"/>
                  <a:gd name="connsiteY12" fmla="*/ 4764 h 309564"/>
                  <a:gd name="connsiteX0" fmla="*/ 0 w 257175"/>
                  <a:gd name="connsiteY0" fmla="*/ 4764 h 309564"/>
                  <a:gd name="connsiteX1" fmla="*/ 128587 w 257175"/>
                  <a:gd name="connsiteY1" fmla="*/ 33338 h 309564"/>
                  <a:gd name="connsiteX2" fmla="*/ 142874 w 257175"/>
                  <a:gd name="connsiteY2" fmla="*/ 0 h 309564"/>
                  <a:gd name="connsiteX3" fmla="*/ 173830 w 257175"/>
                  <a:gd name="connsiteY3" fmla="*/ 11906 h 309564"/>
                  <a:gd name="connsiteX4" fmla="*/ 169068 w 257175"/>
                  <a:gd name="connsiteY4" fmla="*/ 45246 h 309564"/>
                  <a:gd name="connsiteX5" fmla="*/ 197643 w 257175"/>
                  <a:gd name="connsiteY5" fmla="*/ 57151 h 309564"/>
                  <a:gd name="connsiteX6" fmla="*/ 202406 w 257175"/>
                  <a:gd name="connsiteY6" fmla="*/ 38100 h 309564"/>
                  <a:gd name="connsiteX7" fmla="*/ 226218 w 257175"/>
                  <a:gd name="connsiteY7" fmla="*/ 47625 h 309564"/>
                  <a:gd name="connsiteX8" fmla="*/ 233361 w 257175"/>
                  <a:gd name="connsiteY8" fmla="*/ 90488 h 309564"/>
                  <a:gd name="connsiteX9" fmla="*/ 257175 w 257175"/>
                  <a:gd name="connsiteY9" fmla="*/ 102396 h 309564"/>
                  <a:gd name="connsiteX10" fmla="*/ 209549 w 257175"/>
                  <a:gd name="connsiteY10" fmla="*/ 309564 h 309564"/>
                  <a:gd name="connsiteX11" fmla="*/ 0 w 257175"/>
                  <a:gd name="connsiteY11" fmla="*/ 307182 h 309564"/>
                  <a:gd name="connsiteX12" fmla="*/ 0 w 257175"/>
                  <a:gd name="connsiteY12" fmla="*/ 4764 h 309564"/>
                  <a:gd name="connsiteX0" fmla="*/ 0 w 257175"/>
                  <a:gd name="connsiteY0" fmla="*/ 4764 h 309564"/>
                  <a:gd name="connsiteX1" fmla="*/ 128587 w 257175"/>
                  <a:gd name="connsiteY1" fmla="*/ 33338 h 309564"/>
                  <a:gd name="connsiteX2" fmla="*/ 142874 w 257175"/>
                  <a:gd name="connsiteY2" fmla="*/ 0 h 309564"/>
                  <a:gd name="connsiteX3" fmla="*/ 173830 w 257175"/>
                  <a:gd name="connsiteY3" fmla="*/ 11906 h 309564"/>
                  <a:gd name="connsiteX4" fmla="*/ 169068 w 257175"/>
                  <a:gd name="connsiteY4" fmla="*/ 45246 h 309564"/>
                  <a:gd name="connsiteX5" fmla="*/ 183355 w 257175"/>
                  <a:gd name="connsiteY5" fmla="*/ 57151 h 309564"/>
                  <a:gd name="connsiteX6" fmla="*/ 202406 w 257175"/>
                  <a:gd name="connsiteY6" fmla="*/ 38100 h 309564"/>
                  <a:gd name="connsiteX7" fmla="*/ 226218 w 257175"/>
                  <a:gd name="connsiteY7" fmla="*/ 47625 h 309564"/>
                  <a:gd name="connsiteX8" fmla="*/ 233361 w 257175"/>
                  <a:gd name="connsiteY8" fmla="*/ 90488 h 309564"/>
                  <a:gd name="connsiteX9" fmla="*/ 257175 w 257175"/>
                  <a:gd name="connsiteY9" fmla="*/ 102396 h 309564"/>
                  <a:gd name="connsiteX10" fmla="*/ 209549 w 257175"/>
                  <a:gd name="connsiteY10" fmla="*/ 309564 h 309564"/>
                  <a:gd name="connsiteX11" fmla="*/ 0 w 257175"/>
                  <a:gd name="connsiteY11" fmla="*/ 307182 h 309564"/>
                  <a:gd name="connsiteX12" fmla="*/ 0 w 257175"/>
                  <a:gd name="connsiteY12" fmla="*/ 4764 h 309564"/>
                  <a:gd name="connsiteX0" fmla="*/ 0 w 257175"/>
                  <a:gd name="connsiteY0" fmla="*/ 4764 h 309564"/>
                  <a:gd name="connsiteX1" fmla="*/ 88105 w 257175"/>
                  <a:gd name="connsiteY1" fmla="*/ 23813 h 309564"/>
                  <a:gd name="connsiteX2" fmla="*/ 128587 w 257175"/>
                  <a:gd name="connsiteY2" fmla="*/ 33338 h 309564"/>
                  <a:gd name="connsiteX3" fmla="*/ 142874 w 257175"/>
                  <a:gd name="connsiteY3" fmla="*/ 0 h 309564"/>
                  <a:gd name="connsiteX4" fmla="*/ 173830 w 257175"/>
                  <a:gd name="connsiteY4" fmla="*/ 11906 h 309564"/>
                  <a:gd name="connsiteX5" fmla="*/ 169068 w 257175"/>
                  <a:gd name="connsiteY5" fmla="*/ 45246 h 309564"/>
                  <a:gd name="connsiteX6" fmla="*/ 183355 w 257175"/>
                  <a:gd name="connsiteY6" fmla="*/ 57151 h 309564"/>
                  <a:gd name="connsiteX7" fmla="*/ 202406 w 257175"/>
                  <a:gd name="connsiteY7" fmla="*/ 38100 h 309564"/>
                  <a:gd name="connsiteX8" fmla="*/ 226218 w 257175"/>
                  <a:gd name="connsiteY8" fmla="*/ 47625 h 309564"/>
                  <a:gd name="connsiteX9" fmla="*/ 233361 w 257175"/>
                  <a:gd name="connsiteY9" fmla="*/ 90488 h 309564"/>
                  <a:gd name="connsiteX10" fmla="*/ 257175 w 257175"/>
                  <a:gd name="connsiteY10" fmla="*/ 102396 h 309564"/>
                  <a:gd name="connsiteX11" fmla="*/ 209549 w 257175"/>
                  <a:gd name="connsiteY11" fmla="*/ 309564 h 309564"/>
                  <a:gd name="connsiteX12" fmla="*/ 0 w 257175"/>
                  <a:gd name="connsiteY12" fmla="*/ 307182 h 309564"/>
                  <a:gd name="connsiteX13" fmla="*/ 0 w 257175"/>
                  <a:gd name="connsiteY13" fmla="*/ 4764 h 309564"/>
                  <a:gd name="connsiteX0" fmla="*/ 0 w 257175"/>
                  <a:gd name="connsiteY0" fmla="*/ 4764 h 309564"/>
                  <a:gd name="connsiteX1" fmla="*/ 111917 w 257175"/>
                  <a:gd name="connsiteY1" fmla="*/ 26195 h 309564"/>
                  <a:gd name="connsiteX2" fmla="*/ 128587 w 257175"/>
                  <a:gd name="connsiteY2" fmla="*/ 33338 h 309564"/>
                  <a:gd name="connsiteX3" fmla="*/ 142874 w 257175"/>
                  <a:gd name="connsiteY3" fmla="*/ 0 h 309564"/>
                  <a:gd name="connsiteX4" fmla="*/ 173830 w 257175"/>
                  <a:gd name="connsiteY4" fmla="*/ 11906 h 309564"/>
                  <a:gd name="connsiteX5" fmla="*/ 169068 w 257175"/>
                  <a:gd name="connsiteY5" fmla="*/ 45246 h 309564"/>
                  <a:gd name="connsiteX6" fmla="*/ 183355 w 257175"/>
                  <a:gd name="connsiteY6" fmla="*/ 57151 h 309564"/>
                  <a:gd name="connsiteX7" fmla="*/ 202406 w 257175"/>
                  <a:gd name="connsiteY7" fmla="*/ 38100 h 309564"/>
                  <a:gd name="connsiteX8" fmla="*/ 226218 w 257175"/>
                  <a:gd name="connsiteY8" fmla="*/ 47625 h 309564"/>
                  <a:gd name="connsiteX9" fmla="*/ 233361 w 257175"/>
                  <a:gd name="connsiteY9" fmla="*/ 90488 h 309564"/>
                  <a:gd name="connsiteX10" fmla="*/ 257175 w 257175"/>
                  <a:gd name="connsiteY10" fmla="*/ 102396 h 309564"/>
                  <a:gd name="connsiteX11" fmla="*/ 209549 w 257175"/>
                  <a:gd name="connsiteY11" fmla="*/ 309564 h 309564"/>
                  <a:gd name="connsiteX12" fmla="*/ 0 w 257175"/>
                  <a:gd name="connsiteY12" fmla="*/ 307182 h 309564"/>
                  <a:gd name="connsiteX13" fmla="*/ 0 w 257175"/>
                  <a:gd name="connsiteY13" fmla="*/ 4764 h 309564"/>
                  <a:gd name="connsiteX0" fmla="*/ 0 w 257175"/>
                  <a:gd name="connsiteY0" fmla="*/ 4764 h 309564"/>
                  <a:gd name="connsiteX1" fmla="*/ 40480 w 257175"/>
                  <a:gd name="connsiteY1" fmla="*/ 9526 h 309564"/>
                  <a:gd name="connsiteX2" fmla="*/ 111917 w 257175"/>
                  <a:gd name="connsiteY2" fmla="*/ 26195 h 309564"/>
                  <a:gd name="connsiteX3" fmla="*/ 128587 w 257175"/>
                  <a:gd name="connsiteY3" fmla="*/ 33338 h 309564"/>
                  <a:gd name="connsiteX4" fmla="*/ 142874 w 257175"/>
                  <a:gd name="connsiteY4" fmla="*/ 0 h 309564"/>
                  <a:gd name="connsiteX5" fmla="*/ 173830 w 257175"/>
                  <a:gd name="connsiteY5" fmla="*/ 11906 h 309564"/>
                  <a:gd name="connsiteX6" fmla="*/ 169068 w 257175"/>
                  <a:gd name="connsiteY6" fmla="*/ 45246 h 309564"/>
                  <a:gd name="connsiteX7" fmla="*/ 183355 w 257175"/>
                  <a:gd name="connsiteY7" fmla="*/ 57151 h 309564"/>
                  <a:gd name="connsiteX8" fmla="*/ 202406 w 257175"/>
                  <a:gd name="connsiteY8" fmla="*/ 38100 h 309564"/>
                  <a:gd name="connsiteX9" fmla="*/ 226218 w 257175"/>
                  <a:gd name="connsiteY9" fmla="*/ 47625 h 309564"/>
                  <a:gd name="connsiteX10" fmla="*/ 233361 w 257175"/>
                  <a:gd name="connsiteY10" fmla="*/ 90488 h 309564"/>
                  <a:gd name="connsiteX11" fmla="*/ 257175 w 257175"/>
                  <a:gd name="connsiteY11" fmla="*/ 102396 h 309564"/>
                  <a:gd name="connsiteX12" fmla="*/ 209549 w 257175"/>
                  <a:gd name="connsiteY12" fmla="*/ 309564 h 309564"/>
                  <a:gd name="connsiteX13" fmla="*/ 0 w 257175"/>
                  <a:gd name="connsiteY13" fmla="*/ 307182 h 309564"/>
                  <a:gd name="connsiteX14" fmla="*/ 0 w 257175"/>
                  <a:gd name="connsiteY14" fmla="*/ 4764 h 309564"/>
                  <a:gd name="connsiteX0" fmla="*/ 0 w 257175"/>
                  <a:gd name="connsiteY0" fmla="*/ 150019 h 454819"/>
                  <a:gd name="connsiteX1" fmla="*/ 104774 w 257175"/>
                  <a:gd name="connsiteY1" fmla="*/ 0 h 454819"/>
                  <a:gd name="connsiteX2" fmla="*/ 111917 w 257175"/>
                  <a:gd name="connsiteY2" fmla="*/ 171450 h 454819"/>
                  <a:gd name="connsiteX3" fmla="*/ 128587 w 257175"/>
                  <a:gd name="connsiteY3" fmla="*/ 178593 h 454819"/>
                  <a:gd name="connsiteX4" fmla="*/ 142874 w 257175"/>
                  <a:gd name="connsiteY4" fmla="*/ 145255 h 454819"/>
                  <a:gd name="connsiteX5" fmla="*/ 173830 w 257175"/>
                  <a:gd name="connsiteY5" fmla="*/ 157161 h 454819"/>
                  <a:gd name="connsiteX6" fmla="*/ 169068 w 257175"/>
                  <a:gd name="connsiteY6" fmla="*/ 190501 h 454819"/>
                  <a:gd name="connsiteX7" fmla="*/ 183355 w 257175"/>
                  <a:gd name="connsiteY7" fmla="*/ 202406 h 454819"/>
                  <a:gd name="connsiteX8" fmla="*/ 202406 w 257175"/>
                  <a:gd name="connsiteY8" fmla="*/ 183355 h 454819"/>
                  <a:gd name="connsiteX9" fmla="*/ 226218 w 257175"/>
                  <a:gd name="connsiteY9" fmla="*/ 192880 h 454819"/>
                  <a:gd name="connsiteX10" fmla="*/ 233361 w 257175"/>
                  <a:gd name="connsiteY10" fmla="*/ 235743 h 454819"/>
                  <a:gd name="connsiteX11" fmla="*/ 257175 w 257175"/>
                  <a:gd name="connsiteY11" fmla="*/ 247651 h 454819"/>
                  <a:gd name="connsiteX12" fmla="*/ 209549 w 257175"/>
                  <a:gd name="connsiteY12" fmla="*/ 454819 h 454819"/>
                  <a:gd name="connsiteX13" fmla="*/ 0 w 257175"/>
                  <a:gd name="connsiteY13" fmla="*/ 452437 h 454819"/>
                  <a:gd name="connsiteX14" fmla="*/ 0 w 257175"/>
                  <a:gd name="connsiteY14" fmla="*/ 150019 h 454819"/>
                  <a:gd name="connsiteX0" fmla="*/ 0 w 257175"/>
                  <a:gd name="connsiteY0" fmla="*/ 150019 h 454819"/>
                  <a:gd name="connsiteX1" fmla="*/ 38099 w 257175"/>
                  <a:gd name="connsiteY1" fmla="*/ 90488 h 454819"/>
                  <a:gd name="connsiteX2" fmla="*/ 104774 w 257175"/>
                  <a:gd name="connsiteY2" fmla="*/ 0 h 454819"/>
                  <a:gd name="connsiteX3" fmla="*/ 111917 w 257175"/>
                  <a:gd name="connsiteY3" fmla="*/ 171450 h 454819"/>
                  <a:gd name="connsiteX4" fmla="*/ 128587 w 257175"/>
                  <a:gd name="connsiteY4" fmla="*/ 178593 h 454819"/>
                  <a:gd name="connsiteX5" fmla="*/ 142874 w 257175"/>
                  <a:gd name="connsiteY5" fmla="*/ 145255 h 454819"/>
                  <a:gd name="connsiteX6" fmla="*/ 173830 w 257175"/>
                  <a:gd name="connsiteY6" fmla="*/ 157161 h 454819"/>
                  <a:gd name="connsiteX7" fmla="*/ 169068 w 257175"/>
                  <a:gd name="connsiteY7" fmla="*/ 190501 h 454819"/>
                  <a:gd name="connsiteX8" fmla="*/ 183355 w 257175"/>
                  <a:gd name="connsiteY8" fmla="*/ 202406 h 454819"/>
                  <a:gd name="connsiteX9" fmla="*/ 202406 w 257175"/>
                  <a:gd name="connsiteY9" fmla="*/ 183355 h 454819"/>
                  <a:gd name="connsiteX10" fmla="*/ 226218 w 257175"/>
                  <a:gd name="connsiteY10" fmla="*/ 192880 h 454819"/>
                  <a:gd name="connsiteX11" fmla="*/ 233361 w 257175"/>
                  <a:gd name="connsiteY11" fmla="*/ 235743 h 454819"/>
                  <a:gd name="connsiteX12" fmla="*/ 257175 w 257175"/>
                  <a:gd name="connsiteY12" fmla="*/ 247651 h 454819"/>
                  <a:gd name="connsiteX13" fmla="*/ 209549 w 257175"/>
                  <a:gd name="connsiteY13" fmla="*/ 454819 h 454819"/>
                  <a:gd name="connsiteX14" fmla="*/ 0 w 257175"/>
                  <a:gd name="connsiteY14" fmla="*/ 452437 h 454819"/>
                  <a:gd name="connsiteX15" fmla="*/ 0 w 257175"/>
                  <a:gd name="connsiteY15" fmla="*/ 150019 h 454819"/>
                  <a:gd name="connsiteX0" fmla="*/ 0 w 257175"/>
                  <a:gd name="connsiteY0" fmla="*/ 150019 h 454819"/>
                  <a:gd name="connsiteX1" fmla="*/ 57149 w 257175"/>
                  <a:gd name="connsiteY1" fmla="*/ 2381 h 454819"/>
                  <a:gd name="connsiteX2" fmla="*/ 104774 w 257175"/>
                  <a:gd name="connsiteY2" fmla="*/ 0 h 454819"/>
                  <a:gd name="connsiteX3" fmla="*/ 111917 w 257175"/>
                  <a:gd name="connsiteY3" fmla="*/ 171450 h 454819"/>
                  <a:gd name="connsiteX4" fmla="*/ 128587 w 257175"/>
                  <a:gd name="connsiteY4" fmla="*/ 178593 h 454819"/>
                  <a:gd name="connsiteX5" fmla="*/ 142874 w 257175"/>
                  <a:gd name="connsiteY5" fmla="*/ 145255 h 454819"/>
                  <a:gd name="connsiteX6" fmla="*/ 173830 w 257175"/>
                  <a:gd name="connsiteY6" fmla="*/ 157161 h 454819"/>
                  <a:gd name="connsiteX7" fmla="*/ 169068 w 257175"/>
                  <a:gd name="connsiteY7" fmla="*/ 190501 h 454819"/>
                  <a:gd name="connsiteX8" fmla="*/ 183355 w 257175"/>
                  <a:gd name="connsiteY8" fmla="*/ 202406 h 454819"/>
                  <a:gd name="connsiteX9" fmla="*/ 202406 w 257175"/>
                  <a:gd name="connsiteY9" fmla="*/ 183355 h 454819"/>
                  <a:gd name="connsiteX10" fmla="*/ 226218 w 257175"/>
                  <a:gd name="connsiteY10" fmla="*/ 192880 h 454819"/>
                  <a:gd name="connsiteX11" fmla="*/ 233361 w 257175"/>
                  <a:gd name="connsiteY11" fmla="*/ 235743 h 454819"/>
                  <a:gd name="connsiteX12" fmla="*/ 257175 w 257175"/>
                  <a:gd name="connsiteY12" fmla="*/ 247651 h 454819"/>
                  <a:gd name="connsiteX13" fmla="*/ 209549 w 257175"/>
                  <a:gd name="connsiteY13" fmla="*/ 454819 h 454819"/>
                  <a:gd name="connsiteX14" fmla="*/ 0 w 257175"/>
                  <a:gd name="connsiteY14" fmla="*/ 452437 h 454819"/>
                  <a:gd name="connsiteX15" fmla="*/ 0 w 257175"/>
                  <a:gd name="connsiteY15" fmla="*/ 150019 h 454819"/>
                  <a:gd name="connsiteX0" fmla="*/ 0 w 271463"/>
                  <a:gd name="connsiteY0" fmla="*/ 202407 h 454819"/>
                  <a:gd name="connsiteX1" fmla="*/ 71437 w 271463"/>
                  <a:gd name="connsiteY1" fmla="*/ 2381 h 454819"/>
                  <a:gd name="connsiteX2" fmla="*/ 119062 w 271463"/>
                  <a:gd name="connsiteY2" fmla="*/ 0 h 454819"/>
                  <a:gd name="connsiteX3" fmla="*/ 126205 w 271463"/>
                  <a:gd name="connsiteY3" fmla="*/ 171450 h 454819"/>
                  <a:gd name="connsiteX4" fmla="*/ 142875 w 271463"/>
                  <a:gd name="connsiteY4" fmla="*/ 178593 h 454819"/>
                  <a:gd name="connsiteX5" fmla="*/ 157162 w 271463"/>
                  <a:gd name="connsiteY5" fmla="*/ 145255 h 454819"/>
                  <a:gd name="connsiteX6" fmla="*/ 188118 w 271463"/>
                  <a:gd name="connsiteY6" fmla="*/ 157161 h 454819"/>
                  <a:gd name="connsiteX7" fmla="*/ 183356 w 271463"/>
                  <a:gd name="connsiteY7" fmla="*/ 190501 h 454819"/>
                  <a:gd name="connsiteX8" fmla="*/ 197643 w 271463"/>
                  <a:gd name="connsiteY8" fmla="*/ 202406 h 454819"/>
                  <a:gd name="connsiteX9" fmla="*/ 216694 w 271463"/>
                  <a:gd name="connsiteY9" fmla="*/ 183355 h 454819"/>
                  <a:gd name="connsiteX10" fmla="*/ 240506 w 271463"/>
                  <a:gd name="connsiteY10" fmla="*/ 192880 h 454819"/>
                  <a:gd name="connsiteX11" fmla="*/ 247649 w 271463"/>
                  <a:gd name="connsiteY11" fmla="*/ 235743 h 454819"/>
                  <a:gd name="connsiteX12" fmla="*/ 271463 w 271463"/>
                  <a:gd name="connsiteY12" fmla="*/ 247651 h 454819"/>
                  <a:gd name="connsiteX13" fmla="*/ 223837 w 271463"/>
                  <a:gd name="connsiteY13" fmla="*/ 454819 h 454819"/>
                  <a:gd name="connsiteX14" fmla="*/ 14288 w 271463"/>
                  <a:gd name="connsiteY14" fmla="*/ 452437 h 454819"/>
                  <a:gd name="connsiteX15" fmla="*/ 0 w 271463"/>
                  <a:gd name="connsiteY15" fmla="*/ 202407 h 454819"/>
                  <a:gd name="connsiteX0" fmla="*/ 0 w 271463"/>
                  <a:gd name="connsiteY0" fmla="*/ 202407 h 464344"/>
                  <a:gd name="connsiteX1" fmla="*/ 71437 w 271463"/>
                  <a:gd name="connsiteY1" fmla="*/ 2381 h 464344"/>
                  <a:gd name="connsiteX2" fmla="*/ 119062 w 271463"/>
                  <a:gd name="connsiteY2" fmla="*/ 0 h 464344"/>
                  <a:gd name="connsiteX3" fmla="*/ 126205 w 271463"/>
                  <a:gd name="connsiteY3" fmla="*/ 171450 h 464344"/>
                  <a:gd name="connsiteX4" fmla="*/ 142875 w 271463"/>
                  <a:gd name="connsiteY4" fmla="*/ 178593 h 464344"/>
                  <a:gd name="connsiteX5" fmla="*/ 157162 w 271463"/>
                  <a:gd name="connsiteY5" fmla="*/ 145255 h 464344"/>
                  <a:gd name="connsiteX6" fmla="*/ 188118 w 271463"/>
                  <a:gd name="connsiteY6" fmla="*/ 157161 h 464344"/>
                  <a:gd name="connsiteX7" fmla="*/ 183356 w 271463"/>
                  <a:gd name="connsiteY7" fmla="*/ 190501 h 464344"/>
                  <a:gd name="connsiteX8" fmla="*/ 197643 w 271463"/>
                  <a:gd name="connsiteY8" fmla="*/ 202406 h 464344"/>
                  <a:gd name="connsiteX9" fmla="*/ 216694 w 271463"/>
                  <a:gd name="connsiteY9" fmla="*/ 183355 h 464344"/>
                  <a:gd name="connsiteX10" fmla="*/ 240506 w 271463"/>
                  <a:gd name="connsiteY10" fmla="*/ 192880 h 464344"/>
                  <a:gd name="connsiteX11" fmla="*/ 247649 w 271463"/>
                  <a:gd name="connsiteY11" fmla="*/ 235743 h 464344"/>
                  <a:gd name="connsiteX12" fmla="*/ 271463 w 271463"/>
                  <a:gd name="connsiteY12" fmla="*/ 247651 h 464344"/>
                  <a:gd name="connsiteX13" fmla="*/ 223837 w 271463"/>
                  <a:gd name="connsiteY13" fmla="*/ 454819 h 464344"/>
                  <a:gd name="connsiteX14" fmla="*/ 69057 w 271463"/>
                  <a:gd name="connsiteY14" fmla="*/ 464344 h 464344"/>
                  <a:gd name="connsiteX15" fmla="*/ 0 w 271463"/>
                  <a:gd name="connsiteY15" fmla="*/ 202407 h 464344"/>
                  <a:gd name="connsiteX0" fmla="*/ 0 w 271463"/>
                  <a:gd name="connsiteY0" fmla="*/ 202407 h 464344"/>
                  <a:gd name="connsiteX1" fmla="*/ 71437 w 271463"/>
                  <a:gd name="connsiteY1" fmla="*/ 2381 h 464344"/>
                  <a:gd name="connsiteX2" fmla="*/ 119062 w 271463"/>
                  <a:gd name="connsiteY2" fmla="*/ 0 h 464344"/>
                  <a:gd name="connsiteX3" fmla="*/ 126205 w 271463"/>
                  <a:gd name="connsiteY3" fmla="*/ 171450 h 464344"/>
                  <a:gd name="connsiteX4" fmla="*/ 142875 w 271463"/>
                  <a:gd name="connsiteY4" fmla="*/ 178593 h 464344"/>
                  <a:gd name="connsiteX5" fmla="*/ 157162 w 271463"/>
                  <a:gd name="connsiteY5" fmla="*/ 145255 h 464344"/>
                  <a:gd name="connsiteX6" fmla="*/ 188118 w 271463"/>
                  <a:gd name="connsiteY6" fmla="*/ 157161 h 464344"/>
                  <a:gd name="connsiteX7" fmla="*/ 183356 w 271463"/>
                  <a:gd name="connsiteY7" fmla="*/ 190501 h 464344"/>
                  <a:gd name="connsiteX8" fmla="*/ 197643 w 271463"/>
                  <a:gd name="connsiteY8" fmla="*/ 202406 h 464344"/>
                  <a:gd name="connsiteX9" fmla="*/ 216694 w 271463"/>
                  <a:gd name="connsiteY9" fmla="*/ 183355 h 464344"/>
                  <a:gd name="connsiteX10" fmla="*/ 240506 w 271463"/>
                  <a:gd name="connsiteY10" fmla="*/ 192880 h 464344"/>
                  <a:gd name="connsiteX11" fmla="*/ 247649 w 271463"/>
                  <a:gd name="connsiteY11" fmla="*/ 235743 h 464344"/>
                  <a:gd name="connsiteX12" fmla="*/ 271463 w 271463"/>
                  <a:gd name="connsiteY12" fmla="*/ 247651 h 464344"/>
                  <a:gd name="connsiteX13" fmla="*/ 223837 w 271463"/>
                  <a:gd name="connsiteY13" fmla="*/ 454819 h 464344"/>
                  <a:gd name="connsiteX14" fmla="*/ 69057 w 271463"/>
                  <a:gd name="connsiteY14" fmla="*/ 464344 h 464344"/>
                  <a:gd name="connsiteX15" fmla="*/ 0 w 271463"/>
                  <a:gd name="connsiteY15" fmla="*/ 202407 h 464344"/>
                  <a:gd name="connsiteX0" fmla="*/ 0 w 271463"/>
                  <a:gd name="connsiteY0" fmla="*/ 202407 h 464344"/>
                  <a:gd name="connsiteX1" fmla="*/ 71437 w 271463"/>
                  <a:gd name="connsiteY1" fmla="*/ 2381 h 464344"/>
                  <a:gd name="connsiteX2" fmla="*/ 119062 w 271463"/>
                  <a:gd name="connsiteY2" fmla="*/ 0 h 464344"/>
                  <a:gd name="connsiteX3" fmla="*/ 126205 w 271463"/>
                  <a:gd name="connsiteY3" fmla="*/ 171450 h 464344"/>
                  <a:gd name="connsiteX4" fmla="*/ 142875 w 271463"/>
                  <a:gd name="connsiteY4" fmla="*/ 178593 h 464344"/>
                  <a:gd name="connsiteX5" fmla="*/ 157162 w 271463"/>
                  <a:gd name="connsiteY5" fmla="*/ 145255 h 464344"/>
                  <a:gd name="connsiteX6" fmla="*/ 188118 w 271463"/>
                  <a:gd name="connsiteY6" fmla="*/ 157161 h 464344"/>
                  <a:gd name="connsiteX7" fmla="*/ 183356 w 271463"/>
                  <a:gd name="connsiteY7" fmla="*/ 190501 h 464344"/>
                  <a:gd name="connsiteX8" fmla="*/ 197643 w 271463"/>
                  <a:gd name="connsiteY8" fmla="*/ 202406 h 464344"/>
                  <a:gd name="connsiteX9" fmla="*/ 216694 w 271463"/>
                  <a:gd name="connsiteY9" fmla="*/ 183355 h 464344"/>
                  <a:gd name="connsiteX10" fmla="*/ 240506 w 271463"/>
                  <a:gd name="connsiteY10" fmla="*/ 192880 h 464344"/>
                  <a:gd name="connsiteX11" fmla="*/ 247649 w 271463"/>
                  <a:gd name="connsiteY11" fmla="*/ 235743 h 464344"/>
                  <a:gd name="connsiteX12" fmla="*/ 271463 w 271463"/>
                  <a:gd name="connsiteY12" fmla="*/ 247651 h 464344"/>
                  <a:gd name="connsiteX13" fmla="*/ 223837 w 271463"/>
                  <a:gd name="connsiteY13" fmla="*/ 454819 h 464344"/>
                  <a:gd name="connsiteX14" fmla="*/ 69057 w 271463"/>
                  <a:gd name="connsiteY14" fmla="*/ 464344 h 464344"/>
                  <a:gd name="connsiteX15" fmla="*/ 0 w 271463"/>
                  <a:gd name="connsiteY15" fmla="*/ 202407 h 464344"/>
                  <a:gd name="connsiteX0" fmla="*/ 0 w 271463"/>
                  <a:gd name="connsiteY0" fmla="*/ 202407 h 464344"/>
                  <a:gd name="connsiteX1" fmla="*/ 16668 w 271463"/>
                  <a:gd name="connsiteY1" fmla="*/ 140493 h 464344"/>
                  <a:gd name="connsiteX2" fmla="*/ 71437 w 271463"/>
                  <a:gd name="connsiteY2" fmla="*/ 2381 h 464344"/>
                  <a:gd name="connsiteX3" fmla="*/ 119062 w 271463"/>
                  <a:gd name="connsiteY3" fmla="*/ 0 h 464344"/>
                  <a:gd name="connsiteX4" fmla="*/ 126205 w 271463"/>
                  <a:gd name="connsiteY4" fmla="*/ 171450 h 464344"/>
                  <a:gd name="connsiteX5" fmla="*/ 142875 w 271463"/>
                  <a:gd name="connsiteY5" fmla="*/ 178593 h 464344"/>
                  <a:gd name="connsiteX6" fmla="*/ 157162 w 271463"/>
                  <a:gd name="connsiteY6" fmla="*/ 145255 h 464344"/>
                  <a:gd name="connsiteX7" fmla="*/ 188118 w 271463"/>
                  <a:gd name="connsiteY7" fmla="*/ 157161 h 464344"/>
                  <a:gd name="connsiteX8" fmla="*/ 183356 w 271463"/>
                  <a:gd name="connsiteY8" fmla="*/ 190501 h 464344"/>
                  <a:gd name="connsiteX9" fmla="*/ 197643 w 271463"/>
                  <a:gd name="connsiteY9" fmla="*/ 202406 h 464344"/>
                  <a:gd name="connsiteX10" fmla="*/ 216694 w 271463"/>
                  <a:gd name="connsiteY10" fmla="*/ 183355 h 464344"/>
                  <a:gd name="connsiteX11" fmla="*/ 240506 w 271463"/>
                  <a:gd name="connsiteY11" fmla="*/ 192880 h 464344"/>
                  <a:gd name="connsiteX12" fmla="*/ 247649 w 271463"/>
                  <a:gd name="connsiteY12" fmla="*/ 235743 h 464344"/>
                  <a:gd name="connsiteX13" fmla="*/ 271463 w 271463"/>
                  <a:gd name="connsiteY13" fmla="*/ 247651 h 464344"/>
                  <a:gd name="connsiteX14" fmla="*/ 223837 w 271463"/>
                  <a:gd name="connsiteY14" fmla="*/ 454819 h 464344"/>
                  <a:gd name="connsiteX15" fmla="*/ 69057 w 271463"/>
                  <a:gd name="connsiteY15" fmla="*/ 464344 h 464344"/>
                  <a:gd name="connsiteX16" fmla="*/ 0 w 271463"/>
                  <a:gd name="connsiteY16" fmla="*/ 202407 h 464344"/>
                  <a:gd name="connsiteX0" fmla="*/ 0 w 271463"/>
                  <a:gd name="connsiteY0" fmla="*/ 202407 h 464344"/>
                  <a:gd name="connsiteX1" fmla="*/ 38099 w 271463"/>
                  <a:gd name="connsiteY1" fmla="*/ 150018 h 464344"/>
                  <a:gd name="connsiteX2" fmla="*/ 71437 w 271463"/>
                  <a:gd name="connsiteY2" fmla="*/ 2381 h 464344"/>
                  <a:gd name="connsiteX3" fmla="*/ 119062 w 271463"/>
                  <a:gd name="connsiteY3" fmla="*/ 0 h 464344"/>
                  <a:gd name="connsiteX4" fmla="*/ 126205 w 271463"/>
                  <a:gd name="connsiteY4" fmla="*/ 171450 h 464344"/>
                  <a:gd name="connsiteX5" fmla="*/ 142875 w 271463"/>
                  <a:gd name="connsiteY5" fmla="*/ 178593 h 464344"/>
                  <a:gd name="connsiteX6" fmla="*/ 157162 w 271463"/>
                  <a:gd name="connsiteY6" fmla="*/ 145255 h 464344"/>
                  <a:gd name="connsiteX7" fmla="*/ 188118 w 271463"/>
                  <a:gd name="connsiteY7" fmla="*/ 157161 h 464344"/>
                  <a:gd name="connsiteX8" fmla="*/ 183356 w 271463"/>
                  <a:gd name="connsiteY8" fmla="*/ 190501 h 464344"/>
                  <a:gd name="connsiteX9" fmla="*/ 197643 w 271463"/>
                  <a:gd name="connsiteY9" fmla="*/ 202406 h 464344"/>
                  <a:gd name="connsiteX10" fmla="*/ 216694 w 271463"/>
                  <a:gd name="connsiteY10" fmla="*/ 183355 h 464344"/>
                  <a:gd name="connsiteX11" fmla="*/ 240506 w 271463"/>
                  <a:gd name="connsiteY11" fmla="*/ 192880 h 464344"/>
                  <a:gd name="connsiteX12" fmla="*/ 247649 w 271463"/>
                  <a:gd name="connsiteY12" fmla="*/ 235743 h 464344"/>
                  <a:gd name="connsiteX13" fmla="*/ 271463 w 271463"/>
                  <a:gd name="connsiteY13" fmla="*/ 247651 h 464344"/>
                  <a:gd name="connsiteX14" fmla="*/ 223837 w 271463"/>
                  <a:gd name="connsiteY14" fmla="*/ 454819 h 464344"/>
                  <a:gd name="connsiteX15" fmla="*/ 69057 w 271463"/>
                  <a:gd name="connsiteY15" fmla="*/ 464344 h 464344"/>
                  <a:gd name="connsiteX16" fmla="*/ 0 w 271463"/>
                  <a:gd name="connsiteY16" fmla="*/ 202407 h 464344"/>
                  <a:gd name="connsiteX0" fmla="*/ 0 w 271463"/>
                  <a:gd name="connsiteY0" fmla="*/ 202407 h 464344"/>
                  <a:gd name="connsiteX1" fmla="*/ 38099 w 271463"/>
                  <a:gd name="connsiteY1" fmla="*/ 150018 h 464344"/>
                  <a:gd name="connsiteX2" fmla="*/ 57149 w 271463"/>
                  <a:gd name="connsiteY2" fmla="*/ 71437 h 464344"/>
                  <a:gd name="connsiteX3" fmla="*/ 71437 w 271463"/>
                  <a:gd name="connsiteY3" fmla="*/ 2381 h 464344"/>
                  <a:gd name="connsiteX4" fmla="*/ 119062 w 271463"/>
                  <a:gd name="connsiteY4" fmla="*/ 0 h 464344"/>
                  <a:gd name="connsiteX5" fmla="*/ 126205 w 271463"/>
                  <a:gd name="connsiteY5" fmla="*/ 171450 h 464344"/>
                  <a:gd name="connsiteX6" fmla="*/ 142875 w 271463"/>
                  <a:gd name="connsiteY6" fmla="*/ 178593 h 464344"/>
                  <a:gd name="connsiteX7" fmla="*/ 157162 w 271463"/>
                  <a:gd name="connsiteY7" fmla="*/ 145255 h 464344"/>
                  <a:gd name="connsiteX8" fmla="*/ 188118 w 271463"/>
                  <a:gd name="connsiteY8" fmla="*/ 157161 h 464344"/>
                  <a:gd name="connsiteX9" fmla="*/ 183356 w 271463"/>
                  <a:gd name="connsiteY9" fmla="*/ 190501 h 464344"/>
                  <a:gd name="connsiteX10" fmla="*/ 197643 w 271463"/>
                  <a:gd name="connsiteY10" fmla="*/ 202406 h 464344"/>
                  <a:gd name="connsiteX11" fmla="*/ 216694 w 271463"/>
                  <a:gd name="connsiteY11" fmla="*/ 183355 h 464344"/>
                  <a:gd name="connsiteX12" fmla="*/ 240506 w 271463"/>
                  <a:gd name="connsiteY12" fmla="*/ 192880 h 464344"/>
                  <a:gd name="connsiteX13" fmla="*/ 247649 w 271463"/>
                  <a:gd name="connsiteY13" fmla="*/ 235743 h 464344"/>
                  <a:gd name="connsiteX14" fmla="*/ 271463 w 271463"/>
                  <a:gd name="connsiteY14" fmla="*/ 247651 h 464344"/>
                  <a:gd name="connsiteX15" fmla="*/ 223837 w 271463"/>
                  <a:gd name="connsiteY15" fmla="*/ 454819 h 464344"/>
                  <a:gd name="connsiteX16" fmla="*/ 69057 w 271463"/>
                  <a:gd name="connsiteY16" fmla="*/ 464344 h 464344"/>
                  <a:gd name="connsiteX17" fmla="*/ 0 w 271463"/>
                  <a:gd name="connsiteY17" fmla="*/ 202407 h 464344"/>
                  <a:gd name="connsiteX0" fmla="*/ 0 w 271463"/>
                  <a:gd name="connsiteY0" fmla="*/ 202407 h 464344"/>
                  <a:gd name="connsiteX1" fmla="*/ 38099 w 271463"/>
                  <a:gd name="connsiteY1" fmla="*/ 150018 h 464344"/>
                  <a:gd name="connsiteX2" fmla="*/ 50005 w 271463"/>
                  <a:gd name="connsiteY2" fmla="*/ 230981 h 464344"/>
                  <a:gd name="connsiteX3" fmla="*/ 71437 w 271463"/>
                  <a:gd name="connsiteY3" fmla="*/ 2381 h 464344"/>
                  <a:gd name="connsiteX4" fmla="*/ 119062 w 271463"/>
                  <a:gd name="connsiteY4" fmla="*/ 0 h 464344"/>
                  <a:gd name="connsiteX5" fmla="*/ 126205 w 271463"/>
                  <a:gd name="connsiteY5" fmla="*/ 171450 h 464344"/>
                  <a:gd name="connsiteX6" fmla="*/ 142875 w 271463"/>
                  <a:gd name="connsiteY6" fmla="*/ 178593 h 464344"/>
                  <a:gd name="connsiteX7" fmla="*/ 157162 w 271463"/>
                  <a:gd name="connsiteY7" fmla="*/ 145255 h 464344"/>
                  <a:gd name="connsiteX8" fmla="*/ 188118 w 271463"/>
                  <a:gd name="connsiteY8" fmla="*/ 157161 h 464344"/>
                  <a:gd name="connsiteX9" fmla="*/ 183356 w 271463"/>
                  <a:gd name="connsiteY9" fmla="*/ 190501 h 464344"/>
                  <a:gd name="connsiteX10" fmla="*/ 197643 w 271463"/>
                  <a:gd name="connsiteY10" fmla="*/ 202406 h 464344"/>
                  <a:gd name="connsiteX11" fmla="*/ 216694 w 271463"/>
                  <a:gd name="connsiteY11" fmla="*/ 183355 h 464344"/>
                  <a:gd name="connsiteX12" fmla="*/ 240506 w 271463"/>
                  <a:gd name="connsiteY12" fmla="*/ 192880 h 464344"/>
                  <a:gd name="connsiteX13" fmla="*/ 247649 w 271463"/>
                  <a:gd name="connsiteY13" fmla="*/ 235743 h 464344"/>
                  <a:gd name="connsiteX14" fmla="*/ 271463 w 271463"/>
                  <a:gd name="connsiteY14" fmla="*/ 247651 h 464344"/>
                  <a:gd name="connsiteX15" fmla="*/ 223837 w 271463"/>
                  <a:gd name="connsiteY15" fmla="*/ 454819 h 464344"/>
                  <a:gd name="connsiteX16" fmla="*/ 69057 w 271463"/>
                  <a:gd name="connsiteY16" fmla="*/ 464344 h 464344"/>
                  <a:gd name="connsiteX17" fmla="*/ 0 w 271463"/>
                  <a:gd name="connsiteY17" fmla="*/ 202407 h 464344"/>
                  <a:gd name="connsiteX0" fmla="*/ 0 w 271463"/>
                  <a:gd name="connsiteY0" fmla="*/ 202407 h 464344"/>
                  <a:gd name="connsiteX1" fmla="*/ 38099 w 271463"/>
                  <a:gd name="connsiteY1" fmla="*/ 150018 h 464344"/>
                  <a:gd name="connsiteX2" fmla="*/ 50005 w 271463"/>
                  <a:gd name="connsiteY2" fmla="*/ 230981 h 464344"/>
                  <a:gd name="connsiteX3" fmla="*/ 52387 w 271463"/>
                  <a:gd name="connsiteY3" fmla="*/ 166687 h 464344"/>
                  <a:gd name="connsiteX4" fmla="*/ 71437 w 271463"/>
                  <a:gd name="connsiteY4" fmla="*/ 2381 h 464344"/>
                  <a:gd name="connsiteX5" fmla="*/ 119062 w 271463"/>
                  <a:gd name="connsiteY5" fmla="*/ 0 h 464344"/>
                  <a:gd name="connsiteX6" fmla="*/ 126205 w 271463"/>
                  <a:gd name="connsiteY6" fmla="*/ 171450 h 464344"/>
                  <a:gd name="connsiteX7" fmla="*/ 142875 w 271463"/>
                  <a:gd name="connsiteY7" fmla="*/ 178593 h 464344"/>
                  <a:gd name="connsiteX8" fmla="*/ 157162 w 271463"/>
                  <a:gd name="connsiteY8" fmla="*/ 145255 h 464344"/>
                  <a:gd name="connsiteX9" fmla="*/ 188118 w 271463"/>
                  <a:gd name="connsiteY9" fmla="*/ 157161 h 464344"/>
                  <a:gd name="connsiteX10" fmla="*/ 183356 w 271463"/>
                  <a:gd name="connsiteY10" fmla="*/ 190501 h 464344"/>
                  <a:gd name="connsiteX11" fmla="*/ 197643 w 271463"/>
                  <a:gd name="connsiteY11" fmla="*/ 202406 h 464344"/>
                  <a:gd name="connsiteX12" fmla="*/ 216694 w 271463"/>
                  <a:gd name="connsiteY12" fmla="*/ 183355 h 464344"/>
                  <a:gd name="connsiteX13" fmla="*/ 240506 w 271463"/>
                  <a:gd name="connsiteY13" fmla="*/ 192880 h 464344"/>
                  <a:gd name="connsiteX14" fmla="*/ 247649 w 271463"/>
                  <a:gd name="connsiteY14" fmla="*/ 235743 h 464344"/>
                  <a:gd name="connsiteX15" fmla="*/ 271463 w 271463"/>
                  <a:gd name="connsiteY15" fmla="*/ 247651 h 464344"/>
                  <a:gd name="connsiteX16" fmla="*/ 223837 w 271463"/>
                  <a:gd name="connsiteY16" fmla="*/ 454819 h 464344"/>
                  <a:gd name="connsiteX17" fmla="*/ 69057 w 271463"/>
                  <a:gd name="connsiteY17" fmla="*/ 464344 h 464344"/>
                  <a:gd name="connsiteX18" fmla="*/ 0 w 271463"/>
                  <a:gd name="connsiteY18" fmla="*/ 202407 h 464344"/>
                  <a:gd name="connsiteX0" fmla="*/ 0 w 271463"/>
                  <a:gd name="connsiteY0" fmla="*/ 202407 h 464344"/>
                  <a:gd name="connsiteX1" fmla="*/ 38099 w 271463"/>
                  <a:gd name="connsiteY1" fmla="*/ 150018 h 464344"/>
                  <a:gd name="connsiteX2" fmla="*/ 50005 w 271463"/>
                  <a:gd name="connsiteY2" fmla="*/ 230981 h 464344"/>
                  <a:gd name="connsiteX3" fmla="*/ 66674 w 271463"/>
                  <a:gd name="connsiteY3" fmla="*/ 223837 h 464344"/>
                  <a:gd name="connsiteX4" fmla="*/ 71437 w 271463"/>
                  <a:gd name="connsiteY4" fmla="*/ 2381 h 464344"/>
                  <a:gd name="connsiteX5" fmla="*/ 119062 w 271463"/>
                  <a:gd name="connsiteY5" fmla="*/ 0 h 464344"/>
                  <a:gd name="connsiteX6" fmla="*/ 126205 w 271463"/>
                  <a:gd name="connsiteY6" fmla="*/ 171450 h 464344"/>
                  <a:gd name="connsiteX7" fmla="*/ 142875 w 271463"/>
                  <a:gd name="connsiteY7" fmla="*/ 178593 h 464344"/>
                  <a:gd name="connsiteX8" fmla="*/ 157162 w 271463"/>
                  <a:gd name="connsiteY8" fmla="*/ 145255 h 464344"/>
                  <a:gd name="connsiteX9" fmla="*/ 188118 w 271463"/>
                  <a:gd name="connsiteY9" fmla="*/ 157161 h 464344"/>
                  <a:gd name="connsiteX10" fmla="*/ 183356 w 271463"/>
                  <a:gd name="connsiteY10" fmla="*/ 190501 h 464344"/>
                  <a:gd name="connsiteX11" fmla="*/ 197643 w 271463"/>
                  <a:gd name="connsiteY11" fmla="*/ 202406 h 464344"/>
                  <a:gd name="connsiteX12" fmla="*/ 216694 w 271463"/>
                  <a:gd name="connsiteY12" fmla="*/ 183355 h 464344"/>
                  <a:gd name="connsiteX13" fmla="*/ 240506 w 271463"/>
                  <a:gd name="connsiteY13" fmla="*/ 192880 h 464344"/>
                  <a:gd name="connsiteX14" fmla="*/ 247649 w 271463"/>
                  <a:gd name="connsiteY14" fmla="*/ 235743 h 464344"/>
                  <a:gd name="connsiteX15" fmla="*/ 271463 w 271463"/>
                  <a:gd name="connsiteY15" fmla="*/ 247651 h 464344"/>
                  <a:gd name="connsiteX16" fmla="*/ 223837 w 271463"/>
                  <a:gd name="connsiteY16" fmla="*/ 454819 h 464344"/>
                  <a:gd name="connsiteX17" fmla="*/ 69057 w 271463"/>
                  <a:gd name="connsiteY17" fmla="*/ 464344 h 464344"/>
                  <a:gd name="connsiteX18" fmla="*/ 0 w 271463"/>
                  <a:gd name="connsiteY18" fmla="*/ 202407 h 464344"/>
                  <a:gd name="connsiteX0" fmla="*/ 0 w 271463"/>
                  <a:gd name="connsiteY0" fmla="*/ 202407 h 464344"/>
                  <a:gd name="connsiteX1" fmla="*/ 38099 w 271463"/>
                  <a:gd name="connsiteY1" fmla="*/ 150018 h 464344"/>
                  <a:gd name="connsiteX2" fmla="*/ 50005 w 271463"/>
                  <a:gd name="connsiteY2" fmla="*/ 230981 h 464344"/>
                  <a:gd name="connsiteX3" fmla="*/ 61912 w 271463"/>
                  <a:gd name="connsiteY3" fmla="*/ 223837 h 464344"/>
                  <a:gd name="connsiteX4" fmla="*/ 71437 w 271463"/>
                  <a:gd name="connsiteY4" fmla="*/ 2381 h 464344"/>
                  <a:gd name="connsiteX5" fmla="*/ 119062 w 271463"/>
                  <a:gd name="connsiteY5" fmla="*/ 0 h 464344"/>
                  <a:gd name="connsiteX6" fmla="*/ 126205 w 271463"/>
                  <a:gd name="connsiteY6" fmla="*/ 171450 h 464344"/>
                  <a:gd name="connsiteX7" fmla="*/ 142875 w 271463"/>
                  <a:gd name="connsiteY7" fmla="*/ 178593 h 464344"/>
                  <a:gd name="connsiteX8" fmla="*/ 157162 w 271463"/>
                  <a:gd name="connsiteY8" fmla="*/ 145255 h 464344"/>
                  <a:gd name="connsiteX9" fmla="*/ 188118 w 271463"/>
                  <a:gd name="connsiteY9" fmla="*/ 157161 h 464344"/>
                  <a:gd name="connsiteX10" fmla="*/ 183356 w 271463"/>
                  <a:gd name="connsiteY10" fmla="*/ 190501 h 464344"/>
                  <a:gd name="connsiteX11" fmla="*/ 197643 w 271463"/>
                  <a:gd name="connsiteY11" fmla="*/ 202406 h 464344"/>
                  <a:gd name="connsiteX12" fmla="*/ 216694 w 271463"/>
                  <a:gd name="connsiteY12" fmla="*/ 183355 h 464344"/>
                  <a:gd name="connsiteX13" fmla="*/ 240506 w 271463"/>
                  <a:gd name="connsiteY13" fmla="*/ 192880 h 464344"/>
                  <a:gd name="connsiteX14" fmla="*/ 247649 w 271463"/>
                  <a:gd name="connsiteY14" fmla="*/ 235743 h 464344"/>
                  <a:gd name="connsiteX15" fmla="*/ 271463 w 271463"/>
                  <a:gd name="connsiteY15" fmla="*/ 247651 h 464344"/>
                  <a:gd name="connsiteX16" fmla="*/ 223837 w 271463"/>
                  <a:gd name="connsiteY16" fmla="*/ 454819 h 464344"/>
                  <a:gd name="connsiteX17" fmla="*/ 69057 w 271463"/>
                  <a:gd name="connsiteY17" fmla="*/ 464344 h 464344"/>
                  <a:gd name="connsiteX18" fmla="*/ 0 w 271463"/>
                  <a:gd name="connsiteY18" fmla="*/ 202407 h 464344"/>
                  <a:gd name="connsiteX0" fmla="*/ 0 w 271463"/>
                  <a:gd name="connsiteY0" fmla="*/ 202407 h 464344"/>
                  <a:gd name="connsiteX1" fmla="*/ 38099 w 271463"/>
                  <a:gd name="connsiteY1" fmla="*/ 150018 h 464344"/>
                  <a:gd name="connsiteX2" fmla="*/ 50005 w 271463"/>
                  <a:gd name="connsiteY2" fmla="*/ 230981 h 464344"/>
                  <a:gd name="connsiteX3" fmla="*/ 69056 w 271463"/>
                  <a:gd name="connsiteY3" fmla="*/ 226218 h 464344"/>
                  <a:gd name="connsiteX4" fmla="*/ 71437 w 271463"/>
                  <a:gd name="connsiteY4" fmla="*/ 2381 h 464344"/>
                  <a:gd name="connsiteX5" fmla="*/ 119062 w 271463"/>
                  <a:gd name="connsiteY5" fmla="*/ 0 h 464344"/>
                  <a:gd name="connsiteX6" fmla="*/ 126205 w 271463"/>
                  <a:gd name="connsiteY6" fmla="*/ 171450 h 464344"/>
                  <a:gd name="connsiteX7" fmla="*/ 142875 w 271463"/>
                  <a:gd name="connsiteY7" fmla="*/ 178593 h 464344"/>
                  <a:gd name="connsiteX8" fmla="*/ 157162 w 271463"/>
                  <a:gd name="connsiteY8" fmla="*/ 145255 h 464344"/>
                  <a:gd name="connsiteX9" fmla="*/ 188118 w 271463"/>
                  <a:gd name="connsiteY9" fmla="*/ 157161 h 464344"/>
                  <a:gd name="connsiteX10" fmla="*/ 183356 w 271463"/>
                  <a:gd name="connsiteY10" fmla="*/ 190501 h 464344"/>
                  <a:gd name="connsiteX11" fmla="*/ 197643 w 271463"/>
                  <a:gd name="connsiteY11" fmla="*/ 202406 h 464344"/>
                  <a:gd name="connsiteX12" fmla="*/ 216694 w 271463"/>
                  <a:gd name="connsiteY12" fmla="*/ 183355 h 464344"/>
                  <a:gd name="connsiteX13" fmla="*/ 240506 w 271463"/>
                  <a:gd name="connsiteY13" fmla="*/ 192880 h 464344"/>
                  <a:gd name="connsiteX14" fmla="*/ 247649 w 271463"/>
                  <a:gd name="connsiteY14" fmla="*/ 235743 h 464344"/>
                  <a:gd name="connsiteX15" fmla="*/ 271463 w 271463"/>
                  <a:gd name="connsiteY15" fmla="*/ 247651 h 464344"/>
                  <a:gd name="connsiteX16" fmla="*/ 223837 w 271463"/>
                  <a:gd name="connsiteY16" fmla="*/ 454819 h 464344"/>
                  <a:gd name="connsiteX17" fmla="*/ 69057 w 271463"/>
                  <a:gd name="connsiteY17" fmla="*/ 464344 h 464344"/>
                  <a:gd name="connsiteX18" fmla="*/ 0 w 271463"/>
                  <a:gd name="connsiteY18" fmla="*/ 202407 h 464344"/>
                  <a:gd name="connsiteX0" fmla="*/ 0 w 271463"/>
                  <a:gd name="connsiteY0" fmla="*/ 202407 h 464344"/>
                  <a:gd name="connsiteX1" fmla="*/ 38099 w 271463"/>
                  <a:gd name="connsiteY1" fmla="*/ 150018 h 464344"/>
                  <a:gd name="connsiteX2" fmla="*/ 50005 w 271463"/>
                  <a:gd name="connsiteY2" fmla="*/ 230981 h 464344"/>
                  <a:gd name="connsiteX3" fmla="*/ 69056 w 271463"/>
                  <a:gd name="connsiteY3" fmla="*/ 233362 h 464344"/>
                  <a:gd name="connsiteX4" fmla="*/ 71437 w 271463"/>
                  <a:gd name="connsiteY4" fmla="*/ 2381 h 464344"/>
                  <a:gd name="connsiteX5" fmla="*/ 119062 w 271463"/>
                  <a:gd name="connsiteY5" fmla="*/ 0 h 464344"/>
                  <a:gd name="connsiteX6" fmla="*/ 126205 w 271463"/>
                  <a:gd name="connsiteY6" fmla="*/ 171450 h 464344"/>
                  <a:gd name="connsiteX7" fmla="*/ 142875 w 271463"/>
                  <a:gd name="connsiteY7" fmla="*/ 178593 h 464344"/>
                  <a:gd name="connsiteX8" fmla="*/ 157162 w 271463"/>
                  <a:gd name="connsiteY8" fmla="*/ 145255 h 464344"/>
                  <a:gd name="connsiteX9" fmla="*/ 188118 w 271463"/>
                  <a:gd name="connsiteY9" fmla="*/ 157161 h 464344"/>
                  <a:gd name="connsiteX10" fmla="*/ 183356 w 271463"/>
                  <a:gd name="connsiteY10" fmla="*/ 190501 h 464344"/>
                  <a:gd name="connsiteX11" fmla="*/ 197643 w 271463"/>
                  <a:gd name="connsiteY11" fmla="*/ 202406 h 464344"/>
                  <a:gd name="connsiteX12" fmla="*/ 216694 w 271463"/>
                  <a:gd name="connsiteY12" fmla="*/ 183355 h 464344"/>
                  <a:gd name="connsiteX13" fmla="*/ 240506 w 271463"/>
                  <a:gd name="connsiteY13" fmla="*/ 192880 h 464344"/>
                  <a:gd name="connsiteX14" fmla="*/ 247649 w 271463"/>
                  <a:gd name="connsiteY14" fmla="*/ 235743 h 464344"/>
                  <a:gd name="connsiteX15" fmla="*/ 271463 w 271463"/>
                  <a:gd name="connsiteY15" fmla="*/ 247651 h 464344"/>
                  <a:gd name="connsiteX16" fmla="*/ 223837 w 271463"/>
                  <a:gd name="connsiteY16" fmla="*/ 454819 h 464344"/>
                  <a:gd name="connsiteX17" fmla="*/ 69057 w 271463"/>
                  <a:gd name="connsiteY17" fmla="*/ 464344 h 464344"/>
                  <a:gd name="connsiteX18" fmla="*/ 0 w 271463"/>
                  <a:gd name="connsiteY18" fmla="*/ 202407 h 464344"/>
                  <a:gd name="connsiteX0" fmla="*/ 0 w 271463"/>
                  <a:gd name="connsiteY0" fmla="*/ 202407 h 464344"/>
                  <a:gd name="connsiteX1" fmla="*/ 38099 w 271463"/>
                  <a:gd name="connsiteY1" fmla="*/ 150018 h 464344"/>
                  <a:gd name="connsiteX2" fmla="*/ 50005 w 271463"/>
                  <a:gd name="connsiteY2" fmla="*/ 230981 h 464344"/>
                  <a:gd name="connsiteX3" fmla="*/ 69056 w 271463"/>
                  <a:gd name="connsiteY3" fmla="*/ 233362 h 464344"/>
                  <a:gd name="connsiteX4" fmla="*/ 71437 w 271463"/>
                  <a:gd name="connsiteY4" fmla="*/ 2381 h 464344"/>
                  <a:gd name="connsiteX5" fmla="*/ 119062 w 271463"/>
                  <a:gd name="connsiteY5" fmla="*/ 0 h 464344"/>
                  <a:gd name="connsiteX6" fmla="*/ 126205 w 271463"/>
                  <a:gd name="connsiteY6" fmla="*/ 171450 h 464344"/>
                  <a:gd name="connsiteX7" fmla="*/ 142875 w 271463"/>
                  <a:gd name="connsiteY7" fmla="*/ 178593 h 464344"/>
                  <a:gd name="connsiteX8" fmla="*/ 157162 w 271463"/>
                  <a:gd name="connsiteY8" fmla="*/ 145255 h 464344"/>
                  <a:gd name="connsiteX9" fmla="*/ 188118 w 271463"/>
                  <a:gd name="connsiteY9" fmla="*/ 157161 h 464344"/>
                  <a:gd name="connsiteX10" fmla="*/ 183356 w 271463"/>
                  <a:gd name="connsiteY10" fmla="*/ 190501 h 464344"/>
                  <a:gd name="connsiteX11" fmla="*/ 197643 w 271463"/>
                  <a:gd name="connsiteY11" fmla="*/ 202406 h 464344"/>
                  <a:gd name="connsiteX12" fmla="*/ 216694 w 271463"/>
                  <a:gd name="connsiteY12" fmla="*/ 183355 h 464344"/>
                  <a:gd name="connsiteX13" fmla="*/ 240506 w 271463"/>
                  <a:gd name="connsiteY13" fmla="*/ 192880 h 464344"/>
                  <a:gd name="connsiteX14" fmla="*/ 247649 w 271463"/>
                  <a:gd name="connsiteY14" fmla="*/ 235743 h 464344"/>
                  <a:gd name="connsiteX15" fmla="*/ 271463 w 271463"/>
                  <a:gd name="connsiteY15" fmla="*/ 247651 h 464344"/>
                  <a:gd name="connsiteX16" fmla="*/ 223837 w 271463"/>
                  <a:gd name="connsiteY16" fmla="*/ 454819 h 464344"/>
                  <a:gd name="connsiteX17" fmla="*/ 69057 w 271463"/>
                  <a:gd name="connsiteY17" fmla="*/ 464344 h 464344"/>
                  <a:gd name="connsiteX18" fmla="*/ 0 w 271463"/>
                  <a:gd name="connsiteY18" fmla="*/ 202407 h 464344"/>
                  <a:gd name="connsiteX0" fmla="*/ 0 w 271463"/>
                  <a:gd name="connsiteY0" fmla="*/ 202407 h 464344"/>
                  <a:gd name="connsiteX1" fmla="*/ 38099 w 271463"/>
                  <a:gd name="connsiteY1" fmla="*/ 150018 h 464344"/>
                  <a:gd name="connsiteX2" fmla="*/ 50005 w 271463"/>
                  <a:gd name="connsiteY2" fmla="*/ 230981 h 464344"/>
                  <a:gd name="connsiteX3" fmla="*/ 69056 w 271463"/>
                  <a:gd name="connsiteY3" fmla="*/ 233362 h 464344"/>
                  <a:gd name="connsiteX4" fmla="*/ 71437 w 271463"/>
                  <a:gd name="connsiteY4" fmla="*/ 2381 h 464344"/>
                  <a:gd name="connsiteX5" fmla="*/ 119062 w 271463"/>
                  <a:gd name="connsiteY5" fmla="*/ 0 h 464344"/>
                  <a:gd name="connsiteX6" fmla="*/ 126205 w 271463"/>
                  <a:gd name="connsiteY6" fmla="*/ 171450 h 464344"/>
                  <a:gd name="connsiteX7" fmla="*/ 142875 w 271463"/>
                  <a:gd name="connsiteY7" fmla="*/ 178593 h 464344"/>
                  <a:gd name="connsiteX8" fmla="*/ 157162 w 271463"/>
                  <a:gd name="connsiteY8" fmla="*/ 145255 h 464344"/>
                  <a:gd name="connsiteX9" fmla="*/ 188118 w 271463"/>
                  <a:gd name="connsiteY9" fmla="*/ 157161 h 464344"/>
                  <a:gd name="connsiteX10" fmla="*/ 183356 w 271463"/>
                  <a:gd name="connsiteY10" fmla="*/ 190501 h 464344"/>
                  <a:gd name="connsiteX11" fmla="*/ 197643 w 271463"/>
                  <a:gd name="connsiteY11" fmla="*/ 202406 h 464344"/>
                  <a:gd name="connsiteX12" fmla="*/ 216694 w 271463"/>
                  <a:gd name="connsiteY12" fmla="*/ 183355 h 464344"/>
                  <a:gd name="connsiteX13" fmla="*/ 240506 w 271463"/>
                  <a:gd name="connsiteY13" fmla="*/ 192880 h 464344"/>
                  <a:gd name="connsiteX14" fmla="*/ 247649 w 271463"/>
                  <a:gd name="connsiteY14" fmla="*/ 235743 h 464344"/>
                  <a:gd name="connsiteX15" fmla="*/ 271463 w 271463"/>
                  <a:gd name="connsiteY15" fmla="*/ 247651 h 464344"/>
                  <a:gd name="connsiteX16" fmla="*/ 223837 w 271463"/>
                  <a:gd name="connsiteY16" fmla="*/ 454819 h 464344"/>
                  <a:gd name="connsiteX17" fmla="*/ 69057 w 271463"/>
                  <a:gd name="connsiteY17" fmla="*/ 464344 h 464344"/>
                  <a:gd name="connsiteX18" fmla="*/ 0 w 271463"/>
                  <a:gd name="connsiteY18" fmla="*/ 202407 h 464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1463" h="464344">
                    <a:moveTo>
                      <a:pt x="0" y="202407"/>
                    </a:moveTo>
                    <a:lnTo>
                      <a:pt x="38099" y="150018"/>
                    </a:lnTo>
                    <a:lnTo>
                      <a:pt x="50005" y="230981"/>
                    </a:lnTo>
                    <a:lnTo>
                      <a:pt x="69056" y="233362"/>
                    </a:lnTo>
                    <a:cubicBezTo>
                      <a:pt x="55563" y="161131"/>
                      <a:pt x="61118" y="81755"/>
                      <a:pt x="71437" y="2381"/>
                    </a:cubicBezTo>
                    <a:lnTo>
                      <a:pt x="119062" y="0"/>
                    </a:lnTo>
                    <a:lnTo>
                      <a:pt x="126205" y="171450"/>
                    </a:lnTo>
                    <a:lnTo>
                      <a:pt x="142875" y="178593"/>
                    </a:lnTo>
                    <a:lnTo>
                      <a:pt x="157162" y="145255"/>
                    </a:lnTo>
                    <a:lnTo>
                      <a:pt x="188118" y="157161"/>
                    </a:lnTo>
                    <a:lnTo>
                      <a:pt x="183356" y="190501"/>
                    </a:lnTo>
                    <a:lnTo>
                      <a:pt x="197643" y="202406"/>
                    </a:lnTo>
                    <a:lnTo>
                      <a:pt x="216694" y="183355"/>
                    </a:lnTo>
                    <a:lnTo>
                      <a:pt x="240506" y="192880"/>
                    </a:lnTo>
                    <a:lnTo>
                      <a:pt x="247649" y="235743"/>
                    </a:lnTo>
                    <a:lnTo>
                      <a:pt x="271463" y="247651"/>
                    </a:lnTo>
                    <a:lnTo>
                      <a:pt x="223837" y="454819"/>
                    </a:lnTo>
                    <a:lnTo>
                      <a:pt x="69057" y="464344"/>
                    </a:lnTo>
                    <a:cubicBezTo>
                      <a:pt x="19844" y="379413"/>
                      <a:pt x="8732" y="311150"/>
                      <a:pt x="0" y="202407"/>
                    </a:cubicBezTo>
                    <a:close/>
                  </a:path>
                </a:pathLst>
              </a:custGeom>
              <a:grpFill/>
              <a:ln w="12700" cap="flat" cmpd="sng" algn="ctr">
                <a:noFill/>
                <a:prstDash val="solid"/>
                <a:miter lim="800000"/>
              </a:ln>
              <a:effectLst/>
            </p:spPr>
            <p:txBody>
              <a:bodyPr rtlCol="0" anchor="ctr"/>
              <a:lstStyle/>
              <a:p>
                <a:pPr marL="0" marR="0" lvl="0" indent="0" algn="ctr" defTabSz="467539"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grpSp>
      </p:grpSp>
      <p:sp>
        <p:nvSpPr>
          <p:cNvPr id="436" name="Freeform 127">
            <a:extLst>
              <a:ext uri="{FF2B5EF4-FFF2-40B4-BE49-F238E27FC236}">
                <a16:creationId xmlns:a16="http://schemas.microsoft.com/office/drawing/2014/main" id="{44FCB794-00C5-29D2-C529-C935362186AC}"/>
              </a:ext>
            </a:extLst>
          </p:cNvPr>
          <p:cNvSpPr/>
          <p:nvPr/>
        </p:nvSpPr>
        <p:spPr>
          <a:xfrm>
            <a:off x="506990" y="5733318"/>
            <a:ext cx="397696" cy="210509"/>
          </a:xfrm>
          <a:custGeom>
            <a:avLst/>
            <a:gdLst>
              <a:gd name="connsiteX0" fmla="*/ 551870 w 1346316"/>
              <a:gd name="connsiteY0" fmla="*/ 673154 h 770184"/>
              <a:gd name="connsiteX1" fmla="*/ 533676 w 1346316"/>
              <a:gd name="connsiteY1" fmla="*/ 745928 h 770184"/>
              <a:gd name="connsiteX2" fmla="*/ 809609 w 1346316"/>
              <a:gd name="connsiteY2" fmla="*/ 745928 h 770184"/>
              <a:gd name="connsiteX3" fmla="*/ 791416 w 1346316"/>
              <a:gd name="connsiteY3" fmla="*/ 673154 h 770184"/>
              <a:gd name="connsiteX4" fmla="*/ 1204055 w 1346316"/>
              <a:gd name="connsiteY4" fmla="*/ 615493 h 770184"/>
              <a:gd name="connsiteX5" fmla="*/ 1015407 w 1346316"/>
              <a:gd name="connsiteY5" fmla="*/ 615493 h 770184"/>
              <a:gd name="connsiteX6" fmla="*/ 1032781 w 1346316"/>
              <a:gd name="connsiteY6" fmla="*/ 650745 h 770184"/>
              <a:gd name="connsiteX7" fmla="*/ 1220832 w 1346316"/>
              <a:gd name="connsiteY7" fmla="*/ 650745 h 770184"/>
              <a:gd name="connsiteX8" fmla="*/ 897365 w 1346316"/>
              <a:gd name="connsiteY8" fmla="*/ 615493 h 770184"/>
              <a:gd name="connsiteX9" fmla="*/ 903125 w 1346316"/>
              <a:gd name="connsiteY9" fmla="*/ 652301 h 770184"/>
              <a:gd name="connsiteX10" fmla="*/ 1006664 w 1346316"/>
              <a:gd name="connsiteY10" fmla="*/ 652300 h 770184"/>
              <a:gd name="connsiteX11" fmla="*/ 989968 w 1346316"/>
              <a:gd name="connsiteY11" fmla="*/ 615493 h 770184"/>
              <a:gd name="connsiteX12" fmla="*/ 883111 w 1346316"/>
              <a:gd name="connsiteY12" fmla="*/ 615493 h 770184"/>
              <a:gd name="connsiteX13" fmla="*/ 378681 w 1346316"/>
              <a:gd name="connsiteY13" fmla="*/ 616132 h 770184"/>
              <a:gd name="connsiteX14" fmla="*/ 366730 w 1346316"/>
              <a:gd name="connsiteY14" fmla="*/ 652421 h 770184"/>
              <a:gd name="connsiteX15" fmla="*/ 883996 w 1346316"/>
              <a:gd name="connsiteY15" fmla="*/ 651213 h 770184"/>
              <a:gd name="connsiteX16" fmla="*/ 883111 w 1346316"/>
              <a:gd name="connsiteY16" fmla="*/ 615493 h 770184"/>
              <a:gd name="connsiteX17" fmla="*/ 147640 w 1346316"/>
              <a:gd name="connsiteY17" fmla="*/ 615493 h 770184"/>
              <a:gd name="connsiteX18" fmla="*/ 129652 w 1346316"/>
              <a:gd name="connsiteY18" fmla="*/ 650745 h 770184"/>
              <a:gd name="connsiteX19" fmla="*/ 342828 w 1346316"/>
              <a:gd name="connsiteY19" fmla="*/ 651901 h 770184"/>
              <a:gd name="connsiteX20" fmla="*/ 360299 w 1346316"/>
              <a:gd name="connsiteY20" fmla="*/ 615493 h 770184"/>
              <a:gd name="connsiteX21" fmla="*/ 188773 w 1346316"/>
              <a:gd name="connsiteY21" fmla="*/ 585700 h 770184"/>
              <a:gd name="connsiteX22" fmla="*/ 155112 w 1346316"/>
              <a:gd name="connsiteY22" fmla="*/ 610506 h 770184"/>
              <a:gd name="connsiteX23" fmla="*/ 259575 w 1346316"/>
              <a:gd name="connsiteY23" fmla="*/ 610506 h 770184"/>
              <a:gd name="connsiteX24" fmla="*/ 272651 w 1346316"/>
              <a:gd name="connsiteY24" fmla="*/ 585700 h 770184"/>
              <a:gd name="connsiteX25" fmla="*/ 1113693 w 1346316"/>
              <a:gd name="connsiteY25" fmla="*/ 585552 h 770184"/>
              <a:gd name="connsiteX26" fmla="*/ 1010648 w 1346316"/>
              <a:gd name="connsiteY26" fmla="*/ 585552 h 770184"/>
              <a:gd name="connsiteX27" fmla="*/ 1019742 w 1346316"/>
              <a:gd name="connsiteY27" fmla="*/ 609788 h 770184"/>
              <a:gd name="connsiteX28" fmla="*/ 1124693 w 1346316"/>
              <a:gd name="connsiteY28" fmla="*/ 609788 h 770184"/>
              <a:gd name="connsiteX29" fmla="*/ 998131 w 1346316"/>
              <a:gd name="connsiteY29" fmla="*/ 585552 h 770184"/>
              <a:gd name="connsiteX30" fmla="*/ 895085 w 1346316"/>
              <a:gd name="connsiteY30" fmla="*/ 585552 h 770184"/>
              <a:gd name="connsiteX31" fmla="*/ 904180 w 1346316"/>
              <a:gd name="connsiteY31" fmla="*/ 609788 h 770184"/>
              <a:gd name="connsiteX32" fmla="*/ 1009130 w 1346316"/>
              <a:gd name="connsiteY32" fmla="*/ 609788 h 770184"/>
              <a:gd name="connsiteX33" fmla="*/ 882568 w 1346316"/>
              <a:gd name="connsiteY33" fmla="*/ 585552 h 770184"/>
              <a:gd name="connsiteX34" fmla="*/ 779522 w 1346316"/>
              <a:gd name="connsiteY34" fmla="*/ 585552 h 770184"/>
              <a:gd name="connsiteX35" fmla="*/ 788617 w 1346316"/>
              <a:gd name="connsiteY35" fmla="*/ 609788 h 770184"/>
              <a:gd name="connsiteX36" fmla="*/ 893567 w 1346316"/>
              <a:gd name="connsiteY36" fmla="*/ 609788 h 770184"/>
              <a:gd name="connsiteX37" fmla="*/ 684615 w 1346316"/>
              <a:gd name="connsiteY37" fmla="*/ 585552 h 770184"/>
              <a:gd name="connsiteX38" fmla="*/ 673054 w 1346316"/>
              <a:gd name="connsiteY38" fmla="*/ 609788 h 770184"/>
              <a:gd name="connsiteX39" fmla="*/ 778004 w 1346316"/>
              <a:gd name="connsiteY39" fmla="*/ 609788 h 770184"/>
              <a:gd name="connsiteX40" fmla="*/ 767005 w 1346316"/>
              <a:gd name="connsiteY40" fmla="*/ 585552 h 770184"/>
              <a:gd name="connsiteX41" fmla="*/ 584894 w 1346316"/>
              <a:gd name="connsiteY41" fmla="*/ 585552 h 770184"/>
              <a:gd name="connsiteX42" fmla="*/ 573332 w 1346316"/>
              <a:gd name="connsiteY42" fmla="*/ 609788 h 770184"/>
              <a:gd name="connsiteX43" fmla="*/ 660057 w 1346316"/>
              <a:gd name="connsiteY43" fmla="*/ 609788 h 770184"/>
              <a:gd name="connsiteX44" fmla="*/ 671536 w 1346316"/>
              <a:gd name="connsiteY44" fmla="*/ 585552 h 770184"/>
              <a:gd name="connsiteX45" fmla="*/ 485173 w 1346316"/>
              <a:gd name="connsiteY45" fmla="*/ 585552 h 770184"/>
              <a:gd name="connsiteX46" fmla="*/ 473611 w 1346316"/>
              <a:gd name="connsiteY46" fmla="*/ 609788 h 770184"/>
              <a:gd name="connsiteX47" fmla="*/ 560336 w 1346316"/>
              <a:gd name="connsiteY47" fmla="*/ 609788 h 770184"/>
              <a:gd name="connsiteX48" fmla="*/ 571815 w 1346316"/>
              <a:gd name="connsiteY48" fmla="*/ 585552 h 770184"/>
              <a:gd name="connsiteX49" fmla="*/ 385452 w 1346316"/>
              <a:gd name="connsiteY49" fmla="*/ 585552 h 770184"/>
              <a:gd name="connsiteX50" fmla="*/ 373890 w 1346316"/>
              <a:gd name="connsiteY50" fmla="*/ 609788 h 770184"/>
              <a:gd name="connsiteX51" fmla="*/ 460615 w 1346316"/>
              <a:gd name="connsiteY51" fmla="*/ 609788 h 770184"/>
              <a:gd name="connsiteX52" fmla="*/ 472093 w 1346316"/>
              <a:gd name="connsiteY52" fmla="*/ 585552 h 770184"/>
              <a:gd name="connsiteX53" fmla="*/ 285442 w 1346316"/>
              <a:gd name="connsiteY53" fmla="*/ 585552 h 770184"/>
              <a:gd name="connsiteX54" fmla="*/ 274169 w 1346316"/>
              <a:gd name="connsiteY54" fmla="*/ 609788 h 770184"/>
              <a:gd name="connsiteX55" fmla="*/ 360894 w 1346316"/>
              <a:gd name="connsiteY55" fmla="*/ 609788 h 770184"/>
              <a:gd name="connsiteX56" fmla="*/ 372372 w 1346316"/>
              <a:gd name="connsiteY56" fmla="*/ 585552 h 770184"/>
              <a:gd name="connsiteX57" fmla="*/ 1066569 w 1346316"/>
              <a:gd name="connsiteY57" fmla="*/ 559836 h 770184"/>
              <a:gd name="connsiteX58" fmla="*/ 1079181 w 1346316"/>
              <a:gd name="connsiteY58" fmla="*/ 580212 h 770184"/>
              <a:gd name="connsiteX59" fmla="*/ 1127458 w 1346316"/>
              <a:gd name="connsiteY59" fmla="*/ 579110 h 770184"/>
              <a:gd name="connsiteX60" fmla="*/ 1140617 w 1346316"/>
              <a:gd name="connsiteY60" fmla="*/ 605551 h 770184"/>
              <a:gd name="connsiteX61" fmla="*/ 1204732 w 1346316"/>
              <a:gd name="connsiteY61" fmla="*/ 608132 h 770184"/>
              <a:gd name="connsiteX62" fmla="*/ 1163737 w 1346316"/>
              <a:gd name="connsiteY62" fmla="*/ 559836 h 770184"/>
              <a:gd name="connsiteX63" fmla="*/ 237502 w 1346316"/>
              <a:gd name="connsiteY63" fmla="*/ 557325 h 770184"/>
              <a:gd name="connsiteX64" fmla="*/ 220112 w 1346316"/>
              <a:gd name="connsiteY64" fmla="*/ 578693 h 770184"/>
              <a:gd name="connsiteX65" fmla="*/ 324576 w 1346316"/>
              <a:gd name="connsiteY65" fmla="*/ 578693 h 770184"/>
              <a:gd name="connsiteX66" fmla="*/ 337651 w 1346316"/>
              <a:gd name="connsiteY66" fmla="*/ 557325 h 770184"/>
              <a:gd name="connsiteX67" fmla="*/ 1059826 w 1346316"/>
              <a:gd name="connsiteY67" fmla="*/ 557138 h 770184"/>
              <a:gd name="connsiteX68" fmla="*/ 956781 w 1346316"/>
              <a:gd name="connsiteY68" fmla="*/ 557139 h 770184"/>
              <a:gd name="connsiteX69" fmla="*/ 965875 w 1346316"/>
              <a:gd name="connsiteY69" fmla="*/ 578014 h 770184"/>
              <a:gd name="connsiteX70" fmla="*/ 1070826 w 1346316"/>
              <a:gd name="connsiteY70" fmla="*/ 578014 h 770184"/>
              <a:gd name="connsiteX71" fmla="*/ 947568 w 1346316"/>
              <a:gd name="connsiteY71" fmla="*/ 557138 h 770184"/>
              <a:gd name="connsiteX72" fmla="*/ 844523 w 1346316"/>
              <a:gd name="connsiteY72" fmla="*/ 557139 h 770184"/>
              <a:gd name="connsiteX73" fmla="*/ 853617 w 1346316"/>
              <a:gd name="connsiteY73" fmla="*/ 578014 h 770184"/>
              <a:gd name="connsiteX74" fmla="*/ 958568 w 1346316"/>
              <a:gd name="connsiteY74" fmla="*/ 578014 h 770184"/>
              <a:gd name="connsiteX75" fmla="*/ 749615 w 1346316"/>
              <a:gd name="connsiteY75" fmla="*/ 557138 h 770184"/>
              <a:gd name="connsiteX76" fmla="*/ 738054 w 1346316"/>
              <a:gd name="connsiteY76" fmla="*/ 578014 h 770184"/>
              <a:gd name="connsiteX77" fmla="*/ 843005 w 1346316"/>
              <a:gd name="connsiteY77" fmla="*/ 578014 h 770184"/>
              <a:gd name="connsiteX78" fmla="*/ 832005 w 1346316"/>
              <a:gd name="connsiteY78" fmla="*/ 557138 h 770184"/>
              <a:gd name="connsiteX79" fmla="*/ 649894 w 1346316"/>
              <a:gd name="connsiteY79" fmla="*/ 557138 h 770184"/>
              <a:gd name="connsiteX80" fmla="*/ 638333 w 1346316"/>
              <a:gd name="connsiteY80" fmla="*/ 578014 h 770184"/>
              <a:gd name="connsiteX81" fmla="*/ 725058 w 1346316"/>
              <a:gd name="connsiteY81" fmla="*/ 578014 h 770184"/>
              <a:gd name="connsiteX82" fmla="*/ 736536 w 1346316"/>
              <a:gd name="connsiteY82" fmla="*/ 557138 h 770184"/>
              <a:gd name="connsiteX83" fmla="*/ 550173 w 1346316"/>
              <a:gd name="connsiteY83" fmla="*/ 557138 h 770184"/>
              <a:gd name="connsiteX84" fmla="*/ 538612 w 1346316"/>
              <a:gd name="connsiteY84" fmla="*/ 578014 h 770184"/>
              <a:gd name="connsiteX85" fmla="*/ 625336 w 1346316"/>
              <a:gd name="connsiteY85" fmla="*/ 578014 h 770184"/>
              <a:gd name="connsiteX86" fmla="*/ 636815 w 1346316"/>
              <a:gd name="connsiteY86" fmla="*/ 557138 h 770184"/>
              <a:gd name="connsiteX87" fmla="*/ 450452 w 1346316"/>
              <a:gd name="connsiteY87" fmla="*/ 557138 h 770184"/>
              <a:gd name="connsiteX88" fmla="*/ 438891 w 1346316"/>
              <a:gd name="connsiteY88" fmla="*/ 578014 h 770184"/>
              <a:gd name="connsiteX89" fmla="*/ 525615 w 1346316"/>
              <a:gd name="connsiteY89" fmla="*/ 578014 h 770184"/>
              <a:gd name="connsiteX90" fmla="*/ 537094 w 1346316"/>
              <a:gd name="connsiteY90" fmla="*/ 557138 h 770184"/>
              <a:gd name="connsiteX91" fmla="*/ 350442 w 1346316"/>
              <a:gd name="connsiteY91" fmla="*/ 557138 h 770184"/>
              <a:gd name="connsiteX92" fmla="*/ 339169 w 1346316"/>
              <a:gd name="connsiteY92" fmla="*/ 578014 h 770184"/>
              <a:gd name="connsiteX93" fmla="*/ 425894 w 1346316"/>
              <a:gd name="connsiteY93" fmla="*/ 578014 h 770184"/>
              <a:gd name="connsiteX94" fmla="*/ 437373 w 1346316"/>
              <a:gd name="connsiteY94" fmla="*/ 557138 h 770184"/>
              <a:gd name="connsiteX95" fmla="*/ 223508 w 1346316"/>
              <a:gd name="connsiteY95" fmla="*/ 530416 h 770184"/>
              <a:gd name="connsiteX96" fmla="*/ 181034 w 1346316"/>
              <a:gd name="connsiteY96" fmla="*/ 577233 h 770184"/>
              <a:gd name="connsiteX97" fmla="*/ 214086 w 1346316"/>
              <a:gd name="connsiteY97" fmla="*/ 576132 h 770184"/>
              <a:gd name="connsiteX98" fmla="*/ 236120 w 1346316"/>
              <a:gd name="connsiteY98" fmla="*/ 549691 h 770184"/>
              <a:gd name="connsiteX99" fmla="*/ 308065 w 1346316"/>
              <a:gd name="connsiteY99" fmla="*/ 550792 h 770184"/>
              <a:gd name="connsiteX100" fmla="*/ 320676 w 1346316"/>
              <a:gd name="connsiteY100" fmla="*/ 530416 h 770184"/>
              <a:gd name="connsiteX101" fmla="*/ 344289 w 1346316"/>
              <a:gd name="connsiteY101" fmla="*/ 525890 h 770184"/>
              <a:gd name="connsiteX102" fmla="*/ 313816 w 1346316"/>
              <a:gd name="connsiteY102" fmla="*/ 551962 h 770184"/>
              <a:gd name="connsiteX103" fmla="*/ 408386 w 1346316"/>
              <a:gd name="connsiteY103" fmla="*/ 551962 h 770184"/>
              <a:gd name="connsiteX104" fmla="*/ 420223 w 1346316"/>
              <a:gd name="connsiteY104" fmla="*/ 525890 h 770184"/>
              <a:gd name="connsiteX105" fmla="*/ 1146909 w 1346316"/>
              <a:gd name="connsiteY105" fmla="*/ 525757 h 770184"/>
              <a:gd name="connsiteX106" fmla="*/ 1053623 w 1346316"/>
              <a:gd name="connsiteY106" fmla="*/ 525757 h 770184"/>
              <a:gd name="connsiteX107" fmla="*/ 1061857 w 1346316"/>
              <a:gd name="connsiteY107" fmla="*/ 551229 h 770184"/>
              <a:gd name="connsiteX108" fmla="*/ 1156867 w 1346316"/>
              <a:gd name="connsiteY108" fmla="*/ 551229 h 770184"/>
              <a:gd name="connsiteX109" fmla="*/ 1046629 w 1346316"/>
              <a:gd name="connsiteY109" fmla="*/ 525757 h 770184"/>
              <a:gd name="connsiteX110" fmla="*/ 953343 w 1346316"/>
              <a:gd name="connsiteY110" fmla="*/ 525757 h 770184"/>
              <a:gd name="connsiteX111" fmla="*/ 961577 w 1346316"/>
              <a:gd name="connsiteY111" fmla="*/ 551229 h 770184"/>
              <a:gd name="connsiteX112" fmla="*/ 1056587 w 1346316"/>
              <a:gd name="connsiteY112" fmla="*/ 551229 h 770184"/>
              <a:gd name="connsiteX113" fmla="*/ 946348 w 1346316"/>
              <a:gd name="connsiteY113" fmla="*/ 525757 h 770184"/>
              <a:gd name="connsiteX114" fmla="*/ 853062 w 1346316"/>
              <a:gd name="connsiteY114" fmla="*/ 525757 h 770184"/>
              <a:gd name="connsiteX115" fmla="*/ 861295 w 1346316"/>
              <a:gd name="connsiteY115" fmla="*/ 551229 h 770184"/>
              <a:gd name="connsiteX116" fmla="*/ 956306 w 1346316"/>
              <a:gd name="connsiteY116" fmla="*/ 551229 h 770184"/>
              <a:gd name="connsiteX117" fmla="*/ 771481 w 1346316"/>
              <a:gd name="connsiteY117" fmla="*/ 525757 h 770184"/>
              <a:gd name="connsiteX118" fmla="*/ 761014 w 1346316"/>
              <a:gd name="connsiteY118" fmla="*/ 551229 h 770184"/>
              <a:gd name="connsiteX119" fmla="*/ 856024 w 1346316"/>
              <a:gd name="connsiteY119" fmla="*/ 551229 h 770184"/>
              <a:gd name="connsiteX120" fmla="*/ 846067 w 1346316"/>
              <a:gd name="connsiteY120" fmla="*/ 525757 h 770184"/>
              <a:gd name="connsiteX121" fmla="*/ 685542 w 1346316"/>
              <a:gd name="connsiteY121" fmla="*/ 525757 h 770184"/>
              <a:gd name="connsiteX122" fmla="*/ 675076 w 1346316"/>
              <a:gd name="connsiteY122" fmla="*/ 551229 h 770184"/>
              <a:gd name="connsiteX123" fmla="*/ 753586 w 1346316"/>
              <a:gd name="connsiteY123" fmla="*/ 551229 h 770184"/>
              <a:gd name="connsiteX124" fmla="*/ 763977 w 1346316"/>
              <a:gd name="connsiteY124" fmla="*/ 525757 h 770184"/>
              <a:gd name="connsiteX125" fmla="*/ 599604 w 1346316"/>
              <a:gd name="connsiteY125" fmla="*/ 525757 h 770184"/>
              <a:gd name="connsiteX126" fmla="*/ 589137 w 1346316"/>
              <a:gd name="connsiteY126" fmla="*/ 551229 h 770184"/>
              <a:gd name="connsiteX127" fmla="*/ 667647 w 1346316"/>
              <a:gd name="connsiteY127" fmla="*/ 551229 h 770184"/>
              <a:gd name="connsiteX128" fmla="*/ 678038 w 1346316"/>
              <a:gd name="connsiteY128" fmla="*/ 525757 h 770184"/>
              <a:gd name="connsiteX129" fmla="*/ 513665 w 1346316"/>
              <a:gd name="connsiteY129" fmla="*/ 525757 h 770184"/>
              <a:gd name="connsiteX130" fmla="*/ 503199 w 1346316"/>
              <a:gd name="connsiteY130" fmla="*/ 551229 h 770184"/>
              <a:gd name="connsiteX131" fmla="*/ 581708 w 1346316"/>
              <a:gd name="connsiteY131" fmla="*/ 551229 h 770184"/>
              <a:gd name="connsiteX132" fmla="*/ 592100 w 1346316"/>
              <a:gd name="connsiteY132" fmla="*/ 525757 h 770184"/>
              <a:gd name="connsiteX133" fmla="*/ 427465 w 1346316"/>
              <a:gd name="connsiteY133" fmla="*/ 525757 h 770184"/>
              <a:gd name="connsiteX134" fmla="*/ 417260 w 1346316"/>
              <a:gd name="connsiteY134" fmla="*/ 551229 h 770184"/>
              <a:gd name="connsiteX135" fmla="*/ 495770 w 1346316"/>
              <a:gd name="connsiteY135" fmla="*/ 551229 h 770184"/>
              <a:gd name="connsiteX136" fmla="*/ 506161 w 1346316"/>
              <a:gd name="connsiteY136" fmla="*/ 525757 h 770184"/>
              <a:gd name="connsiteX137" fmla="*/ 261850 w 1346316"/>
              <a:gd name="connsiteY137" fmla="*/ 499031 h 770184"/>
              <a:gd name="connsiteX138" fmla="*/ 239015 w 1346316"/>
              <a:gd name="connsiteY138" fmla="*/ 517250 h 770184"/>
              <a:gd name="connsiteX139" fmla="*/ 309881 w 1346316"/>
              <a:gd name="connsiteY139" fmla="*/ 517250 h 770184"/>
              <a:gd name="connsiteX140" fmla="*/ 318751 w 1346316"/>
              <a:gd name="connsiteY140" fmla="*/ 499031 h 770184"/>
              <a:gd name="connsiteX141" fmla="*/ 1061959 w 1346316"/>
              <a:gd name="connsiteY141" fmla="*/ 498996 h 770184"/>
              <a:gd name="connsiteX142" fmla="*/ 1068129 w 1346316"/>
              <a:gd name="connsiteY142" fmla="*/ 516798 h 770184"/>
              <a:gd name="connsiteX143" fmla="*/ 1139325 w 1346316"/>
              <a:gd name="connsiteY143" fmla="*/ 516798 h 770184"/>
              <a:gd name="connsiteX144" fmla="*/ 1131863 w 1346316"/>
              <a:gd name="connsiteY144" fmla="*/ 498996 h 770184"/>
              <a:gd name="connsiteX145" fmla="*/ 974984 w 1346316"/>
              <a:gd name="connsiteY145" fmla="*/ 498996 h 770184"/>
              <a:gd name="connsiteX146" fmla="*/ 981154 w 1346316"/>
              <a:gd name="connsiteY146" fmla="*/ 516798 h 770184"/>
              <a:gd name="connsiteX147" fmla="*/ 1052350 w 1346316"/>
              <a:gd name="connsiteY147" fmla="*/ 516798 h 770184"/>
              <a:gd name="connsiteX148" fmla="*/ 1044888 w 1346316"/>
              <a:gd name="connsiteY148" fmla="*/ 498996 h 770184"/>
              <a:gd name="connsiteX149" fmla="*/ 888011 w 1346316"/>
              <a:gd name="connsiteY149" fmla="*/ 498996 h 770184"/>
              <a:gd name="connsiteX150" fmla="*/ 894180 w 1346316"/>
              <a:gd name="connsiteY150" fmla="*/ 516798 h 770184"/>
              <a:gd name="connsiteX151" fmla="*/ 965377 w 1346316"/>
              <a:gd name="connsiteY151" fmla="*/ 516798 h 770184"/>
              <a:gd name="connsiteX152" fmla="*/ 957914 w 1346316"/>
              <a:gd name="connsiteY152" fmla="*/ 498996 h 770184"/>
              <a:gd name="connsiteX153" fmla="*/ 801037 w 1346316"/>
              <a:gd name="connsiteY153" fmla="*/ 498996 h 770184"/>
              <a:gd name="connsiteX154" fmla="*/ 807207 w 1346316"/>
              <a:gd name="connsiteY154" fmla="*/ 516798 h 770184"/>
              <a:gd name="connsiteX155" fmla="*/ 878403 w 1346316"/>
              <a:gd name="connsiteY155" fmla="*/ 516798 h 770184"/>
              <a:gd name="connsiteX156" fmla="*/ 870941 w 1346316"/>
              <a:gd name="connsiteY156" fmla="*/ 498996 h 770184"/>
              <a:gd name="connsiteX157" fmla="*/ 714064 w 1346316"/>
              <a:gd name="connsiteY157" fmla="*/ 498996 h 770184"/>
              <a:gd name="connsiteX158" fmla="*/ 720233 w 1346316"/>
              <a:gd name="connsiteY158" fmla="*/ 516798 h 770184"/>
              <a:gd name="connsiteX159" fmla="*/ 791430 w 1346316"/>
              <a:gd name="connsiteY159" fmla="*/ 516798 h 770184"/>
              <a:gd name="connsiteX160" fmla="*/ 783967 w 1346316"/>
              <a:gd name="connsiteY160" fmla="*/ 498996 h 770184"/>
              <a:gd name="connsiteX161" fmla="*/ 641103 w 1346316"/>
              <a:gd name="connsiteY161" fmla="*/ 498996 h 770184"/>
              <a:gd name="connsiteX162" fmla="*/ 633260 w 1346316"/>
              <a:gd name="connsiteY162" fmla="*/ 516798 h 770184"/>
              <a:gd name="connsiteX163" fmla="*/ 704456 w 1346316"/>
              <a:gd name="connsiteY163" fmla="*/ 516798 h 770184"/>
              <a:gd name="connsiteX164" fmla="*/ 696994 w 1346316"/>
              <a:gd name="connsiteY164" fmla="*/ 498996 h 770184"/>
              <a:gd name="connsiteX165" fmla="*/ 564878 w 1346316"/>
              <a:gd name="connsiteY165" fmla="*/ 498996 h 770184"/>
              <a:gd name="connsiteX166" fmla="*/ 557035 w 1346316"/>
              <a:gd name="connsiteY166" fmla="*/ 516798 h 770184"/>
              <a:gd name="connsiteX167" fmla="*/ 615866 w 1346316"/>
              <a:gd name="connsiteY167" fmla="*/ 516798 h 770184"/>
              <a:gd name="connsiteX168" fmla="*/ 623653 w 1346316"/>
              <a:gd name="connsiteY168" fmla="*/ 498996 h 770184"/>
              <a:gd name="connsiteX169" fmla="*/ 488652 w 1346316"/>
              <a:gd name="connsiteY169" fmla="*/ 498996 h 770184"/>
              <a:gd name="connsiteX170" fmla="*/ 480809 w 1346316"/>
              <a:gd name="connsiteY170" fmla="*/ 516798 h 770184"/>
              <a:gd name="connsiteX171" fmla="*/ 539641 w 1346316"/>
              <a:gd name="connsiteY171" fmla="*/ 516798 h 770184"/>
              <a:gd name="connsiteX172" fmla="*/ 547427 w 1346316"/>
              <a:gd name="connsiteY172" fmla="*/ 498996 h 770184"/>
              <a:gd name="connsiteX173" fmla="*/ 412427 w 1346316"/>
              <a:gd name="connsiteY173" fmla="*/ 498996 h 770184"/>
              <a:gd name="connsiteX174" fmla="*/ 404584 w 1346316"/>
              <a:gd name="connsiteY174" fmla="*/ 516798 h 770184"/>
              <a:gd name="connsiteX175" fmla="*/ 463415 w 1346316"/>
              <a:gd name="connsiteY175" fmla="*/ 516798 h 770184"/>
              <a:gd name="connsiteX176" fmla="*/ 471202 w 1346316"/>
              <a:gd name="connsiteY176" fmla="*/ 498996 h 770184"/>
              <a:gd name="connsiteX177" fmla="*/ 336006 w 1346316"/>
              <a:gd name="connsiteY177" fmla="*/ 498996 h 770184"/>
              <a:gd name="connsiteX178" fmla="*/ 328358 w 1346316"/>
              <a:gd name="connsiteY178" fmla="*/ 516798 h 770184"/>
              <a:gd name="connsiteX179" fmla="*/ 387190 w 1346316"/>
              <a:gd name="connsiteY179" fmla="*/ 516798 h 770184"/>
              <a:gd name="connsiteX180" fmla="*/ 394976 w 1346316"/>
              <a:gd name="connsiteY180" fmla="*/ 498996 h 770184"/>
              <a:gd name="connsiteX181" fmla="*/ 280485 w 1346316"/>
              <a:gd name="connsiteY181" fmla="*/ 40617 h 770184"/>
              <a:gd name="connsiteX182" fmla="*/ 280485 w 1346316"/>
              <a:gd name="connsiteY182" fmla="*/ 411185 h 770184"/>
              <a:gd name="connsiteX183" fmla="*/ 1105254 w 1346316"/>
              <a:gd name="connsiteY183" fmla="*/ 411185 h 770184"/>
              <a:gd name="connsiteX184" fmla="*/ 1105254 w 1346316"/>
              <a:gd name="connsiteY184" fmla="*/ 40617 h 770184"/>
              <a:gd name="connsiteX185" fmla="*/ 290594 w 1346316"/>
              <a:gd name="connsiteY185" fmla="*/ 0 h 770184"/>
              <a:gd name="connsiteX186" fmla="*/ 1095144 w 1346316"/>
              <a:gd name="connsiteY186" fmla="*/ 0 h 770184"/>
              <a:gd name="connsiteX187" fmla="*/ 1146189 w 1346316"/>
              <a:gd name="connsiteY187" fmla="*/ 51045 h 770184"/>
              <a:gd name="connsiteX188" fmla="*/ 1146189 w 1346316"/>
              <a:gd name="connsiteY188" fmla="*/ 400758 h 770184"/>
              <a:gd name="connsiteX189" fmla="*/ 1131239 w 1346316"/>
              <a:gd name="connsiteY189" fmla="*/ 436852 h 770184"/>
              <a:gd name="connsiteX190" fmla="*/ 1122625 w 1346316"/>
              <a:gd name="connsiteY190" fmla="*/ 442659 h 770184"/>
              <a:gd name="connsiteX191" fmla="*/ 1135983 w 1346316"/>
              <a:gd name="connsiteY191" fmla="*/ 442704 h 770184"/>
              <a:gd name="connsiteX192" fmla="*/ 1346316 w 1346316"/>
              <a:gd name="connsiteY192" fmla="*/ 716831 h 770184"/>
              <a:gd name="connsiteX193" fmla="*/ 1274530 w 1346316"/>
              <a:gd name="connsiteY193" fmla="*/ 770184 h 770184"/>
              <a:gd name="connsiteX194" fmla="*/ 71786 w 1346316"/>
              <a:gd name="connsiteY194" fmla="*/ 770184 h 770184"/>
              <a:gd name="connsiteX195" fmla="*/ 0 w 1346316"/>
              <a:gd name="connsiteY195" fmla="*/ 716831 h 770184"/>
              <a:gd name="connsiteX196" fmla="*/ 243483 w 1346316"/>
              <a:gd name="connsiteY196" fmla="*/ 439672 h 770184"/>
              <a:gd name="connsiteX197" fmla="*/ 258760 w 1346316"/>
              <a:gd name="connsiteY197" fmla="*/ 439724 h 770184"/>
              <a:gd name="connsiteX198" fmla="*/ 254500 w 1346316"/>
              <a:gd name="connsiteY198" fmla="*/ 436852 h 770184"/>
              <a:gd name="connsiteX199" fmla="*/ 239549 w 1346316"/>
              <a:gd name="connsiteY199" fmla="*/ 400758 h 770184"/>
              <a:gd name="connsiteX200" fmla="*/ 239549 w 1346316"/>
              <a:gd name="connsiteY200" fmla="*/ 51045 h 770184"/>
              <a:gd name="connsiteX201" fmla="*/ 290594 w 1346316"/>
              <a:gd name="connsiteY201" fmla="*/ 0 h 770184"/>
              <a:gd name="connsiteX0" fmla="*/ 532211 w 1326657"/>
              <a:gd name="connsiteY0" fmla="*/ 673154 h 770184"/>
              <a:gd name="connsiteX1" fmla="*/ 514017 w 1326657"/>
              <a:gd name="connsiteY1" fmla="*/ 745928 h 770184"/>
              <a:gd name="connsiteX2" fmla="*/ 789950 w 1326657"/>
              <a:gd name="connsiteY2" fmla="*/ 745928 h 770184"/>
              <a:gd name="connsiteX3" fmla="*/ 771757 w 1326657"/>
              <a:gd name="connsiteY3" fmla="*/ 673154 h 770184"/>
              <a:gd name="connsiteX4" fmla="*/ 532211 w 1326657"/>
              <a:gd name="connsiteY4" fmla="*/ 673154 h 770184"/>
              <a:gd name="connsiteX5" fmla="*/ 1184396 w 1326657"/>
              <a:gd name="connsiteY5" fmla="*/ 615493 h 770184"/>
              <a:gd name="connsiteX6" fmla="*/ 995748 w 1326657"/>
              <a:gd name="connsiteY6" fmla="*/ 615493 h 770184"/>
              <a:gd name="connsiteX7" fmla="*/ 1013122 w 1326657"/>
              <a:gd name="connsiteY7" fmla="*/ 650745 h 770184"/>
              <a:gd name="connsiteX8" fmla="*/ 1201173 w 1326657"/>
              <a:gd name="connsiteY8" fmla="*/ 650745 h 770184"/>
              <a:gd name="connsiteX9" fmla="*/ 1184396 w 1326657"/>
              <a:gd name="connsiteY9" fmla="*/ 615493 h 770184"/>
              <a:gd name="connsiteX10" fmla="*/ 877706 w 1326657"/>
              <a:gd name="connsiteY10" fmla="*/ 615493 h 770184"/>
              <a:gd name="connsiteX11" fmla="*/ 883466 w 1326657"/>
              <a:gd name="connsiteY11" fmla="*/ 652301 h 770184"/>
              <a:gd name="connsiteX12" fmla="*/ 987005 w 1326657"/>
              <a:gd name="connsiteY12" fmla="*/ 652300 h 770184"/>
              <a:gd name="connsiteX13" fmla="*/ 970309 w 1326657"/>
              <a:gd name="connsiteY13" fmla="*/ 615493 h 770184"/>
              <a:gd name="connsiteX14" fmla="*/ 877706 w 1326657"/>
              <a:gd name="connsiteY14" fmla="*/ 615493 h 770184"/>
              <a:gd name="connsiteX15" fmla="*/ 863452 w 1326657"/>
              <a:gd name="connsiteY15" fmla="*/ 615493 h 770184"/>
              <a:gd name="connsiteX16" fmla="*/ 359022 w 1326657"/>
              <a:gd name="connsiteY16" fmla="*/ 616132 h 770184"/>
              <a:gd name="connsiteX17" fmla="*/ 347071 w 1326657"/>
              <a:gd name="connsiteY17" fmla="*/ 652421 h 770184"/>
              <a:gd name="connsiteX18" fmla="*/ 864337 w 1326657"/>
              <a:gd name="connsiteY18" fmla="*/ 651213 h 770184"/>
              <a:gd name="connsiteX19" fmla="*/ 863452 w 1326657"/>
              <a:gd name="connsiteY19" fmla="*/ 615493 h 770184"/>
              <a:gd name="connsiteX20" fmla="*/ 127981 w 1326657"/>
              <a:gd name="connsiteY20" fmla="*/ 615493 h 770184"/>
              <a:gd name="connsiteX21" fmla="*/ 109993 w 1326657"/>
              <a:gd name="connsiteY21" fmla="*/ 650745 h 770184"/>
              <a:gd name="connsiteX22" fmla="*/ 323169 w 1326657"/>
              <a:gd name="connsiteY22" fmla="*/ 651901 h 770184"/>
              <a:gd name="connsiteX23" fmla="*/ 340640 w 1326657"/>
              <a:gd name="connsiteY23" fmla="*/ 615493 h 770184"/>
              <a:gd name="connsiteX24" fmla="*/ 127981 w 1326657"/>
              <a:gd name="connsiteY24" fmla="*/ 615493 h 770184"/>
              <a:gd name="connsiteX25" fmla="*/ 169114 w 1326657"/>
              <a:gd name="connsiteY25" fmla="*/ 585700 h 770184"/>
              <a:gd name="connsiteX26" fmla="*/ 135453 w 1326657"/>
              <a:gd name="connsiteY26" fmla="*/ 610506 h 770184"/>
              <a:gd name="connsiteX27" fmla="*/ 239916 w 1326657"/>
              <a:gd name="connsiteY27" fmla="*/ 610506 h 770184"/>
              <a:gd name="connsiteX28" fmla="*/ 252992 w 1326657"/>
              <a:gd name="connsiteY28" fmla="*/ 585700 h 770184"/>
              <a:gd name="connsiteX29" fmla="*/ 169114 w 1326657"/>
              <a:gd name="connsiteY29" fmla="*/ 585700 h 770184"/>
              <a:gd name="connsiteX30" fmla="*/ 1094034 w 1326657"/>
              <a:gd name="connsiteY30" fmla="*/ 585552 h 770184"/>
              <a:gd name="connsiteX31" fmla="*/ 990989 w 1326657"/>
              <a:gd name="connsiteY31" fmla="*/ 585552 h 770184"/>
              <a:gd name="connsiteX32" fmla="*/ 1000083 w 1326657"/>
              <a:gd name="connsiteY32" fmla="*/ 609788 h 770184"/>
              <a:gd name="connsiteX33" fmla="*/ 1105034 w 1326657"/>
              <a:gd name="connsiteY33" fmla="*/ 609788 h 770184"/>
              <a:gd name="connsiteX34" fmla="*/ 1094034 w 1326657"/>
              <a:gd name="connsiteY34" fmla="*/ 585552 h 770184"/>
              <a:gd name="connsiteX35" fmla="*/ 978472 w 1326657"/>
              <a:gd name="connsiteY35" fmla="*/ 585552 h 770184"/>
              <a:gd name="connsiteX36" fmla="*/ 875426 w 1326657"/>
              <a:gd name="connsiteY36" fmla="*/ 585552 h 770184"/>
              <a:gd name="connsiteX37" fmla="*/ 884521 w 1326657"/>
              <a:gd name="connsiteY37" fmla="*/ 609788 h 770184"/>
              <a:gd name="connsiteX38" fmla="*/ 989471 w 1326657"/>
              <a:gd name="connsiteY38" fmla="*/ 609788 h 770184"/>
              <a:gd name="connsiteX39" fmla="*/ 978472 w 1326657"/>
              <a:gd name="connsiteY39" fmla="*/ 585552 h 770184"/>
              <a:gd name="connsiteX40" fmla="*/ 862909 w 1326657"/>
              <a:gd name="connsiteY40" fmla="*/ 585552 h 770184"/>
              <a:gd name="connsiteX41" fmla="*/ 759863 w 1326657"/>
              <a:gd name="connsiteY41" fmla="*/ 585552 h 770184"/>
              <a:gd name="connsiteX42" fmla="*/ 768958 w 1326657"/>
              <a:gd name="connsiteY42" fmla="*/ 609788 h 770184"/>
              <a:gd name="connsiteX43" fmla="*/ 873908 w 1326657"/>
              <a:gd name="connsiteY43" fmla="*/ 609788 h 770184"/>
              <a:gd name="connsiteX44" fmla="*/ 862909 w 1326657"/>
              <a:gd name="connsiteY44" fmla="*/ 585552 h 770184"/>
              <a:gd name="connsiteX45" fmla="*/ 664956 w 1326657"/>
              <a:gd name="connsiteY45" fmla="*/ 585552 h 770184"/>
              <a:gd name="connsiteX46" fmla="*/ 653395 w 1326657"/>
              <a:gd name="connsiteY46" fmla="*/ 609788 h 770184"/>
              <a:gd name="connsiteX47" fmla="*/ 758345 w 1326657"/>
              <a:gd name="connsiteY47" fmla="*/ 609788 h 770184"/>
              <a:gd name="connsiteX48" fmla="*/ 747346 w 1326657"/>
              <a:gd name="connsiteY48" fmla="*/ 585552 h 770184"/>
              <a:gd name="connsiteX49" fmla="*/ 664956 w 1326657"/>
              <a:gd name="connsiteY49" fmla="*/ 585552 h 770184"/>
              <a:gd name="connsiteX50" fmla="*/ 565235 w 1326657"/>
              <a:gd name="connsiteY50" fmla="*/ 585552 h 770184"/>
              <a:gd name="connsiteX51" fmla="*/ 553673 w 1326657"/>
              <a:gd name="connsiteY51" fmla="*/ 609788 h 770184"/>
              <a:gd name="connsiteX52" fmla="*/ 640398 w 1326657"/>
              <a:gd name="connsiteY52" fmla="*/ 609788 h 770184"/>
              <a:gd name="connsiteX53" fmla="*/ 651877 w 1326657"/>
              <a:gd name="connsiteY53" fmla="*/ 585552 h 770184"/>
              <a:gd name="connsiteX54" fmla="*/ 565235 w 1326657"/>
              <a:gd name="connsiteY54" fmla="*/ 585552 h 770184"/>
              <a:gd name="connsiteX55" fmla="*/ 465514 w 1326657"/>
              <a:gd name="connsiteY55" fmla="*/ 585552 h 770184"/>
              <a:gd name="connsiteX56" fmla="*/ 453952 w 1326657"/>
              <a:gd name="connsiteY56" fmla="*/ 609788 h 770184"/>
              <a:gd name="connsiteX57" fmla="*/ 540677 w 1326657"/>
              <a:gd name="connsiteY57" fmla="*/ 609788 h 770184"/>
              <a:gd name="connsiteX58" fmla="*/ 552156 w 1326657"/>
              <a:gd name="connsiteY58" fmla="*/ 585552 h 770184"/>
              <a:gd name="connsiteX59" fmla="*/ 465514 w 1326657"/>
              <a:gd name="connsiteY59" fmla="*/ 585552 h 770184"/>
              <a:gd name="connsiteX60" fmla="*/ 365793 w 1326657"/>
              <a:gd name="connsiteY60" fmla="*/ 585552 h 770184"/>
              <a:gd name="connsiteX61" fmla="*/ 354231 w 1326657"/>
              <a:gd name="connsiteY61" fmla="*/ 609788 h 770184"/>
              <a:gd name="connsiteX62" fmla="*/ 440956 w 1326657"/>
              <a:gd name="connsiteY62" fmla="*/ 609788 h 770184"/>
              <a:gd name="connsiteX63" fmla="*/ 452434 w 1326657"/>
              <a:gd name="connsiteY63" fmla="*/ 585552 h 770184"/>
              <a:gd name="connsiteX64" fmla="*/ 365793 w 1326657"/>
              <a:gd name="connsiteY64" fmla="*/ 585552 h 770184"/>
              <a:gd name="connsiteX65" fmla="*/ 265783 w 1326657"/>
              <a:gd name="connsiteY65" fmla="*/ 585552 h 770184"/>
              <a:gd name="connsiteX66" fmla="*/ 254510 w 1326657"/>
              <a:gd name="connsiteY66" fmla="*/ 609788 h 770184"/>
              <a:gd name="connsiteX67" fmla="*/ 341235 w 1326657"/>
              <a:gd name="connsiteY67" fmla="*/ 609788 h 770184"/>
              <a:gd name="connsiteX68" fmla="*/ 352713 w 1326657"/>
              <a:gd name="connsiteY68" fmla="*/ 585552 h 770184"/>
              <a:gd name="connsiteX69" fmla="*/ 265783 w 1326657"/>
              <a:gd name="connsiteY69" fmla="*/ 585552 h 770184"/>
              <a:gd name="connsiteX70" fmla="*/ 1046910 w 1326657"/>
              <a:gd name="connsiteY70" fmla="*/ 559836 h 770184"/>
              <a:gd name="connsiteX71" fmla="*/ 1059522 w 1326657"/>
              <a:gd name="connsiteY71" fmla="*/ 580212 h 770184"/>
              <a:gd name="connsiteX72" fmla="*/ 1107799 w 1326657"/>
              <a:gd name="connsiteY72" fmla="*/ 579110 h 770184"/>
              <a:gd name="connsiteX73" fmla="*/ 1120958 w 1326657"/>
              <a:gd name="connsiteY73" fmla="*/ 605551 h 770184"/>
              <a:gd name="connsiteX74" fmla="*/ 1185073 w 1326657"/>
              <a:gd name="connsiteY74" fmla="*/ 608132 h 770184"/>
              <a:gd name="connsiteX75" fmla="*/ 1144078 w 1326657"/>
              <a:gd name="connsiteY75" fmla="*/ 559836 h 770184"/>
              <a:gd name="connsiteX76" fmla="*/ 1046910 w 1326657"/>
              <a:gd name="connsiteY76" fmla="*/ 559836 h 770184"/>
              <a:gd name="connsiteX77" fmla="*/ 217843 w 1326657"/>
              <a:gd name="connsiteY77" fmla="*/ 557325 h 770184"/>
              <a:gd name="connsiteX78" fmla="*/ 200453 w 1326657"/>
              <a:gd name="connsiteY78" fmla="*/ 578693 h 770184"/>
              <a:gd name="connsiteX79" fmla="*/ 304917 w 1326657"/>
              <a:gd name="connsiteY79" fmla="*/ 578693 h 770184"/>
              <a:gd name="connsiteX80" fmla="*/ 317992 w 1326657"/>
              <a:gd name="connsiteY80" fmla="*/ 557325 h 770184"/>
              <a:gd name="connsiteX81" fmla="*/ 217843 w 1326657"/>
              <a:gd name="connsiteY81" fmla="*/ 557325 h 770184"/>
              <a:gd name="connsiteX82" fmla="*/ 1040167 w 1326657"/>
              <a:gd name="connsiteY82" fmla="*/ 557138 h 770184"/>
              <a:gd name="connsiteX83" fmla="*/ 937122 w 1326657"/>
              <a:gd name="connsiteY83" fmla="*/ 557139 h 770184"/>
              <a:gd name="connsiteX84" fmla="*/ 946216 w 1326657"/>
              <a:gd name="connsiteY84" fmla="*/ 578014 h 770184"/>
              <a:gd name="connsiteX85" fmla="*/ 1051167 w 1326657"/>
              <a:gd name="connsiteY85" fmla="*/ 578014 h 770184"/>
              <a:gd name="connsiteX86" fmla="*/ 1040167 w 1326657"/>
              <a:gd name="connsiteY86" fmla="*/ 557138 h 770184"/>
              <a:gd name="connsiteX87" fmla="*/ 927909 w 1326657"/>
              <a:gd name="connsiteY87" fmla="*/ 557138 h 770184"/>
              <a:gd name="connsiteX88" fmla="*/ 824864 w 1326657"/>
              <a:gd name="connsiteY88" fmla="*/ 557139 h 770184"/>
              <a:gd name="connsiteX89" fmla="*/ 833958 w 1326657"/>
              <a:gd name="connsiteY89" fmla="*/ 578014 h 770184"/>
              <a:gd name="connsiteX90" fmla="*/ 938909 w 1326657"/>
              <a:gd name="connsiteY90" fmla="*/ 578014 h 770184"/>
              <a:gd name="connsiteX91" fmla="*/ 927909 w 1326657"/>
              <a:gd name="connsiteY91" fmla="*/ 557138 h 770184"/>
              <a:gd name="connsiteX92" fmla="*/ 729956 w 1326657"/>
              <a:gd name="connsiteY92" fmla="*/ 557138 h 770184"/>
              <a:gd name="connsiteX93" fmla="*/ 718395 w 1326657"/>
              <a:gd name="connsiteY93" fmla="*/ 578014 h 770184"/>
              <a:gd name="connsiteX94" fmla="*/ 823346 w 1326657"/>
              <a:gd name="connsiteY94" fmla="*/ 578014 h 770184"/>
              <a:gd name="connsiteX95" fmla="*/ 812346 w 1326657"/>
              <a:gd name="connsiteY95" fmla="*/ 557138 h 770184"/>
              <a:gd name="connsiteX96" fmla="*/ 729956 w 1326657"/>
              <a:gd name="connsiteY96" fmla="*/ 557138 h 770184"/>
              <a:gd name="connsiteX97" fmla="*/ 630235 w 1326657"/>
              <a:gd name="connsiteY97" fmla="*/ 557138 h 770184"/>
              <a:gd name="connsiteX98" fmla="*/ 618674 w 1326657"/>
              <a:gd name="connsiteY98" fmla="*/ 578014 h 770184"/>
              <a:gd name="connsiteX99" fmla="*/ 705399 w 1326657"/>
              <a:gd name="connsiteY99" fmla="*/ 578014 h 770184"/>
              <a:gd name="connsiteX100" fmla="*/ 716877 w 1326657"/>
              <a:gd name="connsiteY100" fmla="*/ 557138 h 770184"/>
              <a:gd name="connsiteX101" fmla="*/ 630235 w 1326657"/>
              <a:gd name="connsiteY101" fmla="*/ 557138 h 770184"/>
              <a:gd name="connsiteX102" fmla="*/ 530514 w 1326657"/>
              <a:gd name="connsiteY102" fmla="*/ 557138 h 770184"/>
              <a:gd name="connsiteX103" fmla="*/ 518953 w 1326657"/>
              <a:gd name="connsiteY103" fmla="*/ 578014 h 770184"/>
              <a:gd name="connsiteX104" fmla="*/ 605677 w 1326657"/>
              <a:gd name="connsiteY104" fmla="*/ 578014 h 770184"/>
              <a:gd name="connsiteX105" fmla="*/ 617156 w 1326657"/>
              <a:gd name="connsiteY105" fmla="*/ 557138 h 770184"/>
              <a:gd name="connsiteX106" fmla="*/ 530514 w 1326657"/>
              <a:gd name="connsiteY106" fmla="*/ 557138 h 770184"/>
              <a:gd name="connsiteX107" fmla="*/ 430793 w 1326657"/>
              <a:gd name="connsiteY107" fmla="*/ 557138 h 770184"/>
              <a:gd name="connsiteX108" fmla="*/ 419232 w 1326657"/>
              <a:gd name="connsiteY108" fmla="*/ 578014 h 770184"/>
              <a:gd name="connsiteX109" fmla="*/ 505956 w 1326657"/>
              <a:gd name="connsiteY109" fmla="*/ 578014 h 770184"/>
              <a:gd name="connsiteX110" fmla="*/ 517435 w 1326657"/>
              <a:gd name="connsiteY110" fmla="*/ 557138 h 770184"/>
              <a:gd name="connsiteX111" fmla="*/ 430793 w 1326657"/>
              <a:gd name="connsiteY111" fmla="*/ 557138 h 770184"/>
              <a:gd name="connsiteX112" fmla="*/ 330783 w 1326657"/>
              <a:gd name="connsiteY112" fmla="*/ 557138 h 770184"/>
              <a:gd name="connsiteX113" fmla="*/ 319510 w 1326657"/>
              <a:gd name="connsiteY113" fmla="*/ 578014 h 770184"/>
              <a:gd name="connsiteX114" fmla="*/ 406235 w 1326657"/>
              <a:gd name="connsiteY114" fmla="*/ 578014 h 770184"/>
              <a:gd name="connsiteX115" fmla="*/ 417714 w 1326657"/>
              <a:gd name="connsiteY115" fmla="*/ 557138 h 770184"/>
              <a:gd name="connsiteX116" fmla="*/ 330783 w 1326657"/>
              <a:gd name="connsiteY116" fmla="*/ 557138 h 770184"/>
              <a:gd name="connsiteX117" fmla="*/ 203849 w 1326657"/>
              <a:gd name="connsiteY117" fmla="*/ 530416 h 770184"/>
              <a:gd name="connsiteX118" fmla="*/ 161375 w 1326657"/>
              <a:gd name="connsiteY118" fmla="*/ 577233 h 770184"/>
              <a:gd name="connsiteX119" fmla="*/ 194427 w 1326657"/>
              <a:gd name="connsiteY119" fmla="*/ 576132 h 770184"/>
              <a:gd name="connsiteX120" fmla="*/ 216461 w 1326657"/>
              <a:gd name="connsiteY120" fmla="*/ 549691 h 770184"/>
              <a:gd name="connsiteX121" fmla="*/ 288406 w 1326657"/>
              <a:gd name="connsiteY121" fmla="*/ 550792 h 770184"/>
              <a:gd name="connsiteX122" fmla="*/ 301017 w 1326657"/>
              <a:gd name="connsiteY122" fmla="*/ 530416 h 770184"/>
              <a:gd name="connsiteX123" fmla="*/ 203849 w 1326657"/>
              <a:gd name="connsiteY123" fmla="*/ 530416 h 770184"/>
              <a:gd name="connsiteX124" fmla="*/ 324630 w 1326657"/>
              <a:gd name="connsiteY124" fmla="*/ 525890 h 770184"/>
              <a:gd name="connsiteX125" fmla="*/ 294157 w 1326657"/>
              <a:gd name="connsiteY125" fmla="*/ 551962 h 770184"/>
              <a:gd name="connsiteX126" fmla="*/ 388727 w 1326657"/>
              <a:gd name="connsiteY126" fmla="*/ 551962 h 770184"/>
              <a:gd name="connsiteX127" fmla="*/ 400564 w 1326657"/>
              <a:gd name="connsiteY127" fmla="*/ 525890 h 770184"/>
              <a:gd name="connsiteX128" fmla="*/ 324630 w 1326657"/>
              <a:gd name="connsiteY128" fmla="*/ 525890 h 770184"/>
              <a:gd name="connsiteX129" fmla="*/ 1127250 w 1326657"/>
              <a:gd name="connsiteY129" fmla="*/ 525757 h 770184"/>
              <a:gd name="connsiteX130" fmla="*/ 1033964 w 1326657"/>
              <a:gd name="connsiteY130" fmla="*/ 525757 h 770184"/>
              <a:gd name="connsiteX131" fmla="*/ 1042198 w 1326657"/>
              <a:gd name="connsiteY131" fmla="*/ 551229 h 770184"/>
              <a:gd name="connsiteX132" fmla="*/ 1137208 w 1326657"/>
              <a:gd name="connsiteY132" fmla="*/ 551229 h 770184"/>
              <a:gd name="connsiteX133" fmla="*/ 1127250 w 1326657"/>
              <a:gd name="connsiteY133" fmla="*/ 525757 h 770184"/>
              <a:gd name="connsiteX134" fmla="*/ 1026970 w 1326657"/>
              <a:gd name="connsiteY134" fmla="*/ 525757 h 770184"/>
              <a:gd name="connsiteX135" fmla="*/ 933684 w 1326657"/>
              <a:gd name="connsiteY135" fmla="*/ 525757 h 770184"/>
              <a:gd name="connsiteX136" fmla="*/ 941918 w 1326657"/>
              <a:gd name="connsiteY136" fmla="*/ 551229 h 770184"/>
              <a:gd name="connsiteX137" fmla="*/ 1036928 w 1326657"/>
              <a:gd name="connsiteY137" fmla="*/ 551229 h 770184"/>
              <a:gd name="connsiteX138" fmla="*/ 1026970 w 1326657"/>
              <a:gd name="connsiteY138" fmla="*/ 525757 h 770184"/>
              <a:gd name="connsiteX139" fmla="*/ 926689 w 1326657"/>
              <a:gd name="connsiteY139" fmla="*/ 525757 h 770184"/>
              <a:gd name="connsiteX140" fmla="*/ 833403 w 1326657"/>
              <a:gd name="connsiteY140" fmla="*/ 525757 h 770184"/>
              <a:gd name="connsiteX141" fmla="*/ 841636 w 1326657"/>
              <a:gd name="connsiteY141" fmla="*/ 551229 h 770184"/>
              <a:gd name="connsiteX142" fmla="*/ 936647 w 1326657"/>
              <a:gd name="connsiteY142" fmla="*/ 551229 h 770184"/>
              <a:gd name="connsiteX143" fmla="*/ 926689 w 1326657"/>
              <a:gd name="connsiteY143" fmla="*/ 525757 h 770184"/>
              <a:gd name="connsiteX144" fmla="*/ 751822 w 1326657"/>
              <a:gd name="connsiteY144" fmla="*/ 525757 h 770184"/>
              <a:gd name="connsiteX145" fmla="*/ 741355 w 1326657"/>
              <a:gd name="connsiteY145" fmla="*/ 551229 h 770184"/>
              <a:gd name="connsiteX146" fmla="*/ 836365 w 1326657"/>
              <a:gd name="connsiteY146" fmla="*/ 551229 h 770184"/>
              <a:gd name="connsiteX147" fmla="*/ 826408 w 1326657"/>
              <a:gd name="connsiteY147" fmla="*/ 525757 h 770184"/>
              <a:gd name="connsiteX148" fmla="*/ 751822 w 1326657"/>
              <a:gd name="connsiteY148" fmla="*/ 525757 h 770184"/>
              <a:gd name="connsiteX149" fmla="*/ 665883 w 1326657"/>
              <a:gd name="connsiteY149" fmla="*/ 525757 h 770184"/>
              <a:gd name="connsiteX150" fmla="*/ 655417 w 1326657"/>
              <a:gd name="connsiteY150" fmla="*/ 551229 h 770184"/>
              <a:gd name="connsiteX151" fmla="*/ 733927 w 1326657"/>
              <a:gd name="connsiteY151" fmla="*/ 551229 h 770184"/>
              <a:gd name="connsiteX152" fmla="*/ 744318 w 1326657"/>
              <a:gd name="connsiteY152" fmla="*/ 525757 h 770184"/>
              <a:gd name="connsiteX153" fmla="*/ 665883 w 1326657"/>
              <a:gd name="connsiteY153" fmla="*/ 525757 h 770184"/>
              <a:gd name="connsiteX154" fmla="*/ 579945 w 1326657"/>
              <a:gd name="connsiteY154" fmla="*/ 525757 h 770184"/>
              <a:gd name="connsiteX155" fmla="*/ 569478 w 1326657"/>
              <a:gd name="connsiteY155" fmla="*/ 551229 h 770184"/>
              <a:gd name="connsiteX156" fmla="*/ 647988 w 1326657"/>
              <a:gd name="connsiteY156" fmla="*/ 551229 h 770184"/>
              <a:gd name="connsiteX157" fmla="*/ 658379 w 1326657"/>
              <a:gd name="connsiteY157" fmla="*/ 525757 h 770184"/>
              <a:gd name="connsiteX158" fmla="*/ 579945 w 1326657"/>
              <a:gd name="connsiteY158" fmla="*/ 525757 h 770184"/>
              <a:gd name="connsiteX159" fmla="*/ 494006 w 1326657"/>
              <a:gd name="connsiteY159" fmla="*/ 525757 h 770184"/>
              <a:gd name="connsiteX160" fmla="*/ 483540 w 1326657"/>
              <a:gd name="connsiteY160" fmla="*/ 551229 h 770184"/>
              <a:gd name="connsiteX161" fmla="*/ 562049 w 1326657"/>
              <a:gd name="connsiteY161" fmla="*/ 551229 h 770184"/>
              <a:gd name="connsiteX162" fmla="*/ 572441 w 1326657"/>
              <a:gd name="connsiteY162" fmla="*/ 525757 h 770184"/>
              <a:gd name="connsiteX163" fmla="*/ 494006 w 1326657"/>
              <a:gd name="connsiteY163" fmla="*/ 525757 h 770184"/>
              <a:gd name="connsiteX164" fmla="*/ 407806 w 1326657"/>
              <a:gd name="connsiteY164" fmla="*/ 525757 h 770184"/>
              <a:gd name="connsiteX165" fmla="*/ 397601 w 1326657"/>
              <a:gd name="connsiteY165" fmla="*/ 551229 h 770184"/>
              <a:gd name="connsiteX166" fmla="*/ 476111 w 1326657"/>
              <a:gd name="connsiteY166" fmla="*/ 551229 h 770184"/>
              <a:gd name="connsiteX167" fmla="*/ 486502 w 1326657"/>
              <a:gd name="connsiteY167" fmla="*/ 525757 h 770184"/>
              <a:gd name="connsiteX168" fmla="*/ 407806 w 1326657"/>
              <a:gd name="connsiteY168" fmla="*/ 525757 h 770184"/>
              <a:gd name="connsiteX169" fmla="*/ 242191 w 1326657"/>
              <a:gd name="connsiteY169" fmla="*/ 499031 h 770184"/>
              <a:gd name="connsiteX170" fmla="*/ 219356 w 1326657"/>
              <a:gd name="connsiteY170" fmla="*/ 517250 h 770184"/>
              <a:gd name="connsiteX171" fmla="*/ 290222 w 1326657"/>
              <a:gd name="connsiteY171" fmla="*/ 517250 h 770184"/>
              <a:gd name="connsiteX172" fmla="*/ 299092 w 1326657"/>
              <a:gd name="connsiteY172" fmla="*/ 499031 h 770184"/>
              <a:gd name="connsiteX173" fmla="*/ 242191 w 1326657"/>
              <a:gd name="connsiteY173" fmla="*/ 499031 h 770184"/>
              <a:gd name="connsiteX174" fmla="*/ 1042300 w 1326657"/>
              <a:gd name="connsiteY174" fmla="*/ 498996 h 770184"/>
              <a:gd name="connsiteX175" fmla="*/ 1048470 w 1326657"/>
              <a:gd name="connsiteY175" fmla="*/ 516798 h 770184"/>
              <a:gd name="connsiteX176" fmla="*/ 1119666 w 1326657"/>
              <a:gd name="connsiteY176" fmla="*/ 516798 h 770184"/>
              <a:gd name="connsiteX177" fmla="*/ 1112204 w 1326657"/>
              <a:gd name="connsiteY177" fmla="*/ 498996 h 770184"/>
              <a:gd name="connsiteX178" fmla="*/ 1042300 w 1326657"/>
              <a:gd name="connsiteY178" fmla="*/ 498996 h 770184"/>
              <a:gd name="connsiteX179" fmla="*/ 955325 w 1326657"/>
              <a:gd name="connsiteY179" fmla="*/ 498996 h 770184"/>
              <a:gd name="connsiteX180" fmla="*/ 961495 w 1326657"/>
              <a:gd name="connsiteY180" fmla="*/ 516798 h 770184"/>
              <a:gd name="connsiteX181" fmla="*/ 1032691 w 1326657"/>
              <a:gd name="connsiteY181" fmla="*/ 516798 h 770184"/>
              <a:gd name="connsiteX182" fmla="*/ 1025229 w 1326657"/>
              <a:gd name="connsiteY182" fmla="*/ 498996 h 770184"/>
              <a:gd name="connsiteX183" fmla="*/ 955325 w 1326657"/>
              <a:gd name="connsiteY183" fmla="*/ 498996 h 770184"/>
              <a:gd name="connsiteX184" fmla="*/ 868352 w 1326657"/>
              <a:gd name="connsiteY184" fmla="*/ 498996 h 770184"/>
              <a:gd name="connsiteX185" fmla="*/ 874521 w 1326657"/>
              <a:gd name="connsiteY185" fmla="*/ 516798 h 770184"/>
              <a:gd name="connsiteX186" fmla="*/ 945718 w 1326657"/>
              <a:gd name="connsiteY186" fmla="*/ 516798 h 770184"/>
              <a:gd name="connsiteX187" fmla="*/ 938255 w 1326657"/>
              <a:gd name="connsiteY187" fmla="*/ 498996 h 770184"/>
              <a:gd name="connsiteX188" fmla="*/ 868352 w 1326657"/>
              <a:gd name="connsiteY188" fmla="*/ 498996 h 770184"/>
              <a:gd name="connsiteX189" fmla="*/ 781378 w 1326657"/>
              <a:gd name="connsiteY189" fmla="*/ 498996 h 770184"/>
              <a:gd name="connsiteX190" fmla="*/ 787548 w 1326657"/>
              <a:gd name="connsiteY190" fmla="*/ 516798 h 770184"/>
              <a:gd name="connsiteX191" fmla="*/ 858744 w 1326657"/>
              <a:gd name="connsiteY191" fmla="*/ 516798 h 770184"/>
              <a:gd name="connsiteX192" fmla="*/ 851282 w 1326657"/>
              <a:gd name="connsiteY192" fmla="*/ 498996 h 770184"/>
              <a:gd name="connsiteX193" fmla="*/ 781378 w 1326657"/>
              <a:gd name="connsiteY193" fmla="*/ 498996 h 770184"/>
              <a:gd name="connsiteX194" fmla="*/ 694405 w 1326657"/>
              <a:gd name="connsiteY194" fmla="*/ 498996 h 770184"/>
              <a:gd name="connsiteX195" fmla="*/ 700574 w 1326657"/>
              <a:gd name="connsiteY195" fmla="*/ 516798 h 770184"/>
              <a:gd name="connsiteX196" fmla="*/ 771771 w 1326657"/>
              <a:gd name="connsiteY196" fmla="*/ 516798 h 770184"/>
              <a:gd name="connsiteX197" fmla="*/ 764308 w 1326657"/>
              <a:gd name="connsiteY197" fmla="*/ 498996 h 770184"/>
              <a:gd name="connsiteX198" fmla="*/ 694405 w 1326657"/>
              <a:gd name="connsiteY198" fmla="*/ 498996 h 770184"/>
              <a:gd name="connsiteX199" fmla="*/ 621444 w 1326657"/>
              <a:gd name="connsiteY199" fmla="*/ 498996 h 770184"/>
              <a:gd name="connsiteX200" fmla="*/ 613601 w 1326657"/>
              <a:gd name="connsiteY200" fmla="*/ 516798 h 770184"/>
              <a:gd name="connsiteX201" fmla="*/ 684797 w 1326657"/>
              <a:gd name="connsiteY201" fmla="*/ 516798 h 770184"/>
              <a:gd name="connsiteX202" fmla="*/ 677335 w 1326657"/>
              <a:gd name="connsiteY202" fmla="*/ 498996 h 770184"/>
              <a:gd name="connsiteX203" fmla="*/ 621444 w 1326657"/>
              <a:gd name="connsiteY203" fmla="*/ 498996 h 770184"/>
              <a:gd name="connsiteX204" fmla="*/ 545219 w 1326657"/>
              <a:gd name="connsiteY204" fmla="*/ 498996 h 770184"/>
              <a:gd name="connsiteX205" fmla="*/ 537376 w 1326657"/>
              <a:gd name="connsiteY205" fmla="*/ 516798 h 770184"/>
              <a:gd name="connsiteX206" fmla="*/ 596207 w 1326657"/>
              <a:gd name="connsiteY206" fmla="*/ 516798 h 770184"/>
              <a:gd name="connsiteX207" fmla="*/ 603994 w 1326657"/>
              <a:gd name="connsiteY207" fmla="*/ 498996 h 770184"/>
              <a:gd name="connsiteX208" fmla="*/ 545219 w 1326657"/>
              <a:gd name="connsiteY208" fmla="*/ 498996 h 770184"/>
              <a:gd name="connsiteX209" fmla="*/ 468993 w 1326657"/>
              <a:gd name="connsiteY209" fmla="*/ 498996 h 770184"/>
              <a:gd name="connsiteX210" fmla="*/ 461150 w 1326657"/>
              <a:gd name="connsiteY210" fmla="*/ 516798 h 770184"/>
              <a:gd name="connsiteX211" fmla="*/ 519982 w 1326657"/>
              <a:gd name="connsiteY211" fmla="*/ 516798 h 770184"/>
              <a:gd name="connsiteX212" fmla="*/ 527768 w 1326657"/>
              <a:gd name="connsiteY212" fmla="*/ 498996 h 770184"/>
              <a:gd name="connsiteX213" fmla="*/ 468993 w 1326657"/>
              <a:gd name="connsiteY213" fmla="*/ 498996 h 770184"/>
              <a:gd name="connsiteX214" fmla="*/ 392768 w 1326657"/>
              <a:gd name="connsiteY214" fmla="*/ 498996 h 770184"/>
              <a:gd name="connsiteX215" fmla="*/ 384925 w 1326657"/>
              <a:gd name="connsiteY215" fmla="*/ 516798 h 770184"/>
              <a:gd name="connsiteX216" fmla="*/ 443756 w 1326657"/>
              <a:gd name="connsiteY216" fmla="*/ 516798 h 770184"/>
              <a:gd name="connsiteX217" fmla="*/ 451543 w 1326657"/>
              <a:gd name="connsiteY217" fmla="*/ 498996 h 770184"/>
              <a:gd name="connsiteX218" fmla="*/ 392768 w 1326657"/>
              <a:gd name="connsiteY218" fmla="*/ 498996 h 770184"/>
              <a:gd name="connsiteX219" fmla="*/ 316347 w 1326657"/>
              <a:gd name="connsiteY219" fmla="*/ 498996 h 770184"/>
              <a:gd name="connsiteX220" fmla="*/ 308699 w 1326657"/>
              <a:gd name="connsiteY220" fmla="*/ 516798 h 770184"/>
              <a:gd name="connsiteX221" fmla="*/ 367531 w 1326657"/>
              <a:gd name="connsiteY221" fmla="*/ 516798 h 770184"/>
              <a:gd name="connsiteX222" fmla="*/ 375317 w 1326657"/>
              <a:gd name="connsiteY222" fmla="*/ 498996 h 770184"/>
              <a:gd name="connsiteX223" fmla="*/ 316347 w 1326657"/>
              <a:gd name="connsiteY223" fmla="*/ 498996 h 770184"/>
              <a:gd name="connsiteX224" fmla="*/ 260826 w 1326657"/>
              <a:gd name="connsiteY224" fmla="*/ 40617 h 770184"/>
              <a:gd name="connsiteX225" fmla="*/ 260826 w 1326657"/>
              <a:gd name="connsiteY225" fmla="*/ 411185 h 770184"/>
              <a:gd name="connsiteX226" fmla="*/ 1085595 w 1326657"/>
              <a:gd name="connsiteY226" fmla="*/ 411185 h 770184"/>
              <a:gd name="connsiteX227" fmla="*/ 1085595 w 1326657"/>
              <a:gd name="connsiteY227" fmla="*/ 40617 h 770184"/>
              <a:gd name="connsiteX228" fmla="*/ 260826 w 1326657"/>
              <a:gd name="connsiteY228" fmla="*/ 40617 h 770184"/>
              <a:gd name="connsiteX229" fmla="*/ 270935 w 1326657"/>
              <a:gd name="connsiteY229" fmla="*/ 0 h 770184"/>
              <a:gd name="connsiteX230" fmla="*/ 1075485 w 1326657"/>
              <a:gd name="connsiteY230" fmla="*/ 0 h 770184"/>
              <a:gd name="connsiteX231" fmla="*/ 1126530 w 1326657"/>
              <a:gd name="connsiteY231" fmla="*/ 51045 h 770184"/>
              <a:gd name="connsiteX232" fmla="*/ 1126530 w 1326657"/>
              <a:gd name="connsiteY232" fmla="*/ 400758 h 770184"/>
              <a:gd name="connsiteX233" fmla="*/ 1111580 w 1326657"/>
              <a:gd name="connsiteY233" fmla="*/ 436852 h 770184"/>
              <a:gd name="connsiteX234" fmla="*/ 1102966 w 1326657"/>
              <a:gd name="connsiteY234" fmla="*/ 442659 h 770184"/>
              <a:gd name="connsiteX235" fmla="*/ 1116324 w 1326657"/>
              <a:gd name="connsiteY235" fmla="*/ 442704 h 770184"/>
              <a:gd name="connsiteX236" fmla="*/ 1326657 w 1326657"/>
              <a:gd name="connsiteY236" fmla="*/ 716831 h 770184"/>
              <a:gd name="connsiteX237" fmla="*/ 1254871 w 1326657"/>
              <a:gd name="connsiteY237" fmla="*/ 770184 h 770184"/>
              <a:gd name="connsiteX238" fmla="*/ 52127 w 1326657"/>
              <a:gd name="connsiteY238" fmla="*/ 770184 h 770184"/>
              <a:gd name="connsiteX239" fmla="*/ 0 w 1326657"/>
              <a:gd name="connsiteY239" fmla="*/ 694364 h 770184"/>
              <a:gd name="connsiteX240" fmla="*/ 223824 w 1326657"/>
              <a:gd name="connsiteY240" fmla="*/ 439672 h 770184"/>
              <a:gd name="connsiteX241" fmla="*/ 239101 w 1326657"/>
              <a:gd name="connsiteY241" fmla="*/ 439724 h 770184"/>
              <a:gd name="connsiteX242" fmla="*/ 234841 w 1326657"/>
              <a:gd name="connsiteY242" fmla="*/ 436852 h 770184"/>
              <a:gd name="connsiteX243" fmla="*/ 219890 w 1326657"/>
              <a:gd name="connsiteY243" fmla="*/ 400758 h 770184"/>
              <a:gd name="connsiteX244" fmla="*/ 219890 w 1326657"/>
              <a:gd name="connsiteY244" fmla="*/ 51045 h 770184"/>
              <a:gd name="connsiteX245" fmla="*/ 270935 w 1326657"/>
              <a:gd name="connsiteY245" fmla="*/ 0 h 770184"/>
              <a:gd name="connsiteX0" fmla="*/ 532211 w 1304189"/>
              <a:gd name="connsiteY0" fmla="*/ 673154 h 770184"/>
              <a:gd name="connsiteX1" fmla="*/ 514017 w 1304189"/>
              <a:gd name="connsiteY1" fmla="*/ 745928 h 770184"/>
              <a:gd name="connsiteX2" fmla="*/ 789950 w 1304189"/>
              <a:gd name="connsiteY2" fmla="*/ 745928 h 770184"/>
              <a:gd name="connsiteX3" fmla="*/ 771757 w 1304189"/>
              <a:gd name="connsiteY3" fmla="*/ 673154 h 770184"/>
              <a:gd name="connsiteX4" fmla="*/ 532211 w 1304189"/>
              <a:gd name="connsiteY4" fmla="*/ 673154 h 770184"/>
              <a:gd name="connsiteX5" fmla="*/ 1184396 w 1304189"/>
              <a:gd name="connsiteY5" fmla="*/ 615493 h 770184"/>
              <a:gd name="connsiteX6" fmla="*/ 995748 w 1304189"/>
              <a:gd name="connsiteY6" fmla="*/ 615493 h 770184"/>
              <a:gd name="connsiteX7" fmla="*/ 1013122 w 1304189"/>
              <a:gd name="connsiteY7" fmla="*/ 650745 h 770184"/>
              <a:gd name="connsiteX8" fmla="*/ 1201173 w 1304189"/>
              <a:gd name="connsiteY8" fmla="*/ 650745 h 770184"/>
              <a:gd name="connsiteX9" fmla="*/ 1184396 w 1304189"/>
              <a:gd name="connsiteY9" fmla="*/ 615493 h 770184"/>
              <a:gd name="connsiteX10" fmla="*/ 877706 w 1304189"/>
              <a:gd name="connsiteY10" fmla="*/ 615493 h 770184"/>
              <a:gd name="connsiteX11" fmla="*/ 883466 w 1304189"/>
              <a:gd name="connsiteY11" fmla="*/ 652301 h 770184"/>
              <a:gd name="connsiteX12" fmla="*/ 987005 w 1304189"/>
              <a:gd name="connsiteY12" fmla="*/ 652300 h 770184"/>
              <a:gd name="connsiteX13" fmla="*/ 970309 w 1304189"/>
              <a:gd name="connsiteY13" fmla="*/ 615493 h 770184"/>
              <a:gd name="connsiteX14" fmla="*/ 877706 w 1304189"/>
              <a:gd name="connsiteY14" fmla="*/ 615493 h 770184"/>
              <a:gd name="connsiteX15" fmla="*/ 863452 w 1304189"/>
              <a:gd name="connsiteY15" fmla="*/ 615493 h 770184"/>
              <a:gd name="connsiteX16" fmla="*/ 359022 w 1304189"/>
              <a:gd name="connsiteY16" fmla="*/ 616132 h 770184"/>
              <a:gd name="connsiteX17" fmla="*/ 347071 w 1304189"/>
              <a:gd name="connsiteY17" fmla="*/ 652421 h 770184"/>
              <a:gd name="connsiteX18" fmla="*/ 864337 w 1304189"/>
              <a:gd name="connsiteY18" fmla="*/ 651213 h 770184"/>
              <a:gd name="connsiteX19" fmla="*/ 863452 w 1304189"/>
              <a:gd name="connsiteY19" fmla="*/ 615493 h 770184"/>
              <a:gd name="connsiteX20" fmla="*/ 127981 w 1304189"/>
              <a:gd name="connsiteY20" fmla="*/ 615493 h 770184"/>
              <a:gd name="connsiteX21" fmla="*/ 109993 w 1304189"/>
              <a:gd name="connsiteY21" fmla="*/ 650745 h 770184"/>
              <a:gd name="connsiteX22" fmla="*/ 323169 w 1304189"/>
              <a:gd name="connsiteY22" fmla="*/ 651901 h 770184"/>
              <a:gd name="connsiteX23" fmla="*/ 340640 w 1304189"/>
              <a:gd name="connsiteY23" fmla="*/ 615493 h 770184"/>
              <a:gd name="connsiteX24" fmla="*/ 127981 w 1304189"/>
              <a:gd name="connsiteY24" fmla="*/ 615493 h 770184"/>
              <a:gd name="connsiteX25" fmla="*/ 169114 w 1304189"/>
              <a:gd name="connsiteY25" fmla="*/ 585700 h 770184"/>
              <a:gd name="connsiteX26" fmla="*/ 135453 w 1304189"/>
              <a:gd name="connsiteY26" fmla="*/ 610506 h 770184"/>
              <a:gd name="connsiteX27" fmla="*/ 239916 w 1304189"/>
              <a:gd name="connsiteY27" fmla="*/ 610506 h 770184"/>
              <a:gd name="connsiteX28" fmla="*/ 252992 w 1304189"/>
              <a:gd name="connsiteY28" fmla="*/ 585700 h 770184"/>
              <a:gd name="connsiteX29" fmla="*/ 169114 w 1304189"/>
              <a:gd name="connsiteY29" fmla="*/ 585700 h 770184"/>
              <a:gd name="connsiteX30" fmla="*/ 1094034 w 1304189"/>
              <a:gd name="connsiteY30" fmla="*/ 585552 h 770184"/>
              <a:gd name="connsiteX31" fmla="*/ 990989 w 1304189"/>
              <a:gd name="connsiteY31" fmla="*/ 585552 h 770184"/>
              <a:gd name="connsiteX32" fmla="*/ 1000083 w 1304189"/>
              <a:gd name="connsiteY32" fmla="*/ 609788 h 770184"/>
              <a:gd name="connsiteX33" fmla="*/ 1105034 w 1304189"/>
              <a:gd name="connsiteY33" fmla="*/ 609788 h 770184"/>
              <a:gd name="connsiteX34" fmla="*/ 1094034 w 1304189"/>
              <a:gd name="connsiteY34" fmla="*/ 585552 h 770184"/>
              <a:gd name="connsiteX35" fmla="*/ 978472 w 1304189"/>
              <a:gd name="connsiteY35" fmla="*/ 585552 h 770184"/>
              <a:gd name="connsiteX36" fmla="*/ 875426 w 1304189"/>
              <a:gd name="connsiteY36" fmla="*/ 585552 h 770184"/>
              <a:gd name="connsiteX37" fmla="*/ 884521 w 1304189"/>
              <a:gd name="connsiteY37" fmla="*/ 609788 h 770184"/>
              <a:gd name="connsiteX38" fmla="*/ 989471 w 1304189"/>
              <a:gd name="connsiteY38" fmla="*/ 609788 h 770184"/>
              <a:gd name="connsiteX39" fmla="*/ 978472 w 1304189"/>
              <a:gd name="connsiteY39" fmla="*/ 585552 h 770184"/>
              <a:gd name="connsiteX40" fmla="*/ 862909 w 1304189"/>
              <a:gd name="connsiteY40" fmla="*/ 585552 h 770184"/>
              <a:gd name="connsiteX41" fmla="*/ 759863 w 1304189"/>
              <a:gd name="connsiteY41" fmla="*/ 585552 h 770184"/>
              <a:gd name="connsiteX42" fmla="*/ 768958 w 1304189"/>
              <a:gd name="connsiteY42" fmla="*/ 609788 h 770184"/>
              <a:gd name="connsiteX43" fmla="*/ 873908 w 1304189"/>
              <a:gd name="connsiteY43" fmla="*/ 609788 h 770184"/>
              <a:gd name="connsiteX44" fmla="*/ 862909 w 1304189"/>
              <a:gd name="connsiteY44" fmla="*/ 585552 h 770184"/>
              <a:gd name="connsiteX45" fmla="*/ 664956 w 1304189"/>
              <a:gd name="connsiteY45" fmla="*/ 585552 h 770184"/>
              <a:gd name="connsiteX46" fmla="*/ 653395 w 1304189"/>
              <a:gd name="connsiteY46" fmla="*/ 609788 h 770184"/>
              <a:gd name="connsiteX47" fmla="*/ 758345 w 1304189"/>
              <a:gd name="connsiteY47" fmla="*/ 609788 h 770184"/>
              <a:gd name="connsiteX48" fmla="*/ 747346 w 1304189"/>
              <a:gd name="connsiteY48" fmla="*/ 585552 h 770184"/>
              <a:gd name="connsiteX49" fmla="*/ 664956 w 1304189"/>
              <a:gd name="connsiteY49" fmla="*/ 585552 h 770184"/>
              <a:gd name="connsiteX50" fmla="*/ 565235 w 1304189"/>
              <a:gd name="connsiteY50" fmla="*/ 585552 h 770184"/>
              <a:gd name="connsiteX51" fmla="*/ 553673 w 1304189"/>
              <a:gd name="connsiteY51" fmla="*/ 609788 h 770184"/>
              <a:gd name="connsiteX52" fmla="*/ 640398 w 1304189"/>
              <a:gd name="connsiteY52" fmla="*/ 609788 h 770184"/>
              <a:gd name="connsiteX53" fmla="*/ 651877 w 1304189"/>
              <a:gd name="connsiteY53" fmla="*/ 585552 h 770184"/>
              <a:gd name="connsiteX54" fmla="*/ 565235 w 1304189"/>
              <a:gd name="connsiteY54" fmla="*/ 585552 h 770184"/>
              <a:gd name="connsiteX55" fmla="*/ 465514 w 1304189"/>
              <a:gd name="connsiteY55" fmla="*/ 585552 h 770184"/>
              <a:gd name="connsiteX56" fmla="*/ 453952 w 1304189"/>
              <a:gd name="connsiteY56" fmla="*/ 609788 h 770184"/>
              <a:gd name="connsiteX57" fmla="*/ 540677 w 1304189"/>
              <a:gd name="connsiteY57" fmla="*/ 609788 h 770184"/>
              <a:gd name="connsiteX58" fmla="*/ 552156 w 1304189"/>
              <a:gd name="connsiteY58" fmla="*/ 585552 h 770184"/>
              <a:gd name="connsiteX59" fmla="*/ 465514 w 1304189"/>
              <a:gd name="connsiteY59" fmla="*/ 585552 h 770184"/>
              <a:gd name="connsiteX60" fmla="*/ 365793 w 1304189"/>
              <a:gd name="connsiteY60" fmla="*/ 585552 h 770184"/>
              <a:gd name="connsiteX61" fmla="*/ 354231 w 1304189"/>
              <a:gd name="connsiteY61" fmla="*/ 609788 h 770184"/>
              <a:gd name="connsiteX62" fmla="*/ 440956 w 1304189"/>
              <a:gd name="connsiteY62" fmla="*/ 609788 h 770184"/>
              <a:gd name="connsiteX63" fmla="*/ 452434 w 1304189"/>
              <a:gd name="connsiteY63" fmla="*/ 585552 h 770184"/>
              <a:gd name="connsiteX64" fmla="*/ 365793 w 1304189"/>
              <a:gd name="connsiteY64" fmla="*/ 585552 h 770184"/>
              <a:gd name="connsiteX65" fmla="*/ 265783 w 1304189"/>
              <a:gd name="connsiteY65" fmla="*/ 585552 h 770184"/>
              <a:gd name="connsiteX66" fmla="*/ 254510 w 1304189"/>
              <a:gd name="connsiteY66" fmla="*/ 609788 h 770184"/>
              <a:gd name="connsiteX67" fmla="*/ 341235 w 1304189"/>
              <a:gd name="connsiteY67" fmla="*/ 609788 h 770184"/>
              <a:gd name="connsiteX68" fmla="*/ 352713 w 1304189"/>
              <a:gd name="connsiteY68" fmla="*/ 585552 h 770184"/>
              <a:gd name="connsiteX69" fmla="*/ 265783 w 1304189"/>
              <a:gd name="connsiteY69" fmla="*/ 585552 h 770184"/>
              <a:gd name="connsiteX70" fmla="*/ 1046910 w 1304189"/>
              <a:gd name="connsiteY70" fmla="*/ 559836 h 770184"/>
              <a:gd name="connsiteX71" fmla="*/ 1059522 w 1304189"/>
              <a:gd name="connsiteY71" fmla="*/ 580212 h 770184"/>
              <a:gd name="connsiteX72" fmla="*/ 1107799 w 1304189"/>
              <a:gd name="connsiteY72" fmla="*/ 579110 h 770184"/>
              <a:gd name="connsiteX73" fmla="*/ 1120958 w 1304189"/>
              <a:gd name="connsiteY73" fmla="*/ 605551 h 770184"/>
              <a:gd name="connsiteX74" fmla="*/ 1185073 w 1304189"/>
              <a:gd name="connsiteY74" fmla="*/ 608132 h 770184"/>
              <a:gd name="connsiteX75" fmla="*/ 1144078 w 1304189"/>
              <a:gd name="connsiteY75" fmla="*/ 559836 h 770184"/>
              <a:gd name="connsiteX76" fmla="*/ 1046910 w 1304189"/>
              <a:gd name="connsiteY76" fmla="*/ 559836 h 770184"/>
              <a:gd name="connsiteX77" fmla="*/ 217843 w 1304189"/>
              <a:gd name="connsiteY77" fmla="*/ 557325 h 770184"/>
              <a:gd name="connsiteX78" fmla="*/ 200453 w 1304189"/>
              <a:gd name="connsiteY78" fmla="*/ 578693 h 770184"/>
              <a:gd name="connsiteX79" fmla="*/ 304917 w 1304189"/>
              <a:gd name="connsiteY79" fmla="*/ 578693 h 770184"/>
              <a:gd name="connsiteX80" fmla="*/ 317992 w 1304189"/>
              <a:gd name="connsiteY80" fmla="*/ 557325 h 770184"/>
              <a:gd name="connsiteX81" fmla="*/ 217843 w 1304189"/>
              <a:gd name="connsiteY81" fmla="*/ 557325 h 770184"/>
              <a:gd name="connsiteX82" fmla="*/ 1040167 w 1304189"/>
              <a:gd name="connsiteY82" fmla="*/ 557138 h 770184"/>
              <a:gd name="connsiteX83" fmla="*/ 937122 w 1304189"/>
              <a:gd name="connsiteY83" fmla="*/ 557139 h 770184"/>
              <a:gd name="connsiteX84" fmla="*/ 946216 w 1304189"/>
              <a:gd name="connsiteY84" fmla="*/ 578014 h 770184"/>
              <a:gd name="connsiteX85" fmla="*/ 1051167 w 1304189"/>
              <a:gd name="connsiteY85" fmla="*/ 578014 h 770184"/>
              <a:gd name="connsiteX86" fmla="*/ 1040167 w 1304189"/>
              <a:gd name="connsiteY86" fmla="*/ 557138 h 770184"/>
              <a:gd name="connsiteX87" fmla="*/ 927909 w 1304189"/>
              <a:gd name="connsiteY87" fmla="*/ 557138 h 770184"/>
              <a:gd name="connsiteX88" fmla="*/ 824864 w 1304189"/>
              <a:gd name="connsiteY88" fmla="*/ 557139 h 770184"/>
              <a:gd name="connsiteX89" fmla="*/ 833958 w 1304189"/>
              <a:gd name="connsiteY89" fmla="*/ 578014 h 770184"/>
              <a:gd name="connsiteX90" fmla="*/ 938909 w 1304189"/>
              <a:gd name="connsiteY90" fmla="*/ 578014 h 770184"/>
              <a:gd name="connsiteX91" fmla="*/ 927909 w 1304189"/>
              <a:gd name="connsiteY91" fmla="*/ 557138 h 770184"/>
              <a:gd name="connsiteX92" fmla="*/ 729956 w 1304189"/>
              <a:gd name="connsiteY92" fmla="*/ 557138 h 770184"/>
              <a:gd name="connsiteX93" fmla="*/ 718395 w 1304189"/>
              <a:gd name="connsiteY93" fmla="*/ 578014 h 770184"/>
              <a:gd name="connsiteX94" fmla="*/ 823346 w 1304189"/>
              <a:gd name="connsiteY94" fmla="*/ 578014 h 770184"/>
              <a:gd name="connsiteX95" fmla="*/ 812346 w 1304189"/>
              <a:gd name="connsiteY95" fmla="*/ 557138 h 770184"/>
              <a:gd name="connsiteX96" fmla="*/ 729956 w 1304189"/>
              <a:gd name="connsiteY96" fmla="*/ 557138 h 770184"/>
              <a:gd name="connsiteX97" fmla="*/ 630235 w 1304189"/>
              <a:gd name="connsiteY97" fmla="*/ 557138 h 770184"/>
              <a:gd name="connsiteX98" fmla="*/ 618674 w 1304189"/>
              <a:gd name="connsiteY98" fmla="*/ 578014 h 770184"/>
              <a:gd name="connsiteX99" fmla="*/ 705399 w 1304189"/>
              <a:gd name="connsiteY99" fmla="*/ 578014 h 770184"/>
              <a:gd name="connsiteX100" fmla="*/ 716877 w 1304189"/>
              <a:gd name="connsiteY100" fmla="*/ 557138 h 770184"/>
              <a:gd name="connsiteX101" fmla="*/ 630235 w 1304189"/>
              <a:gd name="connsiteY101" fmla="*/ 557138 h 770184"/>
              <a:gd name="connsiteX102" fmla="*/ 530514 w 1304189"/>
              <a:gd name="connsiteY102" fmla="*/ 557138 h 770184"/>
              <a:gd name="connsiteX103" fmla="*/ 518953 w 1304189"/>
              <a:gd name="connsiteY103" fmla="*/ 578014 h 770184"/>
              <a:gd name="connsiteX104" fmla="*/ 605677 w 1304189"/>
              <a:gd name="connsiteY104" fmla="*/ 578014 h 770184"/>
              <a:gd name="connsiteX105" fmla="*/ 617156 w 1304189"/>
              <a:gd name="connsiteY105" fmla="*/ 557138 h 770184"/>
              <a:gd name="connsiteX106" fmla="*/ 530514 w 1304189"/>
              <a:gd name="connsiteY106" fmla="*/ 557138 h 770184"/>
              <a:gd name="connsiteX107" fmla="*/ 430793 w 1304189"/>
              <a:gd name="connsiteY107" fmla="*/ 557138 h 770184"/>
              <a:gd name="connsiteX108" fmla="*/ 419232 w 1304189"/>
              <a:gd name="connsiteY108" fmla="*/ 578014 h 770184"/>
              <a:gd name="connsiteX109" fmla="*/ 505956 w 1304189"/>
              <a:gd name="connsiteY109" fmla="*/ 578014 h 770184"/>
              <a:gd name="connsiteX110" fmla="*/ 517435 w 1304189"/>
              <a:gd name="connsiteY110" fmla="*/ 557138 h 770184"/>
              <a:gd name="connsiteX111" fmla="*/ 430793 w 1304189"/>
              <a:gd name="connsiteY111" fmla="*/ 557138 h 770184"/>
              <a:gd name="connsiteX112" fmla="*/ 330783 w 1304189"/>
              <a:gd name="connsiteY112" fmla="*/ 557138 h 770184"/>
              <a:gd name="connsiteX113" fmla="*/ 319510 w 1304189"/>
              <a:gd name="connsiteY113" fmla="*/ 578014 h 770184"/>
              <a:gd name="connsiteX114" fmla="*/ 406235 w 1304189"/>
              <a:gd name="connsiteY114" fmla="*/ 578014 h 770184"/>
              <a:gd name="connsiteX115" fmla="*/ 417714 w 1304189"/>
              <a:gd name="connsiteY115" fmla="*/ 557138 h 770184"/>
              <a:gd name="connsiteX116" fmla="*/ 330783 w 1304189"/>
              <a:gd name="connsiteY116" fmla="*/ 557138 h 770184"/>
              <a:gd name="connsiteX117" fmla="*/ 203849 w 1304189"/>
              <a:gd name="connsiteY117" fmla="*/ 530416 h 770184"/>
              <a:gd name="connsiteX118" fmla="*/ 161375 w 1304189"/>
              <a:gd name="connsiteY118" fmla="*/ 577233 h 770184"/>
              <a:gd name="connsiteX119" fmla="*/ 194427 w 1304189"/>
              <a:gd name="connsiteY119" fmla="*/ 576132 h 770184"/>
              <a:gd name="connsiteX120" fmla="*/ 216461 w 1304189"/>
              <a:gd name="connsiteY120" fmla="*/ 549691 h 770184"/>
              <a:gd name="connsiteX121" fmla="*/ 288406 w 1304189"/>
              <a:gd name="connsiteY121" fmla="*/ 550792 h 770184"/>
              <a:gd name="connsiteX122" fmla="*/ 301017 w 1304189"/>
              <a:gd name="connsiteY122" fmla="*/ 530416 h 770184"/>
              <a:gd name="connsiteX123" fmla="*/ 203849 w 1304189"/>
              <a:gd name="connsiteY123" fmla="*/ 530416 h 770184"/>
              <a:gd name="connsiteX124" fmla="*/ 324630 w 1304189"/>
              <a:gd name="connsiteY124" fmla="*/ 525890 h 770184"/>
              <a:gd name="connsiteX125" fmla="*/ 294157 w 1304189"/>
              <a:gd name="connsiteY125" fmla="*/ 551962 h 770184"/>
              <a:gd name="connsiteX126" fmla="*/ 388727 w 1304189"/>
              <a:gd name="connsiteY126" fmla="*/ 551962 h 770184"/>
              <a:gd name="connsiteX127" fmla="*/ 400564 w 1304189"/>
              <a:gd name="connsiteY127" fmla="*/ 525890 h 770184"/>
              <a:gd name="connsiteX128" fmla="*/ 324630 w 1304189"/>
              <a:gd name="connsiteY128" fmla="*/ 525890 h 770184"/>
              <a:gd name="connsiteX129" fmla="*/ 1127250 w 1304189"/>
              <a:gd name="connsiteY129" fmla="*/ 525757 h 770184"/>
              <a:gd name="connsiteX130" fmla="*/ 1033964 w 1304189"/>
              <a:gd name="connsiteY130" fmla="*/ 525757 h 770184"/>
              <a:gd name="connsiteX131" fmla="*/ 1042198 w 1304189"/>
              <a:gd name="connsiteY131" fmla="*/ 551229 h 770184"/>
              <a:gd name="connsiteX132" fmla="*/ 1137208 w 1304189"/>
              <a:gd name="connsiteY132" fmla="*/ 551229 h 770184"/>
              <a:gd name="connsiteX133" fmla="*/ 1127250 w 1304189"/>
              <a:gd name="connsiteY133" fmla="*/ 525757 h 770184"/>
              <a:gd name="connsiteX134" fmla="*/ 1026970 w 1304189"/>
              <a:gd name="connsiteY134" fmla="*/ 525757 h 770184"/>
              <a:gd name="connsiteX135" fmla="*/ 933684 w 1304189"/>
              <a:gd name="connsiteY135" fmla="*/ 525757 h 770184"/>
              <a:gd name="connsiteX136" fmla="*/ 941918 w 1304189"/>
              <a:gd name="connsiteY136" fmla="*/ 551229 h 770184"/>
              <a:gd name="connsiteX137" fmla="*/ 1036928 w 1304189"/>
              <a:gd name="connsiteY137" fmla="*/ 551229 h 770184"/>
              <a:gd name="connsiteX138" fmla="*/ 1026970 w 1304189"/>
              <a:gd name="connsiteY138" fmla="*/ 525757 h 770184"/>
              <a:gd name="connsiteX139" fmla="*/ 926689 w 1304189"/>
              <a:gd name="connsiteY139" fmla="*/ 525757 h 770184"/>
              <a:gd name="connsiteX140" fmla="*/ 833403 w 1304189"/>
              <a:gd name="connsiteY140" fmla="*/ 525757 h 770184"/>
              <a:gd name="connsiteX141" fmla="*/ 841636 w 1304189"/>
              <a:gd name="connsiteY141" fmla="*/ 551229 h 770184"/>
              <a:gd name="connsiteX142" fmla="*/ 936647 w 1304189"/>
              <a:gd name="connsiteY142" fmla="*/ 551229 h 770184"/>
              <a:gd name="connsiteX143" fmla="*/ 926689 w 1304189"/>
              <a:gd name="connsiteY143" fmla="*/ 525757 h 770184"/>
              <a:gd name="connsiteX144" fmla="*/ 751822 w 1304189"/>
              <a:gd name="connsiteY144" fmla="*/ 525757 h 770184"/>
              <a:gd name="connsiteX145" fmla="*/ 741355 w 1304189"/>
              <a:gd name="connsiteY145" fmla="*/ 551229 h 770184"/>
              <a:gd name="connsiteX146" fmla="*/ 836365 w 1304189"/>
              <a:gd name="connsiteY146" fmla="*/ 551229 h 770184"/>
              <a:gd name="connsiteX147" fmla="*/ 826408 w 1304189"/>
              <a:gd name="connsiteY147" fmla="*/ 525757 h 770184"/>
              <a:gd name="connsiteX148" fmla="*/ 751822 w 1304189"/>
              <a:gd name="connsiteY148" fmla="*/ 525757 h 770184"/>
              <a:gd name="connsiteX149" fmla="*/ 665883 w 1304189"/>
              <a:gd name="connsiteY149" fmla="*/ 525757 h 770184"/>
              <a:gd name="connsiteX150" fmla="*/ 655417 w 1304189"/>
              <a:gd name="connsiteY150" fmla="*/ 551229 h 770184"/>
              <a:gd name="connsiteX151" fmla="*/ 733927 w 1304189"/>
              <a:gd name="connsiteY151" fmla="*/ 551229 h 770184"/>
              <a:gd name="connsiteX152" fmla="*/ 744318 w 1304189"/>
              <a:gd name="connsiteY152" fmla="*/ 525757 h 770184"/>
              <a:gd name="connsiteX153" fmla="*/ 665883 w 1304189"/>
              <a:gd name="connsiteY153" fmla="*/ 525757 h 770184"/>
              <a:gd name="connsiteX154" fmla="*/ 579945 w 1304189"/>
              <a:gd name="connsiteY154" fmla="*/ 525757 h 770184"/>
              <a:gd name="connsiteX155" fmla="*/ 569478 w 1304189"/>
              <a:gd name="connsiteY155" fmla="*/ 551229 h 770184"/>
              <a:gd name="connsiteX156" fmla="*/ 647988 w 1304189"/>
              <a:gd name="connsiteY156" fmla="*/ 551229 h 770184"/>
              <a:gd name="connsiteX157" fmla="*/ 658379 w 1304189"/>
              <a:gd name="connsiteY157" fmla="*/ 525757 h 770184"/>
              <a:gd name="connsiteX158" fmla="*/ 579945 w 1304189"/>
              <a:gd name="connsiteY158" fmla="*/ 525757 h 770184"/>
              <a:gd name="connsiteX159" fmla="*/ 494006 w 1304189"/>
              <a:gd name="connsiteY159" fmla="*/ 525757 h 770184"/>
              <a:gd name="connsiteX160" fmla="*/ 483540 w 1304189"/>
              <a:gd name="connsiteY160" fmla="*/ 551229 h 770184"/>
              <a:gd name="connsiteX161" fmla="*/ 562049 w 1304189"/>
              <a:gd name="connsiteY161" fmla="*/ 551229 h 770184"/>
              <a:gd name="connsiteX162" fmla="*/ 572441 w 1304189"/>
              <a:gd name="connsiteY162" fmla="*/ 525757 h 770184"/>
              <a:gd name="connsiteX163" fmla="*/ 494006 w 1304189"/>
              <a:gd name="connsiteY163" fmla="*/ 525757 h 770184"/>
              <a:gd name="connsiteX164" fmla="*/ 407806 w 1304189"/>
              <a:gd name="connsiteY164" fmla="*/ 525757 h 770184"/>
              <a:gd name="connsiteX165" fmla="*/ 397601 w 1304189"/>
              <a:gd name="connsiteY165" fmla="*/ 551229 h 770184"/>
              <a:gd name="connsiteX166" fmla="*/ 476111 w 1304189"/>
              <a:gd name="connsiteY166" fmla="*/ 551229 h 770184"/>
              <a:gd name="connsiteX167" fmla="*/ 486502 w 1304189"/>
              <a:gd name="connsiteY167" fmla="*/ 525757 h 770184"/>
              <a:gd name="connsiteX168" fmla="*/ 407806 w 1304189"/>
              <a:gd name="connsiteY168" fmla="*/ 525757 h 770184"/>
              <a:gd name="connsiteX169" fmla="*/ 242191 w 1304189"/>
              <a:gd name="connsiteY169" fmla="*/ 499031 h 770184"/>
              <a:gd name="connsiteX170" fmla="*/ 219356 w 1304189"/>
              <a:gd name="connsiteY170" fmla="*/ 517250 h 770184"/>
              <a:gd name="connsiteX171" fmla="*/ 290222 w 1304189"/>
              <a:gd name="connsiteY171" fmla="*/ 517250 h 770184"/>
              <a:gd name="connsiteX172" fmla="*/ 299092 w 1304189"/>
              <a:gd name="connsiteY172" fmla="*/ 499031 h 770184"/>
              <a:gd name="connsiteX173" fmla="*/ 242191 w 1304189"/>
              <a:gd name="connsiteY173" fmla="*/ 499031 h 770184"/>
              <a:gd name="connsiteX174" fmla="*/ 1042300 w 1304189"/>
              <a:gd name="connsiteY174" fmla="*/ 498996 h 770184"/>
              <a:gd name="connsiteX175" fmla="*/ 1048470 w 1304189"/>
              <a:gd name="connsiteY175" fmla="*/ 516798 h 770184"/>
              <a:gd name="connsiteX176" fmla="*/ 1119666 w 1304189"/>
              <a:gd name="connsiteY176" fmla="*/ 516798 h 770184"/>
              <a:gd name="connsiteX177" fmla="*/ 1112204 w 1304189"/>
              <a:gd name="connsiteY177" fmla="*/ 498996 h 770184"/>
              <a:gd name="connsiteX178" fmla="*/ 1042300 w 1304189"/>
              <a:gd name="connsiteY178" fmla="*/ 498996 h 770184"/>
              <a:gd name="connsiteX179" fmla="*/ 955325 w 1304189"/>
              <a:gd name="connsiteY179" fmla="*/ 498996 h 770184"/>
              <a:gd name="connsiteX180" fmla="*/ 961495 w 1304189"/>
              <a:gd name="connsiteY180" fmla="*/ 516798 h 770184"/>
              <a:gd name="connsiteX181" fmla="*/ 1032691 w 1304189"/>
              <a:gd name="connsiteY181" fmla="*/ 516798 h 770184"/>
              <a:gd name="connsiteX182" fmla="*/ 1025229 w 1304189"/>
              <a:gd name="connsiteY182" fmla="*/ 498996 h 770184"/>
              <a:gd name="connsiteX183" fmla="*/ 955325 w 1304189"/>
              <a:gd name="connsiteY183" fmla="*/ 498996 h 770184"/>
              <a:gd name="connsiteX184" fmla="*/ 868352 w 1304189"/>
              <a:gd name="connsiteY184" fmla="*/ 498996 h 770184"/>
              <a:gd name="connsiteX185" fmla="*/ 874521 w 1304189"/>
              <a:gd name="connsiteY185" fmla="*/ 516798 h 770184"/>
              <a:gd name="connsiteX186" fmla="*/ 945718 w 1304189"/>
              <a:gd name="connsiteY186" fmla="*/ 516798 h 770184"/>
              <a:gd name="connsiteX187" fmla="*/ 938255 w 1304189"/>
              <a:gd name="connsiteY187" fmla="*/ 498996 h 770184"/>
              <a:gd name="connsiteX188" fmla="*/ 868352 w 1304189"/>
              <a:gd name="connsiteY188" fmla="*/ 498996 h 770184"/>
              <a:gd name="connsiteX189" fmla="*/ 781378 w 1304189"/>
              <a:gd name="connsiteY189" fmla="*/ 498996 h 770184"/>
              <a:gd name="connsiteX190" fmla="*/ 787548 w 1304189"/>
              <a:gd name="connsiteY190" fmla="*/ 516798 h 770184"/>
              <a:gd name="connsiteX191" fmla="*/ 858744 w 1304189"/>
              <a:gd name="connsiteY191" fmla="*/ 516798 h 770184"/>
              <a:gd name="connsiteX192" fmla="*/ 851282 w 1304189"/>
              <a:gd name="connsiteY192" fmla="*/ 498996 h 770184"/>
              <a:gd name="connsiteX193" fmla="*/ 781378 w 1304189"/>
              <a:gd name="connsiteY193" fmla="*/ 498996 h 770184"/>
              <a:gd name="connsiteX194" fmla="*/ 694405 w 1304189"/>
              <a:gd name="connsiteY194" fmla="*/ 498996 h 770184"/>
              <a:gd name="connsiteX195" fmla="*/ 700574 w 1304189"/>
              <a:gd name="connsiteY195" fmla="*/ 516798 h 770184"/>
              <a:gd name="connsiteX196" fmla="*/ 771771 w 1304189"/>
              <a:gd name="connsiteY196" fmla="*/ 516798 h 770184"/>
              <a:gd name="connsiteX197" fmla="*/ 764308 w 1304189"/>
              <a:gd name="connsiteY197" fmla="*/ 498996 h 770184"/>
              <a:gd name="connsiteX198" fmla="*/ 694405 w 1304189"/>
              <a:gd name="connsiteY198" fmla="*/ 498996 h 770184"/>
              <a:gd name="connsiteX199" fmla="*/ 621444 w 1304189"/>
              <a:gd name="connsiteY199" fmla="*/ 498996 h 770184"/>
              <a:gd name="connsiteX200" fmla="*/ 613601 w 1304189"/>
              <a:gd name="connsiteY200" fmla="*/ 516798 h 770184"/>
              <a:gd name="connsiteX201" fmla="*/ 684797 w 1304189"/>
              <a:gd name="connsiteY201" fmla="*/ 516798 h 770184"/>
              <a:gd name="connsiteX202" fmla="*/ 677335 w 1304189"/>
              <a:gd name="connsiteY202" fmla="*/ 498996 h 770184"/>
              <a:gd name="connsiteX203" fmla="*/ 621444 w 1304189"/>
              <a:gd name="connsiteY203" fmla="*/ 498996 h 770184"/>
              <a:gd name="connsiteX204" fmla="*/ 545219 w 1304189"/>
              <a:gd name="connsiteY204" fmla="*/ 498996 h 770184"/>
              <a:gd name="connsiteX205" fmla="*/ 537376 w 1304189"/>
              <a:gd name="connsiteY205" fmla="*/ 516798 h 770184"/>
              <a:gd name="connsiteX206" fmla="*/ 596207 w 1304189"/>
              <a:gd name="connsiteY206" fmla="*/ 516798 h 770184"/>
              <a:gd name="connsiteX207" fmla="*/ 603994 w 1304189"/>
              <a:gd name="connsiteY207" fmla="*/ 498996 h 770184"/>
              <a:gd name="connsiteX208" fmla="*/ 545219 w 1304189"/>
              <a:gd name="connsiteY208" fmla="*/ 498996 h 770184"/>
              <a:gd name="connsiteX209" fmla="*/ 468993 w 1304189"/>
              <a:gd name="connsiteY209" fmla="*/ 498996 h 770184"/>
              <a:gd name="connsiteX210" fmla="*/ 461150 w 1304189"/>
              <a:gd name="connsiteY210" fmla="*/ 516798 h 770184"/>
              <a:gd name="connsiteX211" fmla="*/ 519982 w 1304189"/>
              <a:gd name="connsiteY211" fmla="*/ 516798 h 770184"/>
              <a:gd name="connsiteX212" fmla="*/ 527768 w 1304189"/>
              <a:gd name="connsiteY212" fmla="*/ 498996 h 770184"/>
              <a:gd name="connsiteX213" fmla="*/ 468993 w 1304189"/>
              <a:gd name="connsiteY213" fmla="*/ 498996 h 770184"/>
              <a:gd name="connsiteX214" fmla="*/ 392768 w 1304189"/>
              <a:gd name="connsiteY214" fmla="*/ 498996 h 770184"/>
              <a:gd name="connsiteX215" fmla="*/ 384925 w 1304189"/>
              <a:gd name="connsiteY215" fmla="*/ 516798 h 770184"/>
              <a:gd name="connsiteX216" fmla="*/ 443756 w 1304189"/>
              <a:gd name="connsiteY216" fmla="*/ 516798 h 770184"/>
              <a:gd name="connsiteX217" fmla="*/ 451543 w 1304189"/>
              <a:gd name="connsiteY217" fmla="*/ 498996 h 770184"/>
              <a:gd name="connsiteX218" fmla="*/ 392768 w 1304189"/>
              <a:gd name="connsiteY218" fmla="*/ 498996 h 770184"/>
              <a:gd name="connsiteX219" fmla="*/ 316347 w 1304189"/>
              <a:gd name="connsiteY219" fmla="*/ 498996 h 770184"/>
              <a:gd name="connsiteX220" fmla="*/ 308699 w 1304189"/>
              <a:gd name="connsiteY220" fmla="*/ 516798 h 770184"/>
              <a:gd name="connsiteX221" fmla="*/ 367531 w 1304189"/>
              <a:gd name="connsiteY221" fmla="*/ 516798 h 770184"/>
              <a:gd name="connsiteX222" fmla="*/ 375317 w 1304189"/>
              <a:gd name="connsiteY222" fmla="*/ 498996 h 770184"/>
              <a:gd name="connsiteX223" fmla="*/ 316347 w 1304189"/>
              <a:gd name="connsiteY223" fmla="*/ 498996 h 770184"/>
              <a:gd name="connsiteX224" fmla="*/ 260826 w 1304189"/>
              <a:gd name="connsiteY224" fmla="*/ 40617 h 770184"/>
              <a:gd name="connsiteX225" fmla="*/ 260826 w 1304189"/>
              <a:gd name="connsiteY225" fmla="*/ 411185 h 770184"/>
              <a:gd name="connsiteX226" fmla="*/ 1085595 w 1304189"/>
              <a:gd name="connsiteY226" fmla="*/ 411185 h 770184"/>
              <a:gd name="connsiteX227" fmla="*/ 1085595 w 1304189"/>
              <a:gd name="connsiteY227" fmla="*/ 40617 h 770184"/>
              <a:gd name="connsiteX228" fmla="*/ 260826 w 1304189"/>
              <a:gd name="connsiteY228" fmla="*/ 40617 h 770184"/>
              <a:gd name="connsiteX229" fmla="*/ 270935 w 1304189"/>
              <a:gd name="connsiteY229" fmla="*/ 0 h 770184"/>
              <a:gd name="connsiteX230" fmla="*/ 1075485 w 1304189"/>
              <a:gd name="connsiteY230" fmla="*/ 0 h 770184"/>
              <a:gd name="connsiteX231" fmla="*/ 1126530 w 1304189"/>
              <a:gd name="connsiteY231" fmla="*/ 51045 h 770184"/>
              <a:gd name="connsiteX232" fmla="*/ 1126530 w 1304189"/>
              <a:gd name="connsiteY232" fmla="*/ 400758 h 770184"/>
              <a:gd name="connsiteX233" fmla="*/ 1111580 w 1304189"/>
              <a:gd name="connsiteY233" fmla="*/ 436852 h 770184"/>
              <a:gd name="connsiteX234" fmla="*/ 1102966 w 1304189"/>
              <a:gd name="connsiteY234" fmla="*/ 442659 h 770184"/>
              <a:gd name="connsiteX235" fmla="*/ 1116324 w 1304189"/>
              <a:gd name="connsiteY235" fmla="*/ 442704 h 770184"/>
              <a:gd name="connsiteX236" fmla="*/ 1304189 w 1304189"/>
              <a:gd name="connsiteY236" fmla="*/ 691555 h 770184"/>
              <a:gd name="connsiteX237" fmla="*/ 1254871 w 1304189"/>
              <a:gd name="connsiteY237" fmla="*/ 770184 h 770184"/>
              <a:gd name="connsiteX238" fmla="*/ 52127 w 1304189"/>
              <a:gd name="connsiteY238" fmla="*/ 770184 h 770184"/>
              <a:gd name="connsiteX239" fmla="*/ 0 w 1304189"/>
              <a:gd name="connsiteY239" fmla="*/ 694364 h 770184"/>
              <a:gd name="connsiteX240" fmla="*/ 223824 w 1304189"/>
              <a:gd name="connsiteY240" fmla="*/ 439672 h 770184"/>
              <a:gd name="connsiteX241" fmla="*/ 239101 w 1304189"/>
              <a:gd name="connsiteY241" fmla="*/ 439724 h 770184"/>
              <a:gd name="connsiteX242" fmla="*/ 234841 w 1304189"/>
              <a:gd name="connsiteY242" fmla="*/ 436852 h 770184"/>
              <a:gd name="connsiteX243" fmla="*/ 219890 w 1304189"/>
              <a:gd name="connsiteY243" fmla="*/ 400758 h 770184"/>
              <a:gd name="connsiteX244" fmla="*/ 219890 w 1304189"/>
              <a:gd name="connsiteY244" fmla="*/ 51045 h 770184"/>
              <a:gd name="connsiteX245" fmla="*/ 270935 w 1304189"/>
              <a:gd name="connsiteY245" fmla="*/ 0 h 770184"/>
              <a:gd name="connsiteX0" fmla="*/ 532211 w 1306216"/>
              <a:gd name="connsiteY0" fmla="*/ 673154 h 770184"/>
              <a:gd name="connsiteX1" fmla="*/ 514017 w 1306216"/>
              <a:gd name="connsiteY1" fmla="*/ 745928 h 770184"/>
              <a:gd name="connsiteX2" fmla="*/ 789950 w 1306216"/>
              <a:gd name="connsiteY2" fmla="*/ 745928 h 770184"/>
              <a:gd name="connsiteX3" fmla="*/ 771757 w 1306216"/>
              <a:gd name="connsiteY3" fmla="*/ 673154 h 770184"/>
              <a:gd name="connsiteX4" fmla="*/ 532211 w 1306216"/>
              <a:gd name="connsiteY4" fmla="*/ 673154 h 770184"/>
              <a:gd name="connsiteX5" fmla="*/ 1184396 w 1306216"/>
              <a:gd name="connsiteY5" fmla="*/ 615493 h 770184"/>
              <a:gd name="connsiteX6" fmla="*/ 995748 w 1306216"/>
              <a:gd name="connsiteY6" fmla="*/ 615493 h 770184"/>
              <a:gd name="connsiteX7" fmla="*/ 1013122 w 1306216"/>
              <a:gd name="connsiteY7" fmla="*/ 650745 h 770184"/>
              <a:gd name="connsiteX8" fmla="*/ 1201173 w 1306216"/>
              <a:gd name="connsiteY8" fmla="*/ 650745 h 770184"/>
              <a:gd name="connsiteX9" fmla="*/ 1184396 w 1306216"/>
              <a:gd name="connsiteY9" fmla="*/ 615493 h 770184"/>
              <a:gd name="connsiteX10" fmla="*/ 877706 w 1306216"/>
              <a:gd name="connsiteY10" fmla="*/ 615493 h 770184"/>
              <a:gd name="connsiteX11" fmla="*/ 883466 w 1306216"/>
              <a:gd name="connsiteY11" fmla="*/ 652301 h 770184"/>
              <a:gd name="connsiteX12" fmla="*/ 987005 w 1306216"/>
              <a:gd name="connsiteY12" fmla="*/ 652300 h 770184"/>
              <a:gd name="connsiteX13" fmla="*/ 970309 w 1306216"/>
              <a:gd name="connsiteY13" fmla="*/ 615493 h 770184"/>
              <a:gd name="connsiteX14" fmla="*/ 877706 w 1306216"/>
              <a:gd name="connsiteY14" fmla="*/ 615493 h 770184"/>
              <a:gd name="connsiteX15" fmla="*/ 863452 w 1306216"/>
              <a:gd name="connsiteY15" fmla="*/ 615493 h 770184"/>
              <a:gd name="connsiteX16" fmla="*/ 359022 w 1306216"/>
              <a:gd name="connsiteY16" fmla="*/ 616132 h 770184"/>
              <a:gd name="connsiteX17" fmla="*/ 347071 w 1306216"/>
              <a:gd name="connsiteY17" fmla="*/ 652421 h 770184"/>
              <a:gd name="connsiteX18" fmla="*/ 864337 w 1306216"/>
              <a:gd name="connsiteY18" fmla="*/ 651213 h 770184"/>
              <a:gd name="connsiteX19" fmla="*/ 863452 w 1306216"/>
              <a:gd name="connsiteY19" fmla="*/ 615493 h 770184"/>
              <a:gd name="connsiteX20" fmla="*/ 127981 w 1306216"/>
              <a:gd name="connsiteY20" fmla="*/ 615493 h 770184"/>
              <a:gd name="connsiteX21" fmla="*/ 109993 w 1306216"/>
              <a:gd name="connsiteY21" fmla="*/ 650745 h 770184"/>
              <a:gd name="connsiteX22" fmla="*/ 323169 w 1306216"/>
              <a:gd name="connsiteY22" fmla="*/ 651901 h 770184"/>
              <a:gd name="connsiteX23" fmla="*/ 340640 w 1306216"/>
              <a:gd name="connsiteY23" fmla="*/ 615493 h 770184"/>
              <a:gd name="connsiteX24" fmla="*/ 127981 w 1306216"/>
              <a:gd name="connsiteY24" fmla="*/ 615493 h 770184"/>
              <a:gd name="connsiteX25" fmla="*/ 169114 w 1306216"/>
              <a:gd name="connsiteY25" fmla="*/ 585700 h 770184"/>
              <a:gd name="connsiteX26" fmla="*/ 135453 w 1306216"/>
              <a:gd name="connsiteY26" fmla="*/ 610506 h 770184"/>
              <a:gd name="connsiteX27" fmla="*/ 239916 w 1306216"/>
              <a:gd name="connsiteY27" fmla="*/ 610506 h 770184"/>
              <a:gd name="connsiteX28" fmla="*/ 252992 w 1306216"/>
              <a:gd name="connsiteY28" fmla="*/ 585700 h 770184"/>
              <a:gd name="connsiteX29" fmla="*/ 169114 w 1306216"/>
              <a:gd name="connsiteY29" fmla="*/ 585700 h 770184"/>
              <a:gd name="connsiteX30" fmla="*/ 1094034 w 1306216"/>
              <a:gd name="connsiteY30" fmla="*/ 585552 h 770184"/>
              <a:gd name="connsiteX31" fmla="*/ 990989 w 1306216"/>
              <a:gd name="connsiteY31" fmla="*/ 585552 h 770184"/>
              <a:gd name="connsiteX32" fmla="*/ 1000083 w 1306216"/>
              <a:gd name="connsiteY32" fmla="*/ 609788 h 770184"/>
              <a:gd name="connsiteX33" fmla="*/ 1105034 w 1306216"/>
              <a:gd name="connsiteY33" fmla="*/ 609788 h 770184"/>
              <a:gd name="connsiteX34" fmla="*/ 1094034 w 1306216"/>
              <a:gd name="connsiteY34" fmla="*/ 585552 h 770184"/>
              <a:gd name="connsiteX35" fmla="*/ 978472 w 1306216"/>
              <a:gd name="connsiteY35" fmla="*/ 585552 h 770184"/>
              <a:gd name="connsiteX36" fmla="*/ 875426 w 1306216"/>
              <a:gd name="connsiteY36" fmla="*/ 585552 h 770184"/>
              <a:gd name="connsiteX37" fmla="*/ 884521 w 1306216"/>
              <a:gd name="connsiteY37" fmla="*/ 609788 h 770184"/>
              <a:gd name="connsiteX38" fmla="*/ 989471 w 1306216"/>
              <a:gd name="connsiteY38" fmla="*/ 609788 h 770184"/>
              <a:gd name="connsiteX39" fmla="*/ 978472 w 1306216"/>
              <a:gd name="connsiteY39" fmla="*/ 585552 h 770184"/>
              <a:gd name="connsiteX40" fmla="*/ 862909 w 1306216"/>
              <a:gd name="connsiteY40" fmla="*/ 585552 h 770184"/>
              <a:gd name="connsiteX41" fmla="*/ 759863 w 1306216"/>
              <a:gd name="connsiteY41" fmla="*/ 585552 h 770184"/>
              <a:gd name="connsiteX42" fmla="*/ 768958 w 1306216"/>
              <a:gd name="connsiteY42" fmla="*/ 609788 h 770184"/>
              <a:gd name="connsiteX43" fmla="*/ 873908 w 1306216"/>
              <a:gd name="connsiteY43" fmla="*/ 609788 h 770184"/>
              <a:gd name="connsiteX44" fmla="*/ 862909 w 1306216"/>
              <a:gd name="connsiteY44" fmla="*/ 585552 h 770184"/>
              <a:gd name="connsiteX45" fmla="*/ 664956 w 1306216"/>
              <a:gd name="connsiteY45" fmla="*/ 585552 h 770184"/>
              <a:gd name="connsiteX46" fmla="*/ 653395 w 1306216"/>
              <a:gd name="connsiteY46" fmla="*/ 609788 h 770184"/>
              <a:gd name="connsiteX47" fmla="*/ 758345 w 1306216"/>
              <a:gd name="connsiteY47" fmla="*/ 609788 h 770184"/>
              <a:gd name="connsiteX48" fmla="*/ 747346 w 1306216"/>
              <a:gd name="connsiteY48" fmla="*/ 585552 h 770184"/>
              <a:gd name="connsiteX49" fmla="*/ 664956 w 1306216"/>
              <a:gd name="connsiteY49" fmla="*/ 585552 h 770184"/>
              <a:gd name="connsiteX50" fmla="*/ 565235 w 1306216"/>
              <a:gd name="connsiteY50" fmla="*/ 585552 h 770184"/>
              <a:gd name="connsiteX51" fmla="*/ 553673 w 1306216"/>
              <a:gd name="connsiteY51" fmla="*/ 609788 h 770184"/>
              <a:gd name="connsiteX52" fmla="*/ 640398 w 1306216"/>
              <a:gd name="connsiteY52" fmla="*/ 609788 h 770184"/>
              <a:gd name="connsiteX53" fmla="*/ 651877 w 1306216"/>
              <a:gd name="connsiteY53" fmla="*/ 585552 h 770184"/>
              <a:gd name="connsiteX54" fmla="*/ 565235 w 1306216"/>
              <a:gd name="connsiteY54" fmla="*/ 585552 h 770184"/>
              <a:gd name="connsiteX55" fmla="*/ 465514 w 1306216"/>
              <a:gd name="connsiteY55" fmla="*/ 585552 h 770184"/>
              <a:gd name="connsiteX56" fmla="*/ 453952 w 1306216"/>
              <a:gd name="connsiteY56" fmla="*/ 609788 h 770184"/>
              <a:gd name="connsiteX57" fmla="*/ 540677 w 1306216"/>
              <a:gd name="connsiteY57" fmla="*/ 609788 h 770184"/>
              <a:gd name="connsiteX58" fmla="*/ 552156 w 1306216"/>
              <a:gd name="connsiteY58" fmla="*/ 585552 h 770184"/>
              <a:gd name="connsiteX59" fmla="*/ 465514 w 1306216"/>
              <a:gd name="connsiteY59" fmla="*/ 585552 h 770184"/>
              <a:gd name="connsiteX60" fmla="*/ 365793 w 1306216"/>
              <a:gd name="connsiteY60" fmla="*/ 585552 h 770184"/>
              <a:gd name="connsiteX61" fmla="*/ 354231 w 1306216"/>
              <a:gd name="connsiteY61" fmla="*/ 609788 h 770184"/>
              <a:gd name="connsiteX62" fmla="*/ 440956 w 1306216"/>
              <a:gd name="connsiteY62" fmla="*/ 609788 h 770184"/>
              <a:gd name="connsiteX63" fmla="*/ 452434 w 1306216"/>
              <a:gd name="connsiteY63" fmla="*/ 585552 h 770184"/>
              <a:gd name="connsiteX64" fmla="*/ 365793 w 1306216"/>
              <a:gd name="connsiteY64" fmla="*/ 585552 h 770184"/>
              <a:gd name="connsiteX65" fmla="*/ 265783 w 1306216"/>
              <a:gd name="connsiteY65" fmla="*/ 585552 h 770184"/>
              <a:gd name="connsiteX66" fmla="*/ 254510 w 1306216"/>
              <a:gd name="connsiteY66" fmla="*/ 609788 h 770184"/>
              <a:gd name="connsiteX67" fmla="*/ 341235 w 1306216"/>
              <a:gd name="connsiteY67" fmla="*/ 609788 h 770184"/>
              <a:gd name="connsiteX68" fmla="*/ 352713 w 1306216"/>
              <a:gd name="connsiteY68" fmla="*/ 585552 h 770184"/>
              <a:gd name="connsiteX69" fmla="*/ 265783 w 1306216"/>
              <a:gd name="connsiteY69" fmla="*/ 585552 h 770184"/>
              <a:gd name="connsiteX70" fmla="*/ 1046910 w 1306216"/>
              <a:gd name="connsiteY70" fmla="*/ 559836 h 770184"/>
              <a:gd name="connsiteX71" fmla="*/ 1059522 w 1306216"/>
              <a:gd name="connsiteY71" fmla="*/ 580212 h 770184"/>
              <a:gd name="connsiteX72" fmla="*/ 1107799 w 1306216"/>
              <a:gd name="connsiteY72" fmla="*/ 579110 h 770184"/>
              <a:gd name="connsiteX73" fmla="*/ 1120958 w 1306216"/>
              <a:gd name="connsiteY73" fmla="*/ 605551 h 770184"/>
              <a:gd name="connsiteX74" fmla="*/ 1185073 w 1306216"/>
              <a:gd name="connsiteY74" fmla="*/ 608132 h 770184"/>
              <a:gd name="connsiteX75" fmla="*/ 1144078 w 1306216"/>
              <a:gd name="connsiteY75" fmla="*/ 559836 h 770184"/>
              <a:gd name="connsiteX76" fmla="*/ 1046910 w 1306216"/>
              <a:gd name="connsiteY76" fmla="*/ 559836 h 770184"/>
              <a:gd name="connsiteX77" fmla="*/ 217843 w 1306216"/>
              <a:gd name="connsiteY77" fmla="*/ 557325 h 770184"/>
              <a:gd name="connsiteX78" fmla="*/ 200453 w 1306216"/>
              <a:gd name="connsiteY78" fmla="*/ 578693 h 770184"/>
              <a:gd name="connsiteX79" fmla="*/ 304917 w 1306216"/>
              <a:gd name="connsiteY79" fmla="*/ 578693 h 770184"/>
              <a:gd name="connsiteX80" fmla="*/ 317992 w 1306216"/>
              <a:gd name="connsiteY80" fmla="*/ 557325 h 770184"/>
              <a:gd name="connsiteX81" fmla="*/ 217843 w 1306216"/>
              <a:gd name="connsiteY81" fmla="*/ 557325 h 770184"/>
              <a:gd name="connsiteX82" fmla="*/ 1040167 w 1306216"/>
              <a:gd name="connsiteY82" fmla="*/ 557138 h 770184"/>
              <a:gd name="connsiteX83" fmla="*/ 937122 w 1306216"/>
              <a:gd name="connsiteY83" fmla="*/ 557139 h 770184"/>
              <a:gd name="connsiteX84" fmla="*/ 946216 w 1306216"/>
              <a:gd name="connsiteY84" fmla="*/ 578014 h 770184"/>
              <a:gd name="connsiteX85" fmla="*/ 1051167 w 1306216"/>
              <a:gd name="connsiteY85" fmla="*/ 578014 h 770184"/>
              <a:gd name="connsiteX86" fmla="*/ 1040167 w 1306216"/>
              <a:gd name="connsiteY86" fmla="*/ 557138 h 770184"/>
              <a:gd name="connsiteX87" fmla="*/ 927909 w 1306216"/>
              <a:gd name="connsiteY87" fmla="*/ 557138 h 770184"/>
              <a:gd name="connsiteX88" fmla="*/ 824864 w 1306216"/>
              <a:gd name="connsiteY88" fmla="*/ 557139 h 770184"/>
              <a:gd name="connsiteX89" fmla="*/ 833958 w 1306216"/>
              <a:gd name="connsiteY89" fmla="*/ 578014 h 770184"/>
              <a:gd name="connsiteX90" fmla="*/ 938909 w 1306216"/>
              <a:gd name="connsiteY90" fmla="*/ 578014 h 770184"/>
              <a:gd name="connsiteX91" fmla="*/ 927909 w 1306216"/>
              <a:gd name="connsiteY91" fmla="*/ 557138 h 770184"/>
              <a:gd name="connsiteX92" fmla="*/ 729956 w 1306216"/>
              <a:gd name="connsiteY92" fmla="*/ 557138 h 770184"/>
              <a:gd name="connsiteX93" fmla="*/ 718395 w 1306216"/>
              <a:gd name="connsiteY93" fmla="*/ 578014 h 770184"/>
              <a:gd name="connsiteX94" fmla="*/ 823346 w 1306216"/>
              <a:gd name="connsiteY94" fmla="*/ 578014 h 770184"/>
              <a:gd name="connsiteX95" fmla="*/ 812346 w 1306216"/>
              <a:gd name="connsiteY95" fmla="*/ 557138 h 770184"/>
              <a:gd name="connsiteX96" fmla="*/ 729956 w 1306216"/>
              <a:gd name="connsiteY96" fmla="*/ 557138 h 770184"/>
              <a:gd name="connsiteX97" fmla="*/ 630235 w 1306216"/>
              <a:gd name="connsiteY97" fmla="*/ 557138 h 770184"/>
              <a:gd name="connsiteX98" fmla="*/ 618674 w 1306216"/>
              <a:gd name="connsiteY98" fmla="*/ 578014 h 770184"/>
              <a:gd name="connsiteX99" fmla="*/ 705399 w 1306216"/>
              <a:gd name="connsiteY99" fmla="*/ 578014 h 770184"/>
              <a:gd name="connsiteX100" fmla="*/ 716877 w 1306216"/>
              <a:gd name="connsiteY100" fmla="*/ 557138 h 770184"/>
              <a:gd name="connsiteX101" fmla="*/ 630235 w 1306216"/>
              <a:gd name="connsiteY101" fmla="*/ 557138 h 770184"/>
              <a:gd name="connsiteX102" fmla="*/ 530514 w 1306216"/>
              <a:gd name="connsiteY102" fmla="*/ 557138 h 770184"/>
              <a:gd name="connsiteX103" fmla="*/ 518953 w 1306216"/>
              <a:gd name="connsiteY103" fmla="*/ 578014 h 770184"/>
              <a:gd name="connsiteX104" fmla="*/ 605677 w 1306216"/>
              <a:gd name="connsiteY104" fmla="*/ 578014 h 770184"/>
              <a:gd name="connsiteX105" fmla="*/ 617156 w 1306216"/>
              <a:gd name="connsiteY105" fmla="*/ 557138 h 770184"/>
              <a:gd name="connsiteX106" fmla="*/ 530514 w 1306216"/>
              <a:gd name="connsiteY106" fmla="*/ 557138 h 770184"/>
              <a:gd name="connsiteX107" fmla="*/ 430793 w 1306216"/>
              <a:gd name="connsiteY107" fmla="*/ 557138 h 770184"/>
              <a:gd name="connsiteX108" fmla="*/ 419232 w 1306216"/>
              <a:gd name="connsiteY108" fmla="*/ 578014 h 770184"/>
              <a:gd name="connsiteX109" fmla="*/ 505956 w 1306216"/>
              <a:gd name="connsiteY109" fmla="*/ 578014 h 770184"/>
              <a:gd name="connsiteX110" fmla="*/ 517435 w 1306216"/>
              <a:gd name="connsiteY110" fmla="*/ 557138 h 770184"/>
              <a:gd name="connsiteX111" fmla="*/ 430793 w 1306216"/>
              <a:gd name="connsiteY111" fmla="*/ 557138 h 770184"/>
              <a:gd name="connsiteX112" fmla="*/ 330783 w 1306216"/>
              <a:gd name="connsiteY112" fmla="*/ 557138 h 770184"/>
              <a:gd name="connsiteX113" fmla="*/ 319510 w 1306216"/>
              <a:gd name="connsiteY113" fmla="*/ 578014 h 770184"/>
              <a:gd name="connsiteX114" fmla="*/ 406235 w 1306216"/>
              <a:gd name="connsiteY114" fmla="*/ 578014 h 770184"/>
              <a:gd name="connsiteX115" fmla="*/ 417714 w 1306216"/>
              <a:gd name="connsiteY115" fmla="*/ 557138 h 770184"/>
              <a:gd name="connsiteX116" fmla="*/ 330783 w 1306216"/>
              <a:gd name="connsiteY116" fmla="*/ 557138 h 770184"/>
              <a:gd name="connsiteX117" fmla="*/ 203849 w 1306216"/>
              <a:gd name="connsiteY117" fmla="*/ 530416 h 770184"/>
              <a:gd name="connsiteX118" fmla="*/ 161375 w 1306216"/>
              <a:gd name="connsiteY118" fmla="*/ 577233 h 770184"/>
              <a:gd name="connsiteX119" fmla="*/ 194427 w 1306216"/>
              <a:gd name="connsiteY119" fmla="*/ 576132 h 770184"/>
              <a:gd name="connsiteX120" fmla="*/ 216461 w 1306216"/>
              <a:gd name="connsiteY120" fmla="*/ 549691 h 770184"/>
              <a:gd name="connsiteX121" fmla="*/ 288406 w 1306216"/>
              <a:gd name="connsiteY121" fmla="*/ 550792 h 770184"/>
              <a:gd name="connsiteX122" fmla="*/ 301017 w 1306216"/>
              <a:gd name="connsiteY122" fmla="*/ 530416 h 770184"/>
              <a:gd name="connsiteX123" fmla="*/ 203849 w 1306216"/>
              <a:gd name="connsiteY123" fmla="*/ 530416 h 770184"/>
              <a:gd name="connsiteX124" fmla="*/ 324630 w 1306216"/>
              <a:gd name="connsiteY124" fmla="*/ 525890 h 770184"/>
              <a:gd name="connsiteX125" fmla="*/ 294157 w 1306216"/>
              <a:gd name="connsiteY125" fmla="*/ 551962 h 770184"/>
              <a:gd name="connsiteX126" fmla="*/ 388727 w 1306216"/>
              <a:gd name="connsiteY126" fmla="*/ 551962 h 770184"/>
              <a:gd name="connsiteX127" fmla="*/ 400564 w 1306216"/>
              <a:gd name="connsiteY127" fmla="*/ 525890 h 770184"/>
              <a:gd name="connsiteX128" fmla="*/ 324630 w 1306216"/>
              <a:gd name="connsiteY128" fmla="*/ 525890 h 770184"/>
              <a:gd name="connsiteX129" fmla="*/ 1127250 w 1306216"/>
              <a:gd name="connsiteY129" fmla="*/ 525757 h 770184"/>
              <a:gd name="connsiteX130" fmla="*/ 1033964 w 1306216"/>
              <a:gd name="connsiteY130" fmla="*/ 525757 h 770184"/>
              <a:gd name="connsiteX131" fmla="*/ 1042198 w 1306216"/>
              <a:gd name="connsiteY131" fmla="*/ 551229 h 770184"/>
              <a:gd name="connsiteX132" fmla="*/ 1137208 w 1306216"/>
              <a:gd name="connsiteY132" fmla="*/ 551229 h 770184"/>
              <a:gd name="connsiteX133" fmla="*/ 1127250 w 1306216"/>
              <a:gd name="connsiteY133" fmla="*/ 525757 h 770184"/>
              <a:gd name="connsiteX134" fmla="*/ 1026970 w 1306216"/>
              <a:gd name="connsiteY134" fmla="*/ 525757 h 770184"/>
              <a:gd name="connsiteX135" fmla="*/ 933684 w 1306216"/>
              <a:gd name="connsiteY135" fmla="*/ 525757 h 770184"/>
              <a:gd name="connsiteX136" fmla="*/ 941918 w 1306216"/>
              <a:gd name="connsiteY136" fmla="*/ 551229 h 770184"/>
              <a:gd name="connsiteX137" fmla="*/ 1036928 w 1306216"/>
              <a:gd name="connsiteY137" fmla="*/ 551229 h 770184"/>
              <a:gd name="connsiteX138" fmla="*/ 1026970 w 1306216"/>
              <a:gd name="connsiteY138" fmla="*/ 525757 h 770184"/>
              <a:gd name="connsiteX139" fmla="*/ 926689 w 1306216"/>
              <a:gd name="connsiteY139" fmla="*/ 525757 h 770184"/>
              <a:gd name="connsiteX140" fmla="*/ 833403 w 1306216"/>
              <a:gd name="connsiteY140" fmla="*/ 525757 h 770184"/>
              <a:gd name="connsiteX141" fmla="*/ 841636 w 1306216"/>
              <a:gd name="connsiteY141" fmla="*/ 551229 h 770184"/>
              <a:gd name="connsiteX142" fmla="*/ 936647 w 1306216"/>
              <a:gd name="connsiteY142" fmla="*/ 551229 h 770184"/>
              <a:gd name="connsiteX143" fmla="*/ 926689 w 1306216"/>
              <a:gd name="connsiteY143" fmla="*/ 525757 h 770184"/>
              <a:gd name="connsiteX144" fmla="*/ 751822 w 1306216"/>
              <a:gd name="connsiteY144" fmla="*/ 525757 h 770184"/>
              <a:gd name="connsiteX145" fmla="*/ 741355 w 1306216"/>
              <a:gd name="connsiteY145" fmla="*/ 551229 h 770184"/>
              <a:gd name="connsiteX146" fmla="*/ 836365 w 1306216"/>
              <a:gd name="connsiteY146" fmla="*/ 551229 h 770184"/>
              <a:gd name="connsiteX147" fmla="*/ 826408 w 1306216"/>
              <a:gd name="connsiteY147" fmla="*/ 525757 h 770184"/>
              <a:gd name="connsiteX148" fmla="*/ 751822 w 1306216"/>
              <a:gd name="connsiteY148" fmla="*/ 525757 h 770184"/>
              <a:gd name="connsiteX149" fmla="*/ 665883 w 1306216"/>
              <a:gd name="connsiteY149" fmla="*/ 525757 h 770184"/>
              <a:gd name="connsiteX150" fmla="*/ 655417 w 1306216"/>
              <a:gd name="connsiteY150" fmla="*/ 551229 h 770184"/>
              <a:gd name="connsiteX151" fmla="*/ 733927 w 1306216"/>
              <a:gd name="connsiteY151" fmla="*/ 551229 h 770184"/>
              <a:gd name="connsiteX152" fmla="*/ 744318 w 1306216"/>
              <a:gd name="connsiteY152" fmla="*/ 525757 h 770184"/>
              <a:gd name="connsiteX153" fmla="*/ 665883 w 1306216"/>
              <a:gd name="connsiteY153" fmla="*/ 525757 h 770184"/>
              <a:gd name="connsiteX154" fmla="*/ 579945 w 1306216"/>
              <a:gd name="connsiteY154" fmla="*/ 525757 h 770184"/>
              <a:gd name="connsiteX155" fmla="*/ 569478 w 1306216"/>
              <a:gd name="connsiteY155" fmla="*/ 551229 h 770184"/>
              <a:gd name="connsiteX156" fmla="*/ 647988 w 1306216"/>
              <a:gd name="connsiteY156" fmla="*/ 551229 h 770184"/>
              <a:gd name="connsiteX157" fmla="*/ 658379 w 1306216"/>
              <a:gd name="connsiteY157" fmla="*/ 525757 h 770184"/>
              <a:gd name="connsiteX158" fmla="*/ 579945 w 1306216"/>
              <a:gd name="connsiteY158" fmla="*/ 525757 h 770184"/>
              <a:gd name="connsiteX159" fmla="*/ 494006 w 1306216"/>
              <a:gd name="connsiteY159" fmla="*/ 525757 h 770184"/>
              <a:gd name="connsiteX160" fmla="*/ 483540 w 1306216"/>
              <a:gd name="connsiteY160" fmla="*/ 551229 h 770184"/>
              <a:gd name="connsiteX161" fmla="*/ 562049 w 1306216"/>
              <a:gd name="connsiteY161" fmla="*/ 551229 h 770184"/>
              <a:gd name="connsiteX162" fmla="*/ 572441 w 1306216"/>
              <a:gd name="connsiteY162" fmla="*/ 525757 h 770184"/>
              <a:gd name="connsiteX163" fmla="*/ 494006 w 1306216"/>
              <a:gd name="connsiteY163" fmla="*/ 525757 h 770184"/>
              <a:gd name="connsiteX164" fmla="*/ 407806 w 1306216"/>
              <a:gd name="connsiteY164" fmla="*/ 525757 h 770184"/>
              <a:gd name="connsiteX165" fmla="*/ 397601 w 1306216"/>
              <a:gd name="connsiteY165" fmla="*/ 551229 h 770184"/>
              <a:gd name="connsiteX166" fmla="*/ 476111 w 1306216"/>
              <a:gd name="connsiteY166" fmla="*/ 551229 h 770184"/>
              <a:gd name="connsiteX167" fmla="*/ 486502 w 1306216"/>
              <a:gd name="connsiteY167" fmla="*/ 525757 h 770184"/>
              <a:gd name="connsiteX168" fmla="*/ 407806 w 1306216"/>
              <a:gd name="connsiteY168" fmla="*/ 525757 h 770184"/>
              <a:gd name="connsiteX169" fmla="*/ 242191 w 1306216"/>
              <a:gd name="connsiteY169" fmla="*/ 499031 h 770184"/>
              <a:gd name="connsiteX170" fmla="*/ 219356 w 1306216"/>
              <a:gd name="connsiteY170" fmla="*/ 517250 h 770184"/>
              <a:gd name="connsiteX171" fmla="*/ 290222 w 1306216"/>
              <a:gd name="connsiteY171" fmla="*/ 517250 h 770184"/>
              <a:gd name="connsiteX172" fmla="*/ 299092 w 1306216"/>
              <a:gd name="connsiteY172" fmla="*/ 499031 h 770184"/>
              <a:gd name="connsiteX173" fmla="*/ 242191 w 1306216"/>
              <a:gd name="connsiteY173" fmla="*/ 499031 h 770184"/>
              <a:gd name="connsiteX174" fmla="*/ 1042300 w 1306216"/>
              <a:gd name="connsiteY174" fmla="*/ 498996 h 770184"/>
              <a:gd name="connsiteX175" fmla="*/ 1048470 w 1306216"/>
              <a:gd name="connsiteY175" fmla="*/ 516798 h 770184"/>
              <a:gd name="connsiteX176" fmla="*/ 1119666 w 1306216"/>
              <a:gd name="connsiteY176" fmla="*/ 516798 h 770184"/>
              <a:gd name="connsiteX177" fmla="*/ 1112204 w 1306216"/>
              <a:gd name="connsiteY177" fmla="*/ 498996 h 770184"/>
              <a:gd name="connsiteX178" fmla="*/ 1042300 w 1306216"/>
              <a:gd name="connsiteY178" fmla="*/ 498996 h 770184"/>
              <a:gd name="connsiteX179" fmla="*/ 955325 w 1306216"/>
              <a:gd name="connsiteY179" fmla="*/ 498996 h 770184"/>
              <a:gd name="connsiteX180" fmla="*/ 961495 w 1306216"/>
              <a:gd name="connsiteY180" fmla="*/ 516798 h 770184"/>
              <a:gd name="connsiteX181" fmla="*/ 1032691 w 1306216"/>
              <a:gd name="connsiteY181" fmla="*/ 516798 h 770184"/>
              <a:gd name="connsiteX182" fmla="*/ 1025229 w 1306216"/>
              <a:gd name="connsiteY182" fmla="*/ 498996 h 770184"/>
              <a:gd name="connsiteX183" fmla="*/ 955325 w 1306216"/>
              <a:gd name="connsiteY183" fmla="*/ 498996 h 770184"/>
              <a:gd name="connsiteX184" fmla="*/ 868352 w 1306216"/>
              <a:gd name="connsiteY184" fmla="*/ 498996 h 770184"/>
              <a:gd name="connsiteX185" fmla="*/ 874521 w 1306216"/>
              <a:gd name="connsiteY185" fmla="*/ 516798 h 770184"/>
              <a:gd name="connsiteX186" fmla="*/ 945718 w 1306216"/>
              <a:gd name="connsiteY186" fmla="*/ 516798 h 770184"/>
              <a:gd name="connsiteX187" fmla="*/ 938255 w 1306216"/>
              <a:gd name="connsiteY187" fmla="*/ 498996 h 770184"/>
              <a:gd name="connsiteX188" fmla="*/ 868352 w 1306216"/>
              <a:gd name="connsiteY188" fmla="*/ 498996 h 770184"/>
              <a:gd name="connsiteX189" fmla="*/ 781378 w 1306216"/>
              <a:gd name="connsiteY189" fmla="*/ 498996 h 770184"/>
              <a:gd name="connsiteX190" fmla="*/ 787548 w 1306216"/>
              <a:gd name="connsiteY190" fmla="*/ 516798 h 770184"/>
              <a:gd name="connsiteX191" fmla="*/ 858744 w 1306216"/>
              <a:gd name="connsiteY191" fmla="*/ 516798 h 770184"/>
              <a:gd name="connsiteX192" fmla="*/ 851282 w 1306216"/>
              <a:gd name="connsiteY192" fmla="*/ 498996 h 770184"/>
              <a:gd name="connsiteX193" fmla="*/ 781378 w 1306216"/>
              <a:gd name="connsiteY193" fmla="*/ 498996 h 770184"/>
              <a:gd name="connsiteX194" fmla="*/ 694405 w 1306216"/>
              <a:gd name="connsiteY194" fmla="*/ 498996 h 770184"/>
              <a:gd name="connsiteX195" fmla="*/ 700574 w 1306216"/>
              <a:gd name="connsiteY195" fmla="*/ 516798 h 770184"/>
              <a:gd name="connsiteX196" fmla="*/ 771771 w 1306216"/>
              <a:gd name="connsiteY196" fmla="*/ 516798 h 770184"/>
              <a:gd name="connsiteX197" fmla="*/ 764308 w 1306216"/>
              <a:gd name="connsiteY197" fmla="*/ 498996 h 770184"/>
              <a:gd name="connsiteX198" fmla="*/ 694405 w 1306216"/>
              <a:gd name="connsiteY198" fmla="*/ 498996 h 770184"/>
              <a:gd name="connsiteX199" fmla="*/ 621444 w 1306216"/>
              <a:gd name="connsiteY199" fmla="*/ 498996 h 770184"/>
              <a:gd name="connsiteX200" fmla="*/ 613601 w 1306216"/>
              <a:gd name="connsiteY200" fmla="*/ 516798 h 770184"/>
              <a:gd name="connsiteX201" fmla="*/ 684797 w 1306216"/>
              <a:gd name="connsiteY201" fmla="*/ 516798 h 770184"/>
              <a:gd name="connsiteX202" fmla="*/ 677335 w 1306216"/>
              <a:gd name="connsiteY202" fmla="*/ 498996 h 770184"/>
              <a:gd name="connsiteX203" fmla="*/ 621444 w 1306216"/>
              <a:gd name="connsiteY203" fmla="*/ 498996 h 770184"/>
              <a:gd name="connsiteX204" fmla="*/ 545219 w 1306216"/>
              <a:gd name="connsiteY204" fmla="*/ 498996 h 770184"/>
              <a:gd name="connsiteX205" fmla="*/ 537376 w 1306216"/>
              <a:gd name="connsiteY205" fmla="*/ 516798 h 770184"/>
              <a:gd name="connsiteX206" fmla="*/ 596207 w 1306216"/>
              <a:gd name="connsiteY206" fmla="*/ 516798 h 770184"/>
              <a:gd name="connsiteX207" fmla="*/ 603994 w 1306216"/>
              <a:gd name="connsiteY207" fmla="*/ 498996 h 770184"/>
              <a:gd name="connsiteX208" fmla="*/ 545219 w 1306216"/>
              <a:gd name="connsiteY208" fmla="*/ 498996 h 770184"/>
              <a:gd name="connsiteX209" fmla="*/ 468993 w 1306216"/>
              <a:gd name="connsiteY209" fmla="*/ 498996 h 770184"/>
              <a:gd name="connsiteX210" fmla="*/ 461150 w 1306216"/>
              <a:gd name="connsiteY210" fmla="*/ 516798 h 770184"/>
              <a:gd name="connsiteX211" fmla="*/ 519982 w 1306216"/>
              <a:gd name="connsiteY211" fmla="*/ 516798 h 770184"/>
              <a:gd name="connsiteX212" fmla="*/ 527768 w 1306216"/>
              <a:gd name="connsiteY212" fmla="*/ 498996 h 770184"/>
              <a:gd name="connsiteX213" fmla="*/ 468993 w 1306216"/>
              <a:gd name="connsiteY213" fmla="*/ 498996 h 770184"/>
              <a:gd name="connsiteX214" fmla="*/ 392768 w 1306216"/>
              <a:gd name="connsiteY214" fmla="*/ 498996 h 770184"/>
              <a:gd name="connsiteX215" fmla="*/ 384925 w 1306216"/>
              <a:gd name="connsiteY215" fmla="*/ 516798 h 770184"/>
              <a:gd name="connsiteX216" fmla="*/ 443756 w 1306216"/>
              <a:gd name="connsiteY216" fmla="*/ 516798 h 770184"/>
              <a:gd name="connsiteX217" fmla="*/ 451543 w 1306216"/>
              <a:gd name="connsiteY217" fmla="*/ 498996 h 770184"/>
              <a:gd name="connsiteX218" fmla="*/ 392768 w 1306216"/>
              <a:gd name="connsiteY218" fmla="*/ 498996 h 770184"/>
              <a:gd name="connsiteX219" fmla="*/ 316347 w 1306216"/>
              <a:gd name="connsiteY219" fmla="*/ 498996 h 770184"/>
              <a:gd name="connsiteX220" fmla="*/ 308699 w 1306216"/>
              <a:gd name="connsiteY220" fmla="*/ 516798 h 770184"/>
              <a:gd name="connsiteX221" fmla="*/ 367531 w 1306216"/>
              <a:gd name="connsiteY221" fmla="*/ 516798 h 770184"/>
              <a:gd name="connsiteX222" fmla="*/ 375317 w 1306216"/>
              <a:gd name="connsiteY222" fmla="*/ 498996 h 770184"/>
              <a:gd name="connsiteX223" fmla="*/ 316347 w 1306216"/>
              <a:gd name="connsiteY223" fmla="*/ 498996 h 770184"/>
              <a:gd name="connsiteX224" fmla="*/ 260826 w 1306216"/>
              <a:gd name="connsiteY224" fmla="*/ 40617 h 770184"/>
              <a:gd name="connsiteX225" fmla="*/ 260826 w 1306216"/>
              <a:gd name="connsiteY225" fmla="*/ 411185 h 770184"/>
              <a:gd name="connsiteX226" fmla="*/ 1085595 w 1306216"/>
              <a:gd name="connsiteY226" fmla="*/ 411185 h 770184"/>
              <a:gd name="connsiteX227" fmla="*/ 1085595 w 1306216"/>
              <a:gd name="connsiteY227" fmla="*/ 40617 h 770184"/>
              <a:gd name="connsiteX228" fmla="*/ 260826 w 1306216"/>
              <a:gd name="connsiteY228" fmla="*/ 40617 h 770184"/>
              <a:gd name="connsiteX229" fmla="*/ 270935 w 1306216"/>
              <a:gd name="connsiteY229" fmla="*/ 0 h 770184"/>
              <a:gd name="connsiteX230" fmla="*/ 1075485 w 1306216"/>
              <a:gd name="connsiteY230" fmla="*/ 0 h 770184"/>
              <a:gd name="connsiteX231" fmla="*/ 1126530 w 1306216"/>
              <a:gd name="connsiteY231" fmla="*/ 51045 h 770184"/>
              <a:gd name="connsiteX232" fmla="*/ 1126530 w 1306216"/>
              <a:gd name="connsiteY232" fmla="*/ 400758 h 770184"/>
              <a:gd name="connsiteX233" fmla="*/ 1111580 w 1306216"/>
              <a:gd name="connsiteY233" fmla="*/ 436852 h 770184"/>
              <a:gd name="connsiteX234" fmla="*/ 1102966 w 1306216"/>
              <a:gd name="connsiteY234" fmla="*/ 442659 h 770184"/>
              <a:gd name="connsiteX235" fmla="*/ 1116324 w 1306216"/>
              <a:gd name="connsiteY235" fmla="*/ 442704 h 770184"/>
              <a:gd name="connsiteX236" fmla="*/ 1304189 w 1306216"/>
              <a:gd name="connsiteY236" fmla="*/ 691555 h 770184"/>
              <a:gd name="connsiteX237" fmla="*/ 1254871 w 1306216"/>
              <a:gd name="connsiteY237" fmla="*/ 770184 h 770184"/>
              <a:gd name="connsiteX238" fmla="*/ 52127 w 1306216"/>
              <a:gd name="connsiteY238" fmla="*/ 770184 h 770184"/>
              <a:gd name="connsiteX239" fmla="*/ 0 w 1306216"/>
              <a:gd name="connsiteY239" fmla="*/ 694364 h 770184"/>
              <a:gd name="connsiteX240" fmla="*/ 223824 w 1306216"/>
              <a:gd name="connsiteY240" fmla="*/ 439672 h 770184"/>
              <a:gd name="connsiteX241" fmla="*/ 239101 w 1306216"/>
              <a:gd name="connsiteY241" fmla="*/ 439724 h 770184"/>
              <a:gd name="connsiteX242" fmla="*/ 234841 w 1306216"/>
              <a:gd name="connsiteY242" fmla="*/ 436852 h 770184"/>
              <a:gd name="connsiteX243" fmla="*/ 219890 w 1306216"/>
              <a:gd name="connsiteY243" fmla="*/ 400758 h 770184"/>
              <a:gd name="connsiteX244" fmla="*/ 219890 w 1306216"/>
              <a:gd name="connsiteY244" fmla="*/ 51045 h 770184"/>
              <a:gd name="connsiteX245" fmla="*/ 270935 w 1306216"/>
              <a:gd name="connsiteY245" fmla="*/ 0 h 770184"/>
              <a:gd name="connsiteX0" fmla="*/ 532211 w 1312751"/>
              <a:gd name="connsiteY0" fmla="*/ 673154 h 770184"/>
              <a:gd name="connsiteX1" fmla="*/ 514017 w 1312751"/>
              <a:gd name="connsiteY1" fmla="*/ 745928 h 770184"/>
              <a:gd name="connsiteX2" fmla="*/ 789950 w 1312751"/>
              <a:gd name="connsiteY2" fmla="*/ 745928 h 770184"/>
              <a:gd name="connsiteX3" fmla="*/ 771757 w 1312751"/>
              <a:gd name="connsiteY3" fmla="*/ 673154 h 770184"/>
              <a:gd name="connsiteX4" fmla="*/ 532211 w 1312751"/>
              <a:gd name="connsiteY4" fmla="*/ 673154 h 770184"/>
              <a:gd name="connsiteX5" fmla="*/ 1184396 w 1312751"/>
              <a:gd name="connsiteY5" fmla="*/ 615493 h 770184"/>
              <a:gd name="connsiteX6" fmla="*/ 995748 w 1312751"/>
              <a:gd name="connsiteY6" fmla="*/ 615493 h 770184"/>
              <a:gd name="connsiteX7" fmla="*/ 1013122 w 1312751"/>
              <a:gd name="connsiteY7" fmla="*/ 650745 h 770184"/>
              <a:gd name="connsiteX8" fmla="*/ 1201173 w 1312751"/>
              <a:gd name="connsiteY8" fmla="*/ 650745 h 770184"/>
              <a:gd name="connsiteX9" fmla="*/ 1184396 w 1312751"/>
              <a:gd name="connsiteY9" fmla="*/ 615493 h 770184"/>
              <a:gd name="connsiteX10" fmla="*/ 877706 w 1312751"/>
              <a:gd name="connsiteY10" fmla="*/ 615493 h 770184"/>
              <a:gd name="connsiteX11" fmla="*/ 883466 w 1312751"/>
              <a:gd name="connsiteY11" fmla="*/ 652301 h 770184"/>
              <a:gd name="connsiteX12" fmla="*/ 987005 w 1312751"/>
              <a:gd name="connsiteY12" fmla="*/ 652300 h 770184"/>
              <a:gd name="connsiteX13" fmla="*/ 970309 w 1312751"/>
              <a:gd name="connsiteY13" fmla="*/ 615493 h 770184"/>
              <a:gd name="connsiteX14" fmla="*/ 877706 w 1312751"/>
              <a:gd name="connsiteY14" fmla="*/ 615493 h 770184"/>
              <a:gd name="connsiteX15" fmla="*/ 863452 w 1312751"/>
              <a:gd name="connsiteY15" fmla="*/ 615493 h 770184"/>
              <a:gd name="connsiteX16" fmla="*/ 359022 w 1312751"/>
              <a:gd name="connsiteY16" fmla="*/ 616132 h 770184"/>
              <a:gd name="connsiteX17" fmla="*/ 347071 w 1312751"/>
              <a:gd name="connsiteY17" fmla="*/ 652421 h 770184"/>
              <a:gd name="connsiteX18" fmla="*/ 864337 w 1312751"/>
              <a:gd name="connsiteY18" fmla="*/ 651213 h 770184"/>
              <a:gd name="connsiteX19" fmla="*/ 863452 w 1312751"/>
              <a:gd name="connsiteY19" fmla="*/ 615493 h 770184"/>
              <a:gd name="connsiteX20" fmla="*/ 127981 w 1312751"/>
              <a:gd name="connsiteY20" fmla="*/ 615493 h 770184"/>
              <a:gd name="connsiteX21" fmla="*/ 109993 w 1312751"/>
              <a:gd name="connsiteY21" fmla="*/ 650745 h 770184"/>
              <a:gd name="connsiteX22" fmla="*/ 323169 w 1312751"/>
              <a:gd name="connsiteY22" fmla="*/ 651901 h 770184"/>
              <a:gd name="connsiteX23" fmla="*/ 340640 w 1312751"/>
              <a:gd name="connsiteY23" fmla="*/ 615493 h 770184"/>
              <a:gd name="connsiteX24" fmla="*/ 127981 w 1312751"/>
              <a:gd name="connsiteY24" fmla="*/ 615493 h 770184"/>
              <a:gd name="connsiteX25" fmla="*/ 169114 w 1312751"/>
              <a:gd name="connsiteY25" fmla="*/ 585700 h 770184"/>
              <a:gd name="connsiteX26" fmla="*/ 135453 w 1312751"/>
              <a:gd name="connsiteY26" fmla="*/ 610506 h 770184"/>
              <a:gd name="connsiteX27" fmla="*/ 239916 w 1312751"/>
              <a:gd name="connsiteY27" fmla="*/ 610506 h 770184"/>
              <a:gd name="connsiteX28" fmla="*/ 252992 w 1312751"/>
              <a:gd name="connsiteY28" fmla="*/ 585700 h 770184"/>
              <a:gd name="connsiteX29" fmla="*/ 169114 w 1312751"/>
              <a:gd name="connsiteY29" fmla="*/ 585700 h 770184"/>
              <a:gd name="connsiteX30" fmla="*/ 1094034 w 1312751"/>
              <a:gd name="connsiteY30" fmla="*/ 585552 h 770184"/>
              <a:gd name="connsiteX31" fmla="*/ 990989 w 1312751"/>
              <a:gd name="connsiteY31" fmla="*/ 585552 h 770184"/>
              <a:gd name="connsiteX32" fmla="*/ 1000083 w 1312751"/>
              <a:gd name="connsiteY32" fmla="*/ 609788 h 770184"/>
              <a:gd name="connsiteX33" fmla="*/ 1105034 w 1312751"/>
              <a:gd name="connsiteY33" fmla="*/ 609788 h 770184"/>
              <a:gd name="connsiteX34" fmla="*/ 1094034 w 1312751"/>
              <a:gd name="connsiteY34" fmla="*/ 585552 h 770184"/>
              <a:gd name="connsiteX35" fmla="*/ 978472 w 1312751"/>
              <a:gd name="connsiteY35" fmla="*/ 585552 h 770184"/>
              <a:gd name="connsiteX36" fmla="*/ 875426 w 1312751"/>
              <a:gd name="connsiteY36" fmla="*/ 585552 h 770184"/>
              <a:gd name="connsiteX37" fmla="*/ 884521 w 1312751"/>
              <a:gd name="connsiteY37" fmla="*/ 609788 h 770184"/>
              <a:gd name="connsiteX38" fmla="*/ 989471 w 1312751"/>
              <a:gd name="connsiteY38" fmla="*/ 609788 h 770184"/>
              <a:gd name="connsiteX39" fmla="*/ 978472 w 1312751"/>
              <a:gd name="connsiteY39" fmla="*/ 585552 h 770184"/>
              <a:gd name="connsiteX40" fmla="*/ 862909 w 1312751"/>
              <a:gd name="connsiteY40" fmla="*/ 585552 h 770184"/>
              <a:gd name="connsiteX41" fmla="*/ 759863 w 1312751"/>
              <a:gd name="connsiteY41" fmla="*/ 585552 h 770184"/>
              <a:gd name="connsiteX42" fmla="*/ 768958 w 1312751"/>
              <a:gd name="connsiteY42" fmla="*/ 609788 h 770184"/>
              <a:gd name="connsiteX43" fmla="*/ 873908 w 1312751"/>
              <a:gd name="connsiteY43" fmla="*/ 609788 h 770184"/>
              <a:gd name="connsiteX44" fmla="*/ 862909 w 1312751"/>
              <a:gd name="connsiteY44" fmla="*/ 585552 h 770184"/>
              <a:gd name="connsiteX45" fmla="*/ 664956 w 1312751"/>
              <a:gd name="connsiteY45" fmla="*/ 585552 h 770184"/>
              <a:gd name="connsiteX46" fmla="*/ 653395 w 1312751"/>
              <a:gd name="connsiteY46" fmla="*/ 609788 h 770184"/>
              <a:gd name="connsiteX47" fmla="*/ 758345 w 1312751"/>
              <a:gd name="connsiteY47" fmla="*/ 609788 h 770184"/>
              <a:gd name="connsiteX48" fmla="*/ 747346 w 1312751"/>
              <a:gd name="connsiteY48" fmla="*/ 585552 h 770184"/>
              <a:gd name="connsiteX49" fmla="*/ 664956 w 1312751"/>
              <a:gd name="connsiteY49" fmla="*/ 585552 h 770184"/>
              <a:gd name="connsiteX50" fmla="*/ 565235 w 1312751"/>
              <a:gd name="connsiteY50" fmla="*/ 585552 h 770184"/>
              <a:gd name="connsiteX51" fmla="*/ 553673 w 1312751"/>
              <a:gd name="connsiteY51" fmla="*/ 609788 h 770184"/>
              <a:gd name="connsiteX52" fmla="*/ 640398 w 1312751"/>
              <a:gd name="connsiteY52" fmla="*/ 609788 h 770184"/>
              <a:gd name="connsiteX53" fmla="*/ 651877 w 1312751"/>
              <a:gd name="connsiteY53" fmla="*/ 585552 h 770184"/>
              <a:gd name="connsiteX54" fmla="*/ 565235 w 1312751"/>
              <a:gd name="connsiteY54" fmla="*/ 585552 h 770184"/>
              <a:gd name="connsiteX55" fmla="*/ 465514 w 1312751"/>
              <a:gd name="connsiteY55" fmla="*/ 585552 h 770184"/>
              <a:gd name="connsiteX56" fmla="*/ 453952 w 1312751"/>
              <a:gd name="connsiteY56" fmla="*/ 609788 h 770184"/>
              <a:gd name="connsiteX57" fmla="*/ 540677 w 1312751"/>
              <a:gd name="connsiteY57" fmla="*/ 609788 h 770184"/>
              <a:gd name="connsiteX58" fmla="*/ 552156 w 1312751"/>
              <a:gd name="connsiteY58" fmla="*/ 585552 h 770184"/>
              <a:gd name="connsiteX59" fmla="*/ 465514 w 1312751"/>
              <a:gd name="connsiteY59" fmla="*/ 585552 h 770184"/>
              <a:gd name="connsiteX60" fmla="*/ 365793 w 1312751"/>
              <a:gd name="connsiteY60" fmla="*/ 585552 h 770184"/>
              <a:gd name="connsiteX61" fmla="*/ 354231 w 1312751"/>
              <a:gd name="connsiteY61" fmla="*/ 609788 h 770184"/>
              <a:gd name="connsiteX62" fmla="*/ 440956 w 1312751"/>
              <a:gd name="connsiteY62" fmla="*/ 609788 h 770184"/>
              <a:gd name="connsiteX63" fmla="*/ 452434 w 1312751"/>
              <a:gd name="connsiteY63" fmla="*/ 585552 h 770184"/>
              <a:gd name="connsiteX64" fmla="*/ 365793 w 1312751"/>
              <a:gd name="connsiteY64" fmla="*/ 585552 h 770184"/>
              <a:gd name="connsiteX65" fmla="*/ 265783 w 1312751"/>
              <a:gd name="connsiteY65" fmla="*/ 585552 h 770184"/>
              <a:gd name="connsiteX66" fmla="*/ 254510 w 1312751"/>
              <a:gd name="connsiteY66" fmla="*/ 609788 h 770184"/>
              <a:gd name="connsiteX67" fmla="*/ 341235 w 1312751"/>
              <a:gd name="connsiteY67" fmla="*/ 609788 h 770184"/>
              <a:gd name="connsiteX68" fmla="*/ 352713 w 1312751"/>
              <a:gd name="connsiteY68" fmla="*/ 585552 h 770184"/>
              <a:gd name="connsiteX69" fmla="*/ 265783 w 1312751"/>
              <a:gd name="connsiteY69" fmla="*/ 585552 h 770184"/>
              <a:gd name="connsiteX70" fmla="*/ 1046910 w 1312751"/>
              <a:gd name="connsiteY70" fmla="*/ 559836 h 770184"/>
              <a:gd name="connsiteX71" fmla="*/ 1059522 w 1312751"/>
              <a:gd name="connsiteY71" fmla="*/ 580212 h 770184"/>
              <a:gd name="connsiteX72" fmla="*/ 1107799 w 1312751"/>
              <a:gd name="connsiteY72" fmla="*/ 579110 h 770184"/>
              <a:gd name="connsiteX73" fmla="*/ 1120958 w 1312751"/>
              <a:gd name="connsiteY73" fmla="*/ 605551 h 770184"/>
              <a:gd name="connsiteX74" fmla="*/ 1185073 w 1312751"/>
              <a:gd name="connsiteY74" fmla="*/ 608132 h 770184"/>
              <a:gd name="connsiteX75" fmla="*/ 1144078 w 1312751"/>
              <a:gd name="connsiteY75" fmla="*/ 559836 h 770184"/>
              <a:gd name="connsiteX76" fmla="*/ 1046910 w 1312751"/>
              <a:gd name="connsiteY76" fmla="*/ 559836 h 770184"/>
              <a:gd name="connsiteX77" fmla="*/ 217843 w 1312751"/>
              <a:gd name="connsiteY77" fmla="*/ 557325 h 770184"/>
              <a:gd name="connsiteX78" fmla="*/ 200453 w 1312751"/>
              <a:gd name="connsiteY78" fmla="*/ 578693 h 770184"/>
              <a:gd name="connsiteX79" fmla="*/ 304917 w 1312751"/>
              <a:gd name="connsiteY79" fmla="*/ 578693 h 770184"/>
              <a:gd name="connsiteX80" fmla="*/ 317992 w 1312751"/>
              <a:gd name="connsiteY80" fmla="*/ 557325 h 770184"/>
              <a:gd name="connsiteX81" fmla="*/ 217843 w 1312751"/>
              <a:gd name="connsiteY81" fmla="*/ 557325 h 770184"/>
              <a:gd name="connsiteX82" fmla="*/ 1040167 w 1312751"/>
              <a:gd name="connsiteY82" fmla="*/ 557138 h 770184"/>
              <a:gd name="connsiteX83" fmla="*/ 937122 w 1312751"/>
              <a:gd name="connsiteY83" fmla="*/ 557139 h 770184"/>
              <a:gd name="connsiteX84" fmla="*/ 946216 w 1312751"/>
              <a:gd name="connsiteY84" fmla="*/ 578014 h 770184"/>
              <a:gd name="connsiteX85" fmla="*/ 1051167 w 1312751"/>
              <a:gd name="connsiteY85" fmla="*/ 578014 h 770184"/>
              <a:gd name="connsiteX86" fmla="*/ 1040167 w 1312751"/>
              <a:gd name="connsiteY86" fmla="*/ 557138 h 770184"/>
              <a:gd name="connsiteX87" fmla="*/ 927909 w 1312751"/>
              <a:gd name="connsiteY87" fmla="*/ 557138 h 770184"/>
              <a:gd name="connsiteX88" fmla="*/ 824864 w 1312751"/>
              <a:gd name="connsiteY88" fmla="*/ 557139 h 770184"/>
              <a:gd name="connsiteX89" fmla="*/ 833958 w 1312751"/>
              <a:gd name="connsiteY89" fmla="*/ 578014 h 770184"/>
              <a:gd name="connsiteX90" fmla="*/ 938909 w 1312751"/>
              <a:gd name="connsiteY90" fmla="*/ 578014 h 770184"/>
              <a:gd name="connsiteX91" fmla="*/ 927909 w 1312751"/>
              <a:gd name="connsiteY91" fmla="*/ 557138 h 770184"/>
              <a:gd name="connsiteX92" fmla="*/ 729956 w 1312751"/>
              <a:gd name="connsiteY92" fmla="*/ 557138 h 770184"/>
              <a:gd name="connsiteX93" fmla="*/ 718395 w 1312751"/>
              <a:gd name="connsiteY93" fmla="*/ 578014 h 770184"/>
              <a:gd name="connsiteX94" fmla="*/ 823346 w 1312751"/>
              <a:gd name="connsiteY94" fmla="*/ 578014 h 770184"/>
              <a:gd name="connsiteX95" fmla="*/ 812346 w 1312751"/>
              <a:gd name="connsiteY95" fmla="*/ 557138 h 770184"/>
              <a:gd name="connsiteX96" fmla="*/ 729956 w 1312751"/>
              <a:gd name="connsiteY96" fmla="*/ 557138 h 770184"/>
              <a:gd name="connsiteX97" fmla="*/ 630235 w 1312751"/>
              <a:gd name="connsiteY97" fmla="*/ 557138 h 770184"/>
              <a:gd name="connsiteX98" fmla="*/ 618674 w 1312751"/>
              <a:gd name="connsiteY98" fmla="*/ 578014 h 770184"/>
              <a:gd name="connsiteX99" fmla="*/ 705399 w 1312751"/>
              <a:gd name="connsiteY99" fmla="*/ 578014 h 770184"/>
              <a:gd name="connsiteX100" fmla="*/ 716877 w 1312751"/>
              <a:gd name="connsiteY100" fmla="*/ 557138 h 770184"/>
              <a:gd name="connsiteX101" fmla="*/ 630235 w 1312751"/>
              <a:gd name="connsiteY101" fmla="*/ 557138 h 770184"/>
              <a:gd name="connsiteX102" fmla="*/ 530514 w 1312751"/>
              <a:gd name="connsiteY102" fmla="*/ 557138 h 770184"/>
              <a:gd name="connsiteX103" fmla="*/ 518953 w 1312751"/>
              <a:gd name="connsiteY103" fmla="*/ 578014 h 770184"/>
              <a:gd name="connsiteX104" fmla="*/ 605677 w 1312751"/>
              <a:gd name="connsiteY104" fmla="*/ 578014 h 770184"/>
              <a:gd name="connsiteX105" fmla="*/ 617156 w 1312751"/>
              <a:gd name="connsiteY105" fmla="*/ 557138 h 770184"/>
              <a:gd name="connsiteX106" fmla="*/ 530514 w 1312751"/>
              <a:gd name="connsiteY106" fmla="*/ 557138 h 770184"/>
              <a:gd name="connsiteX107" fmla="*/ 430793 w 1312751"/>
              <a:gd name="connsiteY107" fmla="*/ 557138 h 770184"/>
              <a:gd name="connsiteX108" fmla="*/ 419232 w 1312751"/>
              <a:gd name="connsiteY108" fmla="*/ 578014 h 770184"/>
              <a:gd name="connsiteX109" fmla="*/ 505956 w 1312751"/>
              <a:gd name="connsiteY109" fmla="*/ 578014 h 770184"/>
              <a:gd name="connsiteX110" fmla="*/ 517435 w 1312751"/>
              <a:gd name="connsiteY110" fmla="*/ 557138 h 770184"/>
              <a:gd name="connsiteX111" fmla="*/ 430793 w 1312751"/>
              <a:gd name="connsiteY111" fmla="*/ 557138 h 770184"/>
              <a:gd name="connsiteX112" fmla="*/ 330783 w 1312751"/>
              <a:gd name="connsiteY112" fmla="*/ 557138 h 770184"/>
              <a:gd name="connsiteX113" fmla="*/ 319510 w 1312751"/>
              <a:gd name="connsiteY113" fmla="*/ 578014 h 770184"/>
              <a:gd name="connsiteX114" fmla="*/ 406235 w 1312751"/>
              <a:gd name="connsiteY114" fmla="*/ 578014 h 770184"/>
              <a:gd name="connsiteX115" fmla="*/ 417714 w 1312751"/>
              <a:gd name="connsiteY115" fmla="*/ 557138 h 770184"/>
              <a:gd name="connsiteX116" fmla="*/ 330783 w 1312751"/>
              <a:gd name="connsiteY116" fmla="*/ 557138 h 770184"/>
              <a:gd name="connsiteX117" fmla="*/ 203849 w 1312751"/>
              <a:gd name="connsiteY117" fmla="*/ 530416 h 770184"/>
              <a:gd name="connsiteX118" fmla="*/ 161375 w 1312751"/>
              <a:gd name="connsiteY118" fmla="*/ 577233 h 770184"/>
              <a:gd name="connsiteX119" fmla="*/ 194427 w 1312751"/>
              <a:gd name="connsiteY119" fmla="*/ 576132 h 770184"/>
              <a:gd name="connsiteX120" fmla="*/ 216461 w 1312751"/>
              <a:gd name="connsiteY120" fmla="*/ 549691 h 770184"/>
              <a:gd name="connsiteX121" fmla="*/ 288406 w 1312751"/>
              <a:gd name="connsiteY121" fmla="*/ 550792 h 770184"/>
              <a:gd name="connsiteX122" fmla="*/ 301017 w 1312751"/>
              <a:gd name="connsiteY122" fmla="*/ 530416 h 770184"/>
              <a:gd name="connsiteX123" fmla="*/ 203849 w 1312751"/>
              <a:gd name="connsiteY123" fmla="*/ 530416 h 770184"/>
              <a:gd name="connsiteX124" fmla="*/ 324630 w 1312751"/>
              <a:gd name="connsiteY124" fmla="*/ 525890 h 770184"/>
              <a:gd name="connsiteX125" fmla="*/ 294157 w 1312751"/>
              <a:gd name="connsiteY125" fmla="*/ 551962 h 770184"/>
              <a:gd name="connsiteX126" fmla="*/ 388727 w 1312751"/>
              <a:gd name="connsiteY126" fmla="*/ 551962 h 770184"/>
              <a:gd name="connsiteX127" fmla="*/ 400564 w 1312751"/>
              <a:gd name="connsiteY127" fmla="*/ 525890 h 770184"/>
              <a:gd name="connsiteX128" fmla="*/ 324630 w 1312751"/>
              <a:gd name="connsiteY128" fmla="*/ 525890 h 770184"/>
              <a:gd name="connsiteX129" fmla="*/ 1127250 w 1312751"/>
              <a:gd name="connsiteY129" fmla="*/ 525757 h 770184"/>
              <a:gd name="connsiteX130" fmla="*/ 1033964 w 1312751"/>
              <a:gd name="connsiteY130" fmla="*/ 525757 h 770184"/>
              <a:gd name="connsiteX131" fmla="*/ 1042198 w 1312751"/>
              <a:gd name="connsiteY131" fmla="*/ 551229 h 770184"/>
              <a:gd name="connsiteX132" fmla="*/ 1137208 w 1312751"/>
              <a:gd name="connsiteY132" fmla="*/ 551229 h 770184"/>
              <a:gd name="connsiteX133" fmla="*/ 1127250 w 1312751"/>
              <a:gd name="connsiteY133" fmla="*/ 525757 h 770184"/>
              <a:gd name="connsiteX134" fmla="*/ 1026970 w 1312751"/>
              <a:gd name="connsiteY134" fmla="*/ 525757 h 770184"/>
              <a:gd name="connsiteX135" fmla="*/ 933684 w 1312751"/>
              <a:gd name="connsiteY135" fmla="*/ 525757 h 770184"/>
              <a:gd name="connsiteX136" fmla="*/ 941918 w 1312751"/>
              <a:gd name="connsiteY136" fmla="*/ 551229 h 770184"/>
              <a:gd name="connsiteX137" fmla="*/ 1036928 w 1312751"/>
              <a:gd name="connsiteY137" fmla="*/ 551229 h 770184"/>
              <a:gd name="connsiteX138" fmla="*/ 1026970 w 1312751"/>
              <a:gd name="connsiteY138" fmla="*/ 525757 h 770184"/>
              <a:gd name="connsiteX139" fmla="*/ 926689 w 1312751"/>
              <a:gd name="connsiteY139" fmla="*/ 525757 h 770184"/>
              <a:gd name="connsiteX140" fmla="*/ 833403 w 1312751"/>
              <a:gd name="connsiteY140" fmla="*/ 525757 h 770184"/>
              <a:gd name="connsiteX141" fmla="*/ 841636 w 1312751"/>
              <a:gd name="connsiteY141" fmla="*/ 551229 h 770184"/>
              <a:gd name="connsiteX142" fmla="*/ 936647 w 1312751"/>
              <a:gd name="connsiteY142" fmla="*/ 551229 h 770184"/>
              <a:gd name="connsiteX143" fmla="*/ 926689 w 1312751"/>
              <a:gd name="connsiteY143" fmla="*/ 525757 h 770184"/>
              <a:gd name="connsiteX144" fmla="*/ 751822 w 1312751"/>
              <a:gd name="connsiteY144" fmla="*/ 525757 h 770184"/>
              <a:gd name="connsiteX145" fmla="*/ 741355 w 1312751"/>
              <a:gd name="connsiteY145" fmla="*/ 551229 h 770184"/>
              <a:gd name="connsiteX146" fmla="*/ 836365 w 1312751"/>
              <a:gd name="connsiteY146" fmla="*/ 551229 h 770184"/>
              <a:gd name="connsiteX147" fmla="*/ 826408 w 1312751"/>
              <a:gd name="connsiteY147" fmla="*/ 525757 h 770184"/>
              <a:gd name="connsiteX148" fmla="*/ 751822 w 1312751"/>
              <a:gd name="connsiteY148" fmla="*/ 525757 h 770184"/>
              <a:gd name="connsiteX149" fmla="*/ 665883 w 1312751"/>
              <a:gd name="connsiteY149" fmla="*/ 525757 h 770184"/>
              <a:gd name="connsiteX150" fmla="*/ 655417 w 1312751"/>
              <a:gd name="connsiteY150" fmla="*/ 551229 h 770184"/>
              <a:gd name="connsiteX151" fmla="*/ 733927 w 1312751"/>
              <a:gd name="connsiteY151" fmla="*/ 551229 h 770184"/>
              <a:gd name="connsiteX152" fmla="*/ 744318 w 1312751"/>
              <a:gd name="connsiteY152" fmla="*/ 525757 h 770184"/>
              <a:gd name="connsiteX153" fmla="*/ 665883 w 1312751"/>
              <a:gd name="connsiteY153" fmla="*/ 525757 h 770184"/>
              <a:gd name="connsiteX154" fmla="*/ 579945 w 1312751"/>
              <a:gd name="connsiteY154" fmla="*/ 525757 h 770184"/>
              <a:gd name="connsiteX155" fmla="*/ 569478 w 1312751"/>
              <a:gd name="connsiteY155" fmla="*/ 551229 h 770184"/>
              <a:gd name="connsiteX156" fmla="*/ 647988 w 1312751"/>
              <a:gd name="connsiteY156" fmla="*/ 551229 h 770184"/>
              <a:gd name="connsiteX157" fmla="*/ 658379 w 1312751"/>
              <a:gd name="connsiteY157" fmla="*/ 525757 h 770184"/>
              <a:gd name="connsiteX158" fmla="*/ 579945 w 1312751"/>
              <a:gd name="connsiteY158" fmla="*/ 525757 h 770184"/>
              <a:gd name="connsiteX159" fmla="*/ 494006 w 1312751"/>
              <a:gd name="connsiteY159" fmla="*/ 525757 h 770184"/>
              <a:gd name="connsiteX160" fmla="*/ 483540 w 1312751"/>
              <a:gd name="connsiteY160" fmla="*/ 551229 h 770184"/>
              <a:gd name="connsiteX161" fmla="*/ 562049 w 1312751"/>
              <a:gd name="connsiteY161" fmla="*/ 551229 h 770184"/>
              <a:gd name="connsiteX162" fmla="*/ 572441 w 1312751"/>
              <a:gd name="connsiteY162" fmla="*/ 525757 h 770184"/>
              <a:gd name="connsiteX163" fmla="*/ 494006 w 1312751"/>
              <a:gd name="connsiteY163" fmla="*/ 525757 h 770184"/>
              <a:gd name="connsiteX164" fmla="*/ 407806 w 1312751"/>
              <a:gd name="connsiteY164" fmla="*/ 525757 h 770184"/>
              <a:gd name="connsiteX165" fmla="*/ 397601 w 1312751"/>
              <a:gd name="connsiteY165" fmla="*/ 551229 h 770184"/>
              <a:gd name="connsiteX166" fmla="*/ 476111 w 1312751"/>
              <a:gd name="connsiteY166" fmla="*/ 551229 h 770184"/>
              <a:gd name="connsiteX167" fmla="*/ 486502 w 1312751"/>
              <a:gd name="connsiteY167" fmla="*/ 525757 h 770184"/>
              <a:gd name="connsiteX168" fmla="*/ 407806 w 1312751"/>
              <a:gd name="connsiteY168" fmla="*/ 525757 h 770184"/>
              <a:gd name="connsiteX169" fmla="*/ 242191 w 1312751"/>
              <a:gd name="connsiteY169" fmla="*/ 499031 h 770184"/>
              <a:gd name="connsiteX170" fmla="*/ 219356 w 1312751"/>
              <a:gd name="connsiteY170" fmla="*/ 517250 h 770184"/>
              <a:gd name="connsiteX171" fmla="*/ 290222 w 1312751"/>
              <a:gd name="connsiteY171" fmla="*/ 517250 h 770184"/>
              <a:gd name="connsiteX172" fmla="*/ 299092 w 1312751"/>
              <a:gd name="connsiteY172" fmla="*/ 499031 h 770184"/>
              <a:gd name="connsiteX173" fmla="*/ 242191 w 1312751"/>
              <a:gd name="connsiteY173" fmla="*/ 499031 h 770184"/>
              <a:gd name="connsiteX174" fmla="*/ 1042300 w 1312751"/>
              <a:gd name="connsiteY174" fmla="*/ 498996 h 770184"/>
              <a:gd name="connsiteX175" fmla="*/ 1048470 w 1312751"/>
              <a:gd name="connsiteY175" fmla="*/ 516798 h 770184"/>
              <a:gd name="connsiteX176" fmla="*/ 1119666 w 1312751"/>
              <a:gd name="connsiteY176" fmla="*/ 516798 h 770184"/>
              <a:gd name="connsiteX177" fmla="*/ 1112204 w 1312751"/>
              <a:gd name="connsiteY177" fmla="*/ 498996 h 770184"/>
              <a:gd name="connsiteX178" fmla="*/ 1042300 w 1312751"/>
              <a:gd name="connsiteY178" fmla="*/ 498996 h 770184"/>
              <a:gd name="connsiteX179" fmla="*/ 955325 w 1312751"/>
              <a:gd name="connsiteY179" fmla="*/ 498996 h 770184"/>
              <a:gd name="connsiteX180" fmla="*/ 961495 w 1312751"/>
              <a:gd name="connsiteY180" fmla="*/ 516798 h 770184"/>
              <a:gd name="connsiteX181" fmla="*/ 1032691 w 1312751"/>
              <a:gd name="connsiteY181" fmla="*/ 516798 h 770184"/>
              <a:gd name="connsiteX182" fmla="*/ 1025229 w 1312751"/>
              <a:gd name="connsiteY182" fmla="*/ 498996 h 770184"/>
              <a:gd name="connsiteX183" fmla="*/ 955325 w 1312751"/>
              <a:gd name="connsiteY183" fmla="*/ 498996 h 770184"/>
              <a:gd name="connsiteX184" fmla="*/ 868352 w 1312751"/>
              <a:gd name="connsiteY184" fmla="*/ 498996 h 770184"/>
              <a:gd name="connsiteX185" fmla="*/ 874521 w 1312751"/>
              <a:gd name="connsiteY185" fmla="*/ 516798 h 770184"/>
              <a:gd name="connsiteX186" fmla="*/ 945718 w 1312751"/>
              <a:gd name="connsiteY186" fmla="*/ 516798 h 770184"/>
              <a:gd name="connsiteX187" fmla="*/ 938255 w 1312751"/>
              <a:gd name="connsiteY187" fmla="*/ 498996 h 770184"/>
              <a:gd name="connsiteX188" fmla="*/ 868352 w 1312751"/>
              <a:gd name="connsiteY188" fmla="*/ 498996 h 770184"/>
              <a:gd name="connsiteX189" fmla="*/ 781378 w 1312751"/>
              <a:gd name="connsiteY189" fmla="*/ 498996 h 770184"/>
              <a:gd name="connsiteX190" fmla="*/ 787548 w 1312751"/>
              <a:gd name="connsiteY190" fmla="*/ 516798 h 770184"/>
              <a:gd name="connsiteX191" fmla="*/ 858744 w 1312751"/>
              <a:gd name="connsiteY191" fmla="*/ 516798 h 770184"/>
              <a:gd name="connsiteX192" fmla="*/ 851282 w 1312751"/>
              <a:gd name="connsiteY192" fmla="*/ 498996 h 770184"/>
              <a:gd name="connsiteX193" fmla="*/ 781378 w 1312751"/>
              <a:gd name="connsiteY193" fmla="*/ 498996 h 770184"/>
              <a:gd name="connsiteX194" fmla="*/ 694405 w 1312751"/>
              <a:gd name="connsiteY194" fmla="*/ 498996 h 770184"/>
              <a:gd name="connsiteX195" fmla="*/ 700574 w 1312751"/>
              <a:gd name="connsiteY195" fmla="*/ 516798 h 770184"/>
              <a:gd name="connsiteX196" fmla="*/ 771771 w 1312751"/>
              <a:gd name="connsiteY196" fmla="*/ 516798 h 770184"/>
              <a:gd name="connsiteX197" fmla="*/ 764308 w 1312751"/>
              <a:gd name="connsiteY197" fmla="*/ 498996 h 770184"/>
              <a:gd name="connsiteX198" fmla="*/ 694405 w 1312751"/>
              <a:gd name="connsiteY198" fmla="*/ 498996 h 770184"/>
              <a:gd name="connsiteX199" fmla="*/ 621444 w 1312751"/>
              <a:gd name="connsiteY199" fmla="*/ 498996 h 770184"/>
              <a:gd name="connsiteX200" fmla="*/ 613601 w 1312751"/>
              <a:gd name="connsiteY200" fmla="*/ 516798 h 770184"/>
              <a:gd name="connsiteX201" fmla="*/ 684797 w 1312751"/>
              <a:gd name="connsiteY201" fmla="*/ 516798 h 770184"/>
              <a:gd name="connsiteX202" fmla="*/ 677335 w 1312751"/>
              <a:gd name="connsiteY202" fmla="*/ 498996 h 770184"/>
              <a:gd name="connsiteX203" fmla="*/ 621444 w 1312751"/>
              <a:gd name="connsiteY203" fmla="*/ 498996 h 770184"/>
              <a:gd name="connsiteX204" fmla="*/ 545219 w 1312751"/>
              <a:gd name="connsiteY204" fmla="*/ 498996 h 770184"/>
              <a:gd name="connsiteX205" fmla="*/ 537376 w 1312751"/>
              <a:gd name="connsiteY205" fmla="*/ 516798 h 770184"/>
              <a:gd name="connsiteX206" fmla="*/ 596207 w 1312751"/>
              <a:gd name="connsiteY206" fmla="*/ 516798 h 770184"/>
              <a:gd name="connsiteX207" fmla="*/ 603994 w 1312751"/>
              <a:gd name="connsiteY207" fmla="*/ 498996 h 770184"/>
              <a:gd name="connsiteX208" fmla="*/ 545219 w 1312751"/>
              <a:gd name="connsiteY208" fmla="*/ 498996 h 770184"/>
              <a:gd name="connsiteX209" fmla="*/ 468993 w 1312751"/>
              <a:gd name="connsiteY209" fmla="*/ 498996 h 770184"/>
              <a:gd name="connsiteX210" fmla="*/ 461150 w 1312751"/>
              <a:gd name="connsiteY210" fmla="*/ 516798 h 770184"/>
              <a:gd name="connsiteX211" fmla="*/ 519982 w 1312751"/>
              <a:gd name="connsiteY211" fmla="*/ 516798 h 770184"/>
              <a:gd name="connsiteX212" fmla="*/ 527768 w 1312751"/>
              <a:gd name="connsiteY212" fmla="*/ 498996 h 770184"/>
              <a:gd name="connsiteX213" fmla="*/ 468993 w 1312751"/>
              <a:gd name="connsiteY213" fmla="*/ 498996 h 770184"/>
              <a:gd name="connsiteX214" fmla="*/ 392768 w 1312751"/>
              <a:gd name="connsiteY214" fmla="*/ 498996 h 770184"/>
              <a:gd name="connsiteX215" fmla="*/ 384925 w 1312751"/>
              <a:gd name="connsiteY215" fmla="*/ 516798 h 770184"/>
              <a:gd name="connsiteX216" fmla="*/ 443756 w 1312751"/>
              <a:gd name="connsiteY216" fmla="*/ 516798 h 770184"/>
              <a:gd name="connsiteX217" fmla="*/ 451543 w 1312751"/>
              <a:gd name="connsiteY217" fmla="*/ 498996 h 770184"/>
              <a:gd name="connsiteX218" fmla="*/ 392768 w 1312751"/>
              <a:gd name="connsiteY218" fmla="*/ 498996 h 770184"/>
              <a:gd name="connsiteX219" fmla="*/ 316347 w 1312751"/>
              <a:gd name="connsiteY219" fmla="*/ 498996 h 770184"/>
              <a:gd name="connsiteX220" fmla="*/ 308699 w 1312751"/>
              <a:gd name="connsiteY220" fmla="*/ 516798 h 770184"/>
              <a:gd name="connsiteX221" fmla="*/ 367531 w 1312751"/>
              <a:gd name="connsiteY221" fmla="*/ 516798 h 770184"/>
              <a:gd name="connsiteX222" fmla="*/ 375317 w 1312751"/>
              <a:gd name="connsiteY222" fmla="*/ 498996 h 770184"/>
              <a:gd name="connsiteX223" fmla="*/ 316347 w 1312751"/>
              <a:gd name="connsiteY223" fmla="*/ 498996 h 770184"/>
              <a:gd name="connsiteX224" fmla="*/ 260826 w 1312751"/>
              <a:gd name="connsiteY224" fmla="*/ 40617 h 770184"/>
              <a:gd name="connsiteX225" fmla="*/ 260826 w 1312751"/>
              <a:gd name="connsiteY225" fmla="*/ 411185 h 770184"/>
              <a:gd name="connsiteX226" fmla="*/ 1085595 w 1312751"/>
              <a:gd name="connsiteY226" fmla="*/ 411185 h 770184"/>
              <a:gd name="connsiteX227" fmla="*/ 1085595 w 1312751"/>
              <a:gd name="connsiteY227" fmla="*/ 40617 h 770184"/>
              <a:gd name="connsiteX228" fmla="*/ 260826 w 1312751"/>
              <a:gd name="connsiteY228" fmla="*/ 40617 h 770184"/>
              <a:gd name="connsiteX229" fmla="*/ 270935 w 1312751"/>
              <a:gd name="connsiteY229" fmla="*/ 0 h 770184"/>
              <a:gd name="connsiteX230" fmla="*/ 1075485 w 1312751"/>
              <a:gd name="connsiteY230" fmla="*/ 0 h 770184"/>
              <a:gd name="connsiteX231" fmla="*/ 1126530 w 1312751"/>
              <a:gd name="connsiteY231" fmla="*/ 51045 h 770184"/>
              <a:gd name="connsiteX232" fmla="*/ 1126530 w 1312751"/>
              <a:gd name="connsiteY232" fmla="*/ 400758 h 770184"/>
              <a:gd name="connsiteX233" fmla="*/ 1111580 w 1312751"/>
              <a:gd name="connsiteY233" fmla="*/ 436852 h 770184"/>
              <a:gd name="connsiteX234" fmla="*/ 1102966 w 1312751"/>
              <a:gd name="connsiteY234" fmla="*/ 442659 h 770184"/>
              <a:gd name="connsiteX235" fmla="*/ 1116324 w 1312751"/>
              <a:gd name="connsiteY235" fmla="*/ 442704 h 770184"/>
              <a:gd name="connsiteX236" fmla="*/ 1304189 w 1312751"/>
              <a:gd name="connsiteY236" fmla="*/ 691555 h 770184"/>
              <a:gd name="connsiteX237" fmla="*/ 1254871 w 1312751"/>
              <a:gd name="connsiteY237" fmla="*/ 770184 h 770184"/>
              <a:gd name="connsiteX238" fmla="*/ 52127 w 1312751"/>
              <a:gd name="connsiteY238" fmla="*/ 770184 h 770184"/>
              <a:gd name="connsiteX239" fmla="*/ 0 w 1312751"/>
              <a:gd name="connsiteY239" fmla="*/ 694364 h 770184"/>
              <a:gd name="connsiteX240" fmla="*/ 223824 w 1312751"/>
              <a:gd name="connsiteY240" fmla="*/ 439672 h 770184"/>
              <a:gd name="connsiteX241" fmla="*/ 239101 w 1312751"/>
              <a:gd name="connsiteY241" fmla="*/ 439724 h 770184"/>
              <a:gd name="connsiteX242" fmla="*/ 234841 w 1312751"/>
              <a:gd name="connsiteY242" fmla="*/ 436852 h 770184"/>
              <a:gd name="connsiteX243" fmla="*/ 219890 w 1312751"/>
              <a:gd name="connsiteY243" fmla="*/ 400758 h 770184"/>
              <a:gd name="connsiteX244" fmla="*/ 219890 w 1312751"/>
              <a:gd name="connsiteY244" fmla="*/ 51045 h 770184"/>
              <a:gd name="connsiteX245" fmla="*/ 270935 w 1312751"/>
              <a:gd name="connsiteY245" fmla="*/ 0 h 770184"/>
              <a:gd name="connsiteX0" fmla="*/ 532211 w 1310462"/>
              <a:gd name="connsiteY0" fmla="*/ 673154 h 770184"/>
              <a:gd name="connsiteX1" fmla="*/ 514017 w 1310462"/>
              <a:gd name="connsiteY1" fmla="*/ 745928 h 770184"/>
              <a:gd name="connsiteX2" fmla="*/ 789950 w 1310462"/>
              <a:gd name="connsiteY2" fmla="*/ 745928 h 770184"/>
              <a:gd name="connsiteX3" fmla="*/ 771757 w 1310462"/>
              <a:gd name="connsiteY3" fmla="*/ 673154 h 770184"/>
              <a:gd name="connsiteX4" fmla="*/ 532211 w 1310462"/>
              <a:gd name="connsiteY4" fmla="*/ 673154 h 770184"/>
              <a:gd name="connsiteX5" fmla="*/ 1184396 w 1310462"/>
              <a:gd name="connsiteY5" fmla="*/ 615493 h 770184"/>
              <a:gd name="connsiteX6" fmla="*/ 995748 w 1310462"/>
              <a:gd name="connsiteY6" fmla="*/ 615493 h 770184"/>
              <a:gd name="connsiteX7" fmla="*/ 1013122 w 1310462"/>
              <a:gd name="connsiteY7" fmla="*/ 650745 h 770184"/>
              <a:gd name="connsiteX8" fmla="*/ 1201173 w 1310462"/>
              <a:gd name="connsiteY8" fmla="*/ 650745 h 770184"/>
              <a:gd name="connsiteX9" fmla="*/ 1184396 w 1310462"/>
              <a:gd name="connsiteY9" fmla="*/ 615493 h 770184"/>
              <a:gd name="connsiteX10" fmla="*/ 877706 w 1310462"/>
              <a:gd name="connsiteY10" fmla="*/ 615493 h 770184"/>
              <a:gd name="connsiteX11" fmla="*/ 883466 w 1310462"/>
              <a:gd name="connsiteY11" fmla="*/ 652301 h 770184"/>
              <a:gd name="connsiteX12" fmla="*/ 987005 w 1310462"/>
              <a:gd name="connsiteY12" fmla="*/ 652300 h 770184"/>
              <a:gd name="connsiteX13" fmla="*/ 970309 w 1310462"/>
              <a:gd name="connsiteY13" fmla="*/ 615493 h 770184"/>
              <a:gd name="connsiteX14" fmla="*/ 877706 w 1310462"/>
              <a:gd name="connsiteY14" fmla="*/ 615493 h 770184"/>
              <a:gd name="connsiteX15" fmla="*/ 863452 w 1310462"/>
              <a:gd name="connsiteY15" fmla="*/ 615493 h 770184"/>
              <a:gd name="connsiteX16" fmla="*/ 359022 w 1310462"/>
              <a:gd name="connsiteY16" fmla="*/ 616132 h 770184"/>
              <a:gd name="connsiteX17" fmla="*/ 347071 w 1310462"/>
              <a:gd name="connsiteY17" fmla="*/ 652421 h 770184"/>
              <a:gd name="connsiteX18" fmla="*/ 864337 w 1310462"/>
              <a:gd name="connsiteY18" fmla="*/ 651213 h 770184"/>
              <a:gd name="connsiteX19" fmla="*/ 863452 w 1310462"/>
              <a:gd name="connsiteY19" fmla="*/ 615493 h 770184"/>
              <a:gd name="connsiteX20" fmla="*/ 127981 w 1310462"/>
              <a:gd name="connsiteY20" fmla="*/ 615493 h 770184"/>
              <a:gd name="connsiteX21" fmla="*/ 109993 w 1310462"/>
              <a:gd name="connsiteY21" fmla="*/ 650745 h 770184"/>
              <a:gd name="connsiteX22" fmla="*/ 323169 w 1310462"/>
              <a:gd name="connsiteY22" fmla="*/ 651901 h 770184"/>
              <a:gd name="connsiteX23" fmla="*/ 340640 w 1310462"/>
              <a:gd name="connsiteY23" fmla="*/ 615493 h 770184"/>
              <a:gd name="connsiteX24" fmla="*/ 127981 w 1310462"/>
              <a:gd name="connsiteY24" fmla="*/ 615493 h 770184"/>
              <a:gd name="connsiteX25" fmla="*/ 169114 w 1310462"/>
              <a:gd name="connsiteY25" fmla="*/ 585700 h 770184"/>
              <a:gd name="connsiteX26" fmla="*/ 135453 w 1310462"/>
              <a:gd name="connsiteY26" fmla="*/ 610506 h 770184"/>
              <a:gd name="connsiteX27" fmla="*/ 239916 w 1310462"/>
              <a:gd name="connsiteY27" fmla="*/ 610506 h 770184"/>
              <a:gd name="connsiteX28" fmla="*/ 252992 w 1310462"/>
              <a:gd name="connsiteY28" fmla="*/ 585700 h 770184"/>
              <a:gd name="connsiteX29" fmla="*/ 169114 w 1310462"/>
              <a:gd name="connsiteY29" fmla="*/ 585700 h 770184"/>
              <a:gd name="connsiteX30" fmla="*/ 1094034 w 1310462"/>
              <a:gd name="connsiteY30" fmla="*/ 585552 h 770184"/>
              <a:gd name="connsiteX31" fmla="*/ 990989 w 1310462"/>
              <a:gd name="connsiteY31" fmla="*/ 585552 h 770184"/>
              <a:gd name="connsiteX32" fmla="*/ 1000083 w 1310462"/>
              <a:gd name="connsiteY32" fmla="*/ 609788 h 770184"/>
              <a:gd name="connsiteX33" fmla="*/ 1105034 w 1310462"/>
              <a:gd name="connsiteY33" fmla="*/ 609788 h 770184"/>
              <a:gd name="connsiteX34" fmla="*/ 1094034 w 1310462"/>
              <a:gd name="connsiteY34" fmla="*/ 585552 h 770184"/>
              <a:gd name="connsiteX35" fmla="*/ 978472 w 1310462"/>
              <a:gd name="connsiteY35" fmla="*/ 585552 h 770184"/>
              <a:gd name="connsiteX36" fmla="*/ 875426 w 1310462"/>
              <a:gd name="connsiteY36" fmla="*/ 585552 h 770184"/>
              <a:gd name="connsiteX37" fmla="*/ 884521 w 1310462"/>
              <a:gd name="connsiteY37" fmla="*/ 609788 h 770184"/>
              <a:gd name="connsiteX38" fmla="*/ 989471 w 1310462"/>
              <a:gd name="connsiteY38" fmla="*/ 609788 h 770184"/>
              <a:gd name="connsiteX39" fmla="*/ 978472 w 1310462"/>
              <a:gd name="connsiteY39" fmla="*/ 585552 h 770184"/>
              <a:gd name="connsiteX40" fmla="*/ 862909 w 1310462"/>
              <a:gd name="connsiteY40" fmla="*/ 585552 h 770184"/>
              <a:gd name="connsiteX41" fmla="*/ 759863 w 1310462"/>
              <a:gd name="connsiteY41" fmla="*/ 585552 h 770184"/>
              <a:gd name="connsiteX42" fmla="*/ 768958 w 1310462"/>
              <a:gd name="connsiteY42" fmla="*/ 609788 h 770184"/>
              <a:gd name="connsiteX43" fmla="*/ 873908 w 1310462"/>
              <a:gd name="connsiteY43" fmla="*/ 609788 h 770184"/>
              <a:gd name="connsiteX44" fmla="*/ 862909 w 1310462"/>
              <a:gd name="connsiteY44" fmla="*/ 585552 h 770184"/>
              <a:gd name="connsiteX45" fmla="*/ 664956 w 1310462"/>
              <a:gd name="connsiteY45" fmla="*/ 585552 h 770184"/>
              <a:gd name="connsiteX46" fmla="*/ 653395 w 1310462"/>
              <a:gd name="connsiteY46" fmla="*/ 609788 h 770184"/>
              <a:gd name="connsiteX47" fmla="*/ 758345 w 1310462"/>
              <a:gd name="connsiteY47" fmla="*/ 609788 h 770184"/>
              <a:gd name="connsiteX48" fmla="*/ 747346 w 1310462"/>
              <a:gd name="connsiteY48" fmla="*/ 585552 h 770184"/>
              <a:gd name="connsiteX49" fmla="*/ 664956 w 1310462"/>
              <a:gd name="connsiteY49" fmla="*/ 585552 h 770184"/>
              <a:gd name="connsiteX50" fmla="*/ 565235 w 1310462"/>
              <a:gd name="connsiteY50" fmla="*/ 585552 h 770184"/>
              <a:gd name="connsiteX51" fmla="*/ 553673 w 1310462"/>
              <a:gd name="connsiteY51" fmla="*/ 609788 h 770184"/>
              <a:gd name="connsiteX52" fmla="*/ 640398 w 1310462"/>
              <a:gd name="connsiteY52" fmla="*/ 609788 h 770184"/>
              <a:gd name="connsiteX53" fmla="*/ 651877 w 1310462"/>
              <a:gd name="connsiteY53" fmla="*/ 585552 h 770184"/>
              <a:gd name="connsiteX54" fmla="*/ 565235 w 1310462"/>
              <a:gd name="connsiteY54" fmla="*/ 585552 h 770184"/>
              <a:gd name="connsiteX55" fmla="*/ 465514 w 1310462"/>
              <a:gd name="connsiteY55" fmla="*/ 585552 h 770184"/>
              <a:gd name="connsiteX56" fmla="*/ 453952 w 1310462"/>
              <a:gd name="connsiteY56" fmla="*/ 609788 h 770184"/>
              <a:gd name="connsiteX57" fmla="*/ 540677 w 1310462"/>
              <a:gd name="connsiteY57" fmla="*/ 609788 h 770184"/>
              <a:gd name="connsiteX58" fmla="*/ 552156 w 1310462"/>
              <a:gd name="connsiteY58" fmla="*/ 585552 h 770184"/>
              <a:gd name="connsiteX59" fmla="*/ 465514 w 1310462"/>
              <a:gd name="connsiteY59" fmla="*/ 585552 h 770184"/>
              <a:gd name="connsiteX60" fmla="*/ 365793 w 1310462"/>
              <a:gd name="connsiteY60" fmla="*/ 585552 h 770184"/>
              <a:gd name="connsiteX61" fmla="*/ 354231 w 1310462"/>
              <a:gd name="connsiteY61" fmla="*/ 609788 h 770184"/>
              <a:gd name="connsiteX62" fmla="*/ 440956 w 1310462"/>
              <a:gd name="connsiteY62" fmla="*/ 609788 h 770184"/>
              <a:gd name="connsiteX63" fmla="*/ 452434 w 1310462"/>
              <a:gd name="connsiteY63" fmla="*/ 585552 h 770184"/>
              <a:gd name="connsiteX64" fmla="*/ 365793 w 1310462"/>
              <a:gd name="connsiteY64" fmla="*/ 585552 h 770184"/>
              <a:gd name="connsiteX65" fmla="*/ 265783 w 1310462"/>
              <a:gd name="connsiteY65" fmla="*/ 585552 h 770184"/>
              <a:gd name="connsiteX66" fmla="*/ 254510 w 1310462"/>
              <a:gd name="connsiteY66" fmla="*/ 609788 h 770184"/>
              <a:gd name="connsiteX67" fmla="*/ 341235 w 1310462"/>
              <a:gd name="connsiteY67" fmla="*/ 609788 h 770184"/>
              <a:gd name="connsiteX68" fmla="*/ 352713 w 1310462"/>
              <a:gd name="connsiteY68" fmla="*/ 585552 h 770184"/>
              <a:gd name="connsiteX69" fmla="*/ 265783 w 1310462"/>
              <a:gd name="connsiteY69" fmla="*/ 585552 h 770184"/>
              <a:gd name="connsiteX70" fmla="*/ 1046910 w 1310462"/>
              <a:gd name="connsiteY70" fmla="*/ 559836 h 770184"/>
              <a:gd name="connsiteX71" fmla="*/ 1059522 w 1310462"/>
              <a:gd name="connsiteY71" fmla="*/ 580212 h 770184"/>
              <a:gd name="connsiteX72" fmla="*/ 1107799 w 1310462"/>
              <a:gd name="connsiteY72" fmla="*/ 579110 h 770184"/>
              <a:gd name="connsiteX73" fmla="*/ 1120958 w 1310462"/>
              <a:gd name="connsiteY73" fmla="*/ 605551 h 770184"/>
              <a:gd name="connsiteX74" fmla="*/ 1185073 w 1310462"/>
              <a:gd name="connsiteY74" fmla="*/ 608132 h 770184"/>
              <a:gd name="connsiteX75" fmla="*/ 1144078 w 1310462"/>
              <a:gd name="connsiteY75" fmla="*/ 559836 h 770184"/>
              <a:gd name="connsiteX76" fmla="*/ 1046910 w 1310462"/>
              <a:gd name="connsiteY76" fmla="*/ 559836 h 770184"/>
              <a:gd name="connsiteX77" fmla="*/ 217843 w 1310462"/>
              <a:gd name="connsiteY77" fmla="*/ 557325 h 770184"/>
              <a:gd name="connsiteX78" fmla="*/ 200453 w 1310462"/>
              <a:gd name="connsiteY78" fmla="*/ 578693 h 770184"/>
              <a:gd name="connsiteX79" fmla="*/ 304917 w 1310462"/>
              <a:gd name="connsiteY79" fmla="*/ 578693 h 770184"/>
              <a:gd name="connsiteX80" fmla="*/ 317992 w 1310462"/>
              <a:gd name="connsiteY80" fmla="*/ 557325 h 770184"/>
              <a:gd name="connsiteX81" fmla="*/ 217843 w 1310462"/>
              <a:gd name="connsiteY81" fmla="*/ 557325 h 770184"/>
              <a:gd name="connsiteX82" fmla="*/ 1040167 w 1310462"/>
              <a:gd name="connsiteY82" fmla="*/ 557138 h 770184"/>
              <a:gd name="connsiteX83" fmla="*/ 937122 w 1310462"/>
              <a:gd name="connsiteY83" fmla="*/ 557139 h 770184"/>
              <a:gd name="connsiteX84" fmla="*/ 946216 w 1310462"/>
              <a:gd name="connsiteY84" fmla="*/ 578014 h 770184"/>
              <a:gd name="connsiteX85" fmla="*/ 1051167 w 1310462"/>
              <a:gd name="connsiteY85" fmla="*/ 578014 h 770184"/>
              <a:gd name="connsiteX86" fmla="*/ 1040167 w 1310462"/>
              <a:gd name="connsiteY86" fmla="*/ 557138 h 770184"/>
              <a:gd name="connsiteX87" fmla="*/ 927909 w 1310462"/>
              <a:gd name="connsiteY87" fmla="*/ 557138 h 770184"/>
              <a:gd name="connsiteX88" fmla="*/ 824864 w 1310462"/>
              <a:gd name="connsiteY88" fmla="*/ 557139 h 770184"/>
              <a:gd name="connsiteX89" fmla="*/ 833958 w 1310462"/>
              <a:gd name="connsiteY89" fmla="*/ 578014 h 770184"/>
              <a:gd name="connsiteX90" fmla="*/ 938909 w 1310462"/>
              <a:gd name="connsiteY90" fmla="*/ 578014 h 770184"/>
              <a:gd name="connsiteX91" fmla="*/ 927909 w 1310462"/>
              <a:gd name="connsiteY91" fmla="*/ 557138 h 770184"/>
              <a:gd name="connsiteX92" fmla="*/ 729956 w 1310462"/>
              <a:gd name="connsiteY92" fmla="*/ 557138 h 770184"/>
              <a:gd name="connsiteX93" fmla="*/ 718395 w 1310462"/>
              <a:gd name="connsiteY93" fmla="*/ 578014 h 770184"/>
              <a:gd name="connsiteX94" fmla="*/ 823346 w 1310462"/>
              <a:gd name="connsiteY94" fmla="*/ 578014 h 770184"/>
              <a:gd name="connsiteX95" fmla="*/ 812346 w 1310462"/>
              <a:gd name="connsiteY95" fmla="*/ 557138 h 770184"/>
              <a:gd name="connsiteX96" fmla="*/ 729956 w 1310462"/>
              <a:gd name="connsiteY96" fmla="*/ 557138 h 770184"/>
              <a:gd name="connsiteX97" fmla="*/ 630235 w 1310462"/>
              <a:gd name="connsiteY97" fmla="*/ 557138 h 770184"/>
              <a:gd name="connsiteX98" fmla="*/ 618674 w 1310462"/>
              <a:gd name="connsiteY98" fmla="*/ 578014 h 770184"/>
              <a:gd name="connsiteX99" fmla="*/ 705399 w 1310462"/>
              <a:gd name="connsiteY99" fmla="*/ 578014 h 770184"/>
              <a:gd name="connsiteX100" fmla="*/ 716877 w 1310462"/>
              <a:gd name="connsiteY100" fmla="*/ 557138 h 770184"/>
              <a:gd name="connsiteX101" fmla="*/ 630235 w 1310462"/>
              <a:gd name="connsiteY101" fmla="*/ 557138 h 770184"/>
              <a:gd name="connsiteX102" fmla="*/ 530514 w 1310462"/>
              <a:gd name="connsiteY102" fmla="*/ 557138 h 770184"/>
              <a:gd name="connsiteX103" fmla="*/ 518953 w 1310462"/>
              <a:gd name="connsiteY103" fmla="*/ 578014 h 770184"/>
              <a:gd name="connsiteX104" fmla="*/ 605677 w 1310462"/>
              <a:gd name="connsiteY104" fmla="*/ 578014 h 770184"/>
              <a:gd name="connsiteX105" fmla="*/ 617156 w 1310462"/>
              <a:gd name="connsiteY105" fmla="*/ 557138 h 770184"/>
              <a:gd name="connsiteX106" fmla="*/ 530514 w 1310462"/>
              <a:gd name="connsiteY106" fmla="*/ 557138 h 770184"/>
              <a:gd name="connsiteX107" fmla="*/ 430793 w 1310462"/>
              <a:gd name="connsiteY107" fmla="*/ 557138 h 770184"/>
              <a:gd name="connsiteX108" fmla="*/ 419232 w 1310462"/>
              <a:gd name="connsiteY108" fmla="*/ 578014 h 770184"/>
              <a:gd name="connsiteX109" fmla="*/ 505956 w 1310462"/>
              <a:gd name="connsiteY109" fmla="*/ 578014 h 770184"/>
              <a:gd name="connsiteX110" fmla="*/ 517435 w 1310462"/>
              <a:gd name="connsiteY110" fmla="*/ 557138 h 770184"/>
              <a:gd name="connsiteX111" fmla="*/ 430793 w 1310462"/>
              <a:gd name="connsiteY111" fmla="*/ 557138 h 770184"/>
              <a:gd name="connsiteX112" fmla="*/ 330783 w 1310462"/>
              <a:gd name="connsiteY112" fmla="*/ 557138 h 770184"/>
              <a:gd name="connsiteX113" fmla="*/ 319510 w 1310462"/>
              <a:gd name="connsiteY113" fmla="*/ 578014 h 770184"/>
              <a:gd name="connsiteX114" fmla="*/ 406235 w 1310462"/>
              <a:gd name="connsiteY114" fmla="*/ 578014 h 770184"/>
              <a:gd name="connsiteX115" fmla="*/ 417714 w 1310462"/>
              <a:gd name="connsiteY115" fmla="*/ 557138 h 770184"/>
              <a:gd name="connsiteX116" fmla="*/ 330783 w 1310462"/>
              <a:gd name="connsiteY116" fmla="*/ 557138 h 770184"/>
              <a:gd name="connsiteX117" fmla="*/ 203849 w 1310462"/>
              <a:gd name="connsiteY117" fmla="*/ 530416 h 770184"/>
              <a:gd name="connsiteX118" fmla="*/ 161375 w 1310462"/>
              <a:gd name="connsiteY118" fmla="*/ 577233 h 770184"/>
              <a:gd name="connsiteX119" fmla="*/ 194427 w 1310462"/>
              <a:gd name="connsiteY119" fmla="*/ 576132 h 770184"/>
              <a:gd name="connsiteX120" fmla="*/ 216461 w 1310462"/>
              <a:gd name="connsiteY120" fmla="*/ 549691 h 770184"/>
              <a:gd name="connsiteX121" fmla="*/ 288406 w 1310462"/>
              <a:gd name="connsiteY121" fmla="*/ 550792 h 770184"/>
              <a:gd name="connsiteX122" fmla="*/ 301017 w 1310462"/>
              <a:gd name="connsiteY122" fmla="*/ 530416 h 770184"/>
              <a:gd name="connsiteX123" fmla="*/ 203849 w 1310462"/>
              <a:gd name="connsiteY123" fmla="*/ 530416 h 770184"/>
              <a:gd name="connsiteX124" fmla="*/ 324630 w 1310462"/>
              <a:gd name="connsiteY124" fmla="*/ 525890 h 770184"/>
              <a:gd name="connsiteX125" fmla="*/ 294157 w 1310462"/>
              <a:gd name="connsiteY125" fmla="*/ 551962 h 770184"/>
              <a:gd name="connsiteX126" fmla="*/ 388727 w 1310462"/>
              <a:gd name="connsiteY126" fmla="*/ 551962 h 770184"/>
              <a:gd name="connsiteX127" fmla="*/ 400564 w 1310462"/>
              <a:gd name="connsiteY127" fmla="*/ 525890 h 770184"/>
              <a:gd name="connsiteX128" fmla="*/ 324630 w 1310462"/>
              <a:gd name="connsiteY128" fmla="*/ 525890 h 770184"/>
              <a:gd name="connsiteX129" fmla="*/ 1127250 w 1310462"/>
              <a:gd name="connsiteY129" fmla="*/ 525757 h 770184"/>
              <a:gd name="connsiteX130" fmla="*/ 1033964 w 1310462"/>
              <a:gd name="connsiteY130" fmla="*/ 525757 h 770184"/>
              <a:gd name="connsiteX131" fmla="*/ 1042198 w 1310462"/>
              <a:gd name="connsiteY131" fmla="*/ 551229 h 770184"/>
              <a:gd name="connsiteX132" fmla="*/ 1137208 w 1310462"/>
              <a:gd name="connsiteY132" fmla="*/ 551229 h 770184"/>
              <a:gd name="connsiteX133" fmla="*/ 1127250 w 1310462"/>
              <a:gd name="connsiteY133" fmla="*/ 525757 h 770184"/>
              <a:gd name="connsiteX134" fmla="*/ 1026970 w 1310462"/>
              <a:gd name="connsiteY134" fmla="*/ 525757 h 770184"/>
              <a:gd name="connsiteX135" fmla="*/ 933684 w 1310462"/>
              <a:gd name="connsiteY135" fmla="*/ 525757 h 770184"/>
              <a:gd name="connsiteX136" fmla="*/ 941918 w 1310462"/>
              <a:gd name="connsiteY136" fmla="*/ 551229 h 770184"/>
              <a:gd name="connsiteX137" fmla="*/ 1036928 w 1310462"/>
              <a:gd name="connsiteY137" fmla="*/ 551229 h 770184"/>
              <a:gd name="connsiteX138" fmla="*/ 1026970 w 1310462"/>
              <a:gd name="connsiteY138" fmla="*/ 525757 h 770184"/>
              <a:gd name="connsiteX139" fmla="*/ 926689 w 1310462"/>
              <a:gd name="connsiteY139" fmla="*/ 525757 h 770184"/>
              <a:gd name="connsiteX140" fmla="*/ 833403 w 1310462"/>
              <a:gd name="connsiteY140" fmla="*/ 525757 h 770184"/>
              <a:gd name="connsiteX141" fmla="*/ 841636 w 1310462"/>
              <a:gd name="connsiteY141" fmla="*/ 551229 h 770184"/>
              <a:gd name="connsiteX142" fmla="*/ 936647 w 1310462"/>
              <a:gd name="connsiteY142" fmla="*/ 551229 h 770184"/>
              <a:gd name="connsiteX143" fmla="*/ 926689 w 1310462"/>
              <a:gd name="connsiteY143" fmla="*/ 525757 h 770184"/>
              <a:gd name="connsiteX144" fmla="*/ 751822 w 1310462"/>
              <a:gd name="connsiteY144" fmla="*/ 525757 h 770184"/>
              <a:gd name="connsiteX145" fmla="*/ 741355 w 1310462"/>
              <a:gd name="connsiteY145" fmla="*/ 551229 h 770184"/>
              <a:gd name="connsiteX146" fmla="*/ 836365 w 1310462"/>
              <a:gd name="connsiteY146" fmla="*/ 551229 h 770184"/>
              <a:gd name="connsiteX147" fmla="*/ 826408 w 1310462"/>
              <a:gd name="connsiteY147" fmla="*/ 525757 h 770184"/>
              <a:gd name="connsiteX148" fmla="*/ 751822 w 1310462"/>
              <a:gd name="connsiteY148" fmla="*/ 525757 h 770184"/>
              <a:gd name="connsiteX149" fmla="*/ 665883 w 1310462"/>
              <a:gd name="connsiteY149" fmla="*/ 525757 h 770184"/>
              <a:gd name="connsiteX150" fmla="*/ 655417 w 1310462"/>
              <a:gd name="connsiteY150" fmla="*/ 551229 h 770184"/>
              <a:gd name="connsiteX151" fmla="*/ 733927 w 1310462"/>
              <a:gd name="connsiteY151" fmla="*/ 551229 h 770184"/>
              <a:gd name="connsiteX152" fmla="*/ 744318 w 1310462"/>
              <a:gd name="connsiteY152" fmla="*/ 525757 h 770184"/>
              <a:gd name="connsiteX153" fmla="*/ 665883 w 1310462"/>
              <a:gd name="connsiteY153" fmla="*/ 525757 h 770184"/>
              <a:gd name="connsiteX154" fmla="*/ 579945 w 1310462"/>
              <a:gd name="connsiteY154" fmla="*/ 525757 h 770184"/>
              <a:gd name="connsiteX155" fmla="*/ 569478 w 1310462"/>
              <a:gd name="connsiteY155" fmla="*/ 551229 h 770184"/>
              <a:gd name="connsiteX156" fmla="*/ 647988 w 1310462"/>
              <a:gd name="connsiteY156" fmla="*/ 551229 h 770184"/>
              <a:gd name="connsiteX157" fmla="*/ 658379 w 1310462"/>
              <a:gd name="connsiteY157" fmla="*/ 525757 h 770184"/>
              <a:gd name="connsiteX158" fmla="*/ 579945 w 1310462"/>
              <a:gd name="connsiteY158" fmla="*/ 525757 h 770184"/>
              <a:gd name="connsiteX159" fmla="*/ 494006 w 1310462"/>
              <a:gd name="connsiteY159" fmla="*/ 525757 h 770184"/>
              <a:gd name="connsiteX160" fmla="*/ 483540 w 1310462"/>
              <a:gd name="connsiteY160" fmla="*/ 551229 h 770184"/>
              <a:gd name="connsiteX161" fmla="*/ 562049 w 1310462"/>
              <a:gd name="connsiteY161" fmla="*/ 551229 h 770184"/>
              <a:gd name="connsiteX162" fmla="*/ 572441 w 1310462"/>
              <a:gd name="connsiteY162" fmla="*/ 525757 h 770184"/>
              <a:gd name="connsiteX163" fmla="*/ 494006 w 1310462"/>
              <a:gd name="connsiteY163" fmla="*/ 525757 h 770184"/>
              <a:gd name="connsiteX164" fmla="*/ 407806 w 1310462"/>
              <a:gd name="connsiteY164" fmla="*/ 525757 h 770184"/>
              <a:gd name="connsiteX165" fmla="*/ 397601 w 1310462"/>
              <a:gd name="connsiteY165" fmla="*/ 551229 h 770184"/>
              <a:gd name="connsiteX166" fmla="*/ 476111 w 1310462"/>
              <a:gd name="connsiteY166" fmla="*/ 551229 h 770184"/>
              <a:gd name="connsiteX167" fmla="*/ 486502 w 1310462"/>
              <a:gd name="connsiteY167" fmla="*/ 525757 h 770184"/>
              <a:gd name="connsiteX168" fmla="*/ 407806 w 1310462"/>
              <a:gd name="connsiteY168" fmla="*/ 525757 h 770184"/>
              <a:gd name="connsiteX169" fmla="*/ 242191 w 1310462"/>
              <a:gd name="connsiteY169" fmla="*/ 499031 h 770184"/>
              <a:gd name="connsiteX170" fmla="*/ 219356 w 1310462"/>
              <a:gd name="connsiteY170" fmla="*/ 517250 h 770184"/>
              <a:gd name="connsiteX171" fmla="*/ 290222 w 1310462"/>
              <a:gd name="connsiteY171" fmla="*/ 517250 h 770184"/>
              <a:gd name="connsiteX172" fmla="*/ 299092 w 1310462"/>
              <a:gd name="connsiteY172" fmla="*/ 499031 h 770184"/>
              <a:gd name="connsiteX173" fmla="*/ 242191 w 1310462"/>
              <a:gd name="connsiteY173" fmla="*/ 499031 h 770184"/>
              <a:gd name="connsiteX174" fmla="*/ 1042300 w 1310462"/>
              <a:gd name="connsiteY174" fmla="*/ 498996 h 770184"/>
              <a:gd name="connsiteX175" fmla="*/ 1048470 w 1310462"/>
              <a:gd name="connsiteY175" fmla="*/ 516798 h 770184"/>
              <a:gd name="connsiteX176" fmla="*/ 1119666 w 1310462"/>
              <a:gd name="connsiteY176" fmla="*/ 516798 h 770184"/>
              <a:gd name="connsiteX177" fmla="*/ 1112204 w 1310462"/>
              <a:gd name="connsiteY177" fmla="*/ 498996 h 770184"/>
              <a:gd name="connsiteX178" fmla="*/ 1042300 w 1310462"/>
              <a:gd name="connsiteY178" fmla="*/ 498996 h 770184"/>
              <a:gd name="connsiteX179" fmla="*/ 955325 w 1310462"/>
              <a:gd name="connsiteY179" fmla="*/ 498996 h 770184"/>
              <a:gd name="connsiteX180" fmla="*/ 961495 w 1310462"/>
              <a:gd name="connsiteY180" fmla="*/ 516798 h 770184"/>
              <a:gd name="connsiteX181" fmla="*/ 1032691 w 1310462"/>
              <a:gd name="connsiteY181" fmla="*/ 516798 h 770184"/>
              <a:gd name="connsiteX182" fmla="*/ 1025229 w 1310462"/>
              <a:gd name="connsiteY182" fmla="*/ 498996 h 770184"/>
              <a:gd name="connsiteX183" fmla="*/ 955325 w 1310462"/>
              <a:gd name="connsiteY183" fmla="*/ 498996 h 770184"/>
              <a:gd name="connsiteX184" fmla="*/ 868352 w 1310462"/>
              <a:gd name="connsiteY184" fmla="*/ 498996 h 770184"/>
              <a:gd name="connsiteX185" fmla="*/ 874521 w 1310462"/>
              <a:gd name="connsiteY185" fmla="*/ 516798 h 770184"/>
              <a:gd name="connsiteX186" fmla="*/ 945718 w 1310462"/>
              <a:gd name="connsiteY186" fmla="*/ 516798 h 770184"/>
              <a:gd name="connsiteX187" fmla="*/ 938255 w 1310462"/>
              <a:gd name="connsiteY187" fmla="*/ 498996 h 770184"/>
              <a:gd name="connsiteX188" fmla="*/ 868352 w 1310462"/>
              <a:gd name="connsiteY188" fmla="*/ 498996 h 770184"/>
              <a:gd name="connsiteX189" fmla="*/ 781378 w 1310462"/>
              <a:gd name="connsiteY189" fmla="*/ 498996 h 770184"/>
              <a:gd name="connsiteX190" fmla="*/ 787548 w 1310462"/>
              <a:gd name="connsiteY190" fmla="*/ 516798 h 770184"/>
              <a:gd name="connsiteX191" fmla="*/ 858744 w 1310462"/>
              <a:gd name="connsiteY191" fmla="*/ 516798 h 770184"/>
              <a:gd name="connsiteX192" fmla="*/ 851282 w 1310462"/>
              <a:gd name="connsiteY192" fmla="*/ 498996 h 770184"/>
              <a:gd name="connsiteX193" fmla="*/ 781378 w 1310462"/>
              <a:gd name="connsiteY193" fmla="*/ 498996 h 770184"/>
              <a:gd name="connsiteX194" fmla="*/ 694405 w 1310462"/>
              <a:gd name="connsiteY194" fmla="*/ 498996 h 770184"/>
              <a:gd name="connsiteX195" fmla="*/ 700574 w 1310462"/>
              <a:gd name="connsiteY195" fmla="*/ 516798 h 770184"/>
              <a:gd name="connsiteX196" fmla="*/ 771771 w 1310462"/>
              <a:gd name="connsiteY196" fmla="*/ 516798 h 770184"/>
              <a:gd name="connsiteX197" fmla="*/ 764308 w 1310462"/>
              <a:gd name="connsiteY197" fmla="*/ 498996 h 770184"/>
              <a:gd name="connsiteX198" fmla="*/ 694405 w 1310462"/>
              <a:gd name="connsiteY198" fmla="*/ 498996 h 770184"/>
              <a:gd name="connsiteX199" fmla="*/ 621444 w 1310462"/>
              <a:gd name="connsiteY199" fmla="*/ 498996 h 770184"/>
              <a:gd name="connsiteX200" fmla="*/ 613601 w 1310462"/>
              <a:gd name="connsiteY200" fmla="*/ 516798 h 770184"/>
              <a:gd name="connsiteX201" fmla="*/ 684797 w 1310462"/>
              <a:gd name="connsiteY201" fmla="*/ 516798 h 770184"/>
              <a:gd name="connsiteX202" fmla="*/ 677335 w 1310462"/>
              <a:gd name="connsiteY202" fmla="*/ 498996 h 770184"/>
              <a:gd name="connsiteX203" fmla="*/ 621444 w 1310462"/>
              <a:gd name="connsiteY203" fmla="*/ 498996 h 770184"/>
              <a:gd name="connsiteX204" fmla="*/ 545219 w 1310462"/>
              <a:gd name="connsiteY204" fmla="*/ 498996 h 770184"/>
              <a:gd name="connsiteX205" fmla="*/ 537376 w 1310462"/>
              <a:gd name="connsiteY205" fmla="*/ 516798 h 770184"/>
              <a:gd name="connsiteX206" fmla="*/ 596207 w 1310462"/>
              <a:gd name="connsiteY206" fmla="*/ 516798 h 770184"/>
              <a:gd name="connsiteX207" fmla="*/ 603994 w 1310462"/>
              <a:gd name="connsiteY207" fmla="*/ 498996 h 770184"/>
              <a:gd name="connsiteX208" fmla="*/ 545219 w 1310462"/>
              <a:gd name="connsiteY208" fmla="*/ 498996 h 770184"/>
              <a:gd name="connsiteX209" fmla="*/ 468993 w 1310462"/>
              <a:gd name="connsiteY209" fmla="*/ 498996 h 770184"/>
              <a:gd name="connsiteX210" fmla="*/ 461150 w 1310462"/>
              <a:gd name="connsiteY210" fmla="*/ 516798 h 770184"/>
              <a:gd name="connsiteX211" fmla="*/ 519982 w 1310462"/>
              <a:gd name="connsiteY211" fmla="*/ 516798 h 770184"/>
              <a:gd name="connsiteX212" fmla="*/ 527768 w 1310462"/>
              <a:gd name="connsiteY212" fmla="*/ 498996 h 770184"/>
              <a:gd name="connsiteX213" fmla="*/ 468993 w 1310462"/>
              <a:gd name="connsiteY213" fmla="*/ 498996 h 770184"/>
              <a:gd name="connsiteX214" fmla="*/ 392768 w 1310462"/>
              <a:gd name="connsiteY214" fmla="*/ 498996 h 770184"/>
              <a:gd name="connsiteX215" fmla="*/ 384925 w 1310462"/>
              <a:gd name="connsiteY215" fmla="*/ 516798 h 770184"/>
              <a:gd name="connsiteX216" fmla="*/ 443756 w 1310462"/>
              <a:gd name="connsiteY216" fmla="*/ 516798 h 770184"/>
              <a:gd name="connsiteX217" fmla="*/ 451543 w 1310462"/>
              <a:gd name="connsiteY217" fmla="*/ 498996 h 770184"/>
              <a:gd name="connsiteX218" fmla="*/ 392768 w 1310462"/>
              <a:gd name="connsiteY218" fmla="*/ 498996 h 770184"/>
              <a:gd name="connsiteX219" fmla="*/ 316347 w 1310462"/>
              <a:gd name="connsiteY219" fmla="*/ 498996 h 770184"/>
              <a:gd name="connsiteX220" fmla="*/ 308699 w 1310462"/>
              <a:gd name="connsiteY220" fmla="*/ 516798 h 770184"/>
              <a:gd name="connsiteX221" fmla="*/ 367531 w 1310462"/>
              <a:gd name="connsiteY221" fmla="*/ 516798 h 770184"/>
              <a:gd name="connsiteX222" fmla="*/ 375317 w 1310462"/>
              <a:gd name="connsiteY222" fmla="*/ 498996 h 770184"/>
              <a:gd name="connsiteX223" fmla="*/ 316347 w 1310462"/>
              <a:gd name="connsiteY223" fmla="*/ 498996 h 770184"/>
              <a:gd name="connsiteX224" fmla="*/ 260826 w 1310462"/>
              <a:gd name="connsiteY224" fmla="*/ 40617 h 770184"/>
              <a:gd name="connsiteX225" fmla="*/ 260826 w 1310462"/>
              <a:gd name="connsiteY225" fmla="*/ 411185 h 770184"/>
              <a:gd name="connsiteX226" fmla="*/ 1085595 w 1310462"/>
              <a:gd name="connsiteY226" fmla="*/ 411185 h 770184"/>
              <a:gd name="connsiteX227" fmla="*/ 1085595 w 1310462"/>
              <a:gd name="connsiteY227" fmla="*/ 40617 h 770184"/>
              <a:gd name="connsiteX228" fmla="*/ 260826 w 1310462"/>
              <a:gd name="connsiteY228" fmla="*/ 40617 h 770184"/>
              <a:gd name="connsiteX229" fmla="*/ 270935 w 1310462"/>
              <a:gd name="connsiteY229" fmla="*/ 0 h 770184"/>
              <a:gd name="connsiteX230" fmla="*/ 1075485 w 1310462"/>
              <a:gd name="connsiteY230" fmla="*/ 0 h 770184"/>
              <a:gd name="connsiteX231" fmla="*/ 1126530 w 1310462"/>
              <a:gd name="connsiteY231" fmla="*/ 51045 h 770184"/>
              <a:gd name="connsiteX232" fmla="*/ 1126530 w 1310462"/>
              <a:gd name="connsiteY232" fmla="*/ 400758 h 770184"/>
              <a:gd name="connsiteX233" fmla="*/ 1111580 w 1310462"/>
              <a:gd name="connsiteY233" fmla="*/ 436852 h 770184"/>
              <a:gd name="connsiteX234" fmla="*/ 1102966 w 1310462"/>
              <a:gd name="connsiteY234" fmla="*/ 442659 h 770184"/>
              <a:gd name="connsiteX235" fmla="*/ 1116324 w 1310462"/>
              <a:gd name="connsiteY235" fmla="*/ 442704 h 770184"/>
              <a:gd name="connsiteX236" fmla="*/ 1304189 w 1310462"/>
              <a:gd name="connsiteY236" fmla="*/ 691555 h 770184"/>
              <a:gd name="connsiteX237" fmla="*/ 1254871 w 1310462"/>
              <a:gd name="connsiteY237" fmla="*/ 770184 h 770184"/>
              <a:gd name="connsiteX238" fmla="*/ 52127 w 1310462"/>
              <a:gd name="connsiteY238" fmla="*/ 770184 h 770184"/>
              <a:gd name="connsiteX239" fmla="*/ 0 w 1310462"/>
              <a:gd name="connsiteY239" fmla="*/ 694364 h 770184"/>
              <a:gd name="connsiteX240" fmla="*/ 223824 w 1310462"/>
              <a:gd name="connsiteY240" fmla="*/ 439672 h 770184"/>
              <a:gd name="connsiteX241" fmla="*/ 239101 w 1310462"/>
              <a:gd name="connsiteY241" fmla="*/ 439724 h 770184"/>
              <a:gd name="connsiteX242" fmla="*/ 234841 w 1310462"/>
              <a:gd name="connsiteY242" fmla="*/ 436852 h 770184"/>
              <a:gd name="connsiteX243" fmla="*/ 219890 w 1310462"/>
              <a:gd name="connsiteY243" fmla="*/ 400758 h 770184"/>
              <a:gd name="connsiteX244" fmla="*/ 219890 w 1310462"/>
              <a:gd name="connsiteY244" fmla="*/ 51045 h 770184"/>
              <a:gd name="connsiteX245" fmla="*/ 270935 w 1310462"/>
              <a:gd name="connsiteY245" fmla="*/ 0 h 770184"/>
              <a:gd name="connsiteX0" fmla="*/ 526594 w 1304845"/>
              <a:gd name="connsiteY0" fmla="*/ 673154 h 770184"/>
              <a:gd name="connsiteX1" fmla="*/ 508400 w 1304845"/>
              <a:gd name="connsiteY1" fmla="*/ 745928 h 770184"/>
              <a:gd name="connsiteX2" fmla="*/ 784333 w 1304845"/>
              <a:gd name="connsiteY2" fmla="*/ 745928 h 770184"/>
              <a:gd name="connsiteX3" fmla="*/ 766140 w 1304845"/>
              <a:gd name="connsiteY3" fmla="*/ 673154 h 770184"/>
              <a:gd name="connsiteX4" fmla="*/ 526594 w 1304845"/>
              <a:gd name="connsiteY4" fmla="*/ 673154 h 770184"/>
              <a:gd name="connsiteX5" fmla="*/ 1178779 w 1304845"/>
              <a:gd name="connsiteY5" fmla="*/ 615493 h 770184"/>
              <a:gd name="connsiteX6" fmla="*/ 990131 w 1304845"/>
              <a:gd name="connsiteY6" fmla="*/ 615493 h 770184"/>
              <a:gd name="connsiteX7" fmla="*/ 1007505 w 1304845"/>
              <a:gd name="connsiteY7" fmla="*/ 650745 h 770184"/>
              <a:gd name="connsiteX8" fmla="*/ 1195556 w 1304845"/>
              <a:gd name="connsiteY8" fmla="*/ 650745 h 770184"/>
              <a:gd name="connsiteX9" fmla="*/ 1178779 w 1304845"/>
              <a:gd name="connsiteY9" fmla="*/ 615493 h 770184"/>
              <a:gd name="connsiteX10" fmla="*/ 872089 w 1304845"/>
              <a:gd name="connsiteY10" fmla="*/ 615493 h 770184"/>
              <a:gd name="connsiteX11" fmla="*/ 877849 w 1304845"/>
              <a:gd name="connsiteY11" fmla="*/ 652301 h 770184"/>
              <a:gd name="connsiteX12" fmla="*/ 981388 w 1304845"/>
              <a:gd name="connsiteY12" fmla="*/ 652300 h 770184"/>
              <a:gd name="connsiteX13" fmla="*/ 964692 w 1304845"/>
              <a:gd name="connsiteY13" fmla="*/ 615493 h 770184"/>
              <a:gd name="connsiteX14" fmla="*/ 872089 w 1304845"/>
              <a:gd name="connsiteY14" fmla="*/ 615493 h 770184"/>
              <a:gd name="connsiteX15" fmla="*/ 857835 w 1304845"/>
              <a:gd name="connsiteY15" fmla="*/ 615493 h 770184"/>
              <a:gd name="connsiteX16" fmla="*/ 353405 w 1304845"/>
              <a:gd name="connsiteY16" fmla="*/ 616132 h 770184"/>
              <a:gd name="connsiteX17" fmla="*/ 341454 w 1304845"/>
              <a:gd name="connsiteY17" fmla="*/ 652421 h 770184"/>
              <a:gd name="connsiteX18" fmla="*/ 858720 w 1304845"/>
              <a:gd name="connsiteY18" fmla="*/ 651213 h 770184"/>
              <a:gd name="connsiteX19" fmla="*/ 857835 w 1304845"/>
              <a:gd name="connsiteY19" fmla="*/ 615493 h 770184"/>
              <a:gd name="connsiteX20" fmla="*/ 122364 w 1304845"/>
              <a:gd name="connsiteY20" fmla="*/ 615493 h 770184"/>
              <a:gd name="connsiteX21" fmla="*/ 104376 w 1304845"/>
              <a:gd name="connsiteY21" fmla="*/ 650745 h 770184"/>
              <a:gd name="connsiteX22" fmla="*/ 317552 w 1304845"/>
              <a:gd name="connsiteY22" fmla="*/ 651901 h 770184"/>
              <a:gd name="connsiteX23" fmla="*/ 335023 w 1304845"/>
              <a:gd name="connsiteY23" fmla="*/ 615493 h 770184"/>
              <a:gd name="connsiteX24" fmla="*/ 122364 w 1304845"/>
              <a:gd name="connsiteY24" fmla="*/ 615493 h 770184"/>
              <a:gd name="connsiteX25" fmla="*/ 163497 w 1304845"/>
              <a:gd name="connsiteY25" fmla="*/ 585700 h 770184"/>
              <a:gd name="connsiteX26" fmla="*/ 129836 w 1304845"/>
              <a:gd name="connsiteY26" fmla="*/ 610506 h 770184"/>
              <a:gd name="connsiteX27" fmla="*/ 234299 w 1304845"/>
              <a:gd name="connsiteY27" fmla="*/ 610506 h 770184"/>
              <a:gd name="connsiteX28" fmla="*/ 247375 w 1304845"/>
              <a:gd name="connsiteY28" fmla="*/ 585700 h 770184"/>
              <a:gd name="connsiteX29" fmla="*/ 163497 w 1304845"/>
              <a:gd name="connsiteY29" fmla="*/ 585700 h 770184"/>
              <a:gd name="connsiteX30" fmla="*/ 1088417 w 1304845"/>
              <a:gd name="connsiteY30" fmla="*/ 585552 h 770184"/>
              <a:gd name="connsiteX31" fmla="*/ 985372 w 1304845"/>
              <a:gd name="connsiteY31" fmla="*/ 585552 h 770184"/>
              <a:gd name="connsiteX32" fmla="*/ 994466 w 1304845"/>
              <a:gd name="connsiteY32" fmla="*/ 609788 h 770184"/>
              <a:gd name="connsiteX33" fmla="*/ 1099417 w 1304845"/>
              <a:gd name="connsiteY33" fmla="*/ 609788 h 770184"/>
              <a:gd name="connsiteX34" fmla="*/ 1088417 w 1304845"/>
              <a:gd name="connsiteY34" fmla="*/ 585552 h 770184"/>
              <a:gd name="connsiteX35" fmla="*/ 972855 w 1304845"/>
              <a:gd name="connsiteY35" fmla="*/ 585552 h 770184"/>
              <a:gd name="connsiteX36" fmla="*/ 869809 w 1304845"/>
              <a:gd name="connsiteY36" fmla="*/ 585552 h 770184"/>
              <a:gd name="connsiteX37" fmla="*/ 878904 w 1304845"/>
              <a:gd name="connsiteY37" fmla="*/ 609788 h 770184"/>
              <a:gd name="connsiteX38" fmla="*/ 983854 w 1304845"/>
              <a:gd name="connsiteY38" fmla="*/ 609788 h 770184"/>
              <a:gd name="connsiteX39" fmla="*/ 972855 w 1304845"/>
              <a:gd name="connsiteY39" fmla="*/ 585552 h 770184"/>
              <a:gd name="connsiteX40" fmla="*/ 857292 w 1304845"/>
              <a:gd name="connsiteY40" fmla="*/ 585552 h 770184"/>
              <a:gd name="connsiteX41" fmla="*/ 754246 w 1304845"/>
              <a:gd name="connsiteY41" fmla="*/ 585552 h 770184"/>
              <a:gd name="connsiteX42" fmla="*/ 763341 w 1304845"/>
              <a:gd name="connsiteY42" fmla="*/ 609788 h 770184"/>
              <a:gd name="connsiteX43" fmla="*/ 868291 w 1304845"/>
              <a:gd name="connsiteY43" fmla="*/ 609788 h 770184"/>
              <a:gd name="connsiteX44" fmla="*/ 857292 w 1304845"/>
              <a:gd name="connsiteY44" fmla="*/ 585552 h 770184"/>
              <a:gd name="connsiteX45" fmla="*/ 659339 w 1304845"/>
              <a:gd name="connsiteY45" fmla="*/ 585552 h 770184"/>
              <a:gd name="connsiteX46" fmla="*/ 647778 w 1304845"/>
              <a:gd name="connsiteY46" fmla="*/ 609788 h 770184"/>
              <a:gd name="connsiteX47" fmla="*/ 752728 w 1304845"/>
              <a:gd name="connsiteY47" fmla="*/ 609788 h 770184"/>
              <a:gd name="connsiteX48" fmla="*/ 741729 w 1304845"/>
              <a:gd name="connsiteY48" fmla="*/ 585552 h 770184"/>
              <a:gd name="connsiteX49" fmla="*/ 659339 w 1304845"/>
              <a:gd name="connsiteY49" fmla="*/ 585552 h 770184"/>
              <a:gd name="connsiteX50" fmla="*/ 559618 w 1304845"/>
              <a:gd name="connsiteY50" fmla="*/ 585552 h 770184"/>
              <a:gd name="connsiteX51" fmla="*/ 548056 w 1304845"/>
              <a:gd name="connsiteY51" fmla="*/ 609788 h 770184"/>
              <a:gd name="connsiteX52" fmla="*/ 634781 w 1304845"/>
              <a:gd name="connsiteY52" fmla="*/ 609788 h 770184"/>
              <a:gd name="connsiteX53" fmla="*/ 646260 w 1304845"/>
              <a:gd name="connsiteY53" fmla="*/ 585552 h 770184"/>
              <a:gd name="connsiteX54" fmla="*/ 559618 w 1304845"/>
              <a:gd name="connsiteY54" fmla="*/ 585552 h 770184"/>
              <a:gd name="connsiteX55" fmla="*/ 459897 w 1304845"/>
              <a:gd name="connsiteY55" fmla="*/ 585552 h 770184"/>
              <a:gd name="connsiteX56" fmla="*/ 448335 w 1304845"/>
              <a:gd name="connsiteY56" fmla="*/ 609788 h 770184"/>
              <a:gd name="connsiteX57" fmla="*/ 535060 w 1304845"/>
              <a:gd name="connsiteY57" fmla="*/ 609788 h 770184"/>
              <a:gd name="connsiteX58" fmla="*/ 546539 w 1304845"/>
              <a:gd name="connsiteY58" fmla="*/ 585552 h 770184"/>
              <a:gd name="connsiteX59" fmla="*/ 459897 w 1304845"/>
              <a:gd name="connsiteY59" fmla="*/ 585552 h 770184"/>
              <a:gd name="connsiteX60" fmla="*/ 360176 w 1304845"/>
              <a:gd name="connsiteY60" fmla="*/ 585552 h 770184"/>
              <a:gd name="connsiteX61" fmla="*/ 348614 w 1304845"/>
              <a:gd name="connsiteY61" fmla="*/ 609788 h 770184"/>
              <a:gd name="connsiteX62" fmla="*/ 435339 w 1304845"/>
              <a:gd name="connsiteY62" fmla="*/ 609788 h 770184"/>
              <a:gd name="connsiteX63" fmla="*/ 446817 w 1304845"/>
              <a:gd name="connsiteY63" fmla="*/ 585552 h 770184"/>
              <a:gd name="connsiteX64" fmla="*/ 360176 w 1304845"/>
              <a:gd name="connsiteY64" fmla="*/ 585552 h 770184"/>
              <a:gd name="connsiteX65" fmla="*/ 260166 w 1304845"/>
              <a:gd name="connsiteY65" fmla="*/ 585552 h 770184"/>
              <a:gd name="connsiteX66" fmla="*/ 248893 w 1304845"/>
              <a:gd name="connsiteY66" fmla="*/ 609788 h 770184"/>
              <a:gd name="connsiteX67" fmla="*/ 335618 w 1304845"/>
              <a:gd name="connsiteY67" fmla="*/ 609788 h 770184"/>
              <a:gd name="connsiteX68" fmla="*/ 347096 w 1304845"/>
              <a:gd name="connsiteY68" fmla="*/ 585552 h 770184"/>
              <a:gd name="connsiteX69" fmla="*/ 260166 w 1304845"/>
              <a:gd name="connsiteY69" fmla="*/ 585552 h 770184"/>
              <a:gd name="connsiteX70" fmla="*/ 1041293 w 1304845"/>
              <a:gd name="connsiteY70" fmla="*/ 559836 h 770184"/>
              <a:gd name="connsiteX71" fmla="*/ 1053905 w 1304845"/>
              <a:gd name="connsiteY71" fmla="*/ 580212 h 770184"/>
              <a:gd name="connsiteX72" fmla="*/ 1102182 w 1304845"/>
              <a:gd name="connsiteY72" fmla="*/ 579110 h 770184"/>
              <a:gd name="connsiteX73" fmla="*/ 1115341 w 1304845"/>
              <a:gd name="connsiteY73" fmla="*/ 605551 h 770184"/>
              <a:gd name="connsiteX74" fmla="*/ 1179456 w 1304845"/>
              <a:gd name="connsiteY74" fmla="*/ 608132 h 770184"/>
              <a:gd name="connsiteX75" fmla="*/ 1138461 w 1304845"/>
              <a:gd name="connsiteY75" fmla="*/ 559836 h 770184"/>
              <a:gd name="connsiteX76" fmla="*/ 1041293 w 1304845"/>
              <a:gd name="connsiteY76" fmla="*/ 559836 h 770184"/>
              <a:gd name="connsiteX77" fmla="*/ 212226 w 1304845"/>
              <a:gd name="connsiteY77" fmla="*/ 557325 h 770184"/>
              <a:gd name="connsiteX78" fmla="*/ 194836 w 1304845"/>
              <a:gd name="connsiteY78" fmla="*/ 578693 h 770184"/>
              <a:gd name="connsiteX79" fmla="*/ 299300 w 1304845"/>
              <a:gd name="connsiteY79" fmla="*/ 578693 h 770184"/>
              <a:gd name="connsiteX80" fmla="*/ 312375 w 1304845"/>
              <a:gd name="connsiteY80" fmla="*/ 557325 h 770184"/>
              <a:gd name="connsiteX81" fmla="*/ 212226 w 1304845"/>
              <a:gd name="connsiteY81" fmla="*/ 557325 h 770184"/>
              <a:gd name="connsiteX82" fmla="*/ 1034550 w 1304845"/>
              <a:gd name="connsiteY82" fmla="*/ 557138 h 770184"/>
              <a:gd name="connsiteX83" fmla="*/ 931505 w 1304845"/>
              <a:gd name="connsiteY83" fmla="*/ 557139 h 770184"/>
              <a:gd name="connsiteX84" fmla="*/ 940599 w 1304845"/>
              <a:gd name="connsiteY84" fmla="*/ 578014 h 770184"/>
              <a:gd name="connsiteX85" fmla="*/ 1045550 w 1304845"/>
              <a:gd name="connsiteY85" fmla="*/ 578014 h 770184"/>
              <a:gd name="connsiteX86" fmla="*/ 1034550 w 1304845"/>
              <a:gd name="connsiteY86" fmla="*/ 557138 h 770184"/>
              <a:gd name="connsiteX87" fmla="*/ 922292 w 1304845"/>
              <a:gd name="connsiteY87" fmla="*/ 557138 h 770184"/>
              <a:gd name="connsiteX88" fmla="*/ 819247 w 1304845"/>
              <a:gd name="connsiteY88" fmla="*/ 557139 h 770184"/>
              <a:gd name="connsiteX89" fmla="*/ 828341 w 1304845"/>
              <a:gd name="connsiteY89" fmla="*/ 578014 h 770184"/>
              <a:gd name="connsiteX90" fmla="*/ 933292 w 1304845"/>
              <a:gd name="connsiteY90" fmla="*/ 578014 h 770184"/>
              <a:gd name="connsiteX91" fmla="*/ 922292 w 1304845"/>
              <a:gd name="connsiteY91" fmla="*/ 557138 h 770184"/>
              <a:gd name="connsiteX92" fmla="*/ 724339 w 1304845"/>
              <a:gd name="connsiteY92" fmla="*/ 557138 h 770184"/>
              <a:gd name="connsiteX93" fmla="*/ 712778 w 1304845"/>
              <a:gd name="connsiteY93" fmla="*/ 578014 h 770184"/>
              <a:gd name="connsiteX94" fmla="*/ 817729 w 1304845"/>
              <a:gd name="connsiteY94" fmla="*/ 578014 h 770184"/>
              <a:gd name="connsiteX95" fmla="*/ 806729 w 1304845"/>
              <a:gd name="connsiteY95" fmla="*/ 557138 h 770184"/>
              <a:gd name="connsiteX96" fmla="*/ 724339 w 1304845"/>
              <a:gd name="connsiteY96" fmla="*/ 557138 h 770184"/>
              <a:gd name="connsiteX97" fmla="*/ 624618 w 1304845"/>
              <a:gd name="connsiteY97" fmla="*/ 557138 h 770184"/>
              <a:gd name="connsiteX98" fmla="*/ 613057 w 1304845"/>
              <a:gd name="connsiteY98" fmla="*/ 578014 h 770184"/>
              <a:gd name="connsiteX99" fmla="*/ 699782 w 1304845"/>
              <a:gd name="connsiteY99" fmla="*/ 578014 h 770184"/>
              <a:gd name="connsiteX100" fmla="*/ 711260 w 1304845"/>
              <a:gd name="connsiteY100" fmla="*/ 557138 h 770184"/>
              <a:gd name="connsiteX101" fmla="*/ 624618 w 1304845"/>
              <a:gd name="connsiteY101" fmla="*/ 557138 h 770184"/>
              <a:gd name="connsiteX102" fmla="*/ 524897 w 1304845"/>
              <a:gd name="connsiteY102" fmla="*/ 557138 h 770184"/>
              <a:gd name="connsiteX103" fmla="*/ 513336 w 1304845"/>
              <a:gd name="connsiteY103" fmla="*/ 578014 h 770184"/>
              <a:gd name="connsiteX104" fmla="*/ 600060 w 1304845"/>
              <a:gd name="connsiteY104" fmla="*/ 578014 h 770184"/>
              <a:gd name="connsiteX105" fmla="*/ 611539 w 1304845"/>
              <a:gd name="connsiteY105" fmla="*/ 557138 h 770184"/>
              <a:gd name="connsiteX106" fmla="*/ 524897 w 1304845"/>
              <a:gd name="connsiteY106" fmla="*/ 557138 h 770184"/>
              <a:gd name="connsiteX107" fmla="*/ 425176 w 1304845"/>
              <a:gd name="connsiteY107" fmla="*/ 557138 h 770184"/>
              <a:gd name="connsiteX108" fmla="*/ 413615 w 1304845"/>
              <a:gd name="connsiteY108" fmla="*/ 578014 h 770184"/>
              <a:gd name="connsiteX109" fmla="*/ 500339 w 1304845"/>
              <a:gd name="connsiteY109" fmla="*/ 578014 h 770184"/>
              <a:gd name="connsiteX110" fmla="*/ 511818 w 1304845"/>
              <a:gd name="connsiteY110" fmla="*/ 557138 h 770184"/>
              <a:gd name="connsiteX111" fmla="*/ 425176 w 1304845"/>
              <a:gd name="connsiteY111" fmla="*/ 557138 h 770184"/>
              <a:gd name="connsiteX112" fmla="*/ 325166 w 1304845"/>
              <a:gd name="connsiteY112" fmla="*/ 557138 h 770184"/>
              <a:gd name="connsiteX113" fmla="*/ 313893 w 1304845"/>
              <a:gd name="connsiteY113" fmla="*/ 578014 h 770184"/>
              <a:gd name="connsiteX114" fmla="*/ 400618 w 1304845"/>
              <a:gd name="connsiteY114" fmla="*/ 578014 h 770184"/>
              <a:gd name="connsiteX115" fmla="*/ 412097 w 1304845"/>
              <a:gd name="connsiteY115" fmla="*/ 557138 h 770184"/>
              <a:gd name="connsiteX116" fmla="*/ 325166 w 1304845"/>
              <a:gd name="connsiteY116" fmla="*/ 557138 h 770184"/>
              <a:gd name="connsiteX117" fmla="*/ 198232 w 1304845"/>
              <a:gd name="connsiteY117" fmla="*/ 530416 h 770184"/>
              <a:gd name="connsiteX118" fmla="*/ 155758 w 1304845"/>
              <a:gd name="connsiteY118" fmla="*/ 577233 h 770184"/>
              <a:gd name="connsiteX119" fmla="*/ 188810 w 1304845"/>
              <a:gd name="connsiteY119" fmla="*/ 576132 h 770184"/>
              <a:gd name="connsiteX120" fmla="*/ 210844 w 1304845"/>
              <a:gd name="connsiteY120" fmla="*/ 549691 h 770184"/>
              <a:gd name="connsiteX121" fmla="*/ 282789 w 1304845"/>
              <a:gd name="connsiteY121" fmla="*/ 550792 h 770184"/>
              <a:gd name="connsiteX122" fmla="*/ 295400 w 1304845"/>
              <a:gd name="connsiteY122" fmla="*/ 530416 h 770184"/>
              <a:gd name="connsiteX123" fmla="*/ 198232 w 1304845"/>
              <a:gd name="connsiteY123" fmla="*/ 530416 h 770184"/>
              <a:gd name="connsiteX124" fmla="*/ 319013 w 1304845"/>
              <a:gd name="connsiteY124" fmla="*/ 525890 h 770184"/>
              <a:gd name="connsiteX125" fmla="*/ 288540 w 1304845"/>
              <a:gd name="connsiteY125" fmla="*/ 551962 h 770184"/>
              <a:gd name="connsiteX126" fmla="*/ 383110 w 1304845"/>
              <a:gd name="connsiteY126" fmla="*/ 551962 h 770184"/>
              <a:gd name="connsiteX127" fmla="*/ 394947 w 1304845"/>
              <a:gd name="connsiteY127" fmla="*/ 525890 h 770184"/>
              <a:gd name="connsiteX128" fmla="*/ 319013 w 1304845"/>
              <a:gd name="connsiteY128" fmla="*/ 525890 h 770184"/>
              <a:gd name="connsiteX129" fmla="*/ 1121633 w 1304845"/>
              <a:gd name="connsiteY129" fmla="*/ 525757 h 770184"/>
              <a:gd name="connsiteX130" fmla="*/ 1028347 w 1304845"/>
              <a:gd name="connsiteY130" fmla="*/ 525757 h 770184"/>
              <a:gd name="connsiteX131" fmla="*/ 1036581 w 1304845"/>
              <a:gd name="connsiteY131" fmla="*/ 551229 h 770184"/>
              <a:gd name="connsiteX132" fmla="*/ 1131591 w 1304845"/>
              <a:gd name="connsiteY132" fmla="*/ 551229 h 770184"/>
              <a:gd name="connsiteX133" fmla="*/ 1121633 w 1304845"/>
              <a:gd name="connsiteY133" fmla="*/ 525757 h 770184"/>
              <a:gd name="connsiteX134" fmla="*/ 1021353 w 1304845"/>
              <a:gd name="connsiteY134" fmla="*/ 525757 h 770184"/>
              <a:gd name="connsiteX135" fmla="*/ 928067 w 1304845"/>
              <a:gd name="connsiteY135" fmla="*/ 525757 h 770184"/>
              <a:gd name="connsiteX136" fmla="*/ 936301 w 1304845"/>
              <a:gd name="connsiteY136" fmla="*/ 551229 h 770184"/>
              <a:gd name="connsiteX137" fmla="*/ 1031311 w 1304845"/>
              <a:gd name="connsiteY137" fmla="*/ 551229 h 770184"/>
              <a:gd name="connsiteX138" fmla="*/ 1021353 w 1304845"/>
              <a:gd name="connsiteY138" fmla="*/ 525757 h 770184"/>
              <a:gd name="connsiteX139" fmla="*/ 921072 w 1304845"/>
              <a:gd name="connsiteY139" fmla="*/ 525757 h 770184"/>
              <a:gd name="connsiteX140" fmla="*/ 827786 w 1304845"/>
              <a:gd name="connsiteY140" fmla="*/ 525757 h 770184"/>
              <a:gd name="connsiteX141" fmla="*/ 836019 w 1304845"/>
              <a:gd name="connsiteY141" fmla="*/ 551229 h 770184"/>
              <a:gd name="connsiteX142" fmla="*/ 931030 w 1304845"/>
              <a:gd name="connsiteY142" fmla="*/ 551229 h 770184"/>
              <a:gd name="connsiteX143" fmla="*/ 921072 w 1304845"/>
              <a:gd name="connsiteY143" fmla="*/ 525757 h 770184"/>
              <a:gd name="connsiteX144" fmla="*/ 746205 w 1304845"/>
              <a:gd name="connsiteY144" fmla="*/ 525757 h 770184"/>
              <a:gd name="connsiteX145" fmla="*/ 735738 w 1304845"/>
              <a:gd name="connsiteY145" fmla="*/ 551229 h 770184"/>
              <a:gd name="connsiteX146" fmla="*/ 830748 w 1304845"/>
              <a:gd name="connsiteY146" fmla="*/ 551229 h 770184"/>
              <a:gd name="connsiteX147" fmla="*/ 820791 w 1304845"/>
              <a:gd name="connsiteY147" fmla="*/ 525757 h 770184"/>
              <a:gd name="connsiteX148" fmla="*/ 746205 w 1304845"/>
              <a:gd name="connsiteY148" fmla="*/ 525757 h 770184"/>
              <a:gd name="connsiteX149" fmla="*/ 660266 w 1304845"/>
              <a:gd name="connsiteY149" fmla="*/ 525757 h 770184"/>
              <a:gd name="connsiteX150" fmla="*/ 649800 w 1304845"/>
              <a:gd name="connsiteY150" fmla="*/ 551229 h 770184"/>
              <a:gd name="connsiteX151" fmla="*/ 728310 w 1304845"/>
              <a:gd name="connsiteY151" fmla="*/ 551229 h 770184"/>
              <a:gd name="connsiteX152" fmla="*/ 738701 w 1304845"/>
              <a:gd name="connsiteY152" fmla="*/ 525757 h 770184"/>
              <a:gd name="connsiteX153" fmla="*/ 660266 w 1304845"/>
              <a:gd name="connsiteY153" fmla="*/ 525757 h 770184"/>
              <a:gd name="connsiteX154" fmla="*/ 574328 w 1304845"/>
              <a:gd name="connsiteY154" fmla="*/ 525757 h 770184"/>
              <a:gd name="connsiteX155" fmla="*/ 563861 w 1304845"/>
              <a:gd name="connsiteY155" fmla="*/ 551229 h 770184"/>
              <a:gd name="connsiteX156" fmla="*/ 642371 w 1304845"/>
              <a:gd name="connsiteY156" fmla="*/ 551229 h 770184"/>
              <a:gd name="connsiteX157" fmla="*/ 652762 w 1304845"/>
              <a:gd name="connsiteY157" fmla="*/ 525757 h 770184"/>
              <a:gd name="connsiteX158" fmla="*/ 574328 w 1304845"/>
              <a:gd name="connsiteY158" fmla="*/ 525757 h 770184"/>
              <a:gd name="connsiteX159" fmla="*/ 488389 w 1304845"/>
              <a:gd name="connsiteY159" fmla="*/ 525757 h 770184"/>
              <a:gd name="connsiteX160" fmla="*/ 477923 w 1304845"/>
              <a:gd name="connsiteY160" fmla="*/ 551229 h 770184"/>
              <a:gd name="connsiteX161" fmla="*/ 556432 w 1304845"/>
              <a:gd name="connsiteY161" fmla="*/ 551229 h 770184"/>
              <a:gd name="connsiteX162" fmla="*/ 566824 w 1304845"/>
              <a:gd name="connsiteY162" fmla="*/ 525757 h 770184"/>
              <a:gd name="connsiteX163" fmla="*/ 488389 w 1304845"/>
              <a:gd name="connsiteY163" fmla="*/ 525757 h 770184"/>
              <a:gd name="connsiteX164" fmla="*/ 402189 w 1304845"/>
              <a:gd name="connsiteY164" fmla="*/ 525757 h 770184"/>
              <a:gd name="connsiteX165" fmla="*/ 391984 w 1304845"/>
              <a:gd name="connsiteY165" fmla="*/ 551229 h 770184"/>
              <a:gd name="connsiteX166" fmla="*/ 470494 w 1304845"/>
              <a:gd name="connsiteY166" fmla="*/ 551229 h 770184"/>
              <a:gd name="connsiteX167" fmla="*/ 480885 w 1304845"/>
              <a:gd name="connsiteY167" fmla="*/ 525757 h 770184"/>
              <a:gd name="connsiteX168" fmla="*/ 402189 w 1304845"/>
              <a:gd name="connsiteY168" fmla="*/ 525757 h 770184"/>
              <a:gd name="connsiteX169" fmla="*/ 236574 w 1304845"/>
              <a:gd name="connsiteY169" fmla="*/ 499031 h 770184"/>
              <a:gd name="connsiteX170" fmla="*/ 213739 w 1304845"/>
              <a:gd name="connsiteY170" fmla="*/ 517250 h 770184"/>
              <a:gd name="connsiteX171" fmla="*/ 284605 w 1304845"/>
              <a:gd name="connsiteY171" fmla="*/ 517250 h 770184"/>
              <a:gd name="connsiteX172" fmla="*/ 293475 w 1304845"/>
              <a:gd name="connsiteY172" fmla="*/ 499031 h 770184"/>
              <a:gd name="connsiteX173" fmla="*/ 236574 w 1304845"/>
              <a:gd name="connsiteY173" fmla="*/ 499031 h 770184"/>
              <a:gd name="connsiteX174" fmla="*/ 1036683 w 1304845"/>
              <a:gd name="connsiteY174" fmla="*/ 498996 h 770184"/>
              <a:gd name="connsiteX175" fmla="*/ 1042853 w 1304845"/>
              <a:gd name="connsiteY175" fmla="*/ 516798 h 770184"/>
              <a:gd name="connsiteX176" fmla="*/ 1114049 w 1304845"/>
              <a:gd name="connsiteY176" fmla="*/ 516798 h 770184"/>
              <a:gd name="connsiteX177" fmla="*/ 1106587 w 1304845"/>
              <a:gd name="connsiteY177" fmla="*/ 498996 h 770184"/>
              <a:gd name="connsiteX178" fmla="*/ 1036683 w 1304845"/>
              <a:gd name="connsiteY178" fmla="*/ 498996 h 770184"/>
              <a:gd name="connsiteX179" fmla="*/ 949708 w 1304845"/>
              <a:gd name="connsiteY179" fmla="*/ 498996 h 770184"/>
              <a:gd name="connsiteX180" fmla="*/ 955878 w 1304845"/>
              <a:gd name="connsiteY180" fmla="*/ 516798 h 770184"/>
              <a:gd name="connsiteX181" fmla="*/ 1027074 w 1304845"/>
              <a:gd name="connsiteY181" fmla="*/ 516798 h 770184"/>
              <a:gd name="connsiteX182" fmla="*/ 1019612 w 1304845"/>
              <a:gd name="connsiteY182" fmla="*/ 498996 h 770184"/>
              <a:gd name="connsiteX183" fmla="*/ 949708 w 1304845"/>
              <a:gd name="connsiteY183" fmla="*/ 498996 h 770184"/>
              <a:gd name="connsiteX184" fmla="*/ 862735 w 1304845"/>
              <a:gd name="connsiteY184" fmla="*/ 498996 h 770184"/>
              <a:gd name="connsiteX185" fmla="*/ 868904 w 1304845"/>
              <a:gd name="connsiteY185" fmla="*/ 516798 h 770184"/>
              <a:gd name="connsiteX186" fmla="*/ 940101 w 1304845"/>
              <a:gd name="connsiteY186" fmla="*/ 516798 h 770184"/>
              <a:gd name="connsiteX187" fmla="*/ 932638 w 1304845"/>
              <a:gd name="connsiteY187" fmla="*/ 498996 h 770184"/>
              <a:gd name="connsiteX188" fmla="*/ 862735 w 1304845"/>
              <a:gd name="connsiteY188" fmla="*/ 498996 h 770184"/>
              <a:gd name="connsiteX189" fmla="*/ 775761 w 1304845"/>
              <a:gd name="connsiteY189" fmla="*/ 498996 h 770184"/>
              <a:gd name="connsiteX190" fmla="*/ 781931 w 1304845"/>
              <a:gd name="connsiteY190" fmla="*/ 516798 h 770184"/>
              <a:gd name="connsiteX191" fmla="*/ 853127 w 1304845"/>
              <a:gd name="connsiteY191" fmla="*/ 516798 h 770184"/>
              <a:gd name="connsiteX192" fmla="*/ 845665 w 1304845"/>
              <a:gd name="connsiteY192" fmla="*/ 498996 h 770184"/>
              <a:gd name="connsiteX193" fmla="*/ 775761 w 1304845"/>
              <a:gd name="connsiteY193" fmla="*/ 498996 h 770184"/>
              <a:gd name="connsiteX194" fmla="*/ 688788 w 1304845"/>
              <a:gd name="connsiteY194" fmla="*/ 498996 h 770184"/>
              <a:gd name="connsiteX195" fmla="*/ 694957 w 1304845"/>
              <a:gd name="connsiteY195" fmla="*/ 516798 h 770184"/>
              <a:gd name="connsiteX196" fmla="*/ 766154 w 1304845"/>
              <a:gd name="connsiteY196" fmla="*/ 516798 h 770184"/>
              <a:gd name="connsiteX197" fmla="*/ 758691 w 1304845"/>
              <a:gd name="connsiteY197" fmla="*/ 498996 h 770184"/>
              <a:gd name="connsiteX198" fmla="*/ 688788 w 1304845"/>
              <a:gd name="connsiteY198" fmla="*/ 498996 h 770184"/>
              <a:gd name="connsiteX199" fmla="*/ 615827 w 1304845"/>
              <a:gd name="connsiteY199" fmla="*/ 498996 h 770184"/>
              <a:gd name="connsiteX200" fmla="*/ 607984 w 1304845"/>
              <a:gd name="connsiteY200" fmla="*/ 516798 h 770184"/>
              <a:gd name="connsiteX201" fmla="*/ 679180 w 1304845"/>
              <a:gd name="connsiteY201" fmla="*/ 516798 h 770184"/>
              <a:gd name="connsiteX202" fmla="*/ 671718 w 1304845"/>
              <a:gd name="connsiteY202" fmla="*/ 498996 h 770184"/>
              <a:gd name="connsiteX203" fmla="*/ 615827 w 1304845"/>
              <a:gd name="connsiteY203" fmla="*/ 498996 h 770184"/>
              <a:gd name="connsiteX204" fmla="*/ 539602 w 1304845"/>
              <a:gd name="connsiteY204" fmla="*/ 498996 h 770184"/>
              <a:gd name="connsiteX205" fmla="*/ 531759 w 1304845"/>
              <a:gd name="connsiteY205" fmla="*/ 516798 h 770184"/>
              <a:gd name="connsiteX206" fmla="*/ 590590 w 1304845"/>
              <a:gd name="connsiteY206" fmla="*/ 516798 h 770184"/>
              <a:gd name="connsiteX207" fmla="*/ 598377 w 1304845"/>
              <a:gd name="connsiteY207" fmla="*/ 498996 h 770184"/>
              <a:gd name="connsiteX208" fmla="*/ 539602 w 1304845"/>
              <a:gd name="connsiteY208" fmla="*/ 498996 h 770184"/>
              <a:gd name="connsiteX209" fmla="*/ 463376 w 1304845"/>
              <a:gd name="connsiteY209" fmla="*/ 498996 h 770184"/>
              <a:gd name="connsiteX210" fmla="*/ 455533 w 1304845"/>
              <a:gd name="connsiteY210" fmla="*/ 516798 h 770184"/>
              <a:gd name="connsiteX211" fmla="*/ 514365 w 1304845"/>
              <a:gd name="connsiteY211" fmla="*/ 516798 h 770184"/>
              <a:gd name="connsiteX212" fmla="*/ 522151 w 1304845"/>
              <a:gd name="connsiteY212" fmla="*/ 498996 h 770184"/>
              <a:gd name="connsiteX213" fmla="*/ 463376 w 1304845"/>
              <a:gd name="connsiteY213" fmla="*/ 498996 h 770184"/>
              <a:gd name="connsiteX214" fmla="*/ 387151 w 1304845"/>
              <a:gd name="connsiteY214" fmla="*/ 498996 h 770184"/>
              <a:gd name="connsiteX215" fmla="*/ 379308 w 1304845"/>
              <a:gd name="connsiteY215" fmla="*/ 516798 h 770184"/>
              <a:gd name="connsiteX216" fmla="*/ 438139 w 1304845"/>
              <a:gd name="connsiteY216" fmla="*/ 516798 h 770184"/>
              <a:gd name="connsiteX217" fmla="*/ 445926 w 1304845"/>
              <a:gd name="connsiteY217" fmla="*/ 498996 h 770184"/>
              <a:gd name="connsiteX218" fmla="*/ 387151 w 1304845"/>
              <a:gd name="connsiteY218" fmla="*/ 498996 h 770184"/>
              <a:gd name="connsiteX219" fmla="*/ 310730 w 1304845"/>
              <a:gd name="connsiteY219" fmla="*/ 498996 h 770184"/>
              <a:gd name="connsiteX220" fmla="*/ 303082 w 1304845"/>
              <a:gd name="connsiteY220" fmla="*/ 516798 h 770184"/>
              <a:gd name="connsiteX221" fmla="*/ 361914 w 1304845"/>
              <a:gd name="connsiteY221" fmla="*/ 516798 h 770184"/>
              <a:gd name="connsiteX222" fmla="*/ 369700 w 1304845"/>
              <a:gd name="connsiteY222" fmla="*/ 498996 h 770184"/>
              <a:gd name="connsiteX223" fmla="*/ 310730 w 1304845"/>
              <a:gd name="connsiteY223" fmla="*/ 498996 h 770184"/>
              <a:gd name="connsiteX224" fmla="*/ 255209 w 1304845"/>
              <a:gd name="connsiteY224" fmla="*/ 40617 h 770184"/>
              <a:gd name="connsiteX225" fmla="*/ 255209 w 1304845"/>
              <a:gd name="connsiteY225" fmla="*/ 411185 h 770184"/>
              <a:gd name="connsiteX226" fmla="*/ 1079978 w 1304845"/>
              <a:gd name="connsiteY226" fmla="*/ 411185 h 770184"/>
              <a:gd name="connsiteX227" fmla="*/ 1079978 w 1304845"/>
              <a:gd name="connsiteY227" fmla="*/ 40617 h 770184"/>
              <a:gd name="connsiteX228" fmla="*/ 255209 w 1304845"/>
              <a:gd name="connsiteY228" fmla="*/ 40617 h 770184"/>
              <a:gd name="connsiteX229" fmla="*/ 265318 w 1304845"/>
              <a:gd name="connsiteY229" fmla="*/ 0 h 770184"/>
              <a:gd name="connsiteX230" fmla="*/ 1069868 w 1304845"/>
              <a:gd name="connsiteY230" fmla="*/ 0 h 770184"/>
              <a:gd name="connsiteX231" fmla="*/ 1120913 w 1304845"/>
              <a:gd name="connsiteY231" fmla="*/ 51045 h 770184"/>
              <a:gd name="connsiteX232" fmla="*/ 1120913 w 1304845"/>
              <a:gd name="connsiteY232" fmla="*/ 400758 h 770184"/>
              <a:gd name="connsiteX233" fmla="*/ 1105963 w 1304845"/>
              <a:gd name="connsiteY233" fmla="*/ 436852 h 770184"/>
              <a:gd name="connsiteX234" fmla="*/ 1097349 w 1304845"/>
              <a:gd name="connsiteY234" fmla="*/ 442659 h 770184"/>
              <a:gd name="connsiteX235" fmla="*/ 1110707 w 1304845"/>
              <a:gd name="connsiteY235" fmla="*/ 442704 h 770184"/>
              <a:gd name="connsiteX236" fmla="*/ 1298572 w 1304845"/>
              <a:gd name="connsiteY236" fmla="*/ 691555 h 770184"/>
              <a:gd name="connsiteX237" fmla="*/ 1249254 w 1304845"/>
              <a:gd name="connsiteY237" fmla="*/ 770184 h 770184"/>
              <a:gd name="connsiteX238" fmla="*/ 46510 w 1304845"/>
              <a:gd name="connsiteY238" fmla="*/ 770184 h 770184"/>
              <a:gd name="connsiteX239" fmla="*/ 0 w 1304845"/>
              <a:gd name="connsiteY239" fmla="*/ 680322 h 770184"/>
              <a:gd name="connsiteX240" fmla="*/ 218207 w 1304845"/>
              <a:gd name="connsiteY240" fmla="*/ 439672 h 770184"/>
              <a:gd name="connsiteX241" fmla="*/ 233484 w 1304845"/>
              <a:gd name="connsiteY241" fmla="*/ 439724 h 770184"/>
              <a:gd name="connsiteX242" fmla="*/ 229224 w 1304845"/>
              <a:gd name="connsiteY242" fmla="*/ 436852 h 770184"/>
              <a:gd name="connsiteX243" fmla="*/ 214273 w 1304845"/>
              <a:gd name="connsiteY243" fmla="*/ 400758 h 770184"/>
              <a:gd name="connsiteX244" fmla="*/ 214273 w 1304845"/>
              <a:gd name="connsiteY244" fmla="*/ 51045 h 770184"/>
              <a:gd name="connsiteX245" fmla="*/ 265318 w 1304845"/>
              <a:gd name="connsiteY245" fmla="*/ 0 h 770184"/>
              <a:gd name="connsiteX0" fmla="*/ 529877 w 1308128"/>
              <a:gd name="connsiteY0" fmla="*/ 673154 h 770184"/>
              <a:gd name="connsiteX1" fmla="*/ 511683 w 1308128"/>
              <a:gd name="connsiteY1" fmla="*/ 745928 h 770184"/>
              <a:gd name="connsiteX2" fmla="*/ 787616 w 1308128"/>
              <a:gd name="connsiteY2" fmla="*/ 745928 h 770184"/>
              <a:gd name="connsiteX3" fmla="*/ 769423 w 1308128"/>
              <a:gd name="connsiteY3" fmla="*/ 673154 h 770184"/>
              <a:gd name="connsiteX4" fmla="*/ 529877 w 1308128"/>
              <a:gd name="connsiteY4" fmla="*/ 673154 h 770184"/>
              <a:gd name="connsiteX5" fmla="*/ 1182062 w 1308128"/>
              <a:gd name="connsiteY5" fmla="*/ 615493 h 770184"/>
              <a:gd name="connsiteX6" fmla="*/ 993414 w 1308128"/>
              <a:gd name="connsiteY6" fmla="*/ 615493 h 770184"/>
              <a:gd name="connsiteX7" fmla="*/ 1010788 w 1308128"/>
              <a:gd name="connsiteY7" fmla="*/ 650745 h 770184"/>
              <a:gd name="connsiteX8" fmla="*/ 1198839 w 1308128"/>
              <a:gd name="connsiteY8" fmla="*/ 650745 h 770184"/>
              <a:gd name="connsiteX9" fmla="*/ 1182062 w 1308128"/>
              <a:gd name="connsiteY9" fmla="*/ 615493 h 770184"/>
              <a:gd name="connsiteX10" fmla="*/ 875372 w 1308128"/>
              <a:gd name="connsiteY10" fmla="*/ 615493 h 770184"/>
              <a:gd name="connsiteX11" fmla="*/ 881132 w 1308128"/>
              <a:gd name="connsiteY11" fmla="*/ 652301 h 770184"/>
              <a:gd name="connsiteX12" fmla="*/ 984671 w 1308128"/>
              <a:gd name="connsiteY12" fmla="*/ 652300 h 770184"/>
              <a:gd name="connsiteX13" fmla="*/ 967975 w 1308128"/>
              <a:gd name="connsiteY13" fmla="*/ 615493 h 770184"/>
              <a:gd name="connsiteX14" fmla="*/ 875372 w 1308128"/>
              <a:gd name="connsiteY14" fmla="*/ 615493 h 770184"/>
              <a:gd name="connsiteX15" fmla="*/ 861118 w 1308128"/>
              <a:gd name="connsiteY15" fmla="*/ 615493 h 770184"/>
              <a:gd name="connsiteX16" fmla="*/ 356688 w 1308128"/>
              <a:gd name="connsiteY16" fmla="*/ 616132 h 770184"/>
              <a:gd name="connsiteX17" fmla="*/ 344737 w 1308128"/>
              <a:gd name="connsiteY17" fmla="*/ 652421 h 770184"/>
              <a:gd name="connsiteX18" fmla="*/ 862003 w 1308128"/>
              <a:gd name="connsiteY18" fmla="*/ 651213 h 770184"/>
              <a:gd name="connsiteX19" fmla="*/ 861118 w 1308128"/>
              <a:gd name="connsiteY19" fmla="*/ 615493 h 770184"/>
              <a:gd name="connsiteX20" fmla="*/ 125647 w 1308128"/>
              <a:gd name="connsiteY20" fmla="*/ 615493 h 770184"/>
              <a:gd name="connsiteX21" fmla="*/ 107659 w 1308128"/>
              <a:gd name="connsiteY21" fmla="*/ 650745 h 770184"/>
              <a:gd name="connsiteX22" fmla="*/ 320835 w 1308128"/>
              <a:gd name="connsiteY22" fmla="*/ 651901 h 770184"/>
              <a:gd name="connsiteX23" fmla="*/ 338306 w 1308128"/>
              <a:gd name="connsiteY23" fmla="*/ 615493 h 770184"/>
              <a:gd name="connsiteX24" fmla="*/ 125647 w 1308128"/>
              <a:gd name="connsiteY24" fmla="*/ 615493 h 770184"/>
              <a:gd name="connsiteX25" fmla="*/ 166780 w 1308128"/>
              <a:gd name="connsiteY25" fmla="*/ 585700 h 770184"/>
              <a:gd name="connsiteX26" fmla="*/ 133119 w 1308128"/>
              <a:gd name="connsiteY26" fmla="*/ 610506 h 770184"/>
              <a:gd name="connsiteX27" fmla="*/ 237582 w 1308128"/>
              <a:gd name="connsiteY27" fmla="*/ 610506 h 770184"/>
              <a:gd name="connsiteX28" fmla="*/ 250658 w 1308128"/>
              <a:gd name="connsiteY28" fmla="*/ 585700 h 770184"/>
              <a:gd name="connsiteX29" fmla="*/ 166780 w 1308128"/>
              <a:gd name="connsiteY29" fmla="*/ 585700 h 770184"/>
              <a:gd name="connsiteX30" fmla="*/ 1091700 w 1308128"/>
              <a:gd name="connsiteY30" fmla="*/ 585552 h 770184"/>
              <a:gd name="connsiteX31" fmla="*/ 988655 w 1308128"/>
              <a:gd name="connsiteY31" fmla="*/ 585552 h 770184"/>
              <a:gd name="connsiteX32" fmla="*/ 997749 w 1308128"/>
              <a:gd name="connsiteY32" fmla="*/ 609788 h 770184"/>
              <a:gd name="connsiteX33" fmla="*/ 1102700 w 1308128"/>
              <a:gd name="connsiteY33" fmla="*/ 609788 h 770184"/>
              <a:gd name="connsiteX34" fmla="*/ 1091700 w 1308128"/>
              <a:gd name="connsiteY34" fmla="*/ 585552 h 770184"/>
              <a:gd name="connsiteX35" fmla="*/ 976138 w 1308128"/>
              <a:gd name="connsiteY35" fmla="*/ 585552 h 770184"/>
              <a:gd name="connsiteX36" fmla="*/ 873092 w 1308128"/>
              <a:gd name="connsiteY36" fmla="*/ 585552 h 770184"/>
              <a:gd name="connsiteX37" fmla="*/ 882187 w 1308128"/>
              <a:gd name="connsiteY37" fmla="*/ 609788 h 770184"/>
              <a:gd name="connsiteX38" fmla="*/ 987137 w 1308128"/>
              <a:gd name="connsiteY38" fmla="*/ 609788 h 770184"/>
              <a:gd name="connsiteX39" fmla="*/ 976138 w 1308128"/>
              <a:gd name="connsiteY39" fmla="*/ 585552 h 770184"/>
              <a:gd name="connsiteX40" fmla="*/ 860575 w 1308128"/>
              <a:gd name="connsiteY40" fmla="*/ 585552 h 770184"/>
              <a:gd name="connsiteX41" fmla="*/ 757529 w 1308128"/>
              <a:gd name="connsiteY41" fmla="*/ 585552 h 770184"/>
              <a:gd name="connsiteX42" fmla="*/ 766624 w 1308128"/>
              <a:gd name="connsiteY42" fmla="*/ 609788 h 770184"/>
              <a:gd name="connsiteX43" fmla="*/ 871574 w 1308128"/>
              <a:gd name="connsiteY43" fmla="*/ 609788 h 770184"/>
              <a:gd name="connsiteX44" fmla="*/ 860575 w 1308128"/>
              <a:gd name="connsiteY44" fmla="*/ 585552 h 770184"/>
              <a:gd name="connsiteX45" fmla="*/ 662622 w 1308128"/>
              <a:gd name="connsiteY45" fmla="*/ 585552 h 770184"/>
              <a:gd name="connsiteX46" fmla="*/ 651061 w 1308128"/>
              <a:gd name="connsiteY46" fmla="*/ 609788 h 770184"/>
              <a:gd name="connsiteX47" fmla="*/ 756011 w 1308128"/>
              <a:gd name="connsiteY47" fmla="*/ 609788 h 770184"/>
              <a:gd name="connsiteX48" fmla="*/ 745012 w 1308128"/>
              <a:gd name="connsiteY48" fmla="*/ 585552 h 770184"/>
              <a:gd name="connsiteX49" fmla="*/ 662622 w 1308128"/>
              <a:gd name="connsiteY49" fmla="*/ 585552 h 770184"/>
              <a:gd name="connsiteX50" fmla="*/ 562901 w 1308128"/>
              <a:gd name="connsiteY50" fmla="*/ 585552 h 770184"/>
              <a:gd name="connsiteX51" fmla="*/ 551339 w 1308128"/>
              <a:gd name="connsiteY51" fmla="*/ 609788 h 770184"/>
              <a:gd name="connsiteX52" fmla="*/ 638064 w 1308128"/>
              <a:gd name="connsiteY52" fmla="*/ 609788 h 770184"/>
              <a:gd name="connsiteX53" fmla="*/ 649543 w 1308128"/>
              <a:gd name="connsiteY53" fmla="*/ 585552 h 770184"/>
              <a:gd name="connsiteX54" fmla="*/ 562901 w 1308128"/>
              <a:gd name="connsiteY54" fmla="*/ 585552 h 770184"/>
              <a:gd name="connsiteX55" fmla="*/ 463180 w 1308128"/>
              <a:gd name="connsiteY55" fmla="*/ 585552 h 770184"/>
              <a:gd name="connsiteX56" fmla="*/ 451618 w 1308128"/>
              <a:gd name="connsiteY56" fmla="*/ 609788 h 770184"/>
              <a:gd name="connsiteX57" fmla="*/ 538343 w 1308128"/>
              <a:gd name="connsiteY57" fmla="*/ 609788 h 770184"/>
              <a:gd name="connsiteX58" fmla="*/ 549822 w 1308128"/>
              <a:gd name="connsiteY58" fmla="*/ 585552 h 770184"/>
              <a:gd name="connsiteX59" fmla="*/ 463180 w 1308128"/>
              <a:gd name="connsiteY59" fmla="*/ 585552 h 770184"/>
              <a:gd name="connsiteX60" fmla="*/ 363459 w 1308128"/>
              <a:gd name="connsiteY60" fmla="*/ 585552 h 770184"/>
              <a:gd name="connsiteX61" fmla="*/ 351897 w 1308128"/>
              <a:gd name="connsiteY61" fmla="*/ 609788 h 770184"/>
              <a:gd name="connsiteX62" fmla="*/ 438622 w 1308128"/>
              <a:gd name="connsiteY62" fmla="*/ 609788 h 770184"/>
              <a:gd name="connsiteX63" fmla="*/ 450100 w 1308128"/>
              <a:gd name="connsiteY63" fmla="*/ 585552 h 770184"/>
              <a:gd name="connsiteX64" fmla="*/ 363459 w 1308128"/>
              <a:gd name="connsiteY64" fmla="*/ 585552 h 770184"/>
              <a:gd name="connsiteX65" fmla="*/ 263449 w 1308128"/>
              <a:gd name="connsiteY65" fmla="*/ 585552 h 770184"/>
              <a:gd name="connsiteX66" fmla="*/ 252176 w 1308128"/>
              <a:gd name="connsiteY66" fmla="*/ 609788 h 770184"/>
              <a:gd name="connsiteX67" fmla="*/ 338901 w 1308128"/>
              <a:gd name="connsiteY67" fmla="*/ 609788 h 770184"/>
              <a:gd name="connsiteX68" fmla="*/ 350379 w 1308128"/>
              <a:gd name="connsiteY68" fmla="*/ 585552 h 770184"/>
              <a:gd name="connsiteX69" fmla="*/ 263449 w 1308128"/>
              <a:gd name="connsiteY69" fmla="*/ 585552 h 770184"/>
              <a:gd name="connsiteX70" fmla="*/ 1044576 w 1308128"/>
              <a:gd name="connsiteY70" fmla="*/ 559836 h 770184"/>
              <a:gd name="connsiteX71" fmla="*/ 1057188 w 1308128"/>
              <a:gd name="connsiteY71" fmla="*/ 580212 h 770184"/>
              <a:gd name="connsiteX72" fmla="*/ 1105465 w 1308128"/>
              <a:gd name="connsiteY72" fmla="*/ 579110 h 770184"/>
              <a:gd name="connsiteX73" fmla="*/ 1118624 w 1308128"/>
              <a:gd name="connsiteY73" fmla="*/ 605551 h 770184"/>
              <a:gd name="connsiteX74" fmla="*/ 1182739 w 1308128"/>
              <a:gd name="connsiteY74" fmla="*/ 608132 h 770184"/>
              <a:gd name="connsiteX75" fmla="*/ 1141744 w 1308128"/>
              <a:gd name="connsiteY75" fmla="*/ 559836 h 770184"/>
              <a:gd name="connsiteX76" fmla="*/ 1044576 w 1308128"/>
              <a:gd name="connsiteY76" fmla="*/ 559836 h 770184"/>
              <a:gd name="connsiteX77" fmla="*/ 215509 w 1308128"/>
              <a:gd name="connsiteY77" fmla="*/ 557325 h 770184"/>
              <a:gd name="connsiteX78" fmla="*/ 198119 w 1308128"/>
              <a:gd name="connsiteY78" fmla="*/ 578693 h 770184"/>
              <a:gd name="connsiteX79" fmla="*/ 302583 w 1308128"/>
              <a:gd name="connsiteY79" fmla="*/ 578693 h 770184"/>
              <a:gd name="connsiteX80" fmla="*/ 315658 w 1308128"/>
              <a:gd name="connsiteY80" fmla="*/ 557325 h 770184"/>
              <a:gd name="connsiteX81" fmla="*/ 215509 w 1308128"/>
              <a:gd name="connsiteY81" fmla="*/ 557325 h 770184"/>
              <a:gd name="connsiteX82" fmla="*/ 1037833 w 1308128"/>
              <a:gd name="connsiteY82" fmla="*/ 557138 h 770184"/>
              <a:gd name="connsiteX83" fmla="*/ 934788 w 1308128"/>
              <a:gd name="connsiteY83" fmla="*/ 557139 h 770184"/>
              <a:gd name="connsiteX84" fmla="*/ 943882 w 1308128"/>
              <a:gd name="connsiteY84" fmla="*/ 578014 h 770184"/>
              <a:gd name="connsiteX85" fmla="*/ 1048833 w 1308128"/>
              <a:gd name="connsiteY85" fmla="*/ 578014 h 770184"/>
              <a:gd name="connsiteX86" fmla="*/ 1037833 w 1308128"/>
              <a:gd name="connsiteY86" fmla="*/ 557138 h 770184"/>
              <a:gd name="connsiteX87" fmla="*/ 925575 w 1308128"/>
              <a:gd name="connsiteY87" fmla="*/ 557138 h 770184"/>
              <a:gd name="connsiteX88" fmla="*/ 822530 w 1308128"/>
              <a:gd name="connsiteY88" fmla="*/ 557139 h 770184"/>
              <a:gd name="connsiteX89" fmla="*/ 831624 w 1308128"/>
              <a:gd name="connsiteY89" fmla="*/ 578014 h 770184"/>
              <a:gd name="connsiteX90" fmla="*/ 936575 w 1308128"/>
              <a:gd name="connsiteY90" fmla="*/ 578014 h 770184"/>
              <a:gd name="connsiteX91" fmla="*/ 925575 w 1308128"/>
              <a:gd name="connsiteY91" fmla="*/ 557138 h 770184"/>
              <a:gd name="connsiteX92" fmla="*/ 727622 w 1308128"/>
              <a:gd name="connsiteY92" fmla="*/ 557138 h 770184"/>
              <a:gd name="connsiteX93" fmla="*/ 716061 w 1308128"/>
              <a:gd name="connsiteY93" fmla="*/ 578014 h 770184"/>
              <a:gd name="connsiteX94" fmla="*/ 821012 w 1308128"/>
              <a:gd name="connsiteY94" fmla="*/ 578014 h 770184"/>
              <a:gd name="connsiteX95" fmla="*/ 810012 w 1308128"/>
              <a:gd name="connsiteY95" fmla="*/ 557138 h 770184"/>
              <a:gd name="connsiteX96" fmla="*/ 727622 w 1308128"/>
              <a:gd name="connsiteY96" fmla="*/ 557138 h 770184"/>
              <a:gd name="connsiteX97" fmla="*/ 627901 w 1308128"/>
              <a:gd name="connsiteY97" fmla="*/ 557138 h 770184"/>
              <a:gd name="connsiteX98" fmla="*/ 616340 w 1308128"/>
              <a:gd name="connsiteY98" fmla="*/ 578014 h 770184"/>
              <a:gd name="connsiteX99" fmla="*/ 703065 w 1308128"/>
              <a:gd name="connsiteY99" fmla="*/ 578014 h 770184"/>
              <a:gd name="connsiteX100" fmla="*/ 714543 w 1308128"/>
              <a:gd name="connsiteY100" fmla="*/ 557138 h 770184"/>
              <a:gd name="connsiteX101" fmla="*/ 627901 w 1308128"/>
              <a:gd name="connsiteY101" fmla="*/ 557138 h 770184"/>
              <a:gd name="connsiteX102" fmla="*/ 528180 w 1308128"/>
              <a:gd name="connsiteY102" fmla="*/ 557138 h 770184"/>
              <a:gd name="connsiteX103" fmla="*/ 516619 w 1308128"/>
              <a:gd name="connsiteY103" fmla="*/ 578014 h 770184"/>
              <a:gd name="connsiteX104" fmla="*/ 603343 w 1308128"/>
              <a:gd name="connsiteY104" fmla="*/ 578014 h 770184"/>
              <a:gd name="connsiteX105" fmla="*/ 614822 w 1308128"/>
              <a:gd name="connsiteY105" fmla="*/ 557138 h 770184"/>
              <a:gd name="connsiteX106" fmla="*/ 528180 w 1308128"/>
              <a:gd name="connsiteY106" fmla="*/ 557138 h 770184"/>
              <a:gd name="connsiteX107" fmla="*/ 428459 w 1308128"/>
              <a:gd name="connsiteY107" fmla="*/ 557138 h 770184"/>
              <a:gd name="connsiteX108" fmla="*/ 416898 w 1308128"/>
              <a:gd name="connsiteY108" fmla="*/ 578014 h 770184"/>
              <a:gd name="connsiteX109" fmla="*/ 503622 w 1308128"/>
              <a:gd name="connsiteY109" fmla="*/ 578014 h 770184"/>
              <a:gd name="connsiteX110" fmla="*/ 515101 w 1308128"/>
              <a:gd name="connsiteY110" fmla="*/ 557138 h 770184"/>
              <a:gd name="connsiteX111" fmla="*/ 428459 w 1308128"/>
              <a:gd name="connsiteY111" fmla="*/ 557138 h 770184"/>
              <a:gd name="connsiteX112" fmla="*/ 328449 w 1308128"/>
              <a:gd name="connsiteY112" fmla="*/ 557138 h 770184"/>
              <a:gd name="connsiteX113" fmla="*/ 317176 w 1308128"/>
              <a:gd name="connsiteY113" fmla="*/ 578014 h 770184"/>
              <a:gd name="connsiteX114" fmla="*/ 403901 w 1308128"/>
              <a:gd name="connsiteY114" fmla="*/ 578014 h 770184"/>
              <a:gd name="connsiteX115" fmla="*/ 415380 w 1308128"/>
              <a:gd name="connsiteY115" fmla="*/ 557138 h 770184"/>
              <a:gd name="connsiteX116" fmla="*/ 328449 w 1308128"/>
              <a:gd name="connsiteY116" fmla="*/ 557138 h 770184"/>
              <a:gd name="connsiteX117" fmla="*/ 201515 w 1308128"/>
              <a:gd name="connsiteY117" fmla="*/ 530416 h 770184"/>
              <a:gd name="connsiteX118" fmla="*/ 159041 w 1308128"/>
              <a:gd name="connsiteY118" fmla="*/ 577233 h 770184"/>
              <a:gd name="connsiteX119" fmla="*/ 192093 w 1308128"/>
              <a:gd name="connsiteY119" fmla="*/ 576132 h 770184"/>
              <a:gd name="connsiteX120" fmla="*/ 214127 w 1308128"/>
              <a:gd name="connsiteY120" fmla="*/ 549691 h 770184"/>
              <a:gd name="connsiteX121" fmla="*/ 286072 w 1308128"/>
              <a:gd name="connsiteY121" fmla="*/ 550792 h 770184"/>
              <a:gd name="connsiteX122" fmla="*/ 298683 w 1308128"/>
              <a:gd name="connsiteY122" fmla="*/ 530416 h 770184"/>
              <a:gd name="connsiteX123" fmla="*/ 201515 w 1308128"/>
              <a:gd name="connsiteY123" fmla="*/ 530416 h 770184"/>
              <a:gd name="connsiteX124" fmla="*/ 322296 w 1308128"/>
              <a:gd name="connsiteY124" fmla="*/ 525890 h 770184"/>
              <a:gd name="connsiteX125" fmla="*/ 291823 w 1308128"/>
              <a:gd name="connsiteY125" fmla="*/ 551962 h 770184"/>
              <a:gd name="connsiteX126" fmla="*/ 386393 w 1308128"/>
              <a:gd name="connsiteY126" fmla="*/ 551962 h 770184"/>
              <a:gd name="connsiteX127" fmla="*/ 398230 w 1308128"/>
              <a:gd name="connsiteY127" fmla="*/ 525890 h 770184"/>
              <a:gd name="connsiteX128" fmla="*/ 322296 w 1308128"/>
              <a:gd name="connsiteY128" fmla="*/ 525890 h 770184"/>
              <a:gd name="connsiteX129" fmla="*/ 1124916 w 1308128"/>
              <a:gd name="connsiteY129" fmla="*/ 525757 h 770184"/>
              <a:gd name="connsiteX130" fmla="*/ 1031630 w 1308128"/>
              <a:gd name="connsiteY130" fmla="*/ 525757 h 770184"/>
              <a:gd name="connsiteX131" fmla="*/ 1039864 w 1308128"/>
              <a:gd name="connsiteY131" fmla="*/ 551229 h 770184"/>
              <a:gd name="connsiteX132" fmla="*/ 1134874 w 1308128"/>
              <a:gd name="connsiteY132" fmla="*/ 551229 h 770184"/>
              <a:gd name="connsiteX133" fmla="*/ 1124916 w 1308128"/>
              <a:gd name="connsiteY133" fmla="*/ 525757 h 770184"/>
              <a:gd name="connsiteX134" fmla="*/ 1024636 w 1308128"/>
              <a:gd name="connsiteY134" fmla="*/ 525757 h 770184"/>
              <a:gd name="connsiteX135" fmla="*/ 931350 w 1308128"/>
              <a:gd name="connsiteY135" fmla="*/ 525757 h 770184"/>
              <a:gd name="connsiteX136" fmla="*/ 939584 w 1308128"/>
              <a:gd name="connsiteY136" fmla="*/ 551229 h 770184"/>
              <a:gd name="connsiteX137" fmla="*/ 1034594 w 1308128"/>
              <a:gd name="connsiteY137" fmla="*/ 551229 h 770184"/>
              <a:gd name="connsiteX138" fmla="*/ 1024636 w 1308128"/>
              <a:gd name="connsiteY138" fmla="*/ 525757 h 770184"/>
              <a:gd name="connsiteX139" fmla="*/ 924355 w 1308128"/>
              <a:gd name="connsiteY139" fmla="*/ 525757 h 770184"/>
              <a:gd name="connsiteX140" fmla="*/ 831069 w 1308128"/>
              <a:gd name="connsiteY140" fmla="*/ 525757 h 770184"/>
              <a:gd name="connsiteX141" fmla="*/ 839302 w 1308128"/>
              <a:gd name="connsiteY141" fmla="*/ 551229 h 770184"/>
              <a:gd name="connsiteX142" fmla="*/ 934313 w 1308128"/>
              <a:gd name="connsiteY142" fmla="*/ 551229 h 770184"/>
              <a:gd name="connsiteX143" fmla="*/ 924355 w 1308128"/>
              <a:gd name="connsiteY143" fmla="*/ 525757 h 770184"/>
              <a:gd name="connsiteX144" fmla="*/ 749488 w 1308128"/>
              <a:gd name="connsiteY144" fmla="*/ 525757 h 770184"/>
              <a:gd name="connsiteX145" fmla="*/ 739021 w 1308128"/>
              <a:gd name="connsiteY145" fmla="*/ 551229 h 770184"/>
              <a:gd name="connsiteX146" fmla="*/ 834031 w 1308128"/>
              <a:gd name="connsiteY146" fmla="*/ 551229 h 770184"/>
              <a:gd name="connsiteX147" fmla="*/ 824074 w 1308128"/>
              <a:gd name="connsiteY147" fmla="*/ 525757 h 770184"/>
              <a:gd name="connsiteX148" fmla="*/ 749488 w 1308128"/>
              <a:gd name="connsiteY148" fmla="*/ 525757 h 770184"/>
              <a:gd name="connsiteX149" fmla="*/ 663549 w 1308128"/>
              <a:gd name="connsiteY149" fmla="*/ 525757 h 770184"/>
              <a:gd name="connsiteX150" fmla="*/ 653083 w 1308128"/>
              <a:gd name="connsiteY150" fmla="*/ 551229 h 770184"/>
              <a:gd name="connsiteX151" fmla="*/ 731593 w 1308128"/>
              <a:gd name="connsiteY151" fmla="*/ 551229 h 770184"/>
              <a:gd name="connsiteX152" fmla="*/ 741984 w 1308128"/>
              <a:gd name="connsiteY152" fmla="*/ 525757 h 770184"/>
              <a:gd name="connsiteX153" fmla="*/ 663549 w 1308128"/>
              <a:gd name="connsiteY153" fmla="*/ 525757 h 770184"/>
              <a:gd name="connsiteX154" fmla="*/ 577611 w 1308128"/>
              <a:gd name="connsiteY154" fmla="*/ 525757 h 770184"/>
              <a:gd name="connsiteX155" fmla="*/ 567144 w 1308128"/>
              <a:gd name="connsiteY155" fmla="*/ 551229 h 770184"/>
              <a:gd name="connsiteX156" fmla="*/ 645654 w 1308128"/>
              <a:gd name="connsiteY156" fmla="*/ 551229 h 770184"/>
              <a:gd name="connsiteX157" fmla="*/ 656045 w 1308128"/>
              <a:gd name="connsiteY157" fmla="*/ 525757 h 770184"/>
              <a:gd name="connsiteX158" fmla="*/ 577611 w 1308128"/>
              <a:gd name="connsiteY158" fmla="*/ 525757 h 770184"/>
              <a:gd name="connsiteX159" fmla="*/ 491672 w 1308128"/>
              <a:gd name="connsiteY159" fmla="*/ 525757 h 770184"/>
              <a:gd name="connsiteX160" fmla="*/ 481206 w 1308128"/>
              <a:gd name="connsiteY160" fmla="*/ 551229 h 770184"/>
              <a:gd name="connsiteX161" fmla="*/ 559715 w 1308128"/>
              <a:gd name="connsiteY161" fmla="*/ 551229 h 770184"/>
              <a:gd name="connsiteX162" fmla="*/ 570107 w 1308128"/>
              <a:gd name="connsiteY162" fmla="*/ 525757 h 770184"/>
              <a:gd name="connsiteX163" fmla="*/ 491672 w 1308128"/>
              <a:gd name="connsiteY163" fmla="*/ 525757 h 770184"/>
              <a:gd name="connsiteX164" fmla="*/ 405472 w 1308128"/>
              <a:gd name="connsiteY164" fmla="*/ 525757 h 770184"/>
              <a:gd name="connsiteX165" fmla="*/ 395267 w 1308128"/>
              <a:gd name="connsiteY165" fmla="*/ 551229 h 770184"/>
              <a:gd name="connsiteX166" fmla="*/ 473777 w 1308128"/>
              <a:gd name="connsiteY166" fmla="*/ 551229 h 770184"/>
              <a:gd name="connsiteX167" fmla="*/ 484168 w 1308128"/>
              <a:gd name="connsiteY167" fmla="*/ 525757 h 770184"/>
              <a:gd name="connsiteX168" fmla="*/ 405472 w 1308128"/>
              <a:gd name="connsiteY168" fmla="*/ 525757 h 770184"/>
              <a:gd name="connsiteX169" fmla="*/ 239857 w 1308128"/>
              <a:gd name="connsiteY169" fmla="*/ 499031 h 770184"/>
              <a:gd name="connsiteX170" fmla="*/ 217022 w 1308128"/>
              <a:gd name="connsiteY170" fmla="*/ 517250 h 770184"/>
              <a:gd name="connsiteX171" fmla="*/ 287888 w 1308128"/>
              <a:gd name="connsiteY171" fmla="*/ 517250 h 770184"/>
              <a:gd name="connsiteX172" fmla="*/ 296758 w 1308128"/>
              <a:gd name="connsiteY172" fmla="*/ 499031 h 770184"/>
              <a:gd name="connsiteX173" fmla="*/ 239857 w 1308128"/>
              <a:gd name="connsiteY173" fmla="*/ 499031 h 770184"/>
              <a:gd name="connsiteX174" fmla="*/ 1039966 w 1308128"/>
              <a:gd name="connsiteY174" fmla="*/ 498996 h 770184"/>
              <a:gd name="connsiteX175" fmla="*/ 1046136 w 1308128"/>
              <a:gd name="connsiteY175" fmla="*/ 516798 h 770184"/>
              <a:gd name="connsiteX176" fmla="*/ 1117332 w 1308128"/>
              <a:gd name="connsiteY176" fmla="*/ 516798 h 770184"/>
              <a:gd name="connsiteX177" fmla="*/ 1109870 w 1308128"/>
              <a:gd name="connsiteY177" fmla="*/ 498996 h 770184"/>
              <a:gd name="connsiteX178" fmla="*/ 1039966 w 1308128"/>
              <a:gd name="connsiteY178" fmla="*/ 498996 h 770184"/>
              <a:gd name="connsiteX179" fmla="*/ 952991 w 1308128"/>
              <a:gd name="connsiteY179" fmla="*/ 498996 h 770184"/>
              <a:gd name="connsiteX180" fmla="*/ 959161 w 1308128"/>
              <a:gd name="connsiteY180" fmla="*/ 516798 h 770184"/>
              <a:gd name="connsiteX181" fmla="*/ 1030357 w 1308128"/>
              <a:gd name="connsiteY181" fmla="*/ 516798 h 770184"/>
              <a:gd name="connsiteX182" fmla="*/ 1022895 w 1308128"/>
              <a:gd name="connsiteY182" fmla="*/ 498996 h 770184"/>
              <a:gd name="connsiteX183" fmla="*/ 952991 w 1308128"/>
              <a:gd name="connsiteY183" fmla="*/ 498996 h 770184"/>
              <a:gd name="connsiteX184" fmla="*/ 866018 w 1308128"/>
              <a:gd name="connsiteY184" fmla="*/ 498996 h 770184"/>
              <a:gd name="connsiteX185" fmla="*/ 872187 w 1308128"/>
              <a:gd name="connsiteY185" fmla="*/ 516798 h 770184"/>
              <a:gd name="connsiteX186" fmla="*/ 943384 w 1308128"/>
              <a:gd name="connsiteY186" fmla="*/ 516798 h 770184"/>
              <a:gd name="connsiteX187" fmla="*/ 935921 w 1308128"/>
              <a:gd name="connsiteY187" fmla="*/ 498996 h 770184"/>
              <a:gd name="connsiteX188" fmla="*/ 866018 w 1308128"/>
              <a:gd name="connsiteY188" fmla="*/ 498996 h 770184"/>
              <a:gd name="connsiteX189" fmla="*/ 779044 w 1308128"/>
              <a:gd name="connsiteY189" fmla="*/ 498996 h 770184"/>
              <a:gd name="connsiteX190" fmla="*/ 785214 w 1308128"/>
              <a:gd name="connsiteY190" fmla="*/ 516798 h 770184"/>
              <a:gd name="connsiteX191" fmla="*/ 856410 w 1308128"/>
              <a:gd name="connsiteY191" fmla="*/ 516798 h 770184"/>
              <a:gd name="connsiteX192" fmla="*/ 848948 w 1308128"/>
              <a:gd name="connsiteY192" fmla="*/ 498996 h 770184"/>
              <a:gd name="connsiteX193" fmla="*/ 779044 w 1308128"/>
              <a:gd name="connsiteY193" fmla="*/ 498996 h 770184"/>
              <a:gd name="connsiteX194" fmla="*/ 692071 w 1308128"/>
              <a:gd name="connsiteY194" fmla="*/ 498996 h 770184"/>
              <a:gd name="connsiteX195" fmla="*/ 698240 w 1308128"/>
              <a:gd name="connsiteY195" fmla="*/ 516798 h 770184"/>
              <a:gd name="connsiteX196" fmla="*/ 769437 w 1308128"/>
              <a:gd name="connsiteY196" fmla="*/ 516798 h 770184"/>
              <a:gd name="connsiteX197" fmla="*/ 761974 w 1308128"/>
              <a:gd name="connsiteY197" fmla="*/ 498996 h 770184"/>
              <a:gd name="connsiteX198" fmla="*/ 692071 w 1308128"/>
              <a:gd name="connsiteY198" fmla="*/ 498996 h 770184"/>
              <a:gd name="connsiteX199" fmla="*/ 619110 w 1308128"/>
              <a:gd name="connsiteY199" fmla="*/ 498996 h 770184"/>
              <a:gd name="connsiteX200" fmla="*/ 611267 w 1308128"/>
              <a:gd name="connsiteY200" fmla="*/ 516798 h 770184"/>
              <a:gd name="connsiteX201" fmla="*/ 682463 w 1308128"/>
              <a:gd name="connsiteY201" fmla="*/ 516798 h 770184"/>
              <a:gd name="connsiteX202" fmla="*/ 675001 w 1308128"/>
              <a:gd name="connsiteY202" fmla="*/ 498996 h 770184"/>
              <a:gd name="connsiteX203" fmla="*/ 619110 w 1308128"/>
              <a:gd name="connsiteY203" fmla="*/ 498996 h 770184"/>
              <a:gd name="connsiteX204" fmla="*/ 542885 w 1308128"/>
              <a:gd name="connsiteY204" fmla="*/ 498996 h 770184"/>
              <a:gd name="connsiteX205" fmla="*/ 535042 w 1308128"/>
              <a:gd name="connsiteY205" fmla="*/ 516798 h 770184"/>
              <a:gd name="connsiteX206" fmla="*/ 593873 w 1308128"/>
              <a:gd name="connsiteY206" fmla="*/ 516798 h 770184"/>
              <a:gd name="connsiteX207" fmla="*/ 601660 w 1308128"/>
              <a:gd name="connsiteY207" fmla="*/ 498996 h 770184"/>
              <a:gd name="connsiteX208" fmla="*/ 542885 w 1308128"/>
              <a:gd name="connsiteY208" fmla="*/ 498996 h 770184"/>
              <a:gd name="connsiteX209" fmla="*/ 466659 w 1308128"/>
              <a:gd name="connsiteY209" fmla="*/ 498996 h 770184"/>
              <a:gd name="connsiteX210" fmla="*/ 458816 w 1308128"/>
              <a:gd name="connsiteY210" fmla="*/ 516798 h 770184"/>
              <a:gd name="connsiteX211" fmla="*/ 517648 w 1308128"/>
              <a:gd name="connsiteY211" fmla="*/ 516798 h 770184"/>
              <a:gd name="connsiteX212" fmla="*/ 525434 w 1308128"/>
              <a:gd name="connsiteY212" fmla="*/ 498996 h 770184"/>
              <a:gd name="connsiteX213" fmla="*/ 466659 w 1308128"/>
              <a:gd name="connsiteY213" fmla="*/ 498996 h 770184"/>
              <a:gd name="connsiteX214" fmla="*/ 390434 w 1308128"/>
              <a:gd name="connsiteY214" fmla="*/ 498996 h 770184"/>
              <a:gd name="connsiteX215" fmla="*/ 382591 w 1308128"/>
              <a:gd name="connsiteY215" fmla="*/ 516798 h 770184"/>
              <a:gd name="connsiteX216" fmla="*/ 441422 w 1308128"/>
              <a:gd name="connsiteY216" fmla="*/ 516798 h 770184"/>
              <a:gd name="connsiteX217" fmla="*/ 449209 w 1308128"/>
              <a:gd name="connsiteY217" fmla="*/ 498996 h 770184"/>
              <a:gd name="connsiteX218" fmla="*/ 390434 w 1308128"/>
              <a:gd name="connsiteY218" fmla="*/ 498996 h 770184"/>
              <a:gd name="connsiteX219" fmla="*/ 314013 w 1308128"/>
              <a:gd name="connsiteY219" fmla="*/ 498996 h 770184"/>
              <a:gd name="connsiteX220" fmla="*/ 306365 w 1308128"/>
              <a:gd name="connsiteY220" fmla="*/ 516798 h 770184"/>
              <a:gd name="connsiteX221" fmla="*/ 365197 w 1308128"/>
              <a:gd name="connsiteY221" fmla="*/ 516798 h 770184"/>
              <a:gd name="connsiteX222" fmla="*/ 372983 w 1308128"/>
              <a:gd name="connsiteY222" fmla="*/ 498996 h 770184"/>
              <a:gd name="connsiteX223" fmla="*/ 314013 w 1308128"/>
              <a:gd name="connsiteY223" fmla="*/ 498996 h 770184"/>
              <a:gd name="connsiteX224" fmla="*/ 258492 w 1308128"/>
              <a:gd name="connsiteY224" fmla="*/ 40617 h 770184"/>
              <a:gd name="connsiteX225" fmla="*/ 258492 w 1308128"/>
              <a:gd name="connsiteY225" fmla="*/ 411185 h 770184"/>
              <a:gd name="connsiteX226" fmla="*/ 1083261 w 1308128"/>
              <a:gd name="connsiteY226" fmla="*/ 411185 h 770184"/>
              <a:gd name="connsiteX227" fmla="*/ 1083261 w 1308128"/>
              <a:gd name="connsiteY227" fmla="*/ 40617 h 770184"/>
              <a:gd name="connsiteX228" fmla="*/ 258492 w 1308128"/>
              <a:gd name="connsiteY228" fmla="*/ 40617 h 770184"/>
              <a:gd name="connsiteX229" fmla="*/ 268601 w 1308128"/>
              <a:gd name="connsiteY229" fmla="*/ 0 h 770184"/>
              <a:gd name="connsiteX230" fmla="*/ 1073151 w 1308128"/>
              <a:gd name="connsiteY230" fmla="*/ 0 h 770184"/>
              <a:gd name="connsiteX231" fmla="*/ 1124196 w 1308128"/>
              <a:gd name="connsiteY231" fmla="*/ 51045 h 770184"/>
              <a:gd name="connsiteX232" fmla="*/ 1124196 w 1308128"/>
              <a:gd name="connsiteY232" fmla="*/ 400758 h 770184"/>
              <a:gd name="connsiteX233" fmla="*/ 1109246 w 1308128"/>
              <a:gd name="connsiteY233" fmla="*/ 436852 h 770184"/>
              <a:gd name="connsiteX234" fmla="*/ 1100632 w 1308128"/>
              <a:gd name="connsiteY234" fmla="*/ 442659 h 770184"/>
              <a:gd name="connsiteX235" fmla="*/ 1113990 w 1308128"/>
              <a:gd name="connsiteY235" fmla="*/ 442704 h 770184"/>
              <a:gd name="connsiteX236" fmla="*/ 1301855 w 1308128"/>
              <a:gd name="connsiteY236" fmla="*/ 691555 h 770184"/>
              <a:gd name="connsiteX237" fmla="*/ 1252537 w 1308128"/>
              <a:gd name="connsiteY237" fmla="*/ 770184 h 770184"/>
              <a:gd name="connsiteX238" fmla="*/ 49793 w 1308128"/>
              <a:gd name="connsiteY238" fmla="*/ 770184 h 770184"/>
              <a:gd name="connsiteX239" fmla="*/ 3283 w 1308128"/>
              <a:gd name="connsiteY239" fmla="*/ 680322 h 770184"/>
              <a:gd name="connsiteX240" fmla="*/ 221490 w 1308128"/>
              <a:gd name="connsiteY240" fmla="*/ 439672 h 770184"/>
              <a:gd name="connsiteX241" fmla="*/ 236767 w 1308128"/>
              <a:gd name="connsiteY241" fmla="*/ 439724 h 770184"/>
              <a:gd name="connsiteX242" fmla="*/ 232507 w 1308128"/>
              <a:gd name="connsiteY242" fmla="*/ 436852 h 770184"/>
              <a:gd name="connsiteX243" fmla="*/ 217556 w 1308128"/>
              <a:gd name="connsiteY243" fmla="*/ 400758 h 770184"/>
              <a:gd name="connsiteX244" fmla="*/ 217556 w 1308128"/>
              <a:gd name="connsiteY244" fmla="*/ 51045 h 770184"/>
              <a:gd name="connsiteX245" fmla="*/ 268601 w 1308128"/>
              <a:gd name="connsiteY245" fmla="*/ 0 h 770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Lst>
            <a:rect l="l" t="t" r="r" b="b"/>
            <a:pathLst>
              <a:path w="1308128" h="770184">
                <a:moveTo>
                  <a:pt x="529877" y="673154"/>
                </a:moveTo>
                <a:lnTo>
                  <a:pt x="511683" y="745928"/>
                </a:lnTo>
                <a:lnTo>
                  <a:pt x="787616" y="745928"/>
                </a:lnTo>
                <a:lnTo>
                  <a:pt x="769423" y="673154"/>
                </a:lnTo>
                <a:lnTo>
                  <a:pt x="529877" y="673154"/>
                </a:lnTo>
                <a:close/>
                <a:moveTo>
                  <a:pt x="1182062" y="615493"/>
                </a:moveTo>
                <a:lnTo>
                  <a:pt x="993414" y="615493"/>
                </a:lnTo>
                <a:lnTo>
                  <a:pt x="1010788" y="650745"/>
                </a:lnTo>
                <a:lnTo>
                  <a:pt x="1198839" y="650745"/>
                </a:lnTo>
                <a:lnTo>
                  <a:pt x="1182062" y="615493"/>
                </a:lnTo>
                <a:close/>
                <a:moveTo>
                  <a:pt x="875372" y="615493"/>
                </a:moveTo>
                <a:lnTo>
                  <a:pt x="881132" y="652301"/>
                </a:lnTo>
                <a:lnTo>
                  <a:pt x="984671" y="652300"/>
                </a:lnTo>
                <a:lnTo>
                  <a:pt x="967975" y="615493"/>
                </a:lnTo>
                <a:lnTo>
                  <a:pt x="875372" y="615493"/>
                </a:lnTo>
                <a:close/>
                <a:moveTo>
                  <a:pt x="861118" y="615493"/>
                </a:moveTo>
                <a:lnTo>
                  <a:pt x="356688" y="616132"/>
                </a:lnTo>
                <a:lnTo>
                  <a:pt x="344737" y="652421"/>
                </a:lnTo>
                <a:lnTo>
                  <a:pt x="862003" y="651213"/>
                </a:lnTo>
                <a:cubicBezTo>
                  <a:pt x="862094" y="638098"/>
                  <a:pt x="861028" y="628608"/>
                  <a:pt x="861118" y="615493"/>
                </a:cubicBezTo>
                <a:close/>
                <a:moveTo>
                  <a:pt x="125647" y="615493"/>
                </a:moveTo>
                <a:lnTo>
                  <a:pt x="107659" y="650745"/>
                </a:lnTo>
                <a:lnTo>
                  <a:pt x="320835" y="651901"/>
                </a:lnTo>
                <a:lnTo>
                  <a:pt x="338306" y="615493"/>
                </a:lnTo>
                <a:lnTo>
                  <a:pt x="125647" y="615493"/>
                </a:lnTo>
                <a:close/>
                <a:moveTo>
                  <a:pt x="166780" y="585700"/>
                </a:moveTo>
                <a:lnTo>
                  <a:pt x="133119" y="610506"/>
                </a:lnTo>
                <a:lnTo>
                  <a:pt x="237582" y="610506"/>
                </a:lnTo>
                <a:lnTo>
                  <a:pt x="250658" y="585700"/>
                </a:lnTo>
                <a:lnTo>
                  <a:pt x="166780" y="585700"/>
                </a:lnTo>
                <a:close/>
                <a:moveTo>
                  <a:pt x="1091700" y="585552"/>
                </a:moveTo>
                <a:lnTo>
                  <a:pt x="988655" y="585552"/>
                </a:lnTo>
                <a:lnTo>
                  <a:pt x="997749" y="609788"/>
                </a:lnTo>
                <a:lnTo>
                  <a:pt x="1102700" y="609788"/>
                </a:lnTo>
                <a:lnTo>
                  <a:pt x="1091700" y="585552"/>
                </a:lnTo>
                <a:close/>
                <a:moveTo>
                  <a:pt x="976138" y="585552"/>
                </a:moveTo>
                <a:lnTo>
                  <a:pt x="873092" y="585552"/>
                </a:lnTo>
                <a:lnTo>
                  <a:pt x="882187" y="609788"/>
                </a:lnTo>
                <a:lnTo>
                  <a:pt x="987137" y="609788"/>
                </a:lnTo>
                <a:lnTo>
                  <a:pt x="976138" y="585552"/>
                </a:lnTo>
                <a:close/>
                <a:moveTo>
                  <a:pt x="860575" y="585552"/>
                </a:moveTo>
                <a:lnTo>
                  <a:pt x="757529" y="585552"/>
                </a:lnTo>
                <a:lnTo>
                  <a:pt x="766624" y="609788"/>
                </a:lnTo>
                <a:lnTo>
                  <a:pt x="871574" y="609788"/>
                </a:lnTo>
                <a:lnTo>
                  <a:pt x="860575" y="585552"/>
                </a:lnTo>
                <a:close/>
                <a:moveTo>
                  <a:pt x="662622" y="585552"/>
                </a:moveTo>
                <a:lnTo>
                  <a:pt x="651061" y="609788"/>
                </a:lnTo>
                <a:lnTo>
                  <a:pt x="756011" y="609788"/>
                </a:lnTo>
                <a:lnTo>
                  <a:pt x="745012" y="585552"/>
                </a:lnTo>
                <a:lnTo>
                  <a:pt x="662622" y="585552"/>
                </a:lnTo>
                <a:close/>
                <a:moveTo>
                  <a:pt x="562901" y="585552"/>
                </a:moveTo>
                <a:lnTo>
                  <a:pt x="551339" y="609788"/>
                </a:lnTo>
                <a:lnTo>
                  <a:pt x="638064" y="609788"/>
                </a:lnTo>
                <a:lnTo>
                  <a:pt x="649543" y="585552"/>
                </a:lnTo>
                <a:lnTo>
                  <a:pt x="562901" y="585552"/>
                </a:lnTo>
                <a:close/>
                <a:moveTo>
                  <a:pt x="463180" y="585552"/>
                </a:moveTo>
                <a:lnTo>
                  <a:pt x="451618" y="609788"/>
                </a:lnTo>
                <a:lnTo>
                  <a:pt x="538343" y="609788"/>
                </a:lnTo>
                <a:lnTo>
                  <a:pt x="549822" y="585552"/>
                </a:lnTo>
                <a:lnTo>
                  <a:pt x="463180" y="585552"/>
                </a:lnTo>
                <a:close/>
                <a:moveTo>
                  <a:pt x="363459" y="585552"/>
                </a:moveTo>
                <a:lnTo>
                  <a:pt x="351897" y="609788"/>
                </a:lnTo>
                <a:lnTo>
                  <a:pt x="438622" y="609788"/>
                </a:lnTo>
                <a:lnTo>
                  <a:pt x="450100" y="585552"/>
                </a:lnTo>
                <a:lnTo>
                  <a:pt x="363459" y="585552"/>
                </a:lnTo>
                <a:close/>
                <a:moveTo>
                  <a:pt x="263449" y="585552"/>
                </a:moveTo>
                <a:lnTo>
                  <a:pt x="252176" y="609788"/>
                </a:lnTo>
                <a:lnTo>
                  <a:pt x="338901" y="609788"/>
                </a:lnTo>
                <a:lnTo>
                  <a:pt x="350379" y="585552"/>
                </a:lnTo>
                <a:lnTo>
                  <a:pt x="263449" y="585552"/>
                </a:lnTo>
                <a:close/>
                <a:moveTo>
                  <a:pt x="1044576" y="559836"/>
                </a:moveTo>
                <a:lnTo>
                  <a:pt x="1057188" y="580212"/>
                </a:lnTo>
                <a:cubicBezTo>
                  <a:pt x="1077497" y="580212"/>
                  <a:pt x="1084054" y="580212"/>
                  <a:pt x="1105465" y="579110"/>
                </a:cubicBezTo>
                <a:lnTo>
                  <a:pt x="1118624" y="605551"/>
                </a:lnTo>
                <a:lnTo>
                  <a:pt x="1182739" y="608132"/>
                </a:lnTo>
                <a:lnTo>
                  <a:pt x="1141744" y="559836"/>
                </a:lnTo>
                <a:lnTo>
                  <a:pt x="1044576" y="559836"/>
                </a:lnTo>
                <a:close/>
                <a:moveTo>
                  <a:pt x="215509" y="557325"/>
                </a:moveTo>
                <a:lnTo>
                  <a:pt x="198119" y="578693"/>
                </a:lnTo>
                <a:lnTo>
                  <a:pt x="302583" y="578693"/>
                </a:lnTo>
                <a:lnTo>
                  <a:pt x="315658" y="557325"/>
                </a:lnTo>
                <a:lnTo>
                  <a:pt x="215509" y="557325"/>
                </a:lnTo>
                <a:close/>
                <a:moveTo>
                  <a:pt x="1037833" y="557138"/>
                </a:moveTo>
                <a:lnTo>
                  <a:pt x="934788" y="557139"/>
                </a:lnTo>
                <a:lnTo>
                  <a:pt x="943882" y="578014"/>
                </a:lnTo>
                <a:lnTo>
                  <a:pt x="1048833" y="578014"/>
                </a:lnTo>
                <a:lnTo>
                  <a:pt x="1037833" y="557138"/>
                </a:lnTo>
                <a:close/>
                <a:moveTo>
                  <a:pt x="925575" y="557138"/>
                </a:moveTo>
                <a:lnTo>
                  <a:pt x="822530" y="557139"/>
                </a:lnTo>
                <a:lnTo>
                  <a:pt x="831624" y="578014"/>
                </a:lnTo>
                <a:lnTo>
                  <a:pt x="936575" y="578014"/>
                </a:lnTo>
                <a:lnTo>
                  <a:pt x="925575" y="557138"/>
                </a:lnTo>
                <a:close/>
                <a:moveTo>
                  <a:pt x="727622" y="557138"/>
                </a:moveTo>
                <a:lnTo>
                  <a:pt x="716061" y="578014"/>
                </a:lnTo>
                <a:lnTo>
                  <a:pt x="821012" y="578014"/>
                </a:lnTo>
                <a:lnTo>
                  <a:pt x="810012" y="557138"/>
                </a:lnTo>
                <a:lnTo>
                  <a:pt x="727622" y="557138"/>
                </a:lnTo>
                <a:close/>
                <a:moveTo>
                  <a:pt x="627901" y="557138"/>
                </a:moveTo>
                <a:lnTo>
                  <a:pt x="616340" y="578014"/>
                </a:lnTo>
                <a:lnTo>
                  <a:pt x="703065" y="578014"/>
                </a:lnTo>
                <a:lnTo>
                  <a:pt x="714543" y="557138"/>
                </a:lnTo>
                <a:lnTo>
                  <a:pt x="627901" y="557138"/>
                </a:lnTo>
                <a:close/>
                <a:moveTo>
                  <a:pt x="528180" y="557138"/>
                </a:moveTo>
                <a:lnTo>
                  <a:pt x="516619" y="578014"/>
                </a:lnTo>
                <a:lnTo>
                  <a:pt x="603343" y="578014"/>
                </a:lnTo>
                <a:lnTo>
                  <a:pt x="614822" y="557138"/>
                </a:lnTo>
                <a:lnTo>
                  <a:pt x="528180" y="557138"/>
                </a:lnTo>
                <a:close/>
                <a:moveTo>
                  <a:pt x="428459" y="557138"/>
                </a:moveTo>
                <a:lnTo>
                  <a:pt x="416898" y="578014"/>
                </a:lnTo>
                <a:lnTo>
                  <a:pt x="503622" y="578014"/>
                </a:lnTo>
                <a:lnTo>
                  <a:pt x="515101" y="557138"/>
                </a:lnTo>
                <a:lnTo>
                  <a:pt x="428459" y="557138"/>
                </a:lnTo>
                <a:close/>
                <a:moveTo>
                  <a:pt x="328449" y="557138"/>
                </a:moveTo>
                <a:lnTo>
                  <a:pt x="317176" y="578014"/>
                </a:lnTo>
                <a:lnTo>
                  <a:pt x="403901" y="578014"/>
                </a:lnTo>
                <a:lnTo>
                  <a:pt x="415380" y="557138"/>
                </a:lnTo>
                <a:lnTo>
                  <a:pt x="328449" y="557138"/>
                </a:lnTo>
                <a:close/>
                <a:moveTo>
                  <a:pt x="201515" y="530416"/>
                </a:moveTo>
                <a:lnTo>
                  <a:pt x="159041" y="577233"/>
                </a:lnTo>
                <a:lnTo>
                  <a:pt x="192093" y="576132"/>
                </a:lnTo>
                <a:lnTo>
                  <a:pt x="214127" y="549691"/>
                </a:lnTo>
                <a:cubicBezTo>
                  <a:pt x="235538" y="550793"/>
                  <a:pt x="265762" y="550792"/>
                  <a:pt x="286072" y="550792"/>
                </a:cubicBezTo>
                <a:lnTo>
                  <a:pt x="298683" y="530416"/>
                </a:lnTo>
                <a:lnTo>
                  <a:pt x="201515" y="530416"/>
                </a:lnTo>
                <a:close/>
                <a:moveTo>
                  <a:pt x="322296" y="525890"/>
                </a:moveTo>
                <a:lnTo>
                  <a:pt x="291823" y="551962"/>
                </a:lnTo>
                <a:lnTo>
                  <a:pt x="386393" y="551962"/>
                </a:lnTo>
                <a:lnTo>
                  <a:pt x="398230" y="525890"/>
                </a:lnTo>
                <a:lnTo>
                  <a:pt x="322296" y="525890"/>
                </a:lnTo>
                <a:close/>
                <a:moveTo>
                  <a:pt x="1124916" y="525757"/>
                </a:moveTo>
                <a:lnTo>
                  <a:pt x="1031630" y="525757"/>
                </a:lnTo>
                <a:lnTo>
                  <a:pt x="1039864" y="551229"/>
                </a:lnTo>
                <a:lnTo>
                  <a:pt x="1134874" y="551229"/>
                </a:lnTo>
                <a:lnTo>
                  <a:pt x="1124916" y="525757"/>
                </a:lnTo>
                <a:close/>
                <a:moveTo>
                  <a:pt x="1024636" y="525757"/>
                </a:moveTo>
                <a:lnTo>
                  <a:pt x="931350" y="525757"/>
                </a:lnTo>
                <a:lnTo>
                  <a:pt x="939584" y="551229"/>
                </a:lnTo>
                <a:lnTo>
                  <a:pt x="1034594" y="551229"/>
                </a:lnTo>
                <a:lnTo>
                  <a:pt x="1024636" y="525757"/>
                </a:lnTo>
                <a:close/>
                <a:moveTo>
                  <a:pt x="924355" y="525757"/>
                </a:moveTo>
                <a:lnTo>
                  <a:pt x="831069" y="525757"/>
                </a:lnTo>
                <a:lnTo>
                  <a:pt x="839302" y="551229"/>
                </a:lnTo>
                <a:lnTo>
                  <a:pt x="934313" y="551229"/>
                </a:lnTo>
                <a:lnTo>
                  <a:pt x="924355" y="525757"/>
                </a:lnTo>
                <a:close/>
                <a:moveTo>
                  <a:pt x="749488" y="525757"/>
                </a:moveTo>
                <a:lnTo>
                  <a:pt x="739021" y="551229"/>
                </a:lnTo>
                <a:lnTo>
                  <a:pt x="834031" y="551229"/>
                </a:lnTo>
                <a:lnTo>
                  <a:pt x="824074" y="525757"/>
                </a:lnTo>
                <a:lnTo>
                  <a:pt x="749488" y="525757"/>
                </a:lnTo>
                <a:close/>
                <a:moveTo>
                  <a:pt x="663549" y="525757"/>
                </a:moveTo>
                <a:lnTo>
                  <a:pt x="653083" y="551229"/>
                </a:lnTo>
                <a:lnTo>
                  <a:pt x="731593" y="551229"/>
                </a:lnTo>
                <a:lnTo>
                  <a:pt x="741984" y="525757"/>
                </a:lnTo>
                <a:lnTo>
                  <a:pt x="663549" y="525757"/>
                </a:lnTo>
                <a:close/>
                <a:moveTo>
                  <a:pt x="577611" y="525757"/>
                </a:moveTo>
                <a:lnTo>
                  <a:pt x="567144" y="551229"/>
                </a:lnTo>
                <a:lnTo>
                  <a:pt x="645654" y="551229"/>
                </a:lnTo>
                <a:lnTo>
                  <a:pt x="656045" y="525757"/>
                </a:lnTo>
                <a:lnTo>
                  <a:pt x="577611" y="525757"/>
                </a:lnTo>
                <a:close/>
                <a:moveTo>
                  <a:pt x="491672" y="525757"/>
                </a:moveTo>
                <a:lnTo>
                  <a:pt x="481206" y="551229"/>
                </a:lnTo>
                <a:lnTo>
                  <a:pt x="559715" y="551229"/>
                </a:lnTo>
                <a:lnTo>
                  <a:pt x="570107" y="525757"/>
                </a:lnTo>
                <a:lnTo>
                  <a:pt x="491672" y="525757"/>
                </a:lnTo>
                <a:close/>
                <a:moveTo>
                  <a:pt x="405472" y="525757"/>
                </a:moveTo>
                <a:lnTo>
                  <a:pt x="395267" y="551229"/>
                </a:lnTo>
                <a:lnTo>
                  <a:pt x="473777" y="551229"/>
                </a:lnTo>
                <a:lnTo>
                  <a:pt x="484168" y="525757"/>
                </a:lnTo>
                <a:lnTo>
                  <a:pt x="405472" y="525757"/>
                </a:lnTo>
                <a:close/>
                <a:moveTo>
                  <a:pt x="239857" y="499031"/>
                </a:moveTo>
                <a:lnTo>
                  <a:pt x="217022" y="517250"/>
                </a:lnTo>
                <a:lnTo>
                  <a:pt x="287888" y="517250"/>
                </a:lnTo>
                <a:lnTo>
                  <a:pt x="296758" y="499031"/>
                </a:lnTo>
                <a:lnTo>
                  <a:pt x="239857" y="499031"/>
                </a:lnTo>
                <a:close/>
                <a:moveTo>
                  <a:pt x="1039966" y="498996"/>
                </a:moveTo>
                <a:lnTo>
                  <a:pt x="1046136" y="516798"/>
                </a:lnTo>
                <a:lnTo>
                  <a:pt x="1117332" y="516798"/>
                </a:lnTo>
                <a:lnTo>
                  <a:pt x="1109870" y="498996"/>
                </a:lnTo>
                <a:lnTo>
                  <a:pt x="1039966" y="498996"/>
                </a:lnTo>
                <a:close/>
                <a:moveTo>
                  <a:pt x="952991" y="498996"/>
                </a:moveTo>
                <a:lnTo>
                  <a:pt x="959161" y="516798"/>
                </a:lnTo>
                <a:lnTo>
                  <a:pt x="1030357" y="516798"/>
                </a:lnTo>
                <a:lnTo>
                  <a:pt x="1022895" y="498996"/>
                </a:lnTo>
                <a:lnTo>
                  <a:pt x="952991" y="498996"/>
                </a:lnTo>
                <a:close/>
                <a:moveTo>
                  <a:pt x="866018" y="498996"/>
                </a:moveTo>
                <a:lnTo>
                  <a:pt x="872187" y="516798"/>
                </a:lnTo>
                <a:lnTo>
                  <a:pt x="943384" y="516798"/>
                </a:lnTo>
                <a:lnTo>
                  <a:pt x="935921" y="498996"/>
                </a:lnTo>
                <a:lnTo>
                  <a:pt x="866018" y="498996"/>
                </a:lnTo>
                <a:close/>
                <a:moveTo>
                  <a:pt x="779044" y="498996"/>
                </a:moveTo>
                <a:lnTo>
                  <a:pt x="785214" y="516798"/>
                </a:lnTo>
                <a:lnTo>
                  <a:pt x="856410" y="516798"/>
                </a:lnTo>
                <a:lnTo>
                  <a:pt x="848948" y="498996"/>
                </a:lnTo>
                <a:lnTo>
                  <a:pt x="779044" y="498996"/>
                </a:lnTo>
                <a:close/>
                <a:moveTo>
                  <a:pt x="692071" y="498996"/>
                </a:moveTo>
                <a:lnTo>
                  <a:pt x="698240" y="516798"/>
                </a:lnTo>
                <a:lnTo>
                  <a:pt x="769437" y="516798"/>
                </a:lnTo>
                <a:lnTo>
                  <a:pt x="761974" y="498996"/>
                </a:lnTo>
                <a:lnTo>
                  <a:pt x="692071" y="498996"/>
                </a:lnTo>
                <a:close/>
                <a:moveTo>
                  <a:pt x="619110" y="498996"/>
                </a:moveTo>
                <a:lnTo>
                  <a:pt x="611267" y="516798"/>
                </a:lnTo>
                <a:lnTo>
                  <a:pt x="682463" y="516798"/>
                </a:lnTo>
                <a:lnTo>
                  <a:pt x="675001" y="498996"/>
                </a:lnTo>
                <a:lnTo>
                  <a:pt x="619110" y="498996"/>
                </a:lnTo>
                <a:close/>
                <a:moveTo>
                  <a:pt x="542885" y="498996"/>
                </a:moveTo>
                <a:lnTo>
                  <a:pt x="535042" y="516798"/>
                </a:lnTo>
                <a:lnTo>
                  <a:pt x="593873" y="516798"/>
                </a:lnTo>
                <a:lnTo>
                  <a:pt x="601660" y="498996"/>
                </a:lnTo>
                <a:lnTo>
                  <a:pt x="542885" y="498996"/>
                </a:lnTo>
                <a:close/>
                <a:moveTo>
                  <a:pt x="466659" y="498996"/>
                </a:moveTo>
                <a:lnTo>
                  <a:pt x="458816" y="516798"/>
                </a:lnTo>
                <a:lnTo>
                  <a:pt x="517648" y="516798"/>
                </a:lnTo>
                <a:lnTo>
                  <a:pt x="525434" y="498996"/>
                </a:lnTo>
                <a:lnTo>
                  <a:pt x="466659" y="498996"/>
                </a:lnTo>
                <a:close/>
                <a:moveTo>
                  <a:pt x="390434" y="498996"/>
                </a:moveTo>
                <a:lnTo>
                  <a:pt x="382591" y="516798"/>
                </a:lnTo>
                <a:lnTo>
                  <a:pt x="441422" y="516798"/>
                </a:lnTo>
                <a:lnTo>
                  <a:pt x="449209" y="498996"/>
                </a:lnTo>
                <a:lnTo>
                  <a:pt x="390434" y="498996"/>
                </a:lnTo>
                <a:close/>
                <a:moveTo>
                  <a:pt x="314013" y="498996"/>
                </a:moveTo>
                <a:lnTo>
                  <a:pt x="306365" y="516798"/>
                </a:lnTo>
                <a:lnTo>
                  <a:pt x="365197" y="516798"/>
                </a:lnTo>
                <a:lnTo>
                  <a:pt x="372983" y="498996"/>
                </a:lnTo>
                <a:lnTo>
                  <a:pt x="314013" y="498996"/>
                </a:lnTo>
                <a:close/>
                <a:moveTo>
                  <a:pt x="258492" y="40617"/>
                </a:moveTo>
                <a:lnTo>
                  <a:pt x="258492" y="411185"/>
                </a:lnTo>
                <a:lnTo>
                  <a:pt x="1083261" y="411185"/>
                </a:lnTo>
                <a:lnTo>
                  <a:pt x="1083261" y="40617"/>
                </a:lnTo>
                <a:lnTo>
                  <a:pt x="258492" y="40617"/>
                </a:lnTo>
                <a:close/>
                <a:moveTo>
                  <a:pt x="268601" y="0"/>
                </a:moveTo>
                <a:lnTo>
                  <a:pt x="1073151" y="0"/>
                </a:lnTo>
                <a:cubicBezTo>
                  <a:pt x="1101343" y="0"/>
                  <a:pt x="1124196" y="22854"/>
                  <a:pt x="1124196" y="51045"/>
                </a:cubicBezTo>
                <a:lnTo>
                  <a:pt x="1124196" y="400758"/>
                </a:lnTo>
                <a:cubicBezTo>
                  <a:pt x="1124196" y="414853"/>
                  <a:pt x="1118483" y="427614"/>
                  <a:pt x="1109246" y="436852"/>
                </a:cubicBezTo>
                <a:lnTo>
                  <a:pt x="1100632" y="442659"/>
                </a:lnTo>
                <a:lnTo>
                  <a:pt x="1113990" y="442704"/>
                </a:lnTo>
                <a:cubicBezTo>
                  <a:pt x="1115580" y="453585"/>
                  <a:pt x="1253665" y="635964"/>
                  <a:pt x="1301855" y="691555"/>
                </a:cubicBezTo>
                <a:cubicBezTo>
                  <a:pt x="1321514" y="712595"/>
                  <a:pt x="1292185" y="770184"/>
                  <a:pt x="1252537" y="770184"/>
                </a:cubicBezTo>
                <a:lnTo>
                  <a:pt x="49793" y="770184"/>
                </a:lnTo>
                <a:cubicBezTo>
                  <a:pt x="10147" y="770184"/>
                  <a:pt x="-7951" y="709788"/>
                  <a:pt x="3283" y="680322"/>
                </a:cubicBezTo>
                <a:lnTo>
                  <a:pt x="221490" y="439672"/>
                </a:lnTo>
                <a:lnTo>
                  <a:pt x="236767" y="439724"/>
                </a:lnTo>
                <a:lnTo>
                  <a:pt x="232507" y="436852"/>
                </a:lnTo>
                <a:cubicBezTo>
                  <a:pt x="223270" y="427614"/>
                  <a:pt x="217556" y="414853"/>
                  <a:pt x="217556" y="400758"/>
                </a:cubicBezTo>
                <a:lnTo>
                  <a:pt x="217556" y="51045"/>
                </a:lnTo>
                <a:cubicBezTo>
                  <a:pt x="217556" y="22854"/>
                  <a:pt x="240410" y="0"/>
                  <a:pt x="268601" y="0"/>
                </a:cubicBezTo>
                <a:close/>
              </a:path>
            </a:pathLst>
          </a:custGeom>
          <a:solidFill>
            <a:srgbClr val="008789"/>
          </a:solidFill>
          <a:ln w="12700" cap="flat" cmpd="sng" algn="ctr">
            <a:noFill/>
            <a:prstDash val="solid"/>
            <a:miter lim="800000"/>
          </a:ln>
          <a:effectLst/>
        </p:spPr>
        <p:txBody>
          <a:bodyPr rtlCol="0" anchor="ctr"/>
          <a:lstStyle/>
          <a:p>
            <a:pPr marL="0" marR="0" lvl="0" indent="0" algn="ctr" defTabSz="467539"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white"/>
              </a:solidFill>
              <a:effectLst/>
              <a:uLnTx/>
              <a:uFillTx/>
              <a:latin typeface="Arial"/>
              <a:ea typeface="+mn-ea"/>
              <a:cs typeface="+mn-cs"/>
            </a:endParaRPr>
          </a:p>
        </p:txBody>
      </p:sp>
      <p:sp>
        <p:nvSpPr>
          <p:cNvPr id="437" name="pole tekstowe 436">
            <a:extLst>
              <a:ext uri="{FF2B5EF4-FFF2-40B4-BE49-F238E27FC236}">
                <a16:creationId xmlns:a16="http://schemas.microsoft.com/office/drawing/2014/main" id="{48553E5C-579A-F5BF-D99D-A018C3BE9CDE}"/>
              </a:ext>
            </a:extLst>
          </p:cNvPr>
          <p:cNvSpPr txBox="1"/>
          <p:nvPr/>
        </p:nvSpPr>
        <p:spPr>
          <a:xfrm>
            <a:off x="8815445" y="1578245"/>
            <a:ext cx="938695" cy="379463"/>
          </a:xfrm>
          <a:prstGeom prst="rect">
            <a:avLst/>
          </a:prstGeom>
          <a:noFill/>
        </p:spPr>
        <p:txBody>
          <a:bodyPr wrap="square" rtlCol="0">
            <a:spAutoFit/>
          </a:bodyPr>
          <a:lstStyle/>
          <a:p>
            <a:pPr marL="0" marR="0" lvl="0" indent="0" algn="ctr" defTabSz="467539"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EXPORT </a:t>
            </a:r>
          </a:p>
          <a:p>
            <a:pPr marL="0" marR="0" lvl="0" indent="0" algn="ctr" defTabSz="467539"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TYPE</a:t>
            </a:r>
          </a:p>
        </p:txBody>
      </p:sp>
      <p:sp>
        <p:nvSpPr>
          <p:cNvPr id="438" name="pole tekstowe 437">
            <a:extLst>
              <a:ext uri="{FF2B5EF4-FFF2-40B4-BE49-F238E27FC236}">
                <a16:creationId xmlns:a16="http://schemas.microsoft.com/office/drawing/2014/main" id="{1E3B08F1-C4D0-15B3-9429-88BDE0293046}"/>
              </a:ext>
            </a:extLst>
          </p:cNvPr>
          <p:cNvSpPr txBox="1"/>
          <p:nvPr/>
        </p:nvSpPr>
        <p:spPr>
          <a:xfrm>
            <a:off x="7852389" y="1585902"/>
            <a:ext cx="1056520" cy="379463"/>
          </a:xfrm>
          <a:prstGeom prst="rect">
            <a:avLst/>
          </a:prstGeom>
          <a:noFill/>
        </p:spPr>
        <p:txBody>
          <a:bodyPr wrap="square" rtlCol="0">
            <a:spAutoFit/>
          </a:bodyPr>
          <a:lstStyle/>
          <a:p>
            <a:pPr marL="0" marR="0" lvl="0" indent="0" algn="ctr" defTabSz="467539"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VG MONTHLY VOLUME</a:t>
            </a:r>
          </a:p>
        </p:txBody>
      </p:sp>
      <p:sp>
        <p:nvSpPr>
          <p:cNvPr id="439" name="pole tekstowe 438">
            <a:extLst>
              <a:ext uri="{FF2B5EF4-FFF2-40B4-BE49-F238E27FC236}">
                <a16:creationId xmlns:a16="http://schemas.microsoft.com/office/drawing/2014/main" id="{8CBFC298-C142-4A1B-A9E8-05B9C23C5261}"/>
              </a:ext>
            </a:extLst>
          </p:cNvPr>
          <p:cNvSpPr txBox="1"/>
          <p:nvPr/>
        </p:nvSpPr>
        <p:spPr>
          <a:xfrm>
            <a:off x="9693760" y="1577506"/>
            <a:ext cx="829703" cy="379463"/>
          </a:xfrm>
          <a:prstGeom prst="rect">
            <a:avLst/>
          </a:prstGeom>
          <a:noFill/>
        </p:spPr>
        <p:txBody>
          <a:bodyPr wrap="square" rtlCol="0">
            <a:spAutoFit/>
          </a:bodyPr>
          <a:lstStyle/>
          <a:p>
            <a:pPr marL="0" marR="0" lvl="0" indent="0" algn="ctr" defTabSz="467539"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ERSONA-LIZATION</a:t>
            </a:r>
          </a:p>
        </p:txBody>
      </p:sp>
      <p:sp>
        <p:nvSpPr>
          <p:cNvPr id="440" name="pole tekstowe 439">
            <a:extLst>
              <a:ext uri="{FF2B5EF4-FFF2-40B4-BE49-F238E27FC236}">
                <a16:creationId xmlns:a16="http://schemas.microsoft.com/office/drawing/2014/main" id="{4F9D8CD2-5117-3CA8-C6EF-06D548DE62D0}"/>
              </a:ext>
            </a:extLst>
          </p:cNvPr>
          <p:cNvSpPr txBox="1"/>
          <p:nvPr/>
        </p:nvSpPr>
        <p:spPr>
          <a:xfrm>
            <a:off x="10307344" y="1580924"/>
            <a:ext cx="1000981" cy="379463"/>
          </a:xfrm>
          <a:prstGeom prst="rect">
            <a:avLst/>
          </a:prstGeom>
          <a:noFill/>
        </p:spPr>
        <p:txBody>
          <a:bodyPr wrap="square" rtlCol="0">
            <a:spAutoFit/>
          </a:bodyPr>
          <a:lstStyle/>
          <a:p>
            <a:pPr marL="0" marR="0" lvl="0" indent="0" algn="ctr" defTabSz="467539"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UPDATE OF CONTENT</a:t>
            </a:r>
          </a:p>
        </p:txBody>
      </p:sp>
      <p:sp>
        <p:nvSpPr>
          <p:cNvPr id="441" name="pole tekstowe 440">
            <a:extLst>
              <a:ext uri="{FF2B5EF4-FFF2-40B4-BE49-F238E27FC236}">
                <a16:creationId xmlns:a16="http://schemas.microsoft.com/office/drawing/2014/main" id="{6A4CF147-8384-8A9E-F925-F4ECE85BFEC1}"/>
              </a:ext>
            </a:extLst>
          </p:cNvPr>
          <p:cNvSpPr txBox="1"/>
          <p:nvPr/>
        </p:nvSpPr>
        <p:spPr>
          <a:xfrm>
            <a:off x="11027352" y="1625031"/>
            <a:ext cx="1000981" cy="235898"/>
          </a:xfrm>
          <a:prstGeom prst="rect">
            <a:avLst/>
          </a:prstGeom>
          <a:noFill/>
        </p:spPr>
        <p:txBody>
          <a:bodyPr wrap="square" rtlCol="0">
            <a:spAutoFit/>
          </a:bodyPr>
          <a:lstStyle/>
          <a:p>
            <a:pPr marL="0" marR="0" lvl="0" indent="0" algn="ctr" defTabSz="467539"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UDIENCE</a:t>
            </a:r>
          </a:p>
        </p:txBody>
      </p:sp>
      <p:grpSp>
        <p:nvGrpSpPr>
          <p:cNvPr id="443" name="Group 383">
            <a:extLst>
              <a:ext uri="{FF2B5EF4-FFF2-40B4-BE49-F238E27FC236}">
                <a16:creationId xmlns:a16="http://schemas.microsoft.com/office/drawing/2014/main" id="{DD504718-BC52-0592-C1E1-73403D1A9E9D}"/>
              </a:ext>
            </a:extLst>
          </p:cNvPr>
          <p:cNvGrpSpPr/>
          <p:nvPr/>
        </p:nvGrpSpPr>
        <p:grpSpPr>
          <a:xfrm>
            <a:off x="11403228" y="2154223"/>
            <a:ext cx="330885" cy="291109"/>
            <a:chOff x="-2429678" y="-3238500"/>
            <a:chExt cx="13663209" cy="13417212"/>
          </a:xfrm>
          <a:solidFill>
            <a:srgbClr val="008789"/>
          </a:solidFill>
        </p:grpSpPr>
        <p:sp>
          <p:nvSpPr>
            <p:cNvPr id="444" name="Freeform 394">
              <a:extLst>
                <a:ext uri="{FF2B5EF4-FFF2-40B4-BE49-F238E27FC236}">
                  <a16:creationId xmlns:a16="http://schemas.microsoft.com/office/drawing/2014/main" id="{1537DF4D-3A7B-9888-FFAC-1A1A9CB10E52}"/>
                </a:ext>
              </a:extLst>
            </p:cNvPr>
            <p:cNvSpPr/>
            <p:nvPr/>
          </p:nvSpPr>
          <p:spPr>
            <a:xfrm>
              <a:off x="990599" y="-3238500"/>
              <a:ext cx="6825423" cy="7410594"/>
            </a:xfrm>
            <a:custGeom>
              <a:avLst/>
              <a:gdLst>
                <a:gd name="connsiteX0" fmla="*/ 3409950 w 6825423"/>
                <a:gd name="connsiteY0" fmla="*/ 0 h 7410594"/>
                <a:gd name="connsiteX1" fmla="*/ 6229951 w 6825423"/>
                <a:gd name="connsiteY1" fmla="*/ 2516401 h 7410594"/>
                <a:gd name="connsiteX2" fmla="*/ 6238704 w 6825423"/>
                <a:gd name="connsiteY2" fmla="*/ 2557692 h 7410594"/>
                <a:gd name="connsiteX3" fmla="*/ 6296533 w 6825423"/>
                <a:gd name="connsiteY3" fmla="*/ 2595147 h 7410594"/>
                <a:gd name="connsiteX4" fmla="*/ 6674736 w 6825423"/>
                <a:gd name="connsiteY4" fmla="*/ 2949584 h 7410594"/>
                <a:gd name="connsiteX5" fmla="*/ 6674736 w 6825423"/>
                <a:gd name="connsiteY5" fmla="*/ 4422766 h 7410594"/>
                <a:gd name="connsiteX6" fmla="*/ 6134530 w 6825423"/>
                <a:gd name="connsiteY6" fmla="*/ 4903781 h 7410594"/>
                <a:gd name="connsiteX7" fmla="*/ 6097506 w 6825423"/>
                <a:gd name="connsiteY7" fmla="*/ 4909551 h 7410594"/>
                <a:gd name="connsiteX8" fmla="*/ 6054756 w 6825423"/>
                <a:gd name="connsiteY8" fmla="*/ 5016817 h 7410594"/>
                <a:gd name="connsiteX9" fmla="*/ 3352800 w 6825423"/>
                <a:gd name="connsiteY9" fmla="*/ 7410450 h 7410594"/>
                <a:gd name="connsiteX10" fmla="*/ 799523 w 6825423"/>
                <a:gd name="connsiteY10" fmla="*/ 5059710 h 7410594"/>
                <a:gd name="connsiteX11" fmla="*/ 738130 w 6825423"/>
                <a:gd name="connsiteY11" fmla="*/ 4892092 h 7410594"/>
                <a:gd name="connsiteX12" fmla="*/ 690893 w 6825423"/>
                <a:gd name="connsiteY12" fmla="*/ 4884731 h 7410594"/>
                <a:gd name="connsiteX13" fmla="*/ 150687 w 6825423"/>
                <a:gd name="connsiteY13" fmla="*/ 4403716 h 7410594"/>
                <a:gd name="connsiteX14" fmla="*/ 150687 w 6825423"/>
                <a:gd name="connsiteY14" fmla="*/ 2930534 h 7410594"/>
                <a:gd name="connsiteX15" fmla="*/ 436548 w 6825423"/>
                <a:gd name="connsiteY15" fmla="*/ 2646152 h 7410594"/>
                <a:gd name="connsiteX16" fmla="*/ 522375 w 6825423"/>
                <a:gd name="connsiteY16" fmla="*/ 2581039 h 7410594"/>
                <a:gd name="connsiteX17" fmla="*/ 543969 w 6825423"/>
                <a:gd name="connsiteY17" fmla="*/ 2473931 h 7410594"/>
                <a:gd name="connsiteX18" fmla="*/ 3409950 w 6825423"/>
                <a:gd name="connsiteY18" fmla="*/ 0 h 7410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825423" h="7410594">
                  <a:moveTo>
                    <a:pt x="3409950" y="0"/>
                  </a:moveTo>
                  <a:cubicBezTo>
                    <a:pt x="4734941" y="0"/>
                    <a:pt x="5856099" y="1058526"/>
                    <a:pt x="6229951" y="2516401"/>
                  </a:cubicBezTo>
                  <a:lnTo>
                    <a:pt x="6238704" y="2557692"/>
                  </a:lnTo>
                  <a:lnTo>
                    <a:pt x="6296533" y="2595147"/>
                  </a:lnTo>
                  <a:cubicBezTo>
                    <a:pt x="6416937" y="2679806"/>
                    <a:pt x="6549956" y="2799961"/>
                    <a:pt x="6674736" y="2949584"/>
                  </a:cubicBezTo>
                  <a:cubicBezTo>
                    <a:pt x="6821179" y="3212045"/>
                    <a:pt x="6923689" y="3855505"/>
                    <a:pt x="6674736" y="4422766"/>
                  </a:cubicBezTo>
                  <a:cubicBezTo>
                    <a:pt x="6575328" y="4635424"/>
                    <a:pt x="6329416" y="4856355"/>
                    <a:pt x="6134530" y="4903781"/>
                  </a:cubicBezTo>
                  <a:lnTo>
                    <a:pt x="6097506" y="4909551"/>
                  </a:lnTo>
                  <a:lnTo>
                    <a:pt x="6054756" y="5016817"/>
                  </a:lnTo>
                  <a:cubicBezTo>
                    <a:pt x="5478809" y="6376352"/>
                    <a:pt x="4218682" y="7424738"/>
                    <a:pt x="3352800" y="7410450"/>
                  </a:cubicBezTo>
                  <a:cubicBezTo>
                    <a:pt x="2486918" y="7396163"/>
                    <a:pt x="1360736" y="6426399"/>
                    <a:pt x="799523" y="5059710"/>
                  </a:cubicBezTo>
                  <a:lnTo>
                    <a:pt x="738130" y="4892092"/>
                  </a:lnTo>
                  <a:lnTo>
                    <a:pt x="690893" y="4884731"/>
                  </a:lnTo>
                  <a:cubicBezTo>
                    <a:pt x="496007" y="4837305"/>
                    <a:pt x="250095" y="4616374"/>
                    <a:pt x="150687" y="4403716"/>
                  </a:cubicBezTo>
                  <a:cubicBezTo>
                    <a:pt x="-98266" y="3836455"/>
                    <a:pt x="4244" y="3192995"/>
                    <a:pt x="150687" y="2930534"/>
                  </a:cubicBezTo>
                  <a:cubicBezTo>
                    <a:pt x="244273" y="2818317"/>
                    <a:pt x="342492" y="2722675"/>
                    <a:pt x="436548" y="2646152"/>
                  </a:cubicBezTo>
                  <a:lnTo>
                    <a:pt x="522375" y="2581039"/>
                  </a:lnTo>
                  <a:lnTo>
                    <a:pt x="543969" y="2473931"/>
                  </a:lnTo>
                  <a:cubicBezTo>
                    <a:pt x="882058" y="983022"/>
                    <a:pt x="2084958" y="0"/>
                    <a:pt x="34099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67539"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445" name="Rectangle 92">
              <a:extLst>
                <a:ext uri="{FF2B5EF4-FFF2-40B4-BE49-F238E27FC236}">
                  <a16:creationId xmlns:a16="http://schemas.microsoft.com/office/drawing/2014/main" id="{DC38268F-7D8D-430B-659E-9074D436E3D7}"/>
                </a:ext>
              </a:extLst>
            </p:cNvPr>
            <p:cNvSpPr/>
            <p:nvPr/>
          </p:nvSpPr>
          <p:spPr>
            <a:xfrm>
              <a:off x="-2429678" y="3891431"/>
              <a:ext cx="13663209" cy="6287281"/>
            </a:xfrm>
            <a:custGeom>
              <a:avLst/>
              <a:gdLst>
                <a:gd name="connsiteX0" fmla="*/ 0 w 13620364"/>
                <a:gd name="connsiteY0" fmla="*/ 0 h 6310100"/>
                <a:gd name="connsiteX1" fmla="*/ 13620364 w 13620364"/>
                <a:gd name="connsiteY1" fmla="*/ 0 h 6310100"/>
                <a:gd name="connsiteX2" fmla="*/ 13620364 w 13620364"/>
                <a:gd name="connsiteY2" fmla="*/ 6310100 h 6310100"/>
                <a:gd name="connsiteX3" fmla="*/ 0 w 13620364"/>
                <a:gd name="connsiteY3" fmla="*/ 6310100 h 6310100"/>
                <a:gd name="connsiteX4" fmla="*/ 0 w 13620364"/>
                <a:gd name="connsiteY4" fmla="*/ 0 h 6310100"/>
                <a:gd name="connsiteX0" fmla="*/ 0 w 13620364"/>
                <a:gd name="connsiteY0" fmla="*/ 1 h 6310101"/>
                <a:gd name="connsiteX1" fmla="*/ 6914764 w 13620364"/>
                <a:gd name="connsiteY1" fmla="*/ 0 h 6310101"/>
                <a:gd name="connsiteX2" fmla="*/ 13620364 w 13620364"/>
                <a:gd name="connsiteY2" fmla="*/ 1 h 6310101"/>
                <a:gd name="connsiteX3" fmla="*/ 13620364 w 13620364"/>
                <a:gd name="connsiteY3" fmla="*/ 6310101 h 6310101"/>
                <a:gd name="connsiteX4" fmla="*/ 0 w 13620364"/>
                <a:gd name="connsiteY4" fmla="*/ 6310101 h 6310101"/>
                <a:gd name="connsiteX5" fmla="*/ 0 w 13620364"/>
                <a:gd name="connsiteY5" fmla="*/ 1 h 6310101"/>
                <a:gd name="connsiteX0" fmla="*/ 0 w 13620364"/>
                <a:gd name="connsiteY0" fmla="*/ 0 h 6310100"/>
                <a:gd name="connsiteX1" fmla="*/ 6774087 w 13620364"/>
                <a:gd name="connsiteY1" fmla="*/ 5017476 h 6310100"/>
                <a:gd name="connsiteX2" fmla="*/ 13620364 w 13620364"/>
                <a:gd name="connsiteY2" fmla="*/ 0 h 6310100"/>
                <a:gd name="connsiteX3" fmla="*/ 13620364 w 13620364"/>
                <a:gd name="connsiteY3" fmla="*/ 6310100 h 6310100"/>
                <a:gd name="connsiteX4" fmla="*/ 0 w 13620364"/>
                <a:gd name="connsiteY4" fmla="*/ 6310100 h 6310100"/>
                <a:gd name="connsiteX5" fmla="*/ 0 w 13620364"/>
                <a:gd name="connsiteY5" fmla="*/ 0 h 6310100"/>
                <a:gd name="connsiteX0" fmla="*/ 0 w 13620364"/>
                <a:gd name="connsiteY0" fmla="*/ 0 h 6310100"/>
                <a:gd name="connsiteX1" fmla="*/ 6774087 w 13620364"/>
                <a:gd name="connsiteY1" fmla="*/ 5017476 h 6310100"/>
                <a:gd name="connsiteX2" fmla="*/ 10994394 w 13620364"/>
                <a:gd name="connsiteY2" fmla="*/ 1852246 h 6310100"/>
                <a:gd name="connsiteX3" fmla="*/ 13620364 w 13620364"/>
                <a:gd name="connsiteY3" fmla="*/ 0 h 6310100"/>
                <a:gd name="connsiteX4" fmla="*/ 13620364 w 13620364"/>
                <a:gd name="connsiteY4" fmla="*/ 6310100 h 6310100"/>
                <a:gd name="connsiteX5" fmla="*/ 0 w 13620364"/>
                <a:gd name="connsiteY5" fmla="*/ 6310100 h 6310100"/>
                <a:gd name="connsiteX6" fmla="*/ 0 w 13620364"/>
                <a:gd name="connsiteY6" fmla="*/ 0 h 6310100"/>
                <a:gd name="connsiteX0" fmla="*/ 0 w 13620364"/>
                <a:gd name="connsiteY0" fmla="*/ 0 h 6310100"/>
                <a:gd name="connsiteX1" fmla="*/ 6774087 w 13620364"/>
                <a:gd name="connsiteY1" fmla="*/ 5017476 h 6310100"/>
                <a:gd name="connsiteX2" fmla="*/ 9235932 w 13620364"/>
                <a:gd name="connsiteY2" fmla="*/ 23446 h 6310100"/>
                <a:gd name="connsiteX3" fmla="*/ 13620364 w 13620364"/>
                <a:gd name="connsiteY3" fmla="*/ 0 h 6310100"/>
                <a:gd name="connsiteX4" fmla="*/ 13620364 w 13620364"/>
                <a:gd name="connsiteY4" fmla="*/ 6310100 h 6310100"/>
                <a:gd name="connsiteX5" fmla="*/ 0 w 13620364"/>
                <a:gd name="connsiteY5" fmla="*/ 6310100 h 6310100"/>
                <a:gd name="connsiteX6" fmla="*/ 0 w 13620364"/>
                <a:gd name="connsiteY6" fmla="*/ 0 h 6310100"/>
                <a:gd name="connsiteX0" fmla="*/ 0 w 13620364"/>
                <a:gd name="connsiteY0" fmla="*/ 0 h 6310100"/>
                <a:gd name="connsiteX1" fmla="*/ 2108302 w 13620364"/>
                <a:gd name="connsiteY1" fmla="*/ 1547446 h 6310100"/>
                <a:gd name="connsiteX2" fmla="*/ 6774087 w 13620364"/>
                <a:gd name="connsiteY2" fmla="*/ 5017476 h 6310100"/>
                <a:gd name="connsiteX3" fmla="*/ 9235932 w 13620364"/>
                <a:gd name="connsiteY3" fmla="*/ 23446 h 6310100"/>
                <a:gd name="connsiteX4" fmla="*/ 13620364 w 13620364"/>
                <a:gd name="connsiteY4" fmla="*/ 0 h 6310100"/>
                <a:gd name="connsiteX5" fmla="*/ 13620364 w 13620364"/>
                <a:gd name="connsiteY5" fmla="*/ 6310100 h 6310100"/>
                <a:gd name="connsiteX6" fmla="*/ 0 w 13620364"/>
                <a:gd name="connsiteY6" fmla="*/ 6310100 h 6310100"/>
                <a:gd name="connsiteX7" fmla="*/ 0 w 13620364"/>
                <a:gd name="connsiteY7" fmla="*/ 0 h 6310100"/>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3620364 w 13620364"/>
                <a:gd name="connsiteY4" fmla="*/ 0 h 6310100"/>
                <a:gd name="connsiteX5" fmla="*/ 13620364 w 13620364"/>
                <a:gd name="connsiteY5" fmla="*/ 6310100 h 6310100"/>
                <a:gd name="connsiteX6" fmla="*/ 0 w 13620364"/>
                <a:gd name="connsiteY6" fmla="*/ 6310100 h 6310100"/>
                <a:gd name="connsiteX7" fmla="*/ 0 w 13620364"/>
                <a:gd name="connsiteY7" fmla="*/ 0 h 6310100"/>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3620364 w 13620364"/>
                <a:gd name="connsiteY4" fmla="*/ 0 h 6310100"/>
                <a:gd name="connsiteX5" fmla="*/ 13620364 w 13620364"/>
                <a:gd name="connsiteY5" fmla="*/ 6310100 h 6310100"/>
                <a:gd name="connsiteX6" fmla="*/ 10830271 w 13620364"/>
                <a:gd name="connsiteY6" fmla="*/ 6307015 h 6310100"/>
                <a:gd name="connsiteX7" fmla="*/ 0 w 13620364"/>
                <a:gd name="connsiteY7" fmla="*/ 6310100 h 6310100"/>
                <a:gd name="connsiteX8" fmla="*/ 0 w 13620364"/>
                <a:gd name="connsiteY8" fmla="*/ 0 h 6310100"/>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3620364 w 13620364"/>
                <a:gd name="connsiteY4" fmla="*/ 0 h 6310100"/>
                <a:gd name="connsiteX5" fmla="*/ 13620364 w 13620364"/>
                <a:gd name="connsiteY5" fmla="*/ 6310100 h 6310100"/>
                <a:gd name="connsiteX6" fmla="*/ 10830271 w 13620364"/>
                <a:gd name="connsiteY6" fmla="*/ 6307015 h 6310100"/>
                <a:gd name="connsiteX7" fmla="*/ 9681410 w 13620364"/>
                <a:gd name="connsiteY7" fmla="*/ 6283569 h 6310100"/>
                <a:gd name="connsiteX8" fmla="*/ 0 w 13620364"/>
                <a:gd name="connsiteY8" fmla="*/ 6310100 h 6310100"/>
                <a:gd name="connsiteX9" fmla="*/ 0 w 13620364"/>
                <a:gd name="connsiteY9" fmla="*/ 0 h 6310100"/>
                <a:gd name="connsiteX0" fmla="*/ 0 w 13620364"/>
                <a:gd name="connsiteY0" fmla="*/ 0 h 6330461"/>
                <a:gd name="connsiteX1" fmla="*/ 4406025 w 13620364"/>
                <a:gd name="connsiteY1" fmla="*/ 46892 h 6330461"/>
                <a:gd name="connsiteX2" fmla="*/ 6774087 w 13620364"/>
                <a:gd name="connsiteY2" fmla="*/ 5017476 h 6330461"/>
                <a:gd name="connsiteX3" fmla="*/ 9235932 w 13620364"/>
                <a:gd name="connsiteY3" fmla="*/ 23446 h 6330461"/>
                <a:gd name="connsiteX4" fmla="*/ 13620364 w 13620364"/>
                <a:gd name="connsiteY4" fmla="*/ 0 h 6330461"/>
                <a:gd name="connsiteX5" fmla="*/ 13620364 w 13620364"/>
                <a:gd name="connsiteY5" fmla="*/ 6310100 h 6330461"/>
                <a:gd name="connsiteX6" fmla="*/ 10830271 w 13620364"/>
                <a:gd name="connsiteY6" fmla="*/ 6307015 h 6330461"/>
                <a:gd name="connsiteX7" fmla="*/ 10220671 w 13620364"/>
                <a:gd name="connsiteY7" fmla="*/ 6330461 h 6330461"/>
                <a:gd name="connsiteX8" fmla="*/ 0 w 13620364"/>
                <a:gd name="connsiteY8" fmla="*/ 6310100 h 6330461"/>
                <a:gd name="connsiteX9" fmla="*/ 0 w 13620364"/>
                <a:gd name="connsiteY9" fmla="*/ 0 h 6330461"/>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3620364 w 13620364"/>
                <a:gd name="connsiteY4" fmla="*/ 0 h 6310100"/>
                <a:gd name="connsiteX5" fmla="*/ 13620364 w 13620364"/>
                <a:gd name="connsiteY5" fmla="*/ 6310100 h 6310100"/>
                <a:gd name="connsiteX6" fmla="*/ 10830271 w 13620364"/>
                <a:gd name="connsiteY6" fmla="*/ 6307015 h 6310100"/>
                <a:gd name="connsiteX7" fmla="*/ 7594702 w 13620364"/>
                <a:gd name="connsiteY7" fmla="*/ 6213230 h 6310100"/>
                <a:gd name="connsiteX8" fmla="*/ 0 w 13620364"/>
                <a:gd name="connsiteY8" fmla="*/ 6310100 h 6310100"/>
                <a:gd name="connsiteX9" fmla="*/ 0 w 13620364"/>
                <a:gd name="connsiteY9" fmla="*/ 0 h 6310100"/>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3620364 w 13620364"/>
                <a:gd name="connsiteY4" fmla="*/ 0 h 6310100"/>
                <a:gd name="connsiteX5" fmla="*/ 13620364 w 13620364"/>
                <a:gd name="connsiteY5" fmla="*/ 6310100 h 6310100"/>
                <a:gd name="connsiteX6" fmla="*/ 10830271 w 13620364"/>
                <a:gd name="connsiteY6" fmla="*/ 6307015 h 6310100"/>
                <a:gd name="connsiteX7" fmla="*/ 10384794 w 13620364"/>
                <a:gd name="connsiteY7" fmla="*/ 6283569 h 6310100"/>
                <a:gd name="connsiteX8" fmla="*/ 7594702 w 13620364"/>
                <a:gd name="connsiteY8" fmla="*/ 6213230 h 6310100"/>
                <a:gd name="connsiteX9" fmla="*/ 0 w 13620364"/>
                <a:gd name="connsiteY9" fmla="*/ 6310100 h 6310100"/>
                <a:gd name="connsiteX10" fmla="*/ 0 w 13620364"/>
                <a:gd name="connsiteY10" fmla="*/ 0 h 6310100"/>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3620364 w 13620364"/>
                <a:gd name="connsiteY4" fmla="*/ 0 h 6310100"/>
                <a:gd name="connsiteX5" fmla="*/ 13620364 w 13620364"/>
                <a:gd name="connsiteY5" fmla="*/ 6310100 h 6310100"/>
                <a:gd name="connsiteX6" fmla="*/ 10830271 w 13620364"/>
                <a:gd name="connsiteY6" fmla="*/ 6307015 h 6310100"/>
                <a:gd name="connsiteX7" fmla="*/ 10877164 w 13620364"/>
                <a:gd name="connsiteY7" fmla="*/ 4032738 h 6310100"/>
                <a:gd name="connsiteX8" fmla="*/ 7594702 w 13620364"/>
                <a:gd name="connsiteY8" fmla="*/ 6213230 h 6310100"/>
                <a:gd name="connsiteX9" fmla="*/ 0 w 13620364"/>
                <a:gd name="connsiteY9" fmla="*/ 6310100 h 6310100"/>
                <a:gd name="connsiteX10" fmla="*/ 0 w 13620364"/>
                <a:gd name="connsiteY10" fmla="*/ 0 h 6310100"/>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3620364 w 13620364"/>
                <a:gd name="connsiteY4" fmla="*/ 0 h 6310100"/>
                <a:gd name="connsiteX5" fmla="*/ 13620364 w 13620364"/>
                <a:gd name="connsiteY5" fmla="*/ 6310100 h 6310100"/>
                <a:gd name="connsiteX6" fmla="*/ 10830271 w 13620364"/>
                <a:gd name="connsiteY6" fmla="*/ 6307015 h 6310100"/>
                <a:gd name="connsiteX7" fmla="*/ 10783380 w 13620364"/>
                <a:gd name="connsiteY7" fmla="*/ 4056184 h 6310100"/>
                <a:gd name="connsiteX8" fmla="*/ 7594702 w 13620364"/>
                <a:gd name="connsiteY8" fmla="*/ 6213230 h 6310100"/>
                <a:gd name="connsiteX9" fmla="*/ 0 w 13620364"/>
                <a:gd name="connsiteY9" fmla="*/ 6310100 h 6310100"/>
                <a:gd name="connsiteX10" fmla="*/ 0 w 13620364"/>
                <a:gd name="connsiteY10" fmla="*/ 0 h 6310100"/>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3620364 w 13620364"/>
                <a:gd name="connsiteY4" fmla="*/ 0 h 6310100"/>
                <a:gd name="connsiteX5" fmla="*/ 13620364 w 13620364"/>
                <a:gd name="connsiteY5" fmla="*/ 6310100 h 6310100"/>
                <a:gd name="connsiteX6" fmla="*/ 10830271 w 13620364"/>
                <a:gd name="connsiteY6" fmla="*/ 6307015 h 6310100"/>
                <a:gd name="connsiteX7" fmla="*/ 10877165 w 13620364"/>
                <a:gd name="connsiteY7" fmla="*/ 4103077 h 6310100"/>
                <a:gd name="connsiteX8" fmla="*/ 7594702 w 13620364"/>
                <a:gd name="connsiteY8" fmla="*/ 6213230 h 6310100"/>
                <a:gd name="connsiteX9" fmla="*/ 0 w 13620364"/>
                <a:gd name="connsiteY9" fmla="*/ 6310100 h 6310100"/>
                <a:gd name="connsiteX10" fmla="*/ 0 w 13620364"/>
                <a:gd name="connsiteY10" fmla="*/ 0 h 6310100"/>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3620364 w 13620364"/>
                <a:gd name="connsiteY4" fmla="*/ 0 h 6310100"/>
                <a:gd name="connsiteX5" fmla="*/ 13620364 w 13620364"/>
                <a:gd name="connsiteY5" fmla="*/ 6310100 h 6310100"/>
                <a:gd name="connsiteX6" fmla="*/ 10830271 w 13620364"/>
                <a:gd name="connsiteY6" fmla="*/ 6307015 h 6310100"/>
                <a:gd name="connsiteX7" fmla="*/ 10877165 w 13620364"/>
                <a:gd name="connsiteY7" fmla="*/ 4103077 h 6310100"/>
                <a:gd name="connsiteX8" fmla="*/ 8931133 w 13620364"/>
                <a:gd name="connsiteY8" fmla="*/ 5322276 h 6310100"/>
                <a:gd name="connsiteX9" fmla="*/ 7594702 w 13620364"/>
                <a:gd name="connsiteY9" fmla="*/ 6213230 h 6310100"/>
                <a:gd name="connsiteX10" fmla="*/ 0 w 13620364"/>
                <a:gd name="connsiteY10" fmla="*/ 6310100 h 6310100"/>
                <a:gd name="connsiteX11" fmla="*/ 0 w 13620364"/>
                <a:gd name="connsiteY11" fmla="*/ 0 h 6310100"/>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3620364 w 13620364"/>
                <a:gd name="connsiteY4" fmla="*/ 0 h 6310100"/>
                <a:gd name="connsiteX5" fmla="*/ 13620364 w 13620364"/>
                <a:gd name="connsiteY5" fmla="*/ 6310100 h 6310100"/>
                <a:gd name="connsiteX6" fmla="*/ 10830271 w 13620364"/>
                <a:gd name="connsiteY6" fmla="*/ 6307015 h 6310100"/>
                <a:gd name="connsiteX7" fmla="*/ 10877165 w 13620364"/>
                <a:gd name="connsiteY7" fmla="*/ 4103077 h 6310100"/>
                <a:gd name="connsiteX8" fmla="*/ 10197225 w 13620364"/>
                <a:gd name="connsiteY8" fmla="*/ 4267200 h 6310100"/>
                <a:gd name="connsiteX9" fmla="*/ 7594702 w 13620364"/>
                <a:gd name="connsiteY9" fmla="*/ 6213230 h 6310100"/>
                <a:gd name="connsiteX10" fmla="*/ 0 w 13620364"/>
                <a:gd name="connsiteY10" fmla="*/ 6310100 h 6310100"/>
                <a:gd name="connsiteX11" fmla="*/ 0 w 13620364"/>
                <a:gd name="connsiteY11" fmla="*/ 0 h 6310100"/>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3620364 w 13620364"/>
                <a:gd name="connsiteY4" fmla="*/ 0 h 6310100"/>
                <a:gd name="connsiteX5" fmla="*/ 13620364 w 13620364"/>
                <a:gd name="connsiteY5" fmla="*/ 6310100 h 6310100"/>
                <a:gd name="connsiteX6" fmla="*/ 10830271 w 13620364"/>
                <a:gd name="connsiteY6" fmla="*/ 6307015 h 6310100"/>
                <a:gd name="connsiteX7" fmla="*/ 10877165 w 13620364"/>
                <a:gd name="connsiteY7" fmla="*/ 4103077 h 6310100"/>
                <a:gd name="connsiteX8" fmla="*/ 10197225 w 13620364"/>
                <a:gd name="connsiteY8" fmla="*/ 4267200 h 6310100"/>
                <a:gd name="connsiteX9" fmla="*/ 10173779 w 13620364"/>
                <a:gd name="connsiteY9" fmla="*/ 6307015 h 6310100"/>
                <a:gd name="connsiteX10" fmla="*/ 0 w 13620364"/>
                <a:gd name="connsiteY10" fmla="*/ 6310100 h 6310100"/>
                <a:gd name="connsiteX11" fmla="*/ 0 w 13620364"/>
                <a:gd name="connsiteY11" fmla="*/ 0 h 6310100"/>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3620364 w 13620364"/>
                <a:gd name="connsiteY4" fmla="*/ 0 h 6310100"/>
                <a:gd name="connsiteX5" fmla="*/ 13620364 w 13620364"/>
                <a:gd name="connsiteY5" fmla="*/ 6310100 h 6310100"/>
                <a:gd name="connsiteX6" fmla="*/ 10877164 w 13620364"/>
                <a:gd name="connsiteY6" fmla="*/ 6307015 h 6310100"/>
                <a:gd name="connsiteX7" fmla="*/ 10877165 w 13620364"/>
                <a:gd name="connsiteY7" fmla="*/ 4103077 h 6310100"/>
                <a:gd name="connsiteX8" fmla="*/ 10197225 w 13620364"/>
                <a:gd name="connsiteY8" fmla="*/ 4267200 h 6310100"/>
                <a:gd name="connsiteX9" fmla="*/ 10173779 w 13620364"/>
                <a:gd name="connsiteY9" fmla="*/ 6307015 h 6310100"/>
                <a:gd name="connsiteX10" fmla="*/ 0 w 13620364"/>
                <a:gd name="connsiteY10" fmla="*/ 6310100 h 6310100"/>
                <a:gd name="connsiteX11" fmla="*/ 0 w 13620364"/>
                <a:gd name="connsiteY11" fmla="*/ 0 h 6310100"/>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3620364 w 13620364"/>
                <a:gd name="connsiteY4" fmla="*/ 0 h 6310100"/>
                <a:gd name="connsiteX5" fmla="*/ 13620364 w 13620364"/>
                <a:gd name="connsiteY5" fmla="*/ 6310100 h 6310100"/>
                <a:gd name="connsiteX6" fmla="*/ 10877164 w 13620364"/>
                <a:gd name="connsiteY6" fmla="*/ 6307015 h 6310100"/>
                <a:gd name="connsiteX7" fmla="*/ 10877165 w 13620364"/>
                <a:gd name="connsiteY7" fmla="*/ 4103077 h 6310100"/>
                <a:gd name="connsiteX8" fmla="*/ 10197225 w 13620364"/>
                <a:gd name="connsiteY8" fmla="*/ 4267200 h 6310100"/>
                <a:gd name="connsiteX9" fmla="*/ 10173779 w 13620364"/>
                <a:gd name="connsiteY9" fmla="*/ 6307015 h 6310100"/>
                <a:gd name="connsiteX10" fmla="*/ 0 w 13620364"/>
                <a:gd name="connsiteY10" fmla="*/ 6310100 h 6310100"/>
                <a:gd name="connsiteX11" fmla="*/ 0 w 13620364"/>
                <a:gd name="connsiteY11" fmla="*/ 0 h 6310100"/>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3620364 w 13620364"/>
                <a:gd name="connsiteY4" fmla="*/ 0 h 6310100"/>
                <a:gd name="connsiteX5" fmla="*/ 13620364 w 13620364"/>
                <a:gd name="connsiteY5" fmla="*/ 6310100 h 6310100"/>
                <a:gd name="connsiteX6" fmla="*/ 10877164 w 13620364"/>
                <a:gd name="connsiteY6" fmla="*/ 6307015 h 6310100"/>
                <a:gd name="connsiteX7" fmla="*/ 10877165 w 13620364"/>
                <a:gd name="connsiteY7" fmla="*/ 4103077 h 6310100"/>
                <a:gd name="connsiteX8" fmla="*/ 10197225 w 13620364"/>
                <a:gd name="connsiteY8" fmla="*/ 4267200 h 6310100"/>
                <a:gd name="connsiteX9" fmla="*/ 10173779 w 13620364"/>
                <a:gd name="connsiteY9" fmla="*/ 6307015 h 6310100"/>
                <a:gd name="connsiteX10" fmla="*/ 0 w 13620364"/>
                <a:gd name="connsiteY10" fmla="*/ 6310100 h 6310100"/>
                <a:gd name="connsiteX11" fmla="*/ 0 w 13620364"/>
                <a:gd name="connsiteY11" fmla="*/ 0 h 6310100"/>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3620364 w 13620364"/>
                <a:gd name="connsiteY4" fmla="*/ 0 h 6310100"/>
                <a:gd name="connsiteX5" fmla="*/ 13620364 w 13620364"/>
                <a:gd name="connsiteY5" fmla="*/ 6310100 h 6310100"/>
                <a:gd name="connsiteX6" fmla="*/ 10877164 w 13620364"/>
                <a:gd name="connsiteY6" fmla="*/ 6307015 h 6310100"/>
                <a:gd name="connsiteX7" fmla="*/ 10877165 w 13620364"/>
                <a:gd name="connsiteY7" fmla="*/ 4103077 h 6310100"/>
                <a:gd name="connsiteX8" fmla="*/ 10197225 w 13620364"/>
                <a:gd name="connsiteY8" fmla="*/ 4267200 h 6310100"/>
                <a:gd name="connsiteX9" fmla="*/ 10173779 w 13620364"/>
                <a:gd name="connsiteY9" fmla="*/ 6307015 h 6310100"/>
                <a:gd name="connsiteX10" fmla="*/ 0 w 13620364"/>
                <a:gd name="connsiteY10" fmla="*/ 6310100 h 6310100"/>
                <a:gd name="connsiteX11" fmla="*/ 0 w 13620364"/>
                <a:gd name="connsiteY11" fmla="*/ 0 h 6310100"/>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3620364 w 13620364"/>
                <a:gd name="connsiteY4" fmla="*/ 0 h 6310100"/>
                <a:gd name="connsiteX5" fmla="*/ 13620364 w 13620364"/>
                <a:gd name="connsiteY5" fmla="*/ 6310100 h 6310100"/>
                <a:gd name="connsiteX6" fmla="*/ 10877164 w 13620364"/>
                <a:gd name="connsiteY6" fmla="*/ 6307015 h 6310100"/>
                <a:gd name="connsiteX7" fmla="*/ 10877165 w 13620364"/>
                <a:gd name="connsiteY7" fmla="*/ 4103077 h 6310100"/>
                <a:gd name="connsiteX8" fmla="*/ 10197225 w 13620364"/>
                <a:gd name="connsiteY8" fmla="*/ 4267200 h 6310100"/>
                <a:gd name="connsiteX9" fmla="*/ 10173779 w 13620364"/>
                <a:gd name="connsiteY9" fmla="*/ 6307015 h 6310100"/>
                <a:gd name="connsiteX10" fmla="*/ 0 w 13620364"/>
                <a:gd name="connsiteY10" fmla="*/ 6310100 h 6310100"/>
                <a:gd name="connsiteX11" fmla="*/ 0 w 13620364"/>
                <a:gd name="connsiteY11" fmla="*/ 0 h 6310100"/>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2213595 w 13620364"/>
                <a:gd name="connsiteY4" fmla="*/ 1430215 h 6310100"/>
                <a:gd name="connsiteX5" fmla="*/ 13620364 w 13620364"/>
                <a:gd name="connsiteY5" fmla="*/ 6310100 h 6310100"/>
                <a:gd name="connsiteX6" fmla="*/ 10877164 w 13620364"/>
                <a:gd name="connsiteY6" fmla="*/ 6307015 h 6310100"/>
                <a:gd name="connsiteX7" fmla="*/ 10877165 w 13620364"/>
                <a:gd name="connsiteY7" fmla="*/ 4103077 h 6310100"/>
                <a:gd name="connsiteX8" fmla="*/ 10197225 w 13620364"/>
                <a:gd name="connsiteY8" fmla="*/ 4267200 h 6310100"/>
                <a:gd name="connsiteX9" fmla="*/ 10173779 w 13620364"/>
                <a:gd name="connsiteY9" fmla="*/ 6307015 h 6310100"/>
                <a:gd name="connsiteX10" fmla="*/ 0 w 13620364"/>
                <a:gd name="connsiteY10" fmla="*/ 6310100 h 6310100"/>
                <a:gd name="connsiteX11" fmla="*/ 0 w 13620364"/>
                <a:gd name="connsiteY11" fmla="*/ 0 h 6310100"/>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2213595 w 13620364"/>
                <a:gd name="connsiteY4" fmla="*/ 1430215 h 6310100"/>
                <a:gd name="connsiteX5" fmla="*/ 13620364 w 13620364"/>
                <a:gd name="connsiteY5" fmla="*/ 6310100 h 6310100"/>
                <a:gd name="connsiteX6" fmla="*/ 10877164 w 13620364"/>
                <a:gd name="connsiteY6" fmla="*/ 6307015 h 6310100"/>
                <a:gd name="connsiteX7" fmla="*/ 10877165 w 13620364"/>
                <a:gd name="connsiteY7" fmla="*/ 4103077 h 6310100"/>
                <a:gd name="connsiteX8" fmla="*/ 10197225 w 13620364"/>
                <a:gd name="connsiteY8" fmla="*/ 4267200 h 6310100"/>
                <a:gd name="connsiteX9" fmla="*/ 10173779 w 13620364"/>
                <a:gd name="connsiteY9" fmla="*/ 6307015 h 6310100"/>
                <a:gd name="connsiteX10" fmla="*/ 0 w 13620364"/>
                <a:gd name="connsiteY10" fmla="*/ 6310100 h 6310100"/>
                <a:gd name="connsiteX11" fmla="*/ 0 w 13620364"/>
                <a:gd name="connsiteY11" fmla="*/ 0 h 6310100"/>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2213595 w 13620364"/>
                <a:gd name="connsiteY4" fmla="*/ 1430215 h 6310100"/>
                <a:gd name="connsiteX5" fmla="*/ 13620364 w 13620364"/>
                <a:gd name="connsiteY5" fmla="*/ 6310100 h 6310100"/>
                <a:gd name="connsiteX6" fmla="*/ 10877164 w 13620364"/>
                <a:gd name="connsiteY6" fmla="*/ 6307015 h 6310100"/>
                <a:gd name="connsiteX7" fmla="*/ 10877165 w 13620364"/>
                <a:gd name="connsiteY7" fmla="*/ 4103077 h 6310100"/>
                <a:gd name="connsiteX8" fmla="*/ 10197225 w 13620364"/>
                <a:gd name="connsiteY8" fmla="*/ 4267200 h 6310100"/>
                <a:gd name="connsiteX9" fmla="*/ 10173779 w 13620364"/>
                <a:gd name="connsiteY9" fmla="*/ 6307015 h 6310100"/>
                <a:gd name="connsiteX10" fmla="*/ 0 w 13620364"/>
                <a:gd name="connsiteY10" fmla="*/ 6310100 h 6310100"/>
                <a:gd name="connsiteX11" fmla="*/ 0 w 13620364"/>
                <a:gd name="connsiteY11" fmla="*/ 0 h 6310100"/>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2213595 w 13620364"/>
                <a:gd name="connsiteY4" fmla="*/ 1430215 h 6310100"/>
                <a:gd name="connsiteX5" fmla="*/ 13620364 w 13620364"/>
                <a:gd name="connsiteY5" fmla="*/ 6310100 h 6310100"/>
                <a:gd name="connsiteX6" fmla="*/ 10877164 w 13620364"/>
                <a:gd name="connsiteY6" fmla="*/ 6307015 h 6310100"/>
                <a:gd name="connsiteX7" fmla="*/ 10877165 w 13620364"/>
                <a:gd name="connsiteY7" fmla="*/ 4103077 h 6310100"/>
                <a:gd name="connsiteX8" fmla="*/ 10197225 w 13620364"/>
                <a:gd name="connsiteY8" fmla="*/ 4267200 h 6310100"/>
                <a:gd name="connsiteX9" fmla="*/ 10173779 w 13620364"/>
                <a:gd name="connsiteY9" fmla="*/ 6307015 h 6310100"/>
                <a:gd name="connsiteX10" fmla="*/ 0 w 13620364"/>
                <a:gd name="connsiteY10" fmla="*/ 6310100 h 6310100"/>
                <a:gd name="connsiteX11" fmla="*/ 0 w 13620364"/>
                <a:gd name="connsiteY11" fmla="*/ 0 h 6310100"/>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2213595 w 13620364"/>
                <a:gd name="connsiteY4" fmla="*/ 1430215 h 6310100"/>
                <a:gd name="connsiteX5" fmla="*/ 13620364 w 13620364"/>
                <a:gd name="connsiteY5" fmla="*/ 6310100 h 6310100"/>
                <a:gd name="connsiteX6" fmla="*/ 10877164 w 13620364"/>
                <a:gd name="connsiteY6" fmla="*/ 6307015 h 6310100"/>
                <a:gd name="connsiteX7" fmla="*/ 10877165 w 13620364"/>
                <a:gd name="connsiteY7" fmla="*/ 4103077 h 6310100"/>
                <a:gd name="connsiteX8" fmla="*/ 10197225 w 13620364"/>
                <a:gd name="connsiteY8" fmla="*/ 4267200 h 6310100"/>
                <a:gd name="connsiteX9" fmla="*/ 10173779 w 13620364"/>
                <a:gd name="connsiteY9" fmla="*/ 6307015 h 6310100"/>
                <a:gd name="connsiteX10" fmla="*/ 0 w 13620364"/>
                <a:gd name="connsiteY10" fmla="*/ 6310100 h 6310100"/>
                <a:gd name="connsiteX11" fmla="*/ 0 w 13620364"/>
                <a:gd name="connsiteY11" fmla="*/ 0 h 6310100"/>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2213595 w 13620364"/>
                <a:gd name="connsiteY4" fmla="*/ 1430215 h 6310100"/>
                <a:gd name="connsiteX5" fmla="*/ 13620364 w 13620364"/>
                <a:gd name="connsiteY5" fmla="*/ 6310100 h 6310100"/>
                <a:gd name="connsiteX6" fmla="*/ 10877164 w 13620364"/>
                <a:gd name="connsiteY6" fmla="*/ 6307015 h 6310100"/>
                <a:gd name="connsiteX7" fmla="*/ 10877165 w 13620364"/>
                <a:gd name="connsiteY7" fmla="*/ 4103077 h 6310100"/>
                <a:gd name="connsiteX8" fmla="*/ 10197225 w 13620364"/>
                <a:gd name="connsiteY8" fmla="*/ 4267200 h 6310100"/>
                <a:gd name="connsiteX9" fmla="*/ 10173779 w 13620364"/>
                <a:gd name="connsiteY9" fmla="*/ 6307015 h 6310100"/>
                <a:gd name="connsiteX10" fmla="*/ 0 w 13620364"/>
                <a:gd name="connsiteY10" fmla="*/ 6310100 h 6310100"/>
                <a:gd name="connsiteX11" fmla="*/ 0 w 13620364"/>
                <a:gd name="connsiteY11" fmla="*/ 0 h 6310100"/>
                <a:gd name="connsiteX0" fmla="*/ 0 w 13656942"/>
                <a:gd name="connsiteY0" fmla="*/ 0 h 6310100"/>
                <a:gd name="connsiteX1" fmla="*/ 4406025 w 13656942"/>
                <a:gd name="connsiteY1" fmla="*/ 46892 h 6310100"/>
                <a:gd name="connsiteX2" fmla="*/ 6774087 w 13656942"/>
                <a:gd name="connsiteY2" fmla="*/ 5017476 h 6310100"/>
                <a:gd name="connsiteX3" fmla="*/ 9235932 w 13656942"/>
                <a:gd name="connsiteY3" fmla="*/ 23446 h 6310100"/>
                <a:gd name="connsiteX4" fmla="*/ 12213595 w 13656942"/>
                <a:gd name="connsiteY4" fmla="*/ 1430215 h 6310100"/>
                <a:gd name="connsiteX5" fmla="*/ 13620364 w 13656942"/>
                <a:gd name="connsiteY5" fmla="*/ 6310100 h 6310100"/>
                <a:gd name="connsiteX6" fmla="*/ 10877164 w 13656942"/>
                <a:gd name="connsiteY6" fmla="*/ 6307015 h 6310100"/>
                <a:gd name="connsiteX7" fmla="*/ 10877165 w 13656942"/>
                <a:gd name="connsiteY7" fmla="*/ 4103077 h 6310100"/>
                <a:gd name="connsiteX8" fmla="*/ 10197225 w 13656942"/>
                <a:gd name="connsiteY8" fmla="*/ 4267200 h 6310100"/>
                <a:gd name="connsiteX9" fmla="*/ 10173779 w 13656942"/>
                <a:gd name="connsiteY9" fmla="*/ 6307015 h 6310100"/>
                <a:gd name="connsiteX10" fmla="*/ 0 w 13656942"/>
                <a:gd name="connsiteY10" fmla="*/ 6310100 h 6310100"/>
                <a:gd name="connsiteX11" fmla="*/ 0 w 13656942"/>
                <a:gd name="connsiteY11" fmla="*/ 0 h 6310100"/>
                <a:gd name="connsiteX0" fmla="*/ 0 w 13688189"/>
                <a:gd name="connsiteY0" fmla="*/ 0 h 6310100"/>
                <a:gd name="connsiteX1" fmla="*/ 4406025 w 13688189"/>
                <a:gd name="connsiteY1" fmla="*/ 46892 h 6310100"/>
                <a:gd name="connsiteX2" fmla="*/ 6774087 w 13688189"/>
                <a:gd name="connsiteY2" fmla="*/ 5017476 h 6310100"/>
                <a:gd name="connsiteX3" fmla="*/ 9235932 w 13688189"/>
                <a:gd name="connsiteY3" fmla="*/ 23446 h 6310100"/>
                <a:gd name="connsiteX4" fmla="*/ 12213595 w 13688189"/>
                <a:gd name="connsiteY4" fmla="*/ 1430215 h 6310100"/>
                <a:gd name="connsiteX5" fmla="*/ 13620364 w 13688189"/>
                <a:gd name="connsiteY5" fmla="*/ 6310100 h 6310100"/>
                <a:gd name="connsiteX6" fmla="*/ 10877164 w 13688189"/>
                <a:gd name="connsiteY6" fmla="*/ 6307015 h 6310100"/>
                <a:gd name="connsiteX7" fmla="*/ 10877165 w 13688189"/>
                <a:gd name="connsiteY7" fmla="*/ 4103077 h 6310100"/>
                <a:gd name="connsiteX8" fmla="*/ 10197225 w 13688189"/>
                <a:gd name="connsiteY8" fmla="*/ 4267200 h 6310100"/>
                <a:gd name="connsiteX9" fmla="*/ 10173779 w 13688189"/>
                <a:gd name="connsiteY9" fmla="*/ 6307015 h 6310100"/>
                <a:gd name="connsiteX10" fmla="*/ 0 w 13688189"/>
                <a:gd name="connsiteY10" fmla="*/ 6310100 h 6310100"/>
                <a:gd name="connsiteX11" fmla="*/ 0 w 13688189"/>
                <a:gd name="connsiteY11" fmla="*/ 0 h 6310100"/>
                <a:gd name="connsiteX0" fmla="*/ 0 w 13623187"/>
                <a:gd name="connsiteY0" fmla="*/ 0 h 6310100"/>
                <a:gd name="connsiteX1" fmla="*/ 4406025 w 13623187"/>
                <a:gd name="connsiteY1" fmla="*/ 46892 h 6310100"/>
                <a:gd name="connsiteX2" fmla="*/ 6774087 w 13623187"/>
                <a:gd name="connsiteY2" fmla="*/ 5017476 h 6310100"/>
                <a:gd name="connsiteX3" fmla="*/ 9235932 w 13623187"/>
                <a:gd name="connsiteY3" fmla="*/ 23446 h 6310100"/>
                <a:gd name="connsiteX4" fmla="*/ 12213595 w 13623187"/>
                <a:gd name="connsiteY4" fmla="*/ 1430215 h 6310100"/>
                <a:gd name="connsiteX5" fmla="*/ 13620364 w 13623187"/>
                <a:gd name="connsiteY5" fmla="*/ 6310100 h 6310100"/>
                <a:gd name="connsiteX6" fmla="*/ 10877164 w 13623187"/>
                <a:gd name="connsiteY6" fmla="*/ 6307015 h 6310100"/>
                <a:gd name="connsiteX7" fmla="*/ 10877165 w 13623187"/>
                <a:gd name="connsiteY7" fmla="*/ 4103077 h 6310100"/>
                <a:gd name="connsiteX8" fmla="*/ 10197225 w 13623187"/>
                <a:gd name="connsiteY8" fmla="*/ 4267200 h 6310100"/>
                <a:gd name="connsiteX9" fmla="*/ 10173779 w 13623187"/>
                <a:gd name="connsiteY9" fmla="*/ 6307015 h 6310100"/>
                <a:gd name="connsiteX10" fmla="*/ 0 w 13623187"/>
                <a:gd name="connsiteY10" fmla="*/ 6310100 h 6310100"/>
                <a:gd name="connsiteX11" fmla="*/ 0 w 13623187"/>
                <a:gd name="connsiteY11" fmla="*/ 0 h 6310100"/>
                <a:gd name="connsiteX0" fmla="*/ 0 w 13623187"/>
                <a:gd name="connsiteY0" fmla="*/ 0 h 6310100"/>
                <a:gd name="connsiteX1" fmla="*/ 4406025 w 13623187"/>
                <a:gd name="connsiteY1" fmla="*/ 46892 h 6310100"/>
                <a:gd name="connsiteX2" fmla="*/ 6774087 w 13623187"/>
                <a:gd name="connsiteY2" fmla="*/ 5017476 h 6310100"/>
                <a:gd name="connsiteX3" fmla="*/ 9235932 w 13623187"/>
                <a:gd name="connsiteY3" fmla="*/ 23446 h 6310100"/>
                <a:gd name="connsiteX4" fmla="*/ 12213595 w 13623187"/>
                <a:gd name="connsiteY4" fmla="*/ 1430215 h 6310100"/>
                <a:gd name="connsiteX5" fmla="*/ 13620364 w 13623187"/>
                <a:gd name="connsiteY5" fmla="*/ 6310100 h 6310100"/>
                <a:gd name="connsiteX6" fmla="*/ 10877164 w 13623187"/>
                <a:gd name="connsiteY6" fmla="*/ 6307015 h 6310100"/>
                <a:gd name="connsiteX7" fmla="*/ 10877165 w 13623187"/>
                <a:gd name="connsiteY7" fmla="*/ 4103077 h 6310100"/>
                <a:gd name="connsiteX8" fmla="*/ 10197225 w 13623187"/>
                <a:gd name="connsiteY8" fmla="*/ 4267200 h 6310100"/>
                <a:gd name="connsiteX9" fmla="*/ 10173779 w 13623187"/>
                <a:gd name="connsiteY9" fmla="*/ 6307015 h 6310100"/>
                <a:gd name="connsiteX10" fmla="*/ 2600671 w 13623187"/>
                <a:gd name="connsiteY10" fmla="*/ 6283569 h 6310100"/>
                <a:gd name="connsiteX11" fmla="*/ 0 w 13623187"/>
                <a:gd name="connsiteY11" fmla="*/ 6310100 h 6310100"/>
                <a:gd name="connsiteX12" fmla="*/ 0 w 13623187"/>
                <a:gd name="connsiteY12" fmla="*/ 0 h 6310100"/>
                <a:gd name="connsiteX0" fmla="*/ 0 w 13623187"/>
                <a:gd name="connsiteY0" fmla="*/ 0 h 6310100"/>
                <a:gd name="connsiteX1" fmla="*/ 4406025 w 13623187"/>
                <a:gd name="connsiteY1" fmla="*/ 46892 h 6310100"/>
                <a:gd name="connsiteX2" fmla="*/ 6774087 w 13623187"/>
                <a:gd name="connsiteY2" fmla="*/ 5017476 h 6310100"/>
                <a:gd name="connsiteX3" fmla="*/ 9235932 w 13623187"/>
                <a:gd name="connsiteY3" fmla="*/ 23446 h 6310100"/>
                <a:gd name="connsiteX4" fmla="*/ 12213595 w 13623187"/>
                <a:gd name="connsiteY4" fmla="*/ 1430215 h 6310100"/>
                <a:gd name="connsiteX5" fmla="*/ 13620364 w 13623187"/>
                <a:gd name="connsiteY5" fmla="*/ 6310100 h 6310100"/>
                <a:gd name="connsiteX6" fmla="*/ 10877164 w 13623187"/>
                <a:gd name="connsiteY6" fmla="*/ 6307015 h 6310100"/>
                <a:gd name="connsiteX7" fmla="*/ 10877165 w 13623187"/>
                <a:gd name="connsiteY7" fmla="*/ 4103077 h 6310100"/>
                <a:gd name="connsiteX8" fmla="*/ 10197225 w 13623187"/>
                <a:gd name="connsiteY8" fmla="*/ 4267200 h 6310100"/>
                <a:gd name="connsiteX9" fmla="*/ 10173779 w 13623187"/>
                <a:gd name="connsiteY9" fmla="*/ 6307015 h 6310100"/>
                <a:gd name="connsiteX10" fmla="*/ 3374394 w 13623187"/>
                <a:gd name="connsiteY10" fmla="*/ 6283569 h 6310100"/>
                <a:gd name="connsiteX11" fmla="*/ 2600671 w 13623187"/>
                <a:gd name="connsiteY11" fmla="*/ 6283569 h 6310100"/>
                <a:gd name="connsiteX12" fmla="*/ 0 w 13623187"/>
                <a:gd name="connsiteY12" fmla="*/ 6310100 h 6310100"/>
                <a:gd name="connsiteX13" fmla="*/ 0 w 13623187"/>
                <a:gd name="connsiteY13" fmla="*/ 0 h 6310100"/>
                <a:gd name="connsiteX0" fmla="*/ 0 w 13623187"/>
                <a:gd name="connsiteY0" fmla="*/ 0 h 6310100"/>
                <a:gd name="connsiteX1" fmla="*/ 4406025 w 13623187"/>
                <a:gd name="connsiteY1" fmla="*/ 46892 h 6310100"/>
                <a:gd name="connsiteX2" fmla="*/ 6774087 w 13623187"/>
                <a:gd name="connsiteY2" fmla="*/ 5017476 h 6310100"/>
                <a:gd name="connsiteX3" fmla="*/ 9235932 w 13623187"/>
                <a:gd name="connsiteY3" fmla="*/ 23446 h 6310100"/>
                <a:gd name="connsiteX4" fmla="*/ 12213595 w 13623187"/>
                <a:gd name="connsiteY4" fmla="*/ 1430215 h 6310100"/>
                <a:gd name="connsiteX5" fmla="*/ 13620364 w 13623187"/>
                <a:gd name="connsiteY5" fmla="*/ 6310100 h 6310100"/>
                <a:gd name="connsiteX6" fmla="*/ 10877164 w 13623187"/>
                <a:gd name="connsiteY6" fmla="*/ 6307015 h 6310100"/>
                <a:gd name="connsiteX7" fmla="*/ 10877165 w 13623187"/>
                <a:gd name="connsiteY7" fmla="*/ 4103077 h 6310100"/>
                <a:gd name="connsiteX8" fmla="*/ 10197225 w 13623187"/>
                <a:gd name="connsiteY8" fmla="*/ 4267200 h 6310100"/>
                <a:gd name="connsiteX9" fmla="*/ 10173779 w 13623187"/>
                <a:gd name="connsiteY9" fmla="*/ 6307015 h 6310100"/>
                <a:gd name="connsiteX10" fmla="*/ 2647564 w 13623187"/>
                <a:gd name="connsiteY10" fmla="*/ 4220308 h 6310100"/>
                <a:gd name="connsiteX11" fmla="*/ 2600671 w 13623187"/>
                <a:gd name="connsiteY11" fmla="*/ 6283569 h 6310100"/>
                <a:gd name="connsiteX12" fmla="*/ 0 w 13623187"/>
                <a:gd name="connsiteY12" fmla="*/ 6310100 h 6310100"/>
                <a:gd name="connsiteX13" fmla="*/ 0 w 13623187"/>
                <a:gd name="connsiteY13" fmla="*/ 0 h 6310100"/>
                <a:gd name="connsiteX0" fmla="*/ 0 w 13623187"/>
                <a:gd name="connsiteY0" fmla="*/ 0 h 6310100"/>
                <a:gd name="connsiteX1" fmla="*/ 4406025 w 13623187"/>
                <a:gd name="connsiteY1" fmla="*/ 46892 h 6310100"/>
                <a:gd name="connsiteX2" fmla="*/ 6774087 w 13623187"/>
                <a:gd name="connsiteY2" fmla="*/ 5017476 h 6310100"/>
                <a:gd name="connsiteX3" fmla="*/ 9235932 w 13623187"/>
                <a:gd name="connsiteY3" fmla="*/ 23446 h 6310100"/>
                <a:gd name="connsiteX4" fmla="*/ 12213595 w 13623187"/>
                <a:gd name="connsiteY4" fmla="*/ 1430215 h 6310100"/>
                <a:gd name="connsiteX5" fmla="*/ 13620364 w 13623187"/>
                <a:gd name="connsiteY5" fmla="*/ 6310100 h 6310100"/>
                <a:gd name="connsiteX6" fmla="*/ 10877164 w 13623187"/>
                <a:gd name="connsiteY6" fmla="*/ 6307015 h 6310100"/>
                <a:gd name="connsiteX7" fmla="*/ 10877165 w 13623187"/>
                <a:gd name="connsiteY7" fmla="*/ 4103077 h 6310100"/>
                <a:gd name="connsiteX8" fmla="*/ 10197225 w 13623187"/>
                <a:gd name="connsiteY8" fmla="*/ 4267200 h 6310100"/>
                <a:gd name="connsiteX9" fmla="*/ 10173779 w 13623187"/>
                <a:gd name="connsiteY9" fmla="*/ 6307015 h 6310100"/>
                <a:gd name="connsiteX10" fmla="*/ 2647564 w 13623187"/>
                <a:gd name="connsiteY10" fmla="*/ 4220308 h 6310100"/>
                <a:gd name="connsiteX11" fmla="*/ 2647564 w 13623187"/>
                <a:gd name="connsiteY11" fmla="*/ 6283569 h 6310100"/>
                <a:gd name="connsiteX12" fmla="*/ 0 w 13623187"/>
                <a:gd name="connsiteY12" fmla="*/ 6310100 h 6310100"/>
                <a:gd name="connsiteX13" fmla="*/ 0 w 13623187"/>
                <a:gd name="connsiteY13" fmla="*/ 0 h 6310100"/>
                <a:gd name="connsiteX0" fmla="*/ 0 w 13623187"/>
                <a:gd name="connsiteY0" fmla="*/ 0 h 6310100"/>
                <a:gd name="connsiteX1" fmla="*/ 4406025 w 13623187"/>
                <a:gd name="connsiteY1" fmla="*/ 46892 h 6310100"/>
                <a:gd name="connsiteX2" fmla="*/ 6774087 w 13623187"/>
                <a:gd name="connsiteY2" fmla="*/ 5017476 h 6310100"/>
                <a:gd name="connsiteX3" fmla="*/ 9235932 w 13623187"/>
                <a:gd name="connsiteY3" fmla="*/ 23446 h 6310100"/>
                <a:gd name="connsiteX4" fmla="*/ 12213595 w 13623187"/>
                <a:gd name="connsiteY4" fmla="*/ 1430215 h 6310100"/>
                <a:gd name="connsiteX5" fmla="*/ 13620364 w 13623187"/>
                <a:gd name="connsiteY5" fmla="*/ 6310100 h 6310100"/>
                <a:gd name="connsiteX6" fmla="*/ 10877164 w 13623187"/>
                <a:gd name="connsiteY6" fmla="*/ 6307015 h 6310100"/>
                <a:gd name="connsiteX7" fmla="*/ 10877165 w 13623187"/>
                <a:gd name="connsiteY7" fmla="*/ 4103077 h 6310100"/>
                <a:gd name="connsiteX8" fmla="*/ 10197225 w 13623187"/>
                <a:gd name="connsiteY8" fmla="*/ 4267200 h 6310100"/>
                <a:gd name="connsiteX9" fmla="*/ 10173779 w 13623187"/>
                <a:gd name="connsiteY9" fmla="*/ 6307015 h 6310100"/>
                <a:gd name="connsiteX10" fmla="*/ 4570148 w 13623187"/>
                <a:gd name="connsiteY10" fmla="*/ 4759569 h 6310100"/>
                <a:gd name="connsiteX11" fmla="*/ 2647564 w 13623187"/>
                <a:gd name="connsiteY11" fmla="*/ 4220308 h 6310100"/>
                <a:gd name="connsiteX12" fmla="*/ 2647564 w 13623187"/>
                <a:gd name="connsiteY12" fmla="*/ 6283569 h 6310100"/>
                <a:gd name="connsiteX13" fmla="*/ 0 w 13623187"/>
                <a:gd name="connsiteY13" fmla="*/ 6310100 h 6310100"/>
                <a:gd name="connsiteX14" fmla="*/ 0 w 13623187"/>
                <a:gd name="connsiteY14" fmla="*/ 0 h 6310100"/>
                <a:gd name="connsiteX0" fmla="*/ 0 w 13623187"/>
                <a:gd name="connsiteY0" fmla="*/ 0 h 6310100"/>
                <a:gd name="connsiteX1" fmla="*/ 4406025 w 13623187"/>
                <a:gd name="connsiteY1" fmla="*/ 46892 h 6310100"/>
                <a:gd name="connsiteX2" fmla="*/ 6774087 w 13623187"/>
                <a:gd name="connsiteY2" fmla="*/ 5017476 h 6310100"/>
                <a:gd name="connsiteX3" fmla="*/ 9235932 w 13623187"/>
                <a:gd name="connsiteY3" fmla="*/ 23446 h 6310100"/>
                <a:gd name="connsiteX4" fmla="*/ 12213595 w 13623187"/>
                <a:gd name="connsiteY4" fmla="*/ 1430215 h 6310100"/>
                <a:gd name="connsiteX5" fmla="*/ 13620364 w 13623187"/>
                <a:gd name="connsiteY5" fmla="*/ 6310100 h 6310100"/>
                <a:gd name="connsiteX6" fmla="*/ 10877164 w 13623187"/>
                <a:gd name="connsiteY6" fmla="*/ 6307015 h 6310100"/>
                <a:gd name="connsiteX7" fmla="*/ 10877165 w 13623187"/>
                <a:gd name="connsiteY7" fmla="*/ 4103077 h 6310100"/>
                <a:gd name="connsiteX8" fmla="*/ 10197225 w 13623187"/>
                <a:gd name="connsiteY8" fmla="*/ 4267200 h 6310100"/>
                <a:gd name="connsiteX9" fmla="*/ 10173779 w 13623187"/>
                <a:gd name="connsiteY9" fmla="*/ 6307015 h 6310100"/>
                <a:gd name="connsiteX10" fmla="*/ 3327501 w 13623187"/>
                <a:gd name="connsiteY10" fmla="*/ 4243753 h 6310100"/>
                <a:gd name="connsiteX11" fmla="*/ 2647564 w 13623187"/>
                <a:gd name="connsiteY11" fmla="*/ 4220308 h 6310100"/>
                <a:gd name="connsiteX12" fmla="*/ 2647564 w 13623187"/>
                <a:gd name="connsiteY12" fmla="*/ 6283569 h 6310100"/>
                <a:gd name="connsiteX13" fmla="*/ 0 w 13623187"/>
                <a:gd name="connsiteY13" fmla="*/ 6310100 h 6310100"/>
                <a:gd name="connsiteX14" fmla="*/ 0 w 13623187"/>
                <a:gd name="connsiteY14" fmla="*/ 0 h 6310100"/>
                <a:gd name="connsiteX0" fmla="*/ 0 w 13623187"/>
                <a:gd name="connsiteY0" fmla="*/ 0 h 6310100"/>
                <a:gd name="connsiteX1" fmla="*/ 4406025 w 13623187"/>
                <a:gd name="connsiteY1" fmla="*/ 46892 h 6310100"/>
                <a:gd name="connsiteX2" fmla="*/ 6774087 w 13623187"/>
                <a:gd name="connsiteY2" fmla="*/ 5017476 h 6310100"/>
                <a:gd name="connsiteX3" fmla="*/ 9235932 w 13623187"/>
                <a:gd name="connsiteY3" fmla="*/ 23446 h 6310100"/>
                <a:gd name="connsiteX4" fmla="*/ 12213595 w 13623187"/>
                <a:gd name="connsiteY4" fmla="*/ 1430215 h 6310100"/>
                <a:gd name="connsiteX5" fmla="*/ 13620364 w 13623187"/>
                <a:gd name="connsiteY5" fmla="*/ 6310100 h 6310100"/>
                <a:gd name="connsiteX6" fmla="*/ 10877164 w 13623187"/>
                <a:gd name="connsiteY6" fmla="*/ 6307015 h 6310100"/>
                <a:gd name="connsiteX7" fmla="*/ 10877165 w 13623187"/>
                <a:gd name="connsiteY7" fmla="*/ 4103077 h 6310100"/>
                <a:gd name="connsiteX8" fmla="*/ 10197225 w 13623187"/>
                <a:gd name="connsiteY8" fmla="*/ 4267200 h 6310100"/>
                <a:gd name="connsiteX9" fmla="*/ 10173779 w 13623187"/>
                <a:gd name="connsiteY9" fmla="*/ 6307015 h 6310100"/>
                <a:gd name="connsiteX10" fmla="*/ 5976918 w 13623187"/>
                <a:gd name="connsiteY10" fmla="*/ 5040922 h 6310100"/>
                <a:gd name="connsiteX11" fmla="*/ 3327501 w 13623187"/>
                <a:gd name="connsiteY11" fmla="*/ 4243753 h 6310100"/>
                <a:gd name="connsiteX12" fmla="*/ 2647564 w 13623187"/>
                <a:gd name="connsiteY12" fmla="*/ 4220308 h 6310100"/>
                <a:gd name="connsiteX13" fmla="*/ 2647564 w 13623187"/>
                <a:gd name="connsiteY13" fmla="*/ 6283569 h 6310100"/>
                <a:gd name="connsiteX14" fmla="*/ 0 w 13623187"/>
                <a:gd name="connsiteY14" fmla="*/ 6310100 h 6310100"/>
                <a:gd name="connsiteX15" fmla="*/ 0 w 13623187"/>
                <a:gd name="connsiteY15" fmla="*/ 0 h 6310100"/>
                <a:gd name="connsiteX0" fmla="*/ 0 w 13623187"/>
                <a:gd name="connsiteY0" fmla="*/ 0 h 6310100"/>
                <a:gd name="connsiteX1" fmla="*/ 4406025 w 13623187"/>
                <a:gd name="connsiteY1" fmla="*/ 46892 h 6310100"/>
                <a:gd name="connsiteX2" fmla="*/ 6774087 w 13623187"/>
                <a:gd name="connsiteY2" fmla="*/ 5017476 h 6310100"/>
                <a:gd name="connsiteX3" fmla="*/ 9235932 w 13623187"/>
                <a:gd name="connsiteY3" fmla="*/ 23446 h 6310100"/>
                <a:gd name="connsiteX4" fmla="*/ 12213595 w 13623187"/>
                <a:gd name="connsiteY4" fmla="*/ 1430215 h 6310100"/>
                <a:gd name="connsiteX5" fmla="*/ 13620364 w 13623187"/>
                <a:gd name="connsiteY5" fmla="*/ 6310100 h 6310100"/>
                <a:gd name="connsiteX6" fmla="*/ 10877164 w 13623187"/>
                <a:gd name="connsiteY6" fmla="*/ 6307015 h 6310100"/>
                <a:gd name="connsiteX7" fmla="*/ 10877165 w 13623187"/>
                <a:gd name="connsiteY7" fmla="*/ 4103077 h 6310100"/>
                <a:gd name="connsiteX8" fmla="*/ 10197225 w 13623187"/>
                <a:gd name="connsiteY8" fmla="*/ 4267200 h 6310100"/>
                <a:gd name="connsiteX9" fmla="*/ 10173779 w 13623187"/>
                <a:gd name="connsiteY9" fmla="*/ 6307015 h 6310100"/>
                <a:gd name="connsiteX10" fmla="*/ 3374395 w 13623187"/>
                <a:gd name="connsiteY10" fmla="*/ 6236676 h 6310100"/>
                <a:gd name="connsiteX11" fmla="*/ 3327501 w 13623187"/>
                <a:gd name="connsiteY11" fmla="*/ 4243753 h 6310100"/>
                <a:gd name="connsiteX12" fmla="*/ 2647564 w 13623187"/>
                <a:gd name="connsiteY12" fmla="*/ 4220308 h 6310100"/>
                <a:gd name="connsiteX13" fmla="*/ 2647564 w 13623187"/>
                <a:gd name="connsiteY13" fmla="*/ 6283569 h 6310100"/>
                <a:gd name="connsiteX14" fmla="*/ 0 w 13623187"/>
                <a:gd name="connsiteY14" fmla="*/ 6310100 h 6310100"/>
                <a:gd name="connsiteX15" fmla="*/ 0 w 13623187"/>
                <a:gd name="connsiteY15" fmla="*/ 0 h 6310100"/>
                <a:gd name="connsiteX0" fmla="*/ 0 w 13623187"/>
                <a:gd name="connsiteY0" fmla="*/ 0 h 6353906"/>
                <a:gd name="connsiteX1" fmla="*/ 4406025 w 13623187"/>
                <a:gd name="connsiteY1" fmla="*/ 46892 h 6353906"/>
                <a:gd name="connsiteX2" fmla="*/ 6774087 w 13623187"/>
                <a:gd name="connsiteY2" fmla="*/ 5017476 h 6353906"/>
                <a:gd name="connsiteX3" fmla="*/ 9235932 w 13623187"/>
                <a:gd name="connsiteY3" fmla="*/ 23446 h 6353906"/>
                <a:gd name="connsiteX4" fmla="*/ 12213595 w 13623187"/>
                <a:gd name="connsiteY4" fmla="*/ 1430215 h 6353906"/>
                <a:gd name="connsiteX5" fmla="*/ 13620364 w 13623187"/>
                <a:gd name="connsiteY5" fmla="*/ 6310100 h 6353906"/>
                <a:gd name="connsiteX6" fmla="*/ 10877164 w 13623187"/>
                <a:gd name="connsiteY6" fmla="*/ 6307015 h 6353906"/>
                <a:gd name="connsiteX7" fmla="*/ 10877165 w 13623187"/>
                <a:gd name="connsiteY7" fmla="*/ 4103077 h 6353906"/>
                <a:gd name="connsiteX8" fmla="*/ 10197225 w 13623187"/>
                <a:gd name="connsiteY8" fmla="*/ 4267200 h 6353906"/>
                <a:gd name="connsiteX9" fmla="*/ 10173779 w 13623187"/>
                <a:gd name="connsiteY9" fmla="*/ 6307015 h 6353906"/>
                <a:gd name="connsiteX10" fmla="*/ 3374395 w 13623187"/>
                <a:gd name="connsiteY10" fmla="*/ 6353906 h 6353906"/>
                <a:gd name="connsiteX11" fmla="*/ 3327501 w 13623187"/>
                <a:gd name="connsiteY11" fmla="*/ 4243753 h 6353906"/>
                <a:gd name="connsiteX12" fmla="*/ 2647564 w 13623187"/>
                <a:gd name="connsiteY12" fmla="*/ 4220308 h 6353906"/>
                <a:gd name="connsiteX13" fmla="*/ 2647564 w 13623187"/>
                <a:gd name="connsiteY13" fmla="*/ 6283569 h 6353906"/>
                <a:gd name="connsiteX14" fmla="*/ 0 w 13623187"/>
                <a:gd name="connsiteY14" fmla="*/ 6310100 h 6353906"/>
                <a:gd name="connsiteX15" fmla="*/ 0 w 13623187"/>
                <a:gd name="connsiteY15" fmla="*/ 0 h 6353906"/>
                <a:gd name="connsiteX0" fmla="*/ 0 w 13623187"/>
                <a:gd name="connsiteY0" fmla="*/ 0 h 6377352"/>
                <a:gd name="connsiteX1" fmla="*/ 4406025 w 13623187"/>
                <a:gd name="connsiteY1" fmla="*/ 46892 h 6377352"/>
                <a:gd name="connsiteX2" fmla="*/ 6774087 w 13623187"/>
                <a:gd name="connsiteY2" fmla="*/ 5017476 h 6377352"/>
                <a:gd name="connsiteX3" fmla="*/ 9235932 w 13623187"/>
                <a:gd name="connsiteY3" fmla="*/ 23446 h 6377352"/>
                <a:gd name="connsiteX4" fmla="*/ 12213595 w 13623187"/>
                <a:gd name="connsiteY4" fmla="*/ 1430215 h 6377352"/>
                <a:gd name="connsiteX5" fmla="*/ 13620364 w 13623187"/>
                <a:gd name="connsiteY5" fmla="*/ 6310100 h 6377352"/>
                <a:gd name="connsiteX6" fmla="*/ 10877164 w 13623187"/>
                <a:gd name="connsiteY6" fmla="*/ 6307015 h 6377352"/>
                <a:gd name="connsiteX7" fmla="*/ 10877165 w 13623187"/>
                <a:gd name="connsiteY7" fmla="*/ 4103077 h 6377352"/>
                <a:gd name="connsiteX8" fmla="*/ 10197225 w 13623187"/>
                <a:gd name="connsiteY8" fmla="*/ 4267200 h 6377352"/>
                <a:gd name="connsiteX9" fmla="*/ 10173779 w 13623187"/>
                <a:gd name="connsiteY9" fmla="*/ 6307015 h 6377352"/>
                <a:gd name="connsiteX10" fmla="*/ 3350949 w 13623187"/>
                <a:gd name="connsiteY10" fmla="*/ 6377352 h 6377352"/>
                <a:gd name="connsiteX11" fmla="*/ 3327501 w 13623187"/>
                <a:gd name="connsiteY11" fmla="*/ 4243753 h 6377352"/>
                <a:gd name="connsiteX12" fmla="*/ 2647564 w 13623187"/>
                <a:gd name="connsiteY12" fmla="*/ 4220308 h 6377352"/>
                <a:gd name="connsiteX13" fmla="*/ 2647564 w 13623187"/>
                <a:gd name="connsiteY13" fmla="*/ 6283569 h 6377352"/>
                <a:gd name="connsiteX14" fmla="*/ 0 w 13623187"/>
                <a:gd name="connsiteY14" fmla="*/ 6310100 h 6377352"/>
                <a:gd name="connsiteX15" fmla="*/ 0 w 13623187"/>
                <a:gd name="connsiteY15" fmla="*/ 0 h 6377352"/>
                <a:gd name="connsiteX0" fmla="*/ 0 w 13623187"/>
                <a:gd name="connsiteY0" fmla="*/ 0 h 6330460"/>
                <a:gd name="connsiteX1" fmla="*/ 4406025 w 13623187"/>
                <a:gd name="connsiteY1" fmla="*/ 46892 h 6330460"/>
                <a:gd name="connsiteX2" fmla="*/ 6774087 w 13623187"/>
                <a:gd name="connsiteY2" fmla="*/ 5017476 h 6330460"/>
                <a:gd name="connsiteX3" fmla="*/ 9235932 w 13623187"/>
                <a:gd name="connsiteY3" fmla="*/ 23446 h 6330460"/>
                <a:gd name="connsiteX4" fmla="*/ 12213595 w 13623187"/>
                <a:gd name="connsiteY4" fmla="*/ 1430215 h 6330460"/>
                <a:gd name="connsiteX5" fmla="*/ 13620364 w 13623187"/>
                <a:gd name="connsiteY5" fmla="*/ 6310100 h 6330460"/>
                <a:gd name="connsiteX6" fmla="*/ 10877164 w 13623187"/>
                <a:gd name="connsiteY6" fmla="*/ 6307015 h 6330460"/>
                <a:gd name="connsiteX7" fmla="*/ 10877165 w 13623187"/>
                <a:gd name="connsiteY7" fmla="*/ 4103077 h 6330460"/>
                <a:gd name="connsiteX8" fmla="*/ 10197225 w 13623187"/>
                <a:gd name="connsiteY8" fmla="*/ 4267200 h 6330460"/>
                <a:gd name="connsiteX9" fmla="*/ 10173779 w 13623187"/>
                <a:gd name="connsiteY9" fmla="*/ 6307015 h 6330460"/>
                <a:gd name="connsiteX10" fmla="*/ 3397841 w 13623187"/>
                <a:gd name="connsiteY10" fmla="*/ 6330460 h 6330460"/>
                <a:gd name="connsiteX11" fmla="*/ 3327501 w 13623187"/>
                <a:gd name="connsiteY11" fmla="*/ 4243753 h 6330460"/>
                <a:gd name="connsiteX12" fmla="*/ 2647564 w 13623187"/>
                <a:gd name="connsiteY12" fmla="*/ 4220308 h 6330460"/>
                <a:gd name="connsiteX13" fmla="*/ 2647564 w 13623187"/>
                <a:gd name="connsiteY13" fmla="*/ 6283569 h 6330460"/>
                <a:gd name="connsiteX14" fmla="*/ 0 w 13623187"/>
                <a:gd name="connsiteY14" fmla="*/ 6310100 h 6330460"/>
                <a:gd name="connsiteX15" fmla="*/ 0 w 13623187"/>
                <a:gd name="connsiteY15" fmla="*/ 0 h 6330460"/>
                <a:gd name="connsiteX0" fmla="*/ 0 w 13623187"/>
                <a:gd name="connsiteY0" fmla="*/ 0 h 6330460"/>
                <a:gd name="connsiteX1" fmla="*/ 4406025 w 13623187"/>
                <a:gd name="connsiteY1" fmla="*/ 46892 h 6330460"/>
                <a:gd name="connsiteX2" fmla="*/ 6774087 w 13623187"/>
                <a:gd name="connsiteY2" fmla="*/ 5017476 h 6330460"/>
                <a:gd name="connsiteX3" fmla="*/ 9235932 w 13623187"/>
                <a:gd name="connsiteY3" fmla="*/ 23446 h 6330460"/>
                <a:gd name="connsiteX4" fmla="*/ 12213595 w 13623187"/>
                <a:gd name="connsiteY4" fmla="*/ 1430215 h 6330460"/>
                <a:gd name="connsiteX5" fmla="*/ 13620364 w 13623187"/>
                <a:gd name="connsiteY5" fmla="*/ 6310100 h 6330460"/>
                <a:gd name="connsiteX6" fmla="*/ 10877164 w 13623187"/>
                <a:gd name="connsiteY6" fmla="*/ 6307015 h 6330460"/>
                <a:gd name="connsiteX7" fmla="*/ 10877165 w 13623187"/>
                <a:gd name="connsiteY7" fmla="*/ 4103077 h 6330460"/>
                <a:gd name="connsiteX8" fmla="*/ 10197225 w 13623187"/>
                <a:gd name="connsiteY8" fmla="*/ 4267200 h 6330460"/>
                <a:gd name="connsiteX9" fmla="*/ 10173779 w 13623187"/>
                <a:gd name="connsiteY9" fmla="*/ 6307015 h 6330460"/>
                <a:gd name="connsiteX10" fmla="*/ 3397841 w 13623187"/>
                <a:gd name="connsiteY10" fmla="*/ 6330460 h 6330460"/>
                <a:gd name="connsiteX11" fmla="*/ 3421286 w 13623187"/>
                <a:gd name="connsiteY11" fmla="*/ 4220307 h 6330460"/>
                <a:gd name="connsiteX12" fmla="*/ 2647564 w 13623187"/>
                <a:gd name="connsiteY12" fmla="*/ 4220308 h 6330460"/>
                <a:gd name="connsiteX13" fmla="*/ 2647564 w 13623187"/>
                <a:gd name="connsiteY13" fmla="*/ 6283569 h 6330460"/>
                <a:gd name="connsiteX14" fmla="*/ 0 w 13623187"/>
                <a:gd name="connsiteY14" fmla="*/ 6310100 h 6330460"/>
                <a:gd name="connsiteX15" fmla="*/ 0 w 13623187"/>
                <a:gd name="connsiteY15" fmla="*/ 0 h 6330460"/>
                <a:gd name="connsiteX0" fmla="*/ 0 w 13623187"/>
                <a:gd name="connsiteY0" fmla="*/ 0 h 6330460"/>
                <a:gd name="connsiteX1" fmla="*/ 4406025 w 13623187"/>
                <a:gd name="connsiteY1" fmla="*/ 46892 h 6330460"/>
                <a:gd name="connsiteX2" fmla="*/ 6774087 w 13623187"/>
                <a:gd name="connsiteY2" fmla="*/ 5017476 h 6330460"/>
                <a:gd name="connsiteX3" fmla="*/ 9235932 w 13623187"/>
                <a:gd name="connsiteY3" fmla="*/ 23446 h 6330460"/>
                <a:gd name="connsiteX4" fmla="*/ 12213595 w 13623187"/>
                <a:gd name="connsiteY4" fmla="*/ 1430215 h 6330460"/>
                <a:gd name="connsiteX5" fmla="*/ 13620364 w 13623187"/>
                <a:gd name="connsiteY5" fmla="*/ 6310100 h 6330460"/>
                <a:gd name="connsiteX6" fmla="*/ 10877164 w 13623187"/>
                <a:gd name="connsiteY6" fmla="*/ 6307015 h 6330460"/>
                <a:gd name="connsiteX7" fmla="*/ 10877165 w 13623187"/>
                <a:gd name="connsiteY7" fmla="*/ 4103077 h 6330460"/>
                <a:gd name="connsiteX8" fmla="*/ 10197225 w 13623187"/>
                <a:gd name="connsiteY8" fmla="*/ 4267200 h 6330460"/>
                <a:gd name="connsiteX9" fmla="*/ 10173779 w 13623187"/>
                <a:gd name="connsiteY9" fmla="*/ 6307015 h 6330460"/>
                <a:gd name="connsiteX10" fmla="*/ 3397841 w 13623187"/>
                <a:gd name="connsiteY10" fmla="*/ 6330460 h 6330460"/>
                <a:gd name="connsiteX11" fmla="*/ 3421286 w 13623187"/>
                <a:gd name="connsiteY11" fmla="*/ 4220307 h 6330460"/>
                <a:gd name="connsiteX12" fmla="*/ 2647564 w 13623187"/>
                <a:gd name="connsiteY12" fmla="*/ 4220308 h 6330460"/>
                <a:gd name="connsiteX13" fmla="*/ 2647564 w 13623187"/>
                <a:gd name="connsiteY13" fmla="*/ 6283569 h 6330460"/>
                <a:gd name="connsiteX14" fmla="*/ 0 w 13623187"/>
                <a:gd name="connsiteY14" fmla="*/ 6310100 h 6330460"/>
                <a:gd name="connsiteX15" fmla="*/ 0 w 13623187"/>
                <a:gd name="connsiteY15" fmla="*/ 0 h 6330460"/>
                <a:gd name="connsiteX0" fmla="*/ 0 w 13623187"/>
                <a:gd name="connsiteY0" fmla="*/ 0 h 6330460"/>
                <a:gd name="connsiteX1" fmla="*/ 4406025 w 13623187"/>
                <a:gd name="connsiteY1" fmla="*/ 46892 h 6330460"/>
                <a:gd name="connsiteX2" fmla="*/ 6774087 w 13623187"/>
                <a:gd name="connsiteY2" fmla="*/ 5017476 h 6330460"/>
                <a:gd name="connsiteX3" fmla="*/ 9235932 w 13623187"/>
                <a:gd name="connsiteY3" fmla="*/ 23446 h 6330460"/>
                <a:gd name="connsiteX4" fmla="*/ 12213595 w 13623187"/>
                <a:gd name="connsiteY4" fmla="*/ 1430215 h 6330460"/>
                <a:gd name="connsiteX5" fmla="*/ 13620364 w 13623187"/>
                <a:gd name="connsiteY5" fmla="*/ 6310100 h 6330460"/>
                <a:gd name="connsiteX6" fmla="*/ 10877164 w 13623187"/>
                <a:gd name="connsiteY6" fmla="*/ 6307015 h 6330460"/>
                <a:gd name="connsiteX7" fmla="*/ 10877165 w 13623187"/>
                <a:gd name="connsiteY7" fmla="*/ 4103077 h 6330460"/>
                <a:gd name="connsiteX8" fmla="*/ 10197225 w 13623187"/>
                <a:gd name="connsiteY8" fmla="*/ 4267200 h 6330460"/>
                <a:gd name="connsiteX9" fmla="*/ 10173779 w 13623187"/>
                <a:gd name="connsiteY9" fmla="*/ 6307015 h 6330460"/>
                <a:gd name="connsiteX10" fmla="*/ 3397841 w 13623187"/>
                <a:gd name="connsiteY10" fmla="*/ 6330460 h 6330460"/>
                <a:gd name="connsiteX11" fmla="*/ 3421286 w 13623187"/>
                <a:gd name="connsiteY11" fmla="*/ 4220307 h 6330460"/>
                <a:gd name="connsiteX12" fmla="*/ 2647564 w 13623187"/>
                <a:gd name="connsiteY12" fmla="*/ 4220308 h 6330460"/>
                <a:gd name="connsiteX13" fmla="*/ 2647564 w 13623187"/>
                <a:gd name="connsiteY13" fmla="*/ 6283569 h 6330460"/>
                <a:gd name="connsiteX14" fmla="*/ 0 w 13623187"/>
                <a:gd name="connsiteY14" fmla="*/ 6310100 h 6330460"/>
                <a:gd name="connsiteX15" fmla="*/ 0 w 13623187"/>
                <a:gd name="connsiteY15" fmla="*/ 0 h 6330460"/>
                <a:gd name="connsiteX0" fmla="*/ 0 w 13623187"/>
                <a:gd name="connsiteY0" fmla="*/ 0 h 6330460"/>
                <a:gd name="connsiteX1" fmla="*/ 4406025 w 13623187"/>
                <a:gd name="connsiteY1" fmla="*/ 46892 h 6330460"/>
                <a:gd name="connsiteX2" fmla="*/ 6774087 w 13623187"/>
                <a:gd name="connsiteY2" fmla="*/ 5017476 h 6330460"/>
                <a:gd name="connsiteX3" fmla="*/ 9235932 w 13623187"/>
                <a:gd name="connsiteY3" fmla="*/ 23446 h 6330460"/>
                <a:gd name="connsiteX4" fmla="*/ 12213595 w 13623187"/>
                <a:gd name="connsiteY4" fmla="*/ 1430215 h 6330460"/>
                <a:gd name="connsiteX5" fmla="*/ 13620364 w 13623187"/>
                <a:gd name="connsiteY5" fmla="*/ 6310100 h 6330460"/>
                <a:gd name="connsiteX6" fmla="*/ 10877164 w 13623187"/>
                <a:gd name="connsiteY6" fmla="*/ 6307015 h 6330460"/>
                <a:gd name="connsiteX7" fmla="*/ 10877165 w 13623187"/>
                <a:gd name="connsiteY7" fmla="*/ 4103077 h 6330460"/>
                <a:gd name="connsiteX8" fmla="*/ 10197225 w 13623187"/>
                <a:gd name="connsiteY8" fmla="*/ 4267200 h 6330460"/>
                <a:gd name="connsiteX9" fmla="*/ 10173779 w 13623187"/>
                <a:gd name="connsiteY9" fmla="*/ 6307015 h 6330460"/>
                <a:gd name="connsiteX10" fmla="*/ 3397841 w 13623187"/>
                <a:gd name="connsiteY10" fmla="*/ 6330460 h 6330460"/>
                <a:gd name="connsiteX11" fmla="*/ 3421286 w 13623187"/>
                <a:gd name="connsiteY11" fmla="*/ 4220307 h 6330460"/>
                <a:gd name="connsiteX12" fmla="*/ 2647564 w 13623187"/>
                <a:gd name="connsiteY12" fmla="*/ 4220308 h 6330460"/>
                <a:gd name="connsiteX13" fmla="*/ 2647564 w 13623187"/>
                <a:gd name="connsiteY13" fmla="*/ 6283569 h 6330460"/>
                <a:gd name="connsiteX14" fmla="*/ 0 w 13623187"/>
                <a:gd name="connsiteY14" fmla="*/ 6310100 h 6330460"/>
                <a:gd name="connsiteX15" fmla="*/ 0 w 13623187"/>
                <a:gd name="connsiteY15" fmla="*/ 0 h 6330460"/>
                <a:gd name="connsiteX0" fmla="*/ 0 w 13623187"/>
                <a:gd name="connsiteY0" fmla="*/ 0 h 6330460"/>
                <a:gd name="connsiteX1" fmla="*/ 4406025 w 13623187"/>
                <a:gd name="connsiteY1" fmla="*/ 46892 h 6330460"/>
                <a:gd name="connsiteX2" fmla="*/ 6774087 w 13623187"/>
                <a:gd name="connsiteY2" fmla="*/ 5017476 h 6330460"/>
                <a:gd name="connsiteX3" fmla="*/ 9235932 w 13623187"/>
                <a:gd name="connsiteY3" fmla="*/ 23446 h 6330460"/>
                <a:gd name="connsiteX4" fmla="*/ 12213595 w 13623187"/>
                <a:gd name="connsiteY4" fmla="*/ 1430215 h 6330460"/>
                <a:gd name="connsiteX5" fmla="*/ 13620364 w 13623187"/>
                <a:gd name="connsiteY5" fmla="*/ 6310100 h 6330460"/>
                <a:gd name="connsiteX6" fmla="*/ 10877164 w 13623187"/>
                <a:gd name="connsiteY6" fmla="*/ 6307015 h 6330460"/>
                <a:gd name="connsiteX7" fmla="*/ 10877165 w 13623187"/>
                <a:gd name="connsiteY7" fmla="*/ 4103077 h 6330460"/>
                <a:gd name="connsiteX8" fmla="*/ 10197225 w 13623187"/>
                <a:gd name="connsiteY8" fmla="*/ 4267200 h 6330460"/>
                <a:gd name="connsiteX9" fmla="*/ 10173779 w 13623187"/>
                <a:gd name="connsiteY9" fmla="*/ 6307015 h 6330460"/>
                <a:gd name="connsiteX10" fmla="*/ 3397841 w 13623187"/>
                <a:gd name="connsiteY10" fmla="*/ 6330460 h 6330460"/>
                <a:gd name="connsiteX11" fmla="*/ 3421286 w 13623187"/>
                <a:gd name="connsiteY11" fmla="*/ 4220307 h 6330460"/>
                <a:gd name="connsiteX12" fmla="*/ 2647564 w 13623187"/>
                <a:gd name="connsiteY12" fmla="*/ 4220308 h 6330460"/>
                <a:gd name="connsiteX13" fmla="*/ 2647564 w 13623187"/>
                <a:gd name="connsiteY13" fmla="*/ 6283569 h 6330460"/>
                <a:gd name="connsiteX14" fmla="*/ 0 w 13623187"/>
                <a:gd name="connsiteY14" fmla="*/ 6310100 h 6330460"/>
                <a:gd name="connsiteX15" fmla="*/ 0 w 13623187"/>
                <a:gd name="connsiteY15" fmla="*/ 0 h 6330460"/>
                <a:gd name="connsiteX0" fmla="*/ 914400 w 13623187"/>
                <a:gd name="connsiteY0" fmla="*/ 1970108 h 6307645"/>
                <a:gd name="connsiteX1" fmla="*/ 4406025 w 13623187"/>
                <a:gd name="connsiteY1" fmla="*/ 24077 h 6307645"/>
                <a:gd name="connsiteX2" fmla="*/ 6774087 w 13623187"/>
                <a:gd name="connsiteY2" fmla="*/ 4994661 h 6307645"/>
                <a:gd name="connsiteX3" fmla="*/ 9235932 w 13623187"/>
                <a:gd name="connsiteY3" fmla="*/ 631 h 6307645"/>
                <a:gd name="connsiteX4" fmla="*/ 12213595 w 13623187"/>
                <a:gd name="connsiteY4" fmla="*/ 1407400 h 6307645"/>
                <a:gd name="connsiteX5" fmla="*/ 13620364 w 13623187"/>
                <a:gd name="connsiteY5" fmla="*/ 6287285 h 6307645"/>
                <a:gd name="connsiteX6" fmla="*/ 10877164 w 13623187"/>
                <a:gd name="connsiteY6" fmla="*/ 6284200 h 6307645"/>
                <a:gd name="connsiteX7" fmla="*/ 10877165 w 13623187"/>
                <a:gd name="connsiteY7" fmla="*/ 4080262 h 6307645"/>
                <a:gd name="connsiteX8" fmla="*/ 10197225 w 13623187"/>
                <a:gd name="connsiteY8" fmla="*/ 4244385 h 6307645"/>
                <a:gd name="connsiteX9" fmla="*/ 10173779 w 13623187"/>
                <a:gd name="connsiteY9" fmla="*/ 6284200 h 6307645"/>
                <a:gd name="connsiteX10" fmla="*/ 3397841 w 13623187"/>
                <a:gd name="connsiteY10" fmla="*/ 6307645 h 6307645"/>
                <a:gd name="connsiteX11" fmla="*/ 3421286 w 13623187"/>
                <a:gd name="connsiteY11" fmla="*/ 4197492 h 6307645"/>
                <a:gd name="connsiteX12" fmla="*/ 2647564 w 13623187"/>
                <a:gd name="connsiteY12" fmla="*/ 4197493 h 6307645"/>
                <a:gd name="connsiteX13" fmla="*/ 2647564 w 13623187"/>
                <a:gd name="connsiteY13" fmla="*/ 6260754 h 6307645"/>
                <a:gd name="connsiteX14" fmla="*/ 0 w 13623187"/>
                <a:gd name="connsiteY14" fmla="*/ 6287285 h 6307645"/>
                <a:gd name="connsiteX15" fmla="*/ 914400 w 13623187"/>
                <a:gd name="connsiteY15" fmla="*/ 1970108 h 6307645"/>
                <a:gd name="connsiteX0" fmla="*/ 914400 w 13623187"/>
                <a:gd name="connsiteY0" fmla="*/ 1970108 h 6307645"/>
                <a:gd name="connsiteX1" fmla="*/ 4406025 w 13623187"/>
                <a:gd name="connsiteY1" fmla="*/ 24077 h 6307645"/>
                <a:gd name="connsiteX2" fmla="*/ 6774087 w 13623187"/>
                <a:gd name="connsiteY2" fmla="*/ 4994661 h 6307645"/>
                <a:gd name="connsiteX3" fmla="*/ 9235932 w 13623187"/>
                <a:gd name="connsiteY3" fmla="*/ 631 h 6307645"/>
                <a:gd name="connsiteX4" fmla="*/ 12213595 w 13623187"/>
                <a:gd name="connsiteY4" fmla="*/ 1407400 h 6307645"/>
                <a:gd name="connsiteX5" fmla="*/ 13620364 w 13623187"/>
                <a:gd name="connsiteY5" fmla="*/ 6287285 h 6307645"/>
                <a:gd name="connsiteX6" fmla="*/ 10877164 w 13623187"/>
                <a:gd name="connsiteY6" fmla="*/ 6284200 h 6307645"/>
                <a:gd name="connsiteX7" fmla="*/ 10877165 w 13623187"/>
                <a:gd name="connsiteY7" fmla="*/ 4080262 h 6307645"/>
                <a:gd name="connsiteX8" fmla="*/ 10197225 w 13623187"/>
                <a:gd name="connsiteY8" fmla="*/ 4244385 h 6307645"/>
                <a:gd name="connsiteX9" fmla="*/ 10173779 w 13623187"/>
                <a:gd name="connsiteY9" fmla="*/ 6284200 h 6307645"/>
                <a:gd name="connsiteX10" fmla="*/ 3397841 w 13623187"/>
                <a:gd name="connsiteY10" fmla="*/ 6307645 h 6307645"/>
                <a:gd name="connsiteX11" fmla="*/ 3421286 w 13623187"/>
                <a:gd name="connsiteY11" fmla="*/ 4197492 h 6307645"/>
                <a:gd name="connsiteX12" fmla="*/ 2647564 w 13623187"/>
                <a:gd name="connsiteY12" fmla="*/ 4197493 h 6307645"/>
                <a:gd name="connsiteX13" fmla="*/ 2647564 w 13623187"/>
                <a:gd name="connsiteY13" fmla="*/ 6260754 h 6307645"/>
                <a:gd name="connsiteX14" fmla="*/ 0 w 13623187"/>
                <a:gd name="connsiteY14" fmla="*/ 6287285 h 6307645"/>
                <a:gd name="connsiteX15" fmla="*/ 914400 w 13623187"/>
                <a:gd name="connsiteY15" fmla="*/ 1970108 h 6307645"/>
                <a:gd name="connsiteX0" fmla="*/ 914400 w 13623187"/>
                <a:gd name="connsiteY0" fmla="*/ 1985552 h 6323089"/>
                <a:gd name="connsiteX1" fmla="*/ 4406025 w 13623187"/>
                <a:gd name="connsiteY1" fmla="*/ 39521 h 6323089"/>
                <a:gd name="connsiteX2" fmla="*/ 6774087 w 13623187"/>
                <a:gd name="connsiteY2" fmla="*/ 5010105 h 6323089"/>
                <a:gd name="connsiteX3" fmla="*/ 9235932 w 13623187"/>
                <a:gd name="connsiteY3" fmla="*/ 16075 h 6323089"/>
                <a:gd name="connsiteX4" fmla="*/ 12213595 w 13623187"/>
                <a:gd name="connsiteY4" fmla="*/ 1422844 h 6323089"/>
                <a:gd name="connsiteX5" fmla="*/ 13620364 w 13623187"/>
                <a:gd name="connsiteY5" fmla="*/ 6302729 h 6323089"/>
                <a:gd name="connsiteX6" fmla="*/ 10877164 w 13623187"/>
                <a:gd name="connsiteY6" fmla="*/ 6299644 h 6323089"/>
                <a:gd name="connsiteX7" fmla="*/ 10877165 w 13623187"/>
                <a:gd name="connsiteY7" fmla="*/ 4095706 h 6323089"/>
                <a:gd name="connsiteX8" fmla="*/ 10197225 w 13623187"/>
                <a:gd name="connsiteY8" fmla="*/ 4259829 h 6323089"/>
                <a:gd name="connsiteX9" fmla="*/ 10173779 w 13623187"/>
                <a:gd name="connsiteY9" fmla="*/ 6299644 h 6323089"/>
                <a:gd name="connsiteX10" fmla="*/ 3397841 w 13623187"/>
                <a:gd name="connsiteY10" fmla="*/ 6323089 h 6323089"/>
                <a:gd name="connsiteX11" fmla="*/ 3421286 w 13623187"/>
                <a:gd name="connsiteY11" fmla="*/ 4212936 h 6323089"/>
                <a:gd name="connsiteX12" fmla="*/ 2647564 w 13623187"/>
                <a:gd name="connsiteY12" fmla="*/ 4212937 h 6323089"/>
                <a:gd name="connsiteX13" fmla="*/ 2647564 w 13623187"/>
                <a:gd name="connsiteY13" fmla="*/ 6276198 h 6323089"/>
                <a:gd name="connsiteX14" fmla="*/ 0 w 13623187"/>
                <a:gd name="connsiteY14" fmla="*/ 6302729 h 6323089"/>
                <a:gd name="connsiteX15" fmla="*/ 914400 w 13623187"/>
                <a:gd name="connsiteY15" fmla="*/ 1985552 h 6323089"/>
                <a:gd name="connsiteX0" fmla="*/ 937847 w 13646634"/>
                <a:gd name="connsiteY0" fmla="*/ 1985552 h 6323089"/>
                <a:gd name="connsiteX1" fmla="*/ 4429472 w 13646634"/>
                <a:gd name="connsiteY1" fmla="*/ 39521 h 6323089"/>
                <a:gd name="connsiteX2" fmla="*/ 6797534 w 13646634"/>
                <a:gd name="connsiteY2" fmla="*/ 5010105 h 6323089"/>
                <a:gd name="connsiteX3" fmla="*/ 9259379 w 13646634"/>
                <a:gd name="connsiteY3" fmla="*/ 16075 h 6323089"/>
                <a:gd name="connsiteX4" fmla="*/ 12237042 w 13646634"/>
                <a:gd name="connsiteY4" fmla="*/ 1422844 h 6323089"/>
                <a:gd name="connsiteX5" fmla="*/ 13643811 w 13646634"/>
                <a:gd name="connsiteY5" fmla="*/ 6302729 h 6323089"/>
                <a:gd name="connsiteX6" fmla="*/ 10900611 w 13646634"/>
                <a:gd name="connsiteY6" fmla="*/ 6299644 h 6323089"/>
                <a:gd name="connsiteX7" fmla="*/ 10900612 w 13646634"/>
                <a:gd name="connsiteY7" fmla="*/ 4095706 h 6323089"/>
                <a:gd name="connsiteX8" fmla="*/ 10220672 w 13646634"/>
                <a:gd name="connsiteY8" fmla="*/ 4259829 h 6323089"/>
                <a:gd name="connsiteX9" fmla="*/ 10197226 w 13646634"/>
                <a:gd name="connsiteY9" fmla="*/ 6299644 h 6323089"/>
                <a:gd name="connsiteX10" fmla="*/ 3421288 w 13646634"/>
                <a:gd name="connsiteY10" fmla="*/ 6323089 h 6323089"/>
                <a:gd name="connsiteX11" fmla="*/ 3444733 w 13646634"/>
                <a:gd name="connsiteY11" fmla="*/ 4212936 h 6323089"/>
                <a:gd name="connsiteX12" fmla="*/ 2671011 w 13646634"/>
                <a:gd name="connsiteY12" fmla="*/ 4212937 h 6323089"/>
                <a:gd name="connsiteX13" fmla="*/ 2671011 w 13646634"/>
                <a:gd name="connsiteY13" fmla="*/ 6276198 h 6323089"/>
                <a:gd name="connsiteX14" fmla="*/ 0 w 13646634"/>
                <a:gd name="connsiteY14" fmla="*/ 6232390 h 6323089"/>
                <a:gd name="connsiteX15" fmla="*/ 937847 w 13646634"/>
                <a:gd name="connsiteY15" fmla="*/ 1985552 h 6323089"/>
                <a:gd name="connsiteX0" fmla="*/ 867509 w 13576296"/>
                <a:gd name="connsiteY0" fmla="*/ 1985552 h 6323089"/>
                <a:gd name="connsiteX1" fmla="*/ 4359134 w 13576296"/>
                <a:gd name="connsiteY1" fmla="*/ 39521 h 6323089"/>
                <a:gd name="connsiteX2" fmla="*/ 6727196 w 13576296"/>
                <a:gd name="connsiteY2" fmla="*/ 5010105 h 6323089"/>
                <a:gd name="connsiteX3" fmla="*/ 9189041 w 13576296"/>
                <a:gd name="connsiteY3" fmla="*/ 16075 h 6323089"/>
                <a:gd name="connsiteX4" fmla="*/ 12166704 w 13576296"/>
                <a:gd name="connsiteY4" fmla="*/ 1422844 h 6323089"/>
                <a:gd name="connsiteX5" fmla="*/ 13573473 w 13576296"/>
                <a:gd name="connsiteY5" fmla="*/ 6302729 h 6323089"/>
                <a:gd name="connsiteX6" fmla="*/ 10830273 w 13576296"/>
                <a:gd name="connsiteY6" fmla="*/ 6299644 h 6323089"/>
                <a:gd name="connsiteX7" fmla="*/ 10830274 w 13576296"/>
                <a:gd name="connsiteY7" fmla="*/ 4095706 h 6323089"/>
                <a:gd name="connsiteX8" fmla="*/ 10150334 w 13576296"/>
                <a:gd name="connsiteY8" fmla="*/ 4259829 h 6323089"/>
                <a:gd name="connsiteX9" fmla="*/ 10126888 w 13576296"/>
                <a:gd name="connsiteY9" fmla="*/ 6299644 h 6323089"/>
                <a:gd name="connsiteX10" fmla="*/ 3350950 w 13576296"/>
                <a:gd name="connsiteY10" fmla="*/ 6323089 h 6323089"/>
                <a:gd name="connsiteX11" fmla="*/ 3374395 w 13576296"/>
                <a:gd name="connsiteY11" fmla="*/ 4212936 h 6323089"/>
                <a:gd name="connsiteX12" fmla="*/ 2600673 w 13576296"/>
                <a:gd name="connsiteY12" fmla="*/ 4212937 h 6323089"/>
                <a:gd name="connsiteX13" fmla="*/ 2600673 w 13576296"/>
                <a:gd name="connsiteY13" fmla="*/ 6276198 h 6323089"/>
                <a:gd name="connsiteX14" fmla="*/ 0 w 13576296"/>
                <a:gd name="connsiteY14" fmla="*/ 6302729 h 6323089"/>
                <a:gd name="connsiteX15" fmla="*/ 867509 w 13576296"/>
                <a:gd name="connsiteY15" fmla="*/ 1985552 h 6323089"/>
                <a:gd name="connsiteX0" fmla="*/ 875123 w 13583910"/>
                <a:gd name="connsiteY0" fmla="*/ 1985552 h 6323089"/>
                <a:gd name="connsiteX1" fmla="*/ 4366748 w 13583910"/>
                <a:gd name="connsiteY1" fmla="*/ 39521 h 6323089"/>
                <a:gd name="connsiteX2" fmla="*/ 6734810 w 13583910"/>
                <a:gd name="connsiteY2" fmla="*/ 5010105 h 6323089"/>
                <a:gd name="connsiteX3" fmla="*/ 9196655 w 13583910"/>
                <a:gd name="connsiteY3" fmla="*/ 16075 h 6323089"/>
                <a:gd name="connsiteX4" fmla="*/ 12174318 w 13583910"/>
                <a:gd name="connsiteY4" fmla="*/ 1422844 h 6323089"/>
                <a:gd name="connsiteX5" fmla="*/ 13581087 w 13583910"/>
                <a:gd name="connsiteY5" fmla="*/ 6302729 h 6323089"/>
                <a:gd name="connsiteX6" fmla="*/ 10837887 w 13583910"/>
                <a:gd name="connsiteY6" fmla="*/ 6299644 h 6323089"/>
                <a:gd name="connsiteX7" fmla="*/ 10837888 w 13583910"/>
                <a:gd name="connsiteY7" fmla="*/ 4095706 h 6323089"/>
                <a:gd name="connsiteX8" fmla="*/ 10157948 w 13583910"/>
                <a:gd name="connsiteY8" fmla="*/ 4259829 h 6323089"/>
                <a:gd name="connsiteX9" fmla="*/ 10134502 w 13583910"/>
                <a:gd name="connsiteY9" fmla="*/ 6299644 h 6323089"/>
                <a:gd name="connsiteX10" fmla="*/ 3358564 w 13583910"/>
                <a:gd name="connsiteY10" fmla="*/ 6323089 h 6323089"/>
                <a:gd name="connsiteX11" fmla="*/ 3382009 w 13583910"/>
                <a:gd name="connsiteY11" fmla="*/ 4212936 h 6323089"/>
                <a:gd name="connsiteX12" fmla="*/ 2608287 w 13583910"/>
                <a:gd name="connsiteY12" fmla="*/ 4212937 h 6323089"/>
                <a:gd name="connsiteX13" fmla="*/ 2608287 w 13583910"/>
                <a:gd name="connsiteY13" fmla="*/ 6276198 h 6323089"/>
                <a:gd name="connsiteX14" fmla="*/ 7614 w 13583910"/>
                <a:gd name="connsiteY14" fmla="*/ 6302729 h 6323089"/>
                <a:gd name="connsiteX15" fmla="*/ 875123 w 13583910"/>
                <a:gd name="connsiteY15" fmla="*/ 1985552 h 6323089"/>
                <a:gd name="connsiteX0" fmla="*/ 1154365 w 13581798"/>
                <a:gd name="connsiteY0" fmla="*/ 1654535 h 6343764"/>
                <a:gd name="connsiteX1" fmla="*/ 4364636 w 13581798"/>
                <a:gd name="connsiteY1" fmla="*/ 60196 h 6343764"/>
                <a:gd name="connsiteX2" fmla="*/ 6732698 w 13581798"/>
                <a:gd name="connsiteY2" fmla="*/ 5030780 h 6343764"/>
                <a:gd name="connsiteX3" fmla="*/ 9194543 w 13581798"/>
                <a:gd name="connsiteY3" fmla="*/ 36750 h 6343764"/>
                <a:gd name="connsiteX4" fmla="*/ 12172206 w 13581798"/>
                <a:gd name="connsiteY4" fmla="*/ 1443519 h 6343764"/>
                <a:gd name="connsiteX5" fmla="*/ 13578975 w 13581798"/>
                <a:gd name="connsiteY5" fmla="*/ 6323404 h 6343764"/>
                <a:gd name="connsiteX6" fmla="*/ 10835775 w 13581798"/>
                <a:gd name="connsiteY6" fmla="*/ 6320319 h 6343764"/>
                <a:gd name="connsiteX7" fmla="*/ 10835776 w 13581798"/>
                <a:gd name="connsiteY7" fmla="*/ 4116381 h 6343764"/>
                <a:gd name="connsiteX8" fmla="*/ 10155836 w 13581798"/>
                <a:gd name="connsiteY8" fmla="*/ 4280504 h 6343764"/>
                <a:gd name="connsiteX9" fmla="*/ 10132390 w 13581798"/>
                <a:gd name="connsiteY9" fmla="*/ 6320319 h 6343764"/>
                <a:gd name="connsiteX10" fmla="*/ 3356452 w 13581798"/>
                <a:gd name="connsiteY10" fmla="*/ 6343764 h 6343764"/>
                <a:gd name="connsiteX11" fmla="*/ 3379897 w 13581798"/>
                <a:gd name="connsiteY11" fmla="*/ 4233611 h 6343764"/>
                <a:gd name="connsiteX12" fmla="*/ 2606175 w 13581798"/>
                <a:gd name="connsiteY12" fmla="*/ 4233612 h 6343764"/>
                <a:gd name="connsiteX13" fmla="*/ 2606175 w 13581798"/>
                <a:gd name="connsiteY13" fmla="*/ 6296873 h 6343764"/>
                <a:gd name="connsiteX14" fmla="*/ 5502 w 13581798"/>
                <a:gd name="connsiteY14" fmla="*/ 6323404 h 6343764"/>
                <a:gd name="connsiteX15" fmla="*/ 1154365 w 13581798"/>
                <a:gd name="connsiteY15" fmla="*/ 1654535 h 6343764"/>
                <a:gd name="connsiteX0" fmla="*/ 1154012 w 13581445"/>
                <a:gd name="connsiteY0" fmla="*/ 1654535 h 6343764"/>
                <a:gd name="connsiteX1" fmla="*/ 4364283 w 13581445"/>
                <a:gd name="connsiteY1" fmla="*/ 60196 h 6343764"/>
                <a:gd name="connsiteX2" fmla="*/ 6732345 w 13581445"/>
                <a:gd name="connsiteY2" fmla="*/ 5030780 h 6343764"/>
                <a:gd name="connsiteX3" fmla="*/ 9194190 w 13581445"/>
                <a:gd name="connsiteY3" fmla="*/ 36750 h 6343764"/>
                <a:gd name="connsiteX4" fmla="*/ 12171853 w 13581445"/>
                <a:gd name="connsiteY4" fmla="*/ 1443519 h 6343764"/>
                <a:gd name="connsiteX5" fmla="*/ 13578622 w 13581445"/>
                <a:gd name="connsiteY5" fmla="*/ 6323404 h 6343764"/>
                <a:gd name="connsiteX6" fmla="*/ 10835422 w 13581445"/>
                <a:gd name="connsiteY6" fmla="*/ 6320319 h 6343764"/>
                <a:gd name="connsiteX7" fmla="*/ 10835423 w 13581445"/>
                <a:gd name="connsiteY7" fmla="*/ 4116381 h 6343764"/>
                <a:gd name="connsiteX8" fmla="*/ 10155483 w 13581445"/>
                <a:gd name="connsiteY8" fmla="*/ 4280504 h 6343764"/>
                <a:gd name="connsiteX9" fmla="*/ 10132037 w 13581445"/>
                <a:gd name="connsiteY9" fmla="*/ 6320319 h 6343764"/>
                <a:gd name="connsiteX10" fmla="*/ 3356099 w 13581445"/>
                <a:gd name="connsiteY10" fmla="*/ 6343764 h 6343764"/>
                <a:gd name="connsiteX11" fmla="*/ 3379544 w 13581445"/>
                <a:gd name="connsiteY11" fmla="*/ 4233611 h 6343764"/>
                <a:gd name="connsiteX12" fmla="*/ 2605822 w 13581445"/>
                <a:gd name="connsiteY12" fmla="*/ 4233612 h 6343764"/>
                <a:gd name="connsiteX13" fmla="*/ 2605822 w 13581445"/>
                <a:gd name="connsiteY13" fmla="*/ 6296873 h 6343764"/>
                <a:gd name="connsiteX14" fmla="*/ 5149 w 13581445"/>
                <a:gd name="connsiteY14" fmla="*/ 6323404 h 6343764"/>
                <a:gd name="connsiteX15" fmla="*/ 1154012 w 13581445"/>
                <a:gd name="connsiteY15" fmla="*/ 1654535 h 6343764"/>
                <a:gd name="connsiteX0" fmla="*/ 1227606 w 13655039"/>
                <a:gd name="connsiteY0" fmla="*/ 1654535 h 6343764"/>
                <a:gd name="connsiteX1" fmla="*/ 4437877 w 13655039"/>
                <a:gd name="connsiteY1" fmla="*/ 60196 h 6343764"/>
                <a:gd name="connsiteX2" fmla="*/ 6805939 w 13655039"/>
                <a:gd name="connsiteY2" fmla="*/ 5030780 h 6343764"/>
                <a:gd name="connsiteX3" fmla="*/ 9267784 w 13655039"/>
                <a:gd name="connsiteY3" fmla="*/ 36750 h 6343764"/>
                <a:gd name="connsiteX4" fmla="*/ 12245447 w 13655039"/>
                <a:gd name="connsiteY4" fmla="*/ 1443519 h 6343764"/>
                <a:gd name="connsiteX5" fmla="*/ 13652216 w 13655039"/>
                <a:gd name="connsiteY5" fmla="*/ 6323404 h 6343764"/>
                <a:gd name="connsiteX6" fmla="*/ 10909016 w 13655039"/>
                <a:gd name="connsiteY6" fmla="*/ 6320319 h 6343764"/>
                <a:gd name="connsiteX7" fmla="*/ 10909017 w 13655039"/>
                <a:gd name="connsiteY7" fmla="*/ 4116381 h 6343764"/>
                <a:gd name="connsiteX8" fmla="*/ 10229077 w 13655039"/>
                <a:gd name="connsiteY8" fmla="*/ 4280504 h 6343764"/>
                <a:gd name="connsiteX9" fmla="*/ 10205631 w 13655039"/>
                <a:gd name="connsiteY9" fmla="*/ 6320319 h 6343764"/>
                <a:gd name="connsiteX10" fmla="*/ 3429693 w 13655039"/>
                <a:gd name="connsiteY10" fmla="*/ 6343764 h 6343764"/>
                <a:gd name="connsiteX11" fmla="*/ 3453138 w 13655039"/>
                <a:gd name="connsiteY11" fmla="*/ 4233611 h 6343764"/>
                <a:gd name="connsiteX12" fmla="*/ 2679416 w 13655039"/>
                <a:gd name="connsiteY12" fmla="*/ 4233612 h 6343764"/>
                <a:gd name="connsiteX13" fmla="*/ 2679416 w 13655039"/>
                <a:gd name="connsiteY13" fmla="*/ 6296873 h 6343764"/>
                <a:gd name="connsiteX14" fmla="*/ 78743 w 13655039"/>
                <a:gd name="connsiteY14" fmla="*/ 6323404 h 6343764"/>
                <a:gd name="connsiteX15" fmla="*/ 1227606 w 13655039"/>
                <a:gd name="connsiteY15" fmla="*/ 1654535 h 6343764"/>
                <a:gd name="connsiteX0" fmla="*/ 1227606 w 13655039"/>
                <a:gd name="connsiteY0" fmla="*/ 1626092 h 6315321"/>
                <a:gd name="connsiteX1" fmla="*/ 4437877 w 13655039"/>
                <a:gd name="connsiteY1" fmla="*/ 31753 h 6315321"/>
                <a:gd name="connsiteX2" fmla="*/ 6805939 w 13655039"/>
                <a:gd name="connsiteY2" fmla="*/ 5002337 h 6315321"/>
                <a:gd name="connsiteX3" fmla="*/ 9267784 w 13655039"/>
                <a:gd name="connsiteY3" fmla="*/ 8307 h 6315321"/>
                <a:gd name="connsiteX4" fmla="*/ 12245447 w 13655039"/>
                <a:gd name="connsiteY4" fmla="*/ 1415076 h 6315321"/>
                <a:gd name="connsiteX5" fmla="*/ 13652216 w 13655039"/>
                <a:gd name="connsiteY5" fmla="*/ 6294961 h 6315321"/>
                <a:gd name="connsiteX6" fmla="*/ 10909016 w 13655039"/>
                <a:gd name="connsiteY6" fmla="*/ 6291876 h 6315321"/>
                <a:gd name="connsiteX7" fmla="*/ 10909017 w 13655039"/>
                <a:gd name="connsiteY7" fmla="*/ 4087938 h 6315321"/>
                <a:gd name="connsiteX8" fmla="*/ 10229077 w 13655039"/>
                <a:gd name="connsiteY8" fmla="*/ 4252061 h 6315321"/>
                <a:gd name="connsiteX9" fmla="*/ 10205631 w 13655039"/>
                <a:gd name="connsiteY9" fmla="*/ 6291876 h 6315321"/>
                <a:gd name="connsiteX10" fmla="*/ 3429693 w 13655039"/>
                <a:gd name="connsiteY10" fmla="*/ 6315321 h 6315321"/>
                <a:gd name="connsiteX11" fmla="*/ 3453138 w 13655039"/>
                <a:gd name="connsiteY11" fmla="*/ 4205168 h 6315321"/>
                <a:gd name="connsiteX12" fmla="*/ 2679416 w 13655039"/>
                <a:gd name="connsiteY12" fmla="*/ 4205169 h 6315321"/>
                <a:gd name="connsiteX13" fmla="*/ 2679416 w 13655039"/>
                <a:gd name="connsiteY13" fmla="*/ 6268430 h 6315321"/>
                <a:gd name="connsiteX14" fmla="*/ 78743 w 13655039"/>
                <a:gd name="connsiteY14" fmla="*/ 6294961 h 6315321"/>
                <a:gd name="connsiteX15" fmla="*/ 1227606 w 13655039"/>
                <a:gd name="connsiteY15" fmla="*/ 1626092 h 6315321"/>
                <a:gd name="connsiteX0" fmla="*/ 1227606 w 13655039"/>
                <a:gd name="connsiteY0" fmla="*/ 1618416 h 6307645"/>
                <a:gd name="connsiteX1" fmla="*/ 4437877 w 13655039"/>
                <a:gd name="connsiteY1" fmla="*/ 24077 h 6307645"/>
                <a:gd name="connsiteX2" fmla="*/ 6805939 w 13655039"/>
                <a:gd name="connsiteY2" fmla="*/ 4994661 h 6307645"/>
                <a:gd name="connsiteX3" fmla="*/ 9267784 w 13655039"/>
                <a:gd name="connsiteY3" fmla="*/ 631 h 6307645"/>
                <a:gd name="connsiteX4" fmla="*/ 12245447 w 13655039"/>
                <a:gd name="connsiteY4" fmla="*/ 1407400 h 6307645"/>
                <a:gd name="connsiteX5" fmla="*/ 13652216 w 13655039"/>
                <a:gd name="connsiteY5" fmla="*/ 6287285 h 6307645"/>
                <a:gd name="connsiteX6" fmla="*/ 10909016 w 13655039"/>
                <a:gd name="connsiteY6" fmla="*/ 6284200 h 6307645"/>
                <a:gd name="connsiteX7" fmla="*/ 10909017 w 13655039"/>
                <a:gd name="connsiteY7" fmla="*/ 4080262 h 6307645"/>
                <a:gd name="connsiteX8" fmla="*/ 10229077 w 13655039"/>
                <a:gd name="connsiteY8" fmla="*/ 4244385 h 6307645"/>
                <a:gd name="connsiteX9" fmla="*/ 10205631 w 13655039"/>
                <a:gd name="connsiteY9" fmla="*/ 6284200 h 6307645"/>
                <a:gd name="connsiteX10" fmla="*/ 3429693 w 13655039"/>
                <a:gd name="connsiteY10" fmla="*/ 6307645 h 6307645"/>
                <a:gd name="connsiteX11" fmla="*/ 3453138 w 13655039"/>
                <a:gd name="connsiteY11" fmla="*/ 4197492 h 6307645"/>
                <a:gd name="connsiteX12" fmla="*/ 2679416 w 13655039"/>
                <a:gd name="connsiteY12" fmla="*/ 4197493 h 6307645"/>
                <a:gd name="connsiteX13" fmla="*/ 2679416 w 13655039"/>
                <a:gd name="connsiteY13" fmla="*/ 6260754 h 6307645"/>
                <a:gd name="connsiteX14" fmla="*/ 78743 w 13655039"/>
                <a:gd name="connsiteY14" fmla="*/ 6287285 h 6307645"/>
                <a:gd name="connsiteX15" fmla="*/ 1227606 w 13655039"/>
                <a:gd name="connsiteY15" fmla="*/ 1618416 h 6307645"/>
                <a:gd name="connsiteX0" fmla="*/ 1235776 w 13663209"/>
                <a:gd name="connsiteY0" fmla="*/ 1618416 h 6307645"/>
                <a:gd name="connsiteX1" fmla="*/ 4446047 w 13663209"/>
                <a:gd name="connsiteY1" fmla="*/ 24077 h 6307645"/>
                <a:gd name="connsiteX2" fmla="*/ 6814109 w 13663209"/>
                <a:gd name="connsiteY2" fmla="*/ 4994661 h 6307645"/>
                <a:gd name="connsiteX3" fmla="*/ 9275954 w 13663209"/>
                <a:gd name="connsiteY3" fmla="*/ 631 h 6307645"/>
                <a:gd name="connsiteX4" fmla="*/ 12253617 w 13663209"/>
                <a:gd name="connsiteY4" fmla="*/ 1407400 h 6307645"/>
                <a:gd name="connsiteX5" fmla="*/ 13660386 w 13663209"/>
                <a:gd name="connsiteY5" fmla="*/ 6287285 h 6307645"/>
                <a:gd name="connsiteX6" fmla="*/ 10917186 w 13663209"/>
                <a:gd name="connsiteY6" fmla="*/ 6284200 h 6307645"/>
                <a:gd name="connsiteX7" fmla="*/ 10917187 w 13663209"/>
                <a:gd name="connsiteY7" fmla="*/ 4080262 h 6307645"/>
                <a:gd name="connsiteX8" fmla="*/ 10237247 w 13663209"/>
                <a:gd name="connsiteY8" fmla="*/ 4244385 h 6307645"/>
                <a:gd name="connsiteX9" fmla="*/ 10213801 w 13663209"/>
                <a:gd name="connsiteY9" fmla="*/ 6284200 h 6307645"/>
                <a:gd name="connsiteX10" fmla="*/ 3437863 w 13663209"/>
                <a:gd name="connsiteY10" fmla="*/ 6307645 h 6307645"/>
                <a:gd name="connsiteX11" fmla="*/ 3461308 w 13663209"/>
                <a:gd name="connsiteY11" fmla="*/ 4197492 h 6307645"/>
                <a:gd name="connsiteX12" fmla="*/ 2687586 w 13663209"/>
                <a:gd name="connsiteY12" fmla="*/ 4197493 h 6307645"/>
                <a:gd name="connsiteX13" fmla="*/ 2687586 w 13663209"/>
                <a:gd name="connsiteY13" fmla="*/ 6260754 h 6307645"/>
                <a:gd name="connsiteX14" fmla="*/ 86913 w 13663209"/>
                <a:gd name="connsiteY14" fmla="*/ 6287285 h 6307645"/>
                <a:gd name="connsiteX15" fmla="*/ 1235776 w 13663209"/>
                <a:gd name="connsiteY15" fmla="*/ 1618416 h 6307645"/>
                <a:gd name="connsiteX0" fmla="*/ 1235776 w 13663209"/>
                <a:gd name="connsiteY0" fmla="*/ 1618416 h 6307645"/>
                <a:gd name="connsiteX1" fmla="*/ 4446047 w 13663209"/>
                <a:gd name="connsiteY1" fmla="*/ 24077 h 6307645"/>
                <a:gd name="connsiteX2" fmla="*/ 6814109 w 13663209"/>
                <a:gd name="connsiteY2" fmla="*/ 4994661 h 6307645"/>
                <a:gd name="connsiteX3" fmla="*/ 9275954 w 13663209"/>
                <a:gd name="connsiteY3" fmla="*/ 631 h 6307645"/>
                <a:gd name="connsiteX4" fmla="*/ 12253617 w 13663209"/>
                <a:gd name="connsiteY4" fmla="*/ 1407400 h 6307645"/>
                <a:gd name="connsiteX5" fmla="*/ 13660386 w 13663209"/>
                <a:gd name="connsiteY5" fmla="*/ 6287285 h 6307645"/>
                <a:gd name="connsiteX6" fmla="*/ 10917186 w 13663209"/>
                <a:gd name="connsiteY6" fmla="*/ 6284200 h 6307645"/>
                <a:gd name="connsiteX7" fmla="*/ 10917187 w 13663209"/>
                <a:gd name="connsiteY7" fmla="*/ 4080262 h 6307645"/>
                <a:gd name="connsiteX8" fmla="*/ 10237247 w 13663209"/>
                <a:gd name="connsiteY8" fmla="*/ 4244385 h 6307645"/>
                <a:gd name="connsiteX9" fmla="*/ 10213801 w 13663209"/>
                <a:gd name="connsiteY9" fmla="*/ 6284200 h 6307645"/>
                <a:gd name="connsiteX10" fmla="*/ 3437863 w 13663209"/>
                <a:gd name="connsiteY10" fmla="*/ 6307645 h 6307645"/>
                <a:gd name="connsiteX11" fmla="*/ 3461308 w 13663209"/>
                <a:gd name="connsiteY11" fmla="*/ 4197492 h 6307645"/>
                <a:gd name="connsiteX12" fmla="*/ 2687586 w 13663209"/>
                <a:gd name="connsiteY12" fmla="*/ 4197493 h 6307645"/>
                <a:gd name="connsiteX13" fmla="*/ 2687586 w 13663209"/>
                <a:gd name="connsiteY13" fmla="*/ 6260754 h 6307645"/>
                <a:gd name="connsiteX14" fmla="*/ 86913 w 13663209"/>
                <a:gd name="connsiteY14" fmla="*/ 6287285 h 6307645"/>
                <a:gd name="connsiteX15" fmla="*/ 1235776 w 13663209"/>
                <a:gd name="connsiteY15" fmla="*/ 1618416 h 6307645"/>
                <a:gd name="connsiteX0" fmla="*/ 1235776 w 13663209"/>
                <a:gd name="connsiteY0" fmla="*/ 1618416 h 6307645"/>
                <a:gd name="connsiteX1" fmla="*/ 4446047 w 13663209"/>
                <a:gd name="connsiteY1" fmla="*/ 24077 h 6307645"/>
                <a:gd name="connsiteX2" fmla="*/ 6814109 w 13663209"/>
                <a:gd name="connsiteY2" fmla="*/ 4994661 h 6307645"/>
                <a:gd name="connsiteX3" fmla="*/ 9275954 w 13663209"/>
                <a:gd name="connsiteY3" fmla="*/ 631 h 6307645"/>
                <a:gd name="connsiteX4" fmla="*/ 12253617 w 13663209"/>
                <a:gd name="connsiteY4" fmla="*/ 1407400 h 6307645"/>
                <a:gd name="connsiteX5" fmla="*/ 13660386 w 13663209"/>
                <a:gd name="connsiteY5" fmla="*/ 6287285 h 6307645"/>
                <a:gd name="connsiteX6" fmla="*/ 10917186 w 13663209"/>
                <a:gd name="connsiteY6" fmla="*/ 6284200 h 6307645"/>
                <a:gd name="connsiteX7" fmla="*/ 10917187 w 13663209"/>
                <a:gd name="connsiteY7" fmla="*/ 4080262 h 6307645"/>
                <a:gd name="connsiteX8" fmla="*/ 10237247 w 13663209"/>
                <a:gd name="connsiteY8" fmla="*/ 4244385 h 6307645"/>
                <a:gd name="connsiteX9" fmla="*/ 10213801 w 13663209"/>
                <a:gd name="connsiteY9" fmla="*/ 6284200 h 6307645"/>
                <a:gd name="connsiteX10" fmla="*/ 3437863 w 13663209"/>
                <a:gd name="connsiteY10" fmla="*/ 6307645 h 6307645"/>
                <a:gd name="connsiteX11" fmla="*/ 3433981 w 13663209"/>
                <a:gd name="connsiteY11" fmla="*/ 4197491 h 6307645"/>
                <a:gd name="connsiteX12" fmla="*/ 2687586 w 13663209"/>
                <a:gd name="connsiteY12" fmla="*/ 4197493 h 6307645"/>
                <a:gd name="connsiteX13" fmla="*/ 2687586 w 13663209"/>
                <a:gd name="connsiteY13" fmla="*/ 6260754 h 6307645"/>
                <a:gd name="connsiteX14" fmla="*/ 86913 w 13663209"/>
                <a:gd name="connsiteY14" fmla="*/ 6287285 h 6307645"/>
                <a:gd name="connsiteX15" fmla="*/ 1235776 w 13663209"/>
                <a:gd name="connsiteY15" fmla="*/ 1618416 h 6307645"/>
                <a:gd name="connsiteX0" fmla="*/ 1235776 w 13663209"/>
                <a:gd name="connsiteY0" fmla="*/ 1618416 h 6307645"/>
                <a:gd name="connsiteX1" fmla="*/ 4446047 w 13663209"/>
                <a:gd name="connsiteY1" fmla="*/ 24077 h 6307645"/>
                <a:gd name="connsiteX2" fmla="*/ 6814109 w 13663209"/>
                <a:gd name="connsiteY2" fmla="*/ 4994661 h 6307645"/>
                <a:gd name="connsiteX3" fmla="*/ 9275954 w 13663209"/>
                <a:gd name="connsiteY3" fmla="*/ 631 h 6307645"/>
                <a:gd name="connsiteX4" fmla="*/ 12253617 w 13663209"/>
                <a:gd name="connsiteY4" fmla="*/ 1407400 h 6307645"/>
                <a:gd name="connsiteX5" fmla="*/ 13660386 w 13663209"/>
                <a:gd name="connsiteY5" fmla="*/ 6287285 h 6307645"/>
                <a:gd name="connsiteX6" fmla="*/ 10917186 w 13663209"/>
                <a:gd name="connsiteY6" fmla="*/ 6284200 h 6307645"/>
                <a:gd name="connsiteX7" fmla="*/ 10917187 w 13663209"/>
                <a:gd name="connsiteY7" fmla="*/ 4080262 h 6307645"/>
                <a:gd name="connsiteX8" fmla="*/ 10237247 w 13663209"/>
                <a:gd name="connsiteY8" fmla="*/ 4244385 h 6307645"/>
                <a:gd name="connsiteX9" fmla="*/ 10213801 w 13663209"/>
                <a:gd name="connsiteY9" fmla="*/ 6284200 h 6307645"/>
                <a:gd name="connsiteX10" fmla="*/ 3437863 w 13663209"/>
                <a:gd name="connsiteY10" fmla="*/ 6307645 h 6307645"/>
                <a:gd name="connsiteX11" fmla="*/ 3433981 w 13663209"/>
                <a:gd name="connsiteY11" fmla="*/ 4197491 h 6307645"/>
                <a:gd name="connsiteX12" fmla="*/ 2687586 w 13663209"/>
                <a:gd name="connsiteY12" fmla="*/ 4197493 h 6307645"/>
                <a:gd name="connsiteX13" fmla="*/ 2687586 w 13663209"/>
                <a:gd name="connsiteY13" fmla="*/ 6274421 h 6307645"/>
                <a:gd name="connsiteX14" fmla="*/ 86913 w 13663209"/>
                <a:gd name="connsiteY14" fmla="*/ 6287285 h 6307645"/>
                <a:gd name="connsiteX15" fmla="*/ 1235776 w 13663209"/>
                <a:gd name="connsiteY15" fmla="*/ 1618416 h 6307645"/>
                <a:gd name="connsiteX0" fmla="*/ 1235776 w 13663209"/>
                <a:gd name="connsiteY0" fmla="*/ 1618416 h 6293981"/>
                <a:gd name="connsiteX1" fmla="*/ 4446047 w 13663209"/>
                <a:gd name="connsiteY1" fmla="*/ 24077 h 6293981"/>
                <a:gd name="connsiteX2" fmla="*/ 6814109 w 13663209"/>
                <a:gd name="connsiteY2" fmla="*/ 4994661 h 6293981"/>
                <a:gd name="connsiteX3" fmla="*/ 9275954 w 13663209"/>
                <a:gd name="connsiteY3" fmla="*/ 631 h 6293981"/>
                <a:gd name="connsiteX4" fmla="*/ 12253617 w 13663209"/>
                <a:gd name="connsiteY4" fmla="*/ 1407400 h 6293981"/>
                <a:gd name="connsiteX5" fmla="*/ 13660386 w 13663209"/>
                <a:gd name="connsiteY5" fmla="*/ 6287285 h 6293981"/>
                <a:gd name="connsiteX6" fmla="*/ 10917186 w 13663209"/>
                <a:gd name="connsiteY6" fmla="*/ 6284200 h 6293981"/>
                <a:gd name="connsiteX7" fmla="*/ 10917187 w 13663209"/>
                <a:gd name="connsiteY7" fmla="*/ 4080262 h 6293981"/>
                <a:gd name="connsiteX8" fmla="*/ 10237247 w 13663209"/>
                <a:gd name="connsiteY8" fmla="*/ 4244385 h 6293981"/>
                <a:gd name="connsiteX9" fmla="*/ 10213801 w 13663209"/>
                <a:gd name="connsiteY9" fmla="*/ 6284200 h 6293981"/>
                <a:gd name="connsiteX10" fmla="*/ 3437863 w 13663209"/>
                <a:gd name="connsiteY10" fmla="*/ 6293981 h 6293981"/>
                <a:gd name="connsiteX11" fmla="*/ 3433981 w 13663209"/>
                <a:gd name="connsiteY11" fmla="*/ 4197491 h 6293981"/>
                <a:gd name="connsiteX12" fmla="*/ 2687586 w 13663209"/>
                <a:gd name="connsiteY12" fmla="*/ 4197493 h 6293981"/>
                <a:gd name="connsiteX13" fmla="*/ 2687586 w 13663209"/>
                <a:gd name="connsiteY13" fmla="*/ 6274421 h 6293981"/>
                <a:gd name="connsiteX14" fmla="*/ 86913 w 13663209"/>
                <a:gd name="connsiteY14" fmla="*/ 6287285 h 6293981"/>
                <a:gd name="connsiteX15" fmla="*/ 1235776 w 13663209"/>
                <a:gd name="connsiteY15" fmla="*/ 1618416 h 6293981"/>
                <a:gd name="connsiteX0" fmla="*/ 1235776 w 13663209"/>
                <a:gd name="connsiteY0" fmla="*/ 1618416 h 6287284"/>
                <a:gd name="connsiteX1" fmla="*/ 4446047 w 13663209"/>
                <a:gd name="connsiteY1" fmla="*/ 24077 h 6287284"/>
                <a:gd name="connsiteX2" fmla="*/ 6814109 w 13663209"/>
                <a:gd name="connsiteY2" fmla="*/ 4994661 h 6287284"/>
                <a:gd name="connsiteX3" fmla="*/ 9275954 w 13663209"/>
                <a:gd name="connsiteY3" fmla="*/ 631 h 6287284"/>
                <a:gd name="connsiteX4" fmla="*/ 12253617 w 13663209"/>
                <a:gd name="connsiteY4" fmla="*/ 1407400 h 6287284"/>
                <a:gd name="connsiteX5" fmla="*/ 13660386 w 13663209"/>
                <a:gd name="connsiteY5" fmla="*/ 6287285 h 6287284"/>
                <a:gd name="connsiteX6" fmla="*/ 10917186 w 13663209"/>
                <a:gd name="connsiteY6" fmla="*/ 6284200 h 6287284"/>
                <a:gd name="connsiteX7" fmla="*/ 10917187 w 13663209"/>
                <a:gd name="connsiteY7" fmla="*/ 4080262 h 6287284"/>
                <a:gd name="connsiteX8" fmla="*/ 10237247 w 13663209"/>
                <a:gd name="connsiteY8" fmla="*/ 4244385 h 6287284"/>
                <a:gd name="connsiteX9" fmla="*/ 10213801 w 13663209"/>
                <a:gd name="connsiteY9" fmla="*/ 6284200 h 6287284"/>
                <a:gd name="connsiteX10" fmla="*/ 3437863 w 13663209"/>
                <a:gd name="connsiteY10" fmla="*/ 6280317 h 6287284"/>
                <a:gd name="connsiteX11" fmla="*/ 3433981 w 13663209"/>
                <a:gd name="connsiteY11" fmla="*/ 4197491 h 6287284"/>
                <a:gd name="connsiteX12" fmla="*/ 2687586 w 13663209"/>
                <a:gd name="connsiteY12" fmla="*/ 4197493 h 6287284"/>
                <a:gd name="connsiteX13" fmla="*/ 2687586 w 13663209"/>
                <a:gd name="connsiteY13" fmla="*/ 6274421 h 6287284"/>
                <a:gd name="connsiteX14" fmla="*/ 86913 w 13663209"/>
                <a:gd name="connsiteY14" fmla="*/ 6287285 h 6287284"/>
                <a:gd name="connsiteX15" fmla="*/ 1235776 w 13663209"/>
                <a:gd name="connsiteY15" fmla="*/ 1618416 h 6287284"/>
                <a:gd name="connsiteX0" fmla="*/ 1235776 w 13663209"/>
                <a:gd name="connsiteY0" fmla="*/ 1618416 h 6287284"/>
                <a:gd name="connsiteX1" fmla="*/ 4446047 w 13663209"/>
                <a:gd name="connsiteY1" fmla="*/ 24077 h 6287284"/>
                <a:gd name="connsiteX2" fmla="*/ 6814109 w 13663209"/>
                <a:gd name="connsiteY2" fmla="*/ 4994661 h 6287284"/>
                <a:gd name="connsiteX3" fmla="*/ 9275954 w 13663209"/>
                <a:gd name="connsiteY3" fmla="*/ 631 h 6287284"/>
                <a:gd name="connsiteX4" fmla="*/ 12253617 w 13663209"/>
                <a:gd name="connsiteY4" fmla="*/ 1407400 h 6287284"/>
                <a:gd name="connsiteX5" fmla="*/ 13660386 w 13663209"/>
                <a:gd name="connsiteY5" fmla="*/ 6287285 h 6287284"/>
                <a:gd name="connsiteX6" fmla="*/ 10917186 w 13663209"/>
                <a:gd name="connsiteY6" fmla="*/ 6284200 h 6287284"/>
                <a:gd name="connsiteX7" fmla="*/ 10917187 w 13663209"/>
                <a:gd name="connsiteY7" fmla="*/ 4080262 h 6287284"/>
                <a:gd name="connsiteX8" fmla="*/ 10237247 w 13663209"/>
                <a:gd name="connsiteY8" fmla="*/ 4244385 h 6287284"/>
                <a:gd name="connsiteX9" fmla="*/ 10227468 w 13663209"/>
                <a:gd name="connsiteY9" fmla="*/ 6284198 h 6287284"/>
                <a:gd name="connsiteX10" fmla="*/ 3437863 w 13663209"/>
                <a:gd name="connsiteY10" fmla="*/ 6280317 h 6287284"/>
                <a:gd name="connsiteX11" fmla="*/ 3433981 w 13663209"/>
                <a:gd name="connsiteY11" fmla="*/ 4197491 h 6287284"/>
                <a:gd name="connsiteX12" fmla="*/ 2687586 w 13663209"/>
                <a:gd name="connsiteY12" fmla="*/ 4197493 h 6287284"/>
                <a:gd name="connsiteX13" fmla="*/ 2687586 w 13663209"/>
                <a:gd name="connsiteY13" fmla="*/ 6274421 h 6287284"/>
                <a:gd name="connsiteX14" fmla="*/ 86913 w 13663209"/>
                <a:gd name="connsiteY14" fmla="*/ 6287285 h 6287284"/>
                <a:gd name="connsiteX15" fmla="*/ 1235776 w 13663209"/>
                <a:gd name="connsiteY15" fmla="*/ 1618416 h 6287284"/>
                <a:gd name="connsiteX0" fmla="*/ 1235776 w 13663209"/>
                <a:gd name="connsiteY0" fmla="*/ 1618416 h 6287284"/>
                <a:gd name="connsiteX1" fmla="*/ 4446047 w 13663209"/>
                <a:gd name="connsiteY1" fmla="*/ 24077 h 6287284"/>
                <a:gd name="connsiteX2" fmla="*/ 6814109 w 13663209"/>
                <a:gd name="connsiteY2" fmla="*/ 4994661 h 6287284"/>
                <a:gd name="connsiteX3" fmla="*/ 9275954 w 13663209"/>
                <a:gd name="connsiteY3" fmla="*/ 631 h 6287284"/>
                <a:gd name="connsiteX4" fmla="*/ 12253617 w 13663209"/>
                <a:gd name="connsiteY4" fmla="*/ 1407400 h 6287284"/>
                <a:gd name="connsiteX5" fmla="*/ 13660386 w 13663209"/>
                <a:gd name="connsiteY5" fmla="*/ 6287285 h 6287284"/>
                <a:gd name="connsiteX6" fmla="*/ 10917186 w 13663209"/>
                <a:gd name="connsiteY6" fmla="*/ 6284200 h 6287284"/>
                <a:gd name="connsiteX7" fmla="*/ 10917187 w 13663209"/>
                <a:gd name="connsiteY7" fmla="*/ 4080262 h 6287284"/>
                <a:gd name="connsiteX8" fmla="*/ 10237247 w 13663209"/>
                <a:gd name="connsiteY8" fmla="*/ 4244385 h 6287284"/>
                <a:gd name="connsiteX9" fmla="*/ 10241132 w 13663209"/>
                <a:gd name="connsiteY9" fmla="*/ 6270534 h 6287284"/>
                <a:gd name="connsiteX10" fmla="*/ 3437863 w 13663209"/>
                <a:gd name="connsiteY10" fmla="*/ 6280317 h 6287284"/>
                <a:gd name="connsiteX11" fmla="*/ 3433981 w 13663209"/>
                <a:gd name="connsiteY11" fmla="*/ 4197491 h 6287284"/>
                <a:gd name="connsiteX12" fmla="*/ 2687586 w 13663209"/>
                <a:gd name="connsiteY12" fmla="*/ 4197493 h 6287284"/>
                <a:gd name="connsiteX13" fmla="*/ 2687586 w 13663209"/>
                <a:gd name="connsiteY13" fmla="*/ 6274421 h 6287284"/>
                <a:gd name="connsiteX14" fmla="*/ 86913 w 13663209"/>
                <a:gd name="connsiteY14" fmla="*/ 6287285 h 6287284"/>
                <a:gd name="connsiteX15" fmla="*/ 1235776 w 13663209"/>
                <a:gd name="connsiteY15" fmla="*/ 1618416 h 6287284"/>
                <a:gd name="connsiteX0" fmla="*/ 1235776 w 13663209"/>
                <a:gd name="connsiteY0" fmla="*/ 1618416 h 6297862"/>
                <a:gd name="connsiteX1" fmla="*/ 4446047 w 13663209"/>
                <a:gd name="connsiteY1" fmla="*/ 24077 h 6297862"/>
                <a:gd name="connsiteX2" fmla="*/ 6814109 w 13663209"/>
                <a:gd name="connsiteY2" fmla="*/ 4994661 h 6297862"/>
                <a:gd name="connsiteX3" fmla="*/ 9275954 w 13663209"/>
                <a:gd name="connsiteY3" fmla="*/ 631 h 6297862"/>
                <a:gd name="connsiteX4" fmla="*/ 12253617 w 13663209"/>
                <a:gd name="connsiteY4" fmla="*/ 1407400 h 6297862"/>
                <a:gd name="connsiteX5" fmla="*/ 13660386 w 13663209"/>
                <a:gd name="connsiteY5" fmla="*/ 6287285 h 6297862"/>
                <a:gd name="connsiteX6" fmla="*/ 10917186 w 13663209"/>
                <a:gd name="connsiteY6" fmla="*/ 6284200 h 6297862"/>
                <a:gd name="connsiteX7" fmla="*/ 10917187 w 13663209"/>
                <a:gd name="connsiteY7" fmla="*/ 4080262 h 6297862"/>
                <a:gd name="connsiteX8" fmla="*/ 10237247 w 13663209"/>
                <a:gd name="connsiteY8" fmla="*/ 4244385 h 6297862"/>
                <a:gd name="connsiteX9" fmla="*/ 10254796 w 13663209"/>
                <a:gd name="connsiteY9" fmla="*/ 6297862 h 6297862"/>
                <a:gd name="connsiteX10" fmla="*/ 3437863 w 13663209"/>
                <a:gd name="connsiteY10" fmla="*/ 6280317 h 6297862"/>
                <a:gd name="connsiteX11" fmla="*/ 3433981 w 13663209"/>
                <a:gd name="connsiteY11" fmla="*/ 4197491 h 6297862"/>
                <a:gd name="connsiteX12" fmla="*/ 2687586 w 13663209"/>
                <a:gd name="connsiteY12" fmla="*/ 4197493 h 6297862"/>
                <a:gd name="connsiteX13" fmla="*/ 2687586 w 13663209"/>
                <a:gd name="connsiteY13" fmla="*/ 6274421 h 6297862"/>
                <a:gd name="connsiteX14" fmla="*/ 86913 w 13663209"/>
                <a:gd name="connsiteY14" fmla="*/ 6287285 h 6297862"/>
                <a:gd name="connsiteX15" fmla="*/ 1235776 w 13663209"/>
                <a:gd name="connsiteY15" fmla="*/ 1618416 h 6297862"/>
                <a:gd name="connsiteX0" fmla="*/ 1235776 w 13663209"/>
                <a:gd name="connsiteY0" fmla="*/ 1618416 h 6287284"/>
                <a:gd name="connsiteX1" fmla="*/ 4446047 w 13663209"/>
                <a:gd name="connsiteY1" fmla="*/ 24077 h 6287284"/>
                <a:gd name="connsiteX2" fmla="*/ 6814109 w 13663209"/>
                <a:gd name="connsiteY2" fmla="*/ 4994661 h 6287284"/>
                <a:gd name="connsiteX3" fmla="*/ 9275954 w 13663209"/>
                <a:gd name="connsiteY3" fmla="*/ 631 h 6287284"/>
                <a:gd name="connsiteX4" fmla="*/ 12253617 w 13663209"/>
                <a:gd name="connsiteY4" fmla="*/ 1407400 h 6287284"/>
                <a:gd name="connsiteX5" fmla="*/ 13660386 w 13663209"/>
                <a:gd name="connsiteY5" fmla="*/ 6287285 h 6287284"/>
                <a:gd name="connsiteX6" fmla="*/ 10917186 w 13663209"/>
                <a:gd name="connsiteY6" fmla="*/ 6284200 h 6287284"/>
                <a:gd name="connsiteX7" fmla="*/ 10917187 w 13663209"/>
                <a:gd name="connsiteY7" fmla="*/ 4080262 h 6287284"/>
                <a:gd name="connsiteX8" fmla="*/ 10237247 w 13663209"/>
                <a:gd name="connsiteY8" fmla="*/ 4244385 h 6287284"/>
                <a:gd name="connsiteX9" fmla="*/ 10241132 w 13663209"/>
                <a:gd name="connsiteY9" fmla="*/ 6270534 h 6287284"/>
                <a:gd name="connsiteX10" fmla="*/ 3437863 w 13663209"/>
                <a:gd name="connsiteY10" fmla="*/ 6280317 h 6287284"/>
                <a:gd name="connsiteX11" fmla="*/ 3433981 w 13663209"/>
                <a:gd name="connsiteY11" fmla="*/ 4197491 h 6287284"/>
                <a:gd name="connsiteX12" fmla="*/ 2687586 w 13663209"/>
                <a:gd name="connsiteY12" fmla="*/ 4197493 h 6287284"/>
                <a:gd name="connsiteX13" fmla="*/ 2687586 w 13663209"/>
                <a:gd name="connsiteY13" fmla="*/ 6274421 h 6287284"/>
                <a:gd name="connsiteX14" fmla="*/ 86913 w 13663209"/>
                <a:gd name="connsiteY14" fmla="*/ 6287285 h 6287284"/>
                <a:gd name="connsiteX15" fmla="*/ 1235776 w 13663209"/>
                <a:gd name="connsiteY15" fmla="*/ 1618416 h 6287284"/>
                <a:gd name="connsiteX0" fmla="*/ 1235776 w 13663209"/>
                <a:gd name="connsiteY0" fmla="*/ 1618416 h 6287284"/>
                <a:gd name="connsiteX1" fmla="*/ 4446047 w 13663209"/>
                <a:gd name="connsiteY1" fmla="*/ 24077 h 6287284"/>
                <a:gd name="connsiteX2" fmla="*/ 6814109 w 13663209"/>
                <a:gd name="connsiteY2" fmla="*/ 4994661 h 6287284"/>
                <a:gd name="connsiteX3" fmla="*/ 9275954 w 13663209"/>
                <a:gd name="connsiteY3" fmla="*/ 631 h 6287284"/>
                <a:gd name="connsiteX4" fmla="*/ 12253617 w 13663209"/>
                <a:gd name="connsiteY4" fmla="*/ 1407400 h 6287284"/>
                <a:gd name="connsiteX5" fmla="*/ 13660386 w 13663209"/>
                <a:gd name="connsiteY5" fmla="*/ 6287285 h 6287284"/>
                <a:gd name="connsiteX6" fmla="*/ 10917186 w 13663209"/>
                <a:gd name="connsiteY6" fmla="*/ 6284200 h 6287284"/>
                <a:gd name="connsiteX7" fmla="*/ 10917187 w 13663209"/>
                <a:gd name="connsiteY7" fmla="*/ 4080262 h 6287284"/>
                <a:gd name="connsiteX8" fmla="*/ 10237247 w 13663209"/>
                <a:gd name="connsiteY8" fmla="*/ 4244385 h 6287284"/>
                <a:gd name="connsiteX9" fmla="*/ 10227468 w 13663209"/>
                <a:gd name="connsiteY9" fmla="*/ 6284198 h 6287284"/>
                <a:gd name="connsiteX10" fmla="*/ 3437863 w 13663209"/>
                <a:gd name="connsiteY10" fmla="*/ 6280317 h 6287284"/>
                <a:gd name="connsiteX11" fmla="*/ 3433981 w 13663209"/>
                <a:gd name="connsiteY11" fmla="*/ 4197491 h 6287284"/>
                <a:gd name="connsiteX12" fmla="*/ 2687586 w 13663209"/>
                <a:gd name="connsiteY12" fmla="*/ 4197493 h 6287284"/>
                <a:gd name="connsiteX13" fmla="*/ 2687586 w 13663209"/>
                <a:gd name="connsiteY13" fmla="*/ 6274421 h 6287284"/>
                <a:gd name="connsiteX14" fmla="*/ 86913 w 13663209"/>
                <a:gd name="connsiteY14" fmla="*/ 6287285 h 6287284"/>
                <a:gd name="connsiteX15" fmla="*/ 1235776 w 13663209"/>
                <a:gd name="connsiteY15" fmla="*/ 1618416 h 6287284"/>
                <a:gd name="connsiteX0" fmla="*/ 1235776 w 13663209"/>
                <a:gd name="connsiteY0" fmla="*/ 1618416 h 6287284"/>
                <a:gd name="connsiteX1" fmla="*/ 4446047 w 13663209"/>
                <a:gd name="connsiteY1" fmla="*/ 24077 h 6287284"/>
                <a:gd name="connsiteX2" fmla="*/ 6814109 w 13663209"/>
                <a:gd name="connsiteY2" fmla="*/ 4994661 h 6287284"/>
                <a:gd name="connsiteX3" fmla="*/ 9275954 w 13663209"/>
                <a:gd name="connsiteY3" fmla="*/ 631 h 6287284"/>
                <a:gd name="connsiteX4" fmla="*/ 12253617 w 13663209"/>
                <a:gd name="connsiteY4" fmla="*/ 1407400 h 6287284"/>
                <a:gd name="connsiteX5" fmla="*/ 13660386 w 13663209"/>
                <a:gd name="connsiteY5" fmla="*/ 6287285 h 6287284"/>
                <a:gd name="connsiteX6" fmla="*/ 10917186 w 13663209"/>
                <a:gd name="connsiteY6" fmla="*/ 6284200 h 6287284"/>
                <a:gd name="connsiteX7" fmla="*/ 10917187 w 13663209"/>
                <a:gd name="connsiteY7" fmla="*/ 4080262 h 6287284"/>
                <a:gd name="connsiteX8" fmla="*/ 10223582 w 13663209"/>
                <a:gd name="connsiteY8" fmla="*/ 4230721 h 6287284"/>
                <a:gd name="connsiteX9" fmla="*/ 10227468 w 13663209"/>
                <a:gd name="connsiteY9" fmla="*/ 6284198 h 6287284"/>
                <a:gd name="connsiteX10" fmla="*/ 3437863 w 13663209"/>
                <a:gd name="connsiteY10" fmla="*/ 6280317 h 6287284"/>
                <a:gd name="connsiteX11" fmla="*/ 3433981 w 13663209"/>
                <a:gd name="connsiteY11" fmla="*/ 4197491 h 6287284"/>
                <a:gd name="connsiteX12" fmla="*/ 2687586 w 13663209"/>
                <a:gd name="connsiteY12" fmla="*/ 4197493 h 6287284"/>
                <a:gd name="connsiteX13" fmla="*/ 2687586 w 13663209"/>
                <a:gd name="connsiteY13" fmla="*/ 6274421 h 6287284"/>
                <a:gd name="connsiteX14" fmla="*/ 86913 w 13663209"/>
                <a:gd name="connsiteY14" fmla="*/ 6287285 h 6287284"/>
                <a:gd name="connsiteX15" fmla="*/ 1235776 w 13663209"/>
                <a:gd name="connsiteY15" fmla="*/ 1618416 h 6287284"/>
                <a:gd name="connsiteX0" fmla="*/ 1235776 w 13663209"/>
                <a:gd name="connsiteY0" fmla="*/ 1618416 h 6287284"/>
                <a:gd name="connsiteX1" fmla="*/ 4446047 w 13663209"/>
                <a:gd name="connsiteY1" fmla="*/ 24077 h 6287284"/>
                <a:gd name="connsiteX2" fmla="*/ 6814109 w 13663209"/>
                <a:gd name="connsiteY2" fmla="*/ 4994661 h 6287284"/>
                <a:gd name="connsiteX3" fmla="*/ 9275954 w 13663209"/>
                <a:gd name="connsiteY3" fmla="*/ 631 h 6287284"/>
                <a:gd name="connsiteX4" fmla="*/ 12253617 w 13663209"/>
                <a:gd name="connsiteY4" fmla="*/ 1407400 h 6287284"/>
                <a:gd name="connsiteX5" fmla="*/ 13660386 w 13663209"/>
                <a:gd name="connsiteY5" fmla="*/ 6287285 h 6287284"/>
                <a:gd name="connsiteX6" fmla="*/ 10917186 w 13663209"/>
                <a:gd name="connsiteY6" fmla="*/ 6284200 h 6287284"/>
                <a:gd name="connsiteX7" fmla="*/ 10917187 w 13663209"/>
                <a:gd name="connsiteY7" fmla="*/ 4080262 h 6287284"/>
                <a:gd name="connsiteX8" fmla="*/ 10223582 w 13663209"/>
                <a:gd name="connsiteY8" fmla="*/ 4230721 h 6287284"/>
                <a:gd name="connsiteX9" fmla="*/ 10227468 w 13663209"/>
                <a:gd name="connsiteY9" fmla="*/ 6284198 h 6287284"/>
                <a:gd name="connsiteX10" fmla="*/ 3437863 w 13663209"/>
                <a:gd name="connsiteY10" fmla="*/ 6280317 h 6287284"/>
                <a:gd name="connsiteX11" fmla="*/ 3433981 w 13663209"/>
                <a:gd name="connsiteY11" fmla="*/ 4197491 h 6287284"/>
                <a:gd name="connsiteX12" fmla="*/ 2687586 w 13663209"/>
                <a:gd name="connsiteY12" fmla="*/ 4197493 h 6287284"/>
                <a:gd name="connsiteX13" fmla="*/ 2687586 w 13663209"/>
                <a:gd name="connsiteY13" fmla="*/ 6274421 h 6287284"/>
                <a:gd name="connsiteX14" fmla="*/ 86913 w 13663209"/>
                <a:gd name="connsiteY14" fmla="*/ 6287285 h 6287284"/>
                <a:gd name="connsiteX15" fmla="*/ 1235776 w 13663209"/>
                <a:gd name="connsiteY15" fmla="*/ 1618416 h 6287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663209" h="6287284">
                  <a:moveTo>
                    <a:pt x="1235776" y="1618416"/>
                  </a:moveTo>
                  <a:cubicBezTo>
                    <a:pt x="2071405" y="758724"/>
                    <a:pt x="3727649" y="-30631"/>
                    <a:pt x="4446047" y="24077"/>
                  </a:cubicBezTo>
                  <a:lnTo>
                    <a:pt x="6814109" y="4994661"/>
                  </a:lnTo>
                  <a:lnTo>
                    <a:pt x="9275954" y="631"/>
                  </a:lnTo>
                  <a:cubicBezTo>
                    <a:pt x="9705800" y="-22816"/>
                    <a:pt x="11401739" y="610230"/>
                    <a:pt x="12253617" y="1407400"/>
                  </a:cubicBezTo>
                  <a:cubicBezTo>
                    <a:pt x="13590047" y="2776120"/>
                    <a:pt x="13683833" y="5176472"/>
                    <a:pt x="13660386" y="6287285"/>
                  </a:cubicBezTo>
                  <a:lnTo>
                    <a:pt x="10917186" y="6284200"/>
                  </a:lnTo>
                  <a:cubicBezTo>
                    <a:pt x="10917186" y="5549554"/>
                    <a:pt x="10917187" y="4814908"/>
                    <a:pt x="10917187" y="4080262"/>
                  </a:cubicBezTo>
                  <a:cubicBezTo>
                    <a:pt x="10901555" y="3759831"/>
                    <a:pt x="10256759" y="3449182"/>
                    <a:pt x="10223582" y="4230721"/>
                  </a:cubicBezTo>
                  <a:cubicBezTo>
                    <a:pt x="10220322" y="4910659"/>
                    <a:pt x="10230728" y="5604260"/>
                    <a:pt x="10227468" y="6284198"/>
                  </a:cubicBezTo>
                  <a:lnTo>
                    <a:pt x="3437863" y="6280317"/>
                  </a:lnTo>
                  <a:cubicBezTo>
                    <a:pt x="3432014" y="5535940"/>
                    <a:pt x="3426166" y="4900875"/>
                    <a:pt x="3433981" y="4197491"/>
                  </a:cubicBezTo>
                  <a:cubicBezTo>
                    <a:pt x="3340197" y="3540999"/>
                    <a:pt x="2617248" y="3869247"/>
                    <a:pt x="2687586" y="4197493"/>
                  </a:cubicBezTo>
                  <a:lnTo>
                    <a:pt x="2687586" y="6274421"/>
                  </a:lnTo>
                  <a:lnTo>
                    <a:pt x="86913" y="6287285"/>
                  </a:lnTo>
                  <a:cubicBezTo>
                    <a:pt x="-327301" y="3183549"/>
                    <a:pt x="852822" y="2189967"/>
                    <a:pt x="1235776" y="1618416"/>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67539"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446" name="Freeform 14">
              <a:extLst>
                <a:ext uri="{FF2B5EF4-FFF2-40B4-BE49-F238E27FC236}">
                  <a16:creationId xmlns:a16="http://schemas.microsoft.com/office/drawing/2014/main" id="{E6310DE2-B82E-4B03-EDCC-FADC6F906B72}"/>
                </a:ext>
              </a:extLst>
            </p:cNvPr>
            <p:cNvSpPr>
              <a:spLocks/>
            </p:cNvSpPr>
            <p:nvPr/>
          </p:nvSpPr>
          <p:spPr bwMode="auto">
            <a:xfrm>
              <a:off x="3828198" y="4385784"/>
              <a:ext cx="1081196" cy="1133975"/>
            </a:xfrm>
            <a:custGeom>
              <a:avLst/>
              <a:gdLst>
                <a:gd name="T0" fmla="*/ 7 w 7"/>
                <a:gd name="T1" fmla="*/ 2 h 7"/>
                <a:gd name="T2" fmla="*/ 7 w 7"/>
                <a:gd name="T3" fmla="*/ 2 h 7"/>
                <a:gd name="T4" fmla="*/ 7 w 7"/>
                <a:gd name="T5" fmla="*/ 4 h 7"/>
                <a:gd name="T6" fmla="*/ 4 w 7"/>
                <a:gd name="T7" fmla="*/ 7 h 7"/>
                <a:gd name="T8" fmla="*/ 2 w 7"/>
                <a:gd name="T9" fmla="*/ 7 h 7"/>
                <a:gd name="T10" fmla="*/ 2 w 7"/>
                <a:gd name="T11" fmla="*/ 5 h 7"/>
                <a:gd name="T12" fmla="*/ 0 w 7"/>
                <a:gd name="T13" fmla="*/ 2 h 7"/>
                <a:gd name="T14" fmla="*/ 0 w 7"/>
                <a:gd name="T15" fmla="*/ 2 h 7"/>
                <a:gd name="T16" fmla="*/ 0 w 7"/>
                <a:gd name="T17" fmla="*/ 0 h 7"/>
                <a:gd name="T18" fmla="*/ 7 w 7"/>
                <a:gd name="T19" fmla="*/ 2 h 7"/>
                <a:gd name="connsiteX0" fmla="*/ 10000 w 10000"/>
                <a:gd name="connsiteY0" fmla="*/ 2857 h 10000"/>
                <a:gd name="connsiteX1" fmla="*/ 10000 w 10000"/>
                <a:gd name="connsiteY1" fmla="*/ 2857 h 10000"/>
                <a:gd name="connsiteX2" fmla="*/ 10000 w 10000"/>
                <a:gd name="connsiteY2" fmla="*/ 5714 h 10000"/>
                <a:gd name="connsiteX3" fmla="*/ 5714 w 10000"/>
                <a:gd name="connsiteY3" fmla="*/ 10000 h 10000"/>
                <a:gd name="connsiteX4" fmla="*/ 2857 w 10000"/>
                <a:gd name="connsiteY4" fmla="*/ 10000 h 10000"/>
                <a:gd name="connsiteX5" fmla="*/ 2857 w 10000"/>
                <a:gd name="connsiteY5" fmla="*/ 7143 h 10000"/>
                <a:gd name="connsiteX6" fmla="*/ 0 w 10000"/>
                <a:gd name="connsiteY6" fmla="*/ 2857 h 10000"/>
                <a:gd name="connsiteX7" fmla="*/ 0 w 10000"/>
                <a:gd name="connsiteY7" fmla="*/ 0 h 10000"/>
                <a:gd name="connsiteX8" fmla="*/ 10000 w 10000"/>
                <a:gd name="connsiteY8" fmla="*/ 2857 h 10000"/>
                <a:gd name="connsiteX0" fmla="*/ 10495 w 10495"/>
                <a:gd name="connsiteY0" fmla="*/ 2857 h 10000"/>
                <a:gd name="connsiteX1" fmla="*/ 10495 w 10495"/>
                <a:gd name="connsiteY1" fmla="*/ 2857 h 10000"/>
                <a:gd name="connsiteX2" fmla="*/ 10495 w 10495"/>
                <a:gd name="connsiteY2" fmla="*/ 5714 h 10000"/>
                <a:gd name="connsiteX3" fmla="*/ 6209 w 10495"/>
                <a:gd name="connsiteY3" fmla="*/ 10000 h 10000"/>
                <a:gd name="connsiteX4" fmla="*/ 3352 w 10495"/>
                <a:gd name="connsiteY4" fmla="*/ 10000 h 10000"/>
                <a:gd name="connsiteX5" fmla="*/ 3352 w 10495"/>
                <a:gd name="connsiteY5" fmla="*/ 7143 h 10000"/>
                <a:gd name="connsiteX6" fmla="*/ 495 w 10495"/>
                <a:gd name="connsiteY6" fmla="*/ 2857 h 10000"/>
                <a:gd name="connsiteX7" fmla="*/ 495 w 10495"/>
                <a:gd name="connsiteY7" fmla="*/ 0 h 10000"/>
                <a:gd name="connsiteX8" fmla="*/ 10495 w 10495"/>
                <a:gd name="connsiteY8" fmla="*/ 2857 h 10000"/>
                <a:gd name="connsiteX0" fmla="*/ 10746 w 10746"/>
                <a:gd name="connsiteY0" fmla="*/ 2857 h 10000"/>
                <a:gd name="connsiteX1" fmla="*/ 10746 w 10746"/>
                <a:gd name="connsiteY1" fmla="*/ 2857 h 10000"/>
                <a:gd name="connsiteX2" fmla="*/ 10746 w 10746"/>
                <a:gd name="connsiteY2" fmla="*/ 5714 h 10000"/>
                <a:gd name="connsiteX3" fmla="*/ 6460 w 10746"/>
                <a:gd name="connsiteY3" fmla="*/ 10000 h 10000"/>
                <a:gd name="connsiteX4" fmla="*/ 3603 w 10746"/>
                <a:gd name="connsiteY4" fmla="*/ 10000 h 10000"/>
                <a:gd name="connsiteX5" fmla="*/ 3603 w 10746"/>
                <a:gd name="connsiteY5" fmla="*/ 7143 h 10000"/>
                <a:gd name="connsiteX6" fmla="*/ 746 w 10746"/>
                <a:gd name="connsiteY6" fmla="*/ 2857 h 10000"/>
                <a:gd name="connsiteX7" fmla="*/ 746 w 10746"/>
                <a:gd name="connsiteY7" fmla="*/ 0 h 10000"/>
                <a:gd name="connsiteX8" fmla="*/ 10746 w 10746"/>
                <a:gd name="connsiteY8" fmla="*/ 2857 h 10000"/>
                <a:gd name="connsiteX0" fmla="*/ 10746 w 10746"/>
                <a:gd name="connsiteY0" fmla="*/ 2998 h 10141"/>
                <a:gd name="connsiteX1" fmla="*/ 10746 w 10746"/>
                <a:gd name="connsiteY1" fmla="*/ 2998 h 10141"/>
                <a:gd name="connsiteX2" fmla="*/ 10746 w 10746"/>
                <a:gd name="connsiteY2" fmla="*/ 5855 h 10141"/>
                <a:gd name="connsiteX3" fmla="*/ 6460 w 10746"/>
                <a:gd name="connsiteY3" fmla="*/ 10141 h 10141"/>
                <a:gd name="connsiteX4" fmla="*/ 3603 w 10746"/>
                <a:gd name="connsiteY4" fmla="*/ 10141 h 10141"/>
                <a:gd name="connsiteX5" fmla="*/ 3603 w 10746"/>
                <a:gd name="connsiteY5" fmla="*/ 7284 h 10141"/>
                <a:gd name="connsiteX6" fmla="*/ 746 w 10746"/>
                <a:gd name="connsiteY6" fmla="*/ 2998 h 10141"/>
                <a:gd name="connsiteX7" fmla="*/ 746 w 10746"/>
                <a:gd name="connsiteY7" fmla="*/ 141 h 10141"/>
                <a:gd name="connsiteX8" fmla="*/ 10746 w 10746"/>
                <a:gd name="connsiteY8" fmla="*/ 2998 h 10141"/>
                <a:gd name="connsiteX0" fmla="*/ 746 w 10746"/>
                <a:gd name="connsiteY0" fmla="*/ 0 h 10000"/>
                <a:gd name="connsiteX1" fmla="*/ 10746 w 10746"/>
                <a:gd name="connsiteY1" fmla="*/ 2857 h 10000"/>
                <a:gd name="connsiteX2" fmla="*/ 10746 w 10746"/>
                <a:gd name="connsiteY2" fmla="*/ 5714 h 10000"/>
                <a:gd name="connsiteX3" fmla="*/ 6460 w 10746"/>
                <a:gd name="connsiteY3" fmla="*/ 10000 h 10000"/>
                <a:gd name="connsiteX4" fmla="*/ 3603 w 10746"/>
                <a:gd name="connsiteY4" fmla="*/ 10000 h 10000"/>
                <a:gd name="connsiteX5" fmla="*/ 3603 w 10746"/>
                <a:gd name="connsiteY5" fmla="*/ 7143 h 10000"/>
                <a:gd name="connsiteX6" fmla="*/ 746 w 10746"/>
                <a:gd name="connsiteY6" fmla="*/ 2857 h 10000"/>
                <a:gd name="connsiteX7" fmla="*/ 746 w 10746"/>
                <a:gd name="connsiteY7" fmla="*/ 0 h 10000"/>
                <a:gd name="connsiteX0" fmla="*/ 746 w 10746"/>
                <a:gd name="connsiteY0" fmla="*/ 0 h 10000"/>
                <a:gd name="connsiteX1" fmla="*/ 10746 w 10746"/>
                <a:gd name="connsiteY1" fmla="*/ 2857 h 10000"/>
                <a:gd name="connsiteX2" fmla="*/ 10746 w 10746"/>
                <a:gd name="connsiteY2" fmla="*/ 5714 h 10000"/>
                <a:gd name="connsiteX3" fmla="*/ 6460 w 10746"/>
                <a:gd name="connsiteY3" fmla="*/ 10000 h 10000"/>
                <a:gd name="connsiteX4" fmla="*/ 3603 w 10746"/>
                <a:gd name="connsiteY4" fmla="*/ 10000 h 10000"/>
                <a:gd name="connsiteX5" fmla="*/ 3603 w 10746"/>
                <a:gd name="connsiteY5" fmla="*/ 7143 h 10000"/>
                <a:gd name="connsiteX6" fmla="*/ 746 w 10746"/>
                <a:gd name="connsiteY6" fmla="*/ 2857 h 10000"/>
                <a:gd name="connsiteX7" fmla="*/ 746 w 10746"/>
                <a:gd name="connsiteY7" fmla="*/ 0 h 10000"/>
                <a:gd name="connsiteX0" fmla="*/ 746 w 10746"/>
                <a:gd name="connsiteY0" fmla="*/ 173 h 10173"/>
                <a:gd name="connsiteX1" fmla="*/ 10746 w 10746"/>
                <a:gd name="connsiteY1" fmla="*/ 3030 h 10173"/>
                <a:gd name="connsiteX2" fmla="*/ 10746 w 10746"/>
                <a:gd name="connsiteY2" fmla="*/ 5887 h 10173"/>
                <a:gd name="connsiteX3" fmla="*/ 6460 w 10746"/>
                <a:gd name="connsiteY3" fmla="*/ 10173 h 10173"/>
                <a:gd name="connsiteX4" fmla="*/ 3603 w 10746"/>
                <a:gd name="connsiteY4" fmla="*/ 10173 h 10173"/>
                <a:gd name="connsiteX5" fmla="*/ 3603 w 10746"/>
                <a:gd name="connsiteY5" fmla="*/ 7316 h 10173"/>
                <a:gd name="connsiteX6" fmla="*/ 746 w 10746"/>
                <a:gd name="connsiteY6" fmla="*/ 3030 h 10173"/>
                <a:gd name="connsiteX7" fmla="*/ 746 w 10746"/>
                <a:gd name="connsiteY7" fmla="*/ 173 h 10173"/>
                <a:gd name="connsiteX0" fmla="*/ 746 w 11186"/>
                <a:gd name="connsiteY0" fmla="*/ 173 h 10173"/>
                <a:gd name="connsiteX1" fmla="*/ 10746 w 11186"/>
                <a:gd name="connsiteY1" fmla="*/ 3030 h 10173"/>
                <a:gd name="connsiteX2" fmla="*/ 10746 w 11186"/>
                <a:gd name="connsiteY2" fmla="*/ 5887 h 10173"/>
                <a:gd name="connsiteX3" fmla="*/ 6460 w 11186"/>
                <a:gd name="connsiteY3" fmla="*/ 10173 h 10173"/>
                <a:gd name="connsiteX4" fmla="*/ 3603 w 11186"/>
                <a:gd name="connsiteY4" fmla="*/ 10173 h 10173"/>
                <a:gd name="connsiteX5" fmla="*/ 3603 w 11186"/>
                <a:gd name="connsiteY5" fmla="*/ 7316 h 10173"/>
                <a:gd name="connsiteX6" fmla="*/ 746 w 11186"/>
                <a:gd name="connsiteY6" fmla="*/ 3030 h 10173"/>
                <a:gd name="connsiteX7" fmla="*/ 746 w 11186"/>
                <a:gd name="connsiteY7" fmla="*/ 173 h 10173"/>
                <a:gd name="connsiteX0" fmla="*/ 746 w 11634"/>
                <a:gd name="connsiteY0" fmla="*/ 173 h 10173"/>
                <a:gd name="connsiteX1" fmla="*/ 10746 w 11634"/>
                <a:gd name="connsiteY1" fmla="*/ 3030 h 10173"/>
                <a:gd name="connsiteX2" fmla="*/ 10746 w 11634"/>
                <a:gd name="connsiteY2" fmla="*/ 5887 h 10173"/>
                <a:gd name="connsiteX3" fmla="*/ 6460 w 11634"/>
                <a:gd name="connsiteY3" fmla="*/ 10173 h 10173"/>
                <a:gd name="connsiteX4" fmla="*/ 3603 w 11634"/>
                <a:gd name="connsiteY4" fmla="*/ 10173 h 10173"/>
                <a:gd name="connsiteX5" fmla="*/ 3603 w 11634"/>
                <a:gd name="connsiteY5" fmla="*/ 7316 h 10173"/>
                <a:gd name="connsiteX6" fmla="*/ 746 w 11634"/>
                <a:gd name="connsiteY6" fmla="*/ 3030 h 10173"/>
                <a:gd name="connsiteX7" fmla="*/ 746 w 11634"/>
                <a:gd name="connsiteY7" fmla="*/ 173 h 10173"/>
                <a:gd name="connsiteX0" fmla="*/ 746 w 11634"/>
                <a:gd name="connsiteY0" fmla="*/ 173 h 10173"/>
                <a:gd name="connsiteX1" fmla="*/ 10746 w 11634"/>
                <a:gd name="connsiteY1" fmla="*/ 3030 h 10173"/>
                <a:gd name="connsiteX2" fmla="*/ 10746 w 11634"/>
                <a:gd name="connsiteY2" fmla="*/ 5887 h 10173"/>
                <a:gd name="connsiteX3" fmla="*/ 6460 w 11634"/>
                <a:gd name="connsiteY3" fmla="*/ 10173 h 10173"/>
                <a:gd name="connsiteX4" fmla="*/ 3603 w 11634"/>
                <a:gd name="connsiteY4" fmla="*/ 10173 h 10173"/>
                <a:gd name="connsiteX5" fmla="*/ 746 w 11634"/>
                <a:gd name="connsiteY5" fmla="*/ 3030 h 10173"/>
                <a:gd name="connsiteX6" fmla="*/ 746 w 11634"/>
                <a:gd name="connsiteY6" fmla="*/ 173 h 10173"/>
                <a:gd name="connsiteX0" fmla="*/ 746 w 11634"/>
                <a:gd name="connsiteY0" fmla="*/ 173 h 10173"/>
                <a:gd name="connsiteX1" fmla="*/ 10746 w 11634"/>
                <a:gd name="connsiteY1" fmla="*/ 3030 h 10173"/>
                <a:gd name="connsiteX2" fmla="*/ 10746 w 11634"/>
                <a:gd name="connsiteY2" fmla="*/ 5887 h 10173"/>
                <a:gd name="connsiteX3" fmla="*/ 6460 w 11634"/>
                <a:gd name="connsiteY3" fmla="*/ 10173 h 10173"/>
                <a:gd name="connsiteX4" fmla="*/ 3603 w 11634"/>
                <a:gd name="connsiteY4" fmla="*/ 10173 h 10173"/>
                <a:gd name="connsiteX5" fmla="*/ 746 w 11634"/>
                <a:gd name="connsiteY5" fmla="*/ 3030 h 10173"/>
                <a:gd name="connsiteX6" fmla="*/ 746 w 11634"/>
                <a:gd name="connsiteY6" fmla="*/ 173 h 10173"/>
                <a:gd name="connsiteX0" fmla="*/ 746 w 11634"/>
                <a:gd name="connsiteY0" fmla="*/ 173 h 10173"/>
                <a:gd name="connsiteX1" fmla="*/ 10746 w 11634"/>
                <a:gd name="connsiteY1" fmla="*/ 3030 h 10173"/>
                <a:gd name="connsiteX2" fmla="*/ 10746 w 11634"/>
                <a:gd name="connsiteY2" fmla="*/ 5887 h 10173"/>
                <a:gd name="connsiteX3" fmla="*/ 6460 w 11634"/>
                <a:gd name="connsiteY3" fmla="*/ 10173 h 10173"/>
                <a:gd name="connsiteX4" fmla="*/ 3603 w 11634"/>
                <a:gd name="connsiteY4" fmla="*/ 10173 h 10173"/>
                <a:gd name="connsiteX5" fmla="*/ 746 w 11634"/>
                <a:gd name="connsiteY5" fmla="*/ 3030 h 10173"/>
                <a:gd name="connsiteX6" fmla="*/ 746 w 11634"/>
                <a:gd name="connsiteY6" fmla="*/ 173 h 10173"/>
                <a:gd name="connsiteX0" fmla="*/ 746 w 11634"/>
                <a:gd name="connsiteY0" fmla="*/ 173 h 10173"/>
                <a:gd name="connsiteX1" fmla="*/ 10746 w 11634"/>
                <a:gd name="connsiteY1" fmla="*/ 3030 h 10173"/>
                <a:gd name="connsiteX2" fmla="*/ 10746 w 11634"/>
                <a:gd name="connsiteY2" fmla="*/ 5887 h 10173"/>
                <a:gd name="connsiteX3" fmla="*/ 6460 w 11634"/>
                <a:gd name="connsiteY3" fmla="*/ 10173 h 10173"/>
                <a:gd name="connsiteX4" fmla="*/ 5090 w 11634"/>
                <a:gd name="connsiteY4" fmla="*/ 10049 h 10173"/>
                <a:gd name="connsiteX5" fmla="*/ 746 w 11634"/>
                <a:gd name="connsiteY5" fmla="*/ 3030 h 10173"/>
                <a:gd name="connsiteX6" fmla="*/ 746 w 11634"/>
                <a:gd name="connsiteY6" fmla="*/ 173 h 10173"/>
                <a:gd name="connsiteX0" fmla="*/ 746 w 11634"/>
                <a:gd name="connsiteY0" fmla="*/ 173 h 10173"/>
                <a:gd name="connsiteX1" fmla="*/ 10746 w 11634"/>
                <a:gd name="connsiteY1" fmla="*/ 3030 h 10173"/>
                <a:gd name="connsiteX2" fmla="*/ 10746 w 11634"/>
                <a:gd name="connsiteY2" fmla="*/ 5887 h 10173"/>
                <a:gd name="connsiteX3" fmla="*/ 6460 w 11634"/>
                <a:gd name="connsiteY3" fmla="*/ 10173 h 10173"/>
                <a:gd name="connsiteX4" fmla="*/ 5090 w 11634"/>
                <a:gd name="connsiteY4" fmla="*/ 10049 h 10173"/>
                <a:gd name="connsiteX5" fmla="*/ 746 w 11634"/>
                <a:gd name="connsiteY5" fmla="*/ 3030 h 10173"/>
                <a:gd name="connsiteX6" fmla="*/ 746 w 11634"/>
                <a:gd name="connsiteY6" fmla="*/ 173 h 10173"/>
                <a:gd name="connsiteX0" fmla="*/ 746 w 11634"/>
                <a:gd name="connsiteY0" fmla="*/ 173 h 10173"/>
                <a:gd name="connsiteX1" fmla="*/ 10746 w 11634"/>
                <a:gd name="connsiteY1" fmla="*/ 3030 h 10173"/>
                <a:gd name="connsiteX2" fmla="*/ 10746 w 11634"/>
                <a:gd name="connsiteY2" fmla="*/ 5887 h 10173"/>
                <a:gd name="connsiteX3" fmla="*/ 6460 w 11634"/>
                <a:gd name="connsiteY3" fmla="*/ 10173 h 10173"/>
                <a:gd name="connsiteX4" fmla="*/ 5090 w 11634"/>
                <a:gd name="connsiteY4" fmla="*/ 10049 h 10173"/>
                <a:gd name="connsiteX5" fmla="*/ 746 w 11634"/>
                <a:gd name="connsiteY5" fmla="*/ 3030 h 10173"/>
                <a:gd name="connsiteX6" fmla="*/ 746 w 11634"/>
                <a:gd name="connsiteY6" fmla="*/ 173 h 10173"/>
                <a:gd name="connsiteX0" fmla="*/ 746 w 11781"/>
                <a:gd name="connsiteY0" fmla="*/ 278 h 10278"/>
                <a:gd name="connsiteX1" fmla="*/ 10994 w 11781"/>
                <a:gd name="connsiteY1" fmla="*/ 2143 h 10278"/>
                <a:gd name="connsiteX2" fmla="*/ 10746 w 11781"/>
                <a:gd name="connsiteY2" fmla="*/ 5992 h 10278"/>
                <a:gd name="connsiteX3" fmla="*/ 6460 w 11781"/>
                <a:gd name="connsiteY3" fmla="*/ 10278 h 10278"/>
                <a:gd name="connsiteX4" fmla="*/ 5090 w 11781"/>
                <a:gd name="connsiteY4" fmla="*/ 10154 h 10278"/>
                <a:gd name="connsiteX5" fmla="*/ 746 w 11781"/>
                <a:gd name="connsiteY5" fmla="*/ 3135 h 10278"/>
                <a:gd name="connsiteX6" fmla="*/ 746 w 11781"/>
                <a:gd name="connsiteY6" fmla="*/ 278 h 10278"/>
                <a:gd name="connsiteX0" fmla="*/ 746 w 11625"/>
                <a:gd name="connsiteY0" fmla="*/ 278 h 10278"/>
                <a:gd name="connsiteX1" fmla="*/ 10994 w 11625"/>
                <a:gd name="connsiteY1" fmla="*/ 2143 h 10278"/>
                <a:gd name="connsiteX2" fmla="*/ 10746 w 11625"/>
                <a:gd name="connsiteY2" fmla="*/ 5992 h 10278"/>
                <a:gd name="connsiteX3" fmla="*/ 6460 w 11625"/>
                <a:gd name="connsiteY3" fmla="*/ 10278 h 10278"/>
                <a:gd name="connsiteX4" fmla="*/ 5090 w 11625"/>
                <a:gd name="connsiteY4" fmla="*/ 10154 h 10278"/>
                <a:gd name="connsiteX5" fmla="*/ 746 w 11625"/>
                <a:gd name="connsiteY5" fmla="*/ 3135 h 10278"/>
                <a:gd name="connsiteX6" fmla="*/ 746 w 11625"/>
                <a:gd name="connsiteY6" fmla="*/ 278 h 10278"/>
                <a:gd name="connsiteX0" fmla="*/ 746 w 11625"/>
                <a:gd name="connsiteY0" fmla="*/ 278 h 10526"/>
                <a:gd name="connsiteX1" fmla="*/ 10994 w 11625"/>
                <a:gd name="connsiteY1" fmla="*/ 2143 h 10526"/>
                <a:gd name="connsiteX2" fmla="*/ 10746 w 11625"/>
                <a:gd name="connsiteY2" fmla="*/ 5992 h 10526"/>
                <a:gd name="connsiteX3" fmla="*/ 5964 w 11625"/>
                <a:gd name="connsiteY3" fmla="*/ 10526 h 10526"/>
                <a:gd name="connsiteX4" fmla="*/ 5090 w 11625"/>
                <a:gd name="connsiteY4" fmla="*/ 10154 h 10526"/>
                <a:gd name="connsiteX5" fmla="*/ 746 w 11625"/>
                <a:gd name="connsiteY5" fmla="*/ 3135 h 10526"/>
                <a:gd name="connsiteX6" fmla="*/ 746 w 11625"/>
                <a:gd name="connsiteY6" fmla="*/ 278 h 10526"/>
                <a:gd name="connsiteX0" fmla="*/ 746 w 11625"/>
                <a:gd name="connsiteY0" fmla="*/ 278 h 10526"/>
                <a:gd name="connsiteX1" fmla="*/ 10994 w 11625"/>
                <a:gd name="connsiteY1" fmla="*/ 2143 h 10526"/>
                <a:gd name="connsiteX2" fmla="*/ 10746 w 11625"/>
                <a:gd name="connsiteY2" fmla="*/ 5992 h 10526"/>
                <a:gd name="connsiteX3" fmla="*/ 5964 w 11625"/>
                <a:gd name="connsiteY3" fmla="*/ 10526 h 10526"/>
                <a:gd name="connsiteX4" fmla="*/ 5090 w 11625"/>
                <a:gd name="connsiteY4" fmla="*/ 10154 h 10526"/>
                <a:gd name="connsiteX5" fmla="*/ 746 w 11625"/>
                <a:gd name="connsiteY5" fmla="*/ 3135 h 10526"/>
                <a:gd name="connsiteX6" fmla="*/ 746 w 11625"/>
                <a:gd name="connsiteY6" fmla="*/ 278 h 10526"/>
                <a:gd name="connsiteX0" fmla="*/ 3086 w 13965"/>
                <a:gd name="connsiteY0" fmla="*/ 278 h 10526"/>
                <a:gd name="connsiteX1" fmla="*/ 13334 w 13965"/>
                <a:gd name="connsiteY1" fmla="*/ 2143 h 10526"/>
                <a:gd name="connsiteX2" fmla="*/ 13086 w 13965"/>
                <a:gd name="connsiteY2" fmla="*/ 5992 h 10526"/>
                <a:gd name="connsiteX3" fmla="*/ 8304 w 13965"/>
                <a:gd name="connsiteY3" fmla="*/ 10526 h 10526"/>
                <a:gd name="connsiteX4" fmla="*/ 7430 w 13965"/>
                <a:gd name="connsiteY4" fmla="*/ 10154 h 10526"/>
                <a:gd name="connsiteX5" fmla="*/ 239 w 13965"/>
                <a:gd name="connsiteY5" fmla="*/ 4287 h 10526"/>
                <a:gd name="connsiteX6" fmla="*/ 3086 w 13965"/>
                <a:gd name="connsiteY6" fmla="*/ 278 h 10526"/>
                <a:gd name="connsiteX0" fmla="*/ 3600 w 13937"/>
                <a:gd name="connsiteY0" fmla="*/ 135 h 12078"/>
                <a:gd name="connsiteX1" fmla="*/ 13306 w 13937"/>
                <a:gd name="connsiteY1" fmla="*/ 3695 h 12078"/>
                <a:gd name="connsiteX2" fmla="*/ 13058 w 13937"/>
                <a:gd name="connsiteY2" fmla="*/ 7544 h 12078"/>
                <a:gd name="connsiteX3" fmla="*/ 8276 w 13937"/>
                <a:gd name="connsiteY3" fmla="*/ 12078 h 12078"/>
                <a:gd name="connsiteX4" fmla="*/ 7402 w 13937"/>
                <a:gd name="connsiteY4" fmla="*/ 11706 h 12078"/>
                <a:gd name="connsiteX5" fmla="*/ 211 w 13937"/>
                <a:gd name="connsiteY5" fmla="*/ 5839 h 12078"/>
                <a:gd name="connsiteX6" fmla="*/ 3600 w 13937"/>
                <a:gd name="connsiteY6" fmla="*/ 135 h 12078"/>
                <a:gd name="connsiteX0" fmla="*/ 3600 w 14355"/>
                <a:gd name="connsiteY0" fmla="*/ 392 h 12335"/>
                <a:gd name="connsiteX1" fmla="*/ 13916 w 14355"/>
                <a:gd name="connsiteY1" fmla="*/ 1715 h 12335"/>
                <a:gd name="connsiteX2" fmla="*/ 13058 w 14355"/>
                <a:gd name="connsiteY2" fmla="*/ 7801 h 12335"/>
                <a:gd name="connsiteX3" fmla="*/ 8276 w 14355"/>
                <a:gd name="connsiteY3" fmla="*/ 12335 h 12335"/>
                <a:gd name="connsiteX4" fmla="*/ 7402 w 14355"/>
                <a:gd name="connsiteY4" fmla="*/ 11963 h 12335"/>
                <a:gd name="connsiteX5" fmla="*/ 211 w 14355"/>
                <a:gd name="connsiteY5" fmla="*/ 6096 h 12335"/>
                <a:gd name="connsiteX6" fmla="*/ 3600 w 14355"/>
                <a:gd name="connsiteY6" fmla="*/ 392 h 12335"/>
                <a:gd name="connsiteX0" fmla="*/ 3600 w 14355"/>
                <a:gd name="connsiteY0" fmla="*/ 392 h 14607"/>
                <a:gd name="connsiteX1" fmla="*/ 13916 w 14355"/>
                <a:gd name="connsiteY1" fmla="*/ 1715 h 14607"/>
                <a:gd name="connsiteX2" fmla="*/ 13058 w 14355"/>
                <a:gd name="connsiteY2" fmla="*/ 7801 h 14607"/>
                <a:gd name="connsiteX3" fmla="*/ 8276 w 14355"/>
                <a:gd name="connsiteY3" fmla="*/ 12335 h 14607"/>
                <a:gd name="connsiteX4" fmla="*/ 5911 w 14355"/>
                <a:gd name="connsiteY4" fmla="*/ 14607 h 14607"/>
                <a:gd name="connsiteX5" fmla="*/ 211 w 14355"/>
                <a:gd name="connsiteY5" fmla="*/ 6096 h 14607"/>
                <a:gd name="connsiteX6" fmla="*/ 3600 w 14355"/>
                <a:gd name="connsiteY6" fmla="*/ 392 h 14607"/>
                <a:gd name="connsiteX0" fmla="*/ 3600 w 14355"/>
                <a:gd name="connsiteY0" fmla="*/ 392 h 14607"/>
                <a:gd name="connsiteX1" fmla="*/ 13916 w 14355"/>
                <a:gd name="connsiteY1" fmla="*/ 1715 h 14607"/>
                <a:gd name="connsiteX2" fmla="*/ 13058 w 14355"/>
                <a:gd name="connsiteY2" fmla="*/ 7801 h 14607"/>
                <a:gd name="connsiteX3" fmla="*/ 9971 w 14355"/>
                <a:gd name="connsiteY3" fmla="*/ 13148 h 14607"/>
                <a:gd name="connsiteX4" fmla="*/ 5911 w 14355"/>
                <a:gd name="connsiteY4" fmla="*/ 14607 h 14607"/>
                <a:gd name="connsiteX5" fmla="*/ 211 w 14355"/>
                <a:gd name="connsiteY5" fmla="*/ 6096 h 14607"/>
                <a:gd name="connsiteX6" fmla="*/ 3600 w 14355"/>
                <a:gd name="connsiteY6" fmla="*/ 392 h 14607"/>
                <a:gd name="connsiteX0" fmla="*/ 3600 w 14355"/>
                <a:gd name="connsiteY0" fmla="*/ 392 h 13658"/>
                <a:gd name="connsiteX1" fmla="*/ 13916 w 14355"/>
                <a:gd name="connsiteY1" fmla="*/ 1715 h 13658"/>
                <a:gd name="connsiteX2" fmla="*/ 13058 w 14355"/>
                <a:gd name="connsiteY2" fmla="*/ 7801 h 13658"/>
                <a:gd name="connsiteX3" fmla="*/ 9971 w 14355"/>
                <a:gd name="connsiteY3" fmla="*/ 13148 h 13658"/>
                <a:gd name="connsiteX4" fmla="*/ 5504 w 14355"/>
                <a:gd name="connsiteY4" fmla="*/ 13658 h 13658"/>
                <a:gd name="connsiteX5" fmla="*/ 211 w 14355"/>
                <a:gd name="connsiteY5" fmla="*/ 6096 h 13658"/>
                <a:gd name="connsiteX6" fmla="*/ 3600 w 14355"/>
                <a:gd name="connsiteY6" fmla="*/ 392 h 13658"/>
                <a:gd name="connsiteX0" fmla="*/ 3600 w 14355"/>
                <a:gd name="connsiteY0" fmla="*/ 392 h 14551"/>
                <a:gd name="connsiteX1" fmla="*/ 13916 w 14355"/>
                <a:gd name="connsiteY1" fmla="*/ 1715 h 14551"/>
                <a:gd name="connsiteX2" fmla="*/ 13058 w 14355"/>
                <a:gd name="connsiteY2" fmla="*/ 7801 h 14551"/>
                <a:gd name="connsiteX3" fmla="*/ 9971 w 14355"/>
                <a:gd name="connsiteY3" fmla="*/ 13148 h 14551"/>
                <a:gd name="connsiteX4" fmla="*/ 5504 w 14355"/>
                <a:gd name="connsiteY4" fmla="*/ 13658 h 14551"/>
                <a:gd name="connsiteX5" fmla="*/ 211 w 14355"/>
                <a:gd name="connsiteY5" fmla="*/ 6096 h 14551"/>
                <a:gd name="connsiteX6" fmla="*/ 3600 w 14355"/>
                <a:gd name="connsiteY6" fmla="*/ 392 h 14551"/>
                <a:gd name="connsiteX0" fmla="*/ 3600 w 14355"/>
                <a:gd name="connsiteY0" fmla="*/ 392 h 14908"/>
                <a:gd name="connsiteX1" fmla="*/ 13916 w 14355"/>
                <a:gd name="connsiteY1" fmla="*/ 1715 h 14908"/>
                <a:gd name="connsiteX2" fmla="*/ 13058 w 14355"/>
                <a:gd name="connsiteY2" fmla="*/ 7801 h 14908"/>
                <a:gd name="connsiteX3" fmla="*/ 9971 w 14355"/>
                <a:gd name="connsiteY3" fmla="*/ 13148 h 14908"/>
                <a:gd name="connsiteX4" fmla="*/ 5504 w 14355"/>
                <a:gd name="connsiteY4" fmla="*/ 13658 h 14908"/>
                <a:gd name="connsiteX5" fmla="*/ 211 w 14355"/>
                <a:gd name="connsiteY5" fmla="*/ 6096 h 14908"/>
                <a:gd name="connsiteX6" fmla="*/ 3600 w 14355"/>
                <a:gd name="connsiteY6" fmla="*/ 392 h 14908"/>
                <a:gd name="connsiteX0" fmla="*/ 3600 w 14355"/>
                <a:gd name="connsiteY0" fmla="*/ 392 h 14908"/>
                <a:gd name="connsiteX1" fmla="*/ 13916 w 14355"/>
                <a:gd name="connsiteY1" fmla="*/ 1715 h 14908"/>
                <a:gd name="connsiteX2" fmla="*/ 13058 w 14355"/>
                <a:gd name="connsiteY2" fmla="*/ 7801 h 14908"/>
                <a:gd name="connsiteX3" fmla="*/ 9971 w 14355"/>
                <a:gd name="connsiteY3" fmla="*/ 13148 h 14908"/>
                <a:gd name="connsiteX4" fmla="*/ 5504 w 14355"/>
                <a:gd name="connsiteY4" fmla="*/ 13658 h 14908"/>
                <a:gd name="connsiteX5" fmla="*/ 211 w 14355"/>
                <a:gd name="connsiteY5" fmla="*/ 6096 h 14908"/>
                <a:gd name="connsiteX6" fmla="*/ 3600 w 14355"/>
                <a:gd name="connsiteY6" fmla="*/ 392 h 14908"/>
                <a:gd name="connsiteX0" fmla="*/ 3600 w 14605"/>
                <a:gd name="connsiteY0" fmla="*/ 392 h 14908"/>
                <a:gd name="connsiteX1" fmla="*/ 13916 w 14605"/>
                <a:gd name="connsiteY1" fmla="*/ 1715 h 14908"/>
                <a:gd name="connsiteX2" fmla="*/ 13804 w 14605"/>
                <a:gd name="connsiteY2" fmla="*/ 7462 h 14908"/>
                <a:gd name="connsiteX3" fmla="*/ 9971 w 14605"/>
                <a:gd name="connsiteY3" fmla="*/ 13148 h 14908"/>
                <a:gd name="connsiteX4" fmla="*/ 5504 w 14605"/>
                <a:gd name="connsiteY4" fmla="*/ 13658 h 14908"/>
                <a:gd name="connsiteX5" fmla="*/ 211 w 14605"/>
                <a:gd name="connsiteY5" fmla="*/ 6096 h 14908"/>
                <a:gd name="connsiteX6" fmla="*/ 3600 w 14605"/>
                <a:gd name="connsiteY6" fmla="*/ 392 h 14908"/>
                <a:gd name="connsiteX0" fmla="*/ 3600 w 14605"/>
                <a:gd name="connsiteY0" fmla="*/ 784 h 15300"/>
                <a:gd name="connsiteX1" fmla="*/ 13916 w 14605"/>
                <a:gd name="connsiteY1" fmla="*/ 2107 h 15300"/>
                <a:gd name="connsiteX2" fmla="*/ 13804 w 14605"/>
                <a:gd name="connsiteY2" fmla="*/ 7854 h 15300"/>
                <a:gd name="connsiteX3" fmla="*/ 9971 w 14605"/>
                <a:gd name="connsiteY3" fmla="*/ 13540 h 15300"/>
                <a:gd name="connsiteX4" fmla="*/ 5504 w 14605"/>
                <a:gd name="connsiteY4" fmla="*/ 14050 h 15300"/>
                <a:gd name="connsiteX5" fmla="*/ 211 w 14605"/>
                <a:gd name="connsiteY5" fmla="*/ 6488 h 15300"/>
                <a:gd name="connsiteX6" fmla="*/ 3600 w 14605"/>
                <a:gd name="connsiteY6" fmla="*/ 784 h 15300"/>
                <a:gd name="connsiteX0" fmla="*/ 3600 w 14630"/>
                <a:gd name="connsiteY0" fmla="*/ 784 h 15300"/>
                <a:gd name="connsiteX1" fmla="*/ 13916 w 14630"/>
                <a:gd name="connsiteY1" fmla="*/ 2107 h 15300"/>
                <a:gd name="connsiteX2" fmla="*/ 13804 w 14630"/>
                <a:gd name="connsiteY2" fmla="*/ 7854 h 15300"/>
                <a:gd name="connsiteX3" fmla="*/ 9971 w 14630"/>
                <a:gd name="connsiteY3" fmla="*/ 13540 h 15300"/>
                <a:gd name="connsiteX4" fmla="*/ 5504 w 14630"/>
                <a:gd name="connsiteY4" fmla="*/ 14050 h 15300"/>
                <a:gd name="connsiteX5" fmla="*/ 211 w 14630"/>
                <a:gd name="connsiteY5" fmla="*/ 6488 h 15300"/>
                <a:gd name="connsiteX6" fmla="*/ 3600 w 14630"/>
                <a:gd name="connsiteY6" fmla="*/ 784 h 15300"/>
                <a:gd name="connsiteX0" fmla="*/ 3738 w 14768"/>
                <a:gd name="connsiteY0" fmla="*/ 784 h 15300"/>
                <a:gd name="connsiteX1" fmla="*/ 14054 w 14768"/>
                <a:gd name="connsiteY1" fmla="*/ 2107 h 15300"/>
                <a:gd name="connsiteX2" fmla="*/ 13942 w 14768"/>
                <a:gd name="connsiteY2" fmla="*/ 7854 h 15300"/>
                <a:gd name="connsiteX3" fmla="*/ 10109 w 14768"/>
                <a:gd name="connsiteY3" fmla="*/ 13540 h 15300"/>
                <a:gd name="connsiteX4" fmla="*/ 5642 w 14768"/>
                <a:gd name="connsiteY4" fmla="*/ 14050 h 15300"/>
                <a:gd name="connsiteX5" fmla="*/ 349 w 14768"/>
                <a:gd name="connsiteY5" fmla="*/ 6488 h 15300"/>
                <a:gd name="connsiteX6" fmla="*/ 3738 w 14768"/>
                <a:gd name="connsiteY6" fmla="*/ 784 h 15300"/>
                <a:gd name="connsiteX0" fmla="*/ 3738 w 14768"/>
                <a:gd name="connsiteY0" fmla="*/ 784 h 15300"/>
                <a:gd name="connsiteX1" fmla="*/ 14054 w 14768"/>
                <a:gd name="connsiteY1" fmla="*/ 2107 h 15300"/>
                <a:gd name="connsiteX2" fmla="*/ 13942 w 14768"/>
                <a:gd name="connsiteY2" fmla="*/ 7854 h 15300"/>
                <a:gd name="connsiteX3" fmla="*/ 10109 w 14768"/>
                <a:gd name="connsiteY3" fmla="*/ 13540 h 15300"/>
                <a:gd name="connsiteX4" fmla="*/ 5642 w 14768"/>
                <a:gd name="connsiteY4" fmla="*/ 14050 h 15300"/>
                <a:gd name="connsiteX5" fmla="*/ 349 w 14768"/>
                <a:gd name="connsiteY5" fmla="*/ 6488 h 15300"/>
                <a:gd name="connsiteX6" fmla="*/ 3738 w 14768"/>
                <a:gd name="connsiteY6" fmla="*/ 784 h 15300"/>
                <a:gd name="connsiteX0" fmla="*/ 3738 w 14768"/>
                <a:gd name="connsiteY0" fmla="*/ 784 h 15300"/>
                <a:gd name="connsiteX1" fmla="*/ 14054 w 14768"/>
                <a:gd name="connsiteY1" fmla="*/ 2107 h 15300"/>
                <a:gd name="connsiteX2" fmla="*/ 13942 w 14768"/>
                <a:gd name="connsiteY2" fmla="*/ 7854 h 15300"/>
                <a:gd name="connsiteX3" fmla="*/ 10109 w 14768"/>
                <a:gd name="connsiteY3" fmla="*/ 13540 h 15300"/>
                <a:gd name="connsiteX4" fmla="*/ 5642 w 14768"/>
                <a:gd name="connsiteY4" fmla="*/ 14050 h 15300"/>
                <a:gd name="connsiteX5" fmla="*/ 349 w 14768"/>
                <a:gd name="connsiteY5" fmla="*/ 6488 h 15300"/>
                <a:gd name="connsiteX6" fmla="*/ 3738 w 14768"/>
                <a:gd name="connsiteY6" fmla="*/ 784 h 15300"/>
                <a:gd name="connsiteX0" fmla="*/ 3558 w 14588"/>
                <a:gd name="connsiteY0" fmla="*/ 784 h 15300"/>
                <a:gd name="connsiteX1" fmla="*/ 13874 w 14588"/>
                <a:gd name="connsiteY1" fmla="*/ 2107 h 15300"/>
                <a:gd name="connsiteX2" fmla="*/ 13762 w 14588"/>
                <a:gd name="connsiteY2" fmla="*/ 7854 h 15300"/>
                <a:gd name="connsiteX3" fmla="*/ 9929 w 14588"/>
                <a:gd name="connsiteY3" fmla="*/ 13540 h 15300"/>
                <a:gd name="connsiteX4" fmla="*/ 5462 w 14588"/>
                <a:gd name="connsiteY4" fmla="*/ 14050 h 15300"/>
                <a:gd name="connsiteX5" fmla="*/ 169 w 14588"/>
                <a:gd name="connsiteY5" fmla="*/ 6488 h 15300"/>
                <a:gd name="connsiteX6" fmla="*/ 3558 w 14588"/>
                <a:gd name="connsiteY6" fmla="*/ 784 h 1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88" h="15300">
                  <a:moveTo>
                    <a:pt x="3558" y="784"/>
                  </a:moveTo>
                  <a:cubicBezTo>
                    <a:pt x="5225" y="40"/>
                    <a:pt x="11719" y="-1001"/>
                    <a:pt x="13874" y="2107"/>
                  </a:cubicBezTo>
                  <a:cubicBezTo>
                    <a:pt x="14865" y="3679"/>
                    <a:pt x="14822" y="5908"/>
                    <a:pt x="13762" y="7854"/>
                  </a:cubicBezTo>
                  <a:cubicBezTo>
                    <a:pt x="12733" y="9636"/>
                    <a:pt x="11771" y="11283"/>
                    <a:pt x="9929" y="13540"/>
                  </a:cubicBezTo>
                  <a:cubicBezTo>
                    <a:pt x="8915" y="15201"/>
                    <a:pt x="6070" y="16253"/>
                    <a:pt x="5462" y="14050"/>
                  </a:cubicBezTo>
                  <a:cubicBezTo>
                    <a:pt x="4113" y="9698"/>
                    <a:pt x="1951" y="9841"/>
                    <a:pt x="169" y="6488"/>
                  </a:cubicBezTo>
                  <a:cubicBezTo>
                    <a:pt x="-471" y="3888"/>
                    <a:pt x="724" y="2189"/>
                    <a:pt x="3558" y="784"/>
                  </a:cubicBezTo>
                  <a:close/>
                </a:path>
              </a:pathLst>
            </a:custGeom>
            <a:grpFill/>
            <a:ln w="0">
              <a:noFill/>
              <a:prstDash val="solid"/>
              <a:round/>
              <a:headEnd/>
              <a:tailEnd/>
            </a:ln>
            <a:effectLst/>
          </p:spPr>
          <p:txBody>
            <a:bodyPr vert="horz" wrap="square" lIns="121920" tIns="60960" rIns="121920" bIns="60960" numCol="1" anchor="t" anchorCtr="0" compatLnSpc="1">
              <a:prstTxWarp prst="textNoShape">
                <a:avLst/>
              </a:prstTxWarp>
            </a:bodyPr>
            <a:lstStyle/>
            <a:p>
              <a:pPr marL="0" marR="0" lvl="0" indent="0" algn="l" defTabSz="467539"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a:ea typeface="+mn-ea"/>
                <a:cs typeface="+mn-cs"/>
              </a:endParaRPr>
            </a:p>
          </p:txBody>
        </p:sp>
        <p:sp>
          <p:nvSpPr>
            <p:cNvPr id="447" name="Diamond 100">
              <a:extLst>
                <a:ext uri="{FF2B5EF4-FFF2-40B4-BE49-F238E27FC236}">
                  <a16:creationId xmlns:a16="http://schemas.microsoft.com/office/drawing/2014/main" id="{B24A883E-A603-EBB6-66F8-620F42872B76}"/>
                </a:ext>
              </a:extLst>
            </p:cNvPr>
            <p:cNvSpPr/>
            <p:nvPr/>
          </p:nvSpPr>
          <p:spPr>
            <a:xfrm>
              <a:off x="3637128" y="5289038"/>
              <a:ext cx="1453487" cy="2961033"/>
            </a:xfrm>
            <a:custGeom>
              <a:avLst/>
              <a:gdLst>
                <a:gd name="connsiteX0" fmla="*/ 0 w 1255594"/>
                <a:gd name="connsiteY0" fmla="*/ 1330657 h 2661314"/>
                <a:gd name="connsiteX1" fmla="*/ 627797 w 1255594"/>
                <a:gd name="connsiteY1" fmla="*/ 0 h 2661314"/>
                <a:gd name="connsiteX2" fmla="*/ 1255594 w 1255594"/>
                <a:gd name="connsiteY2" fmla="*/ 1330657 h 2661314"/>
                <a:gd name="connsiteX3" fmla="*/ 627797 w 1255594"/>
                <a:gd name="connsiteY3" fmla="*/ 2661314 h 2661314"/>
                <a:gd name="connsiteX4" fmla="*/ 0 w 1255594"/>
                <a:gd name="connsiteY4" fmla="*/ 1330657 h 2661314"/>
                <a:gd name="connsiteX0" fmla="*/ 0 w 1439839"/>
                <a:gd name="connsiteY0" fmla="*/ 1330657 h 2661314"/>
                <a:gd name="connsiteX1" fmla="*/ 627797 w 1439839"/>
                <a:gd name="connsiteY1" fmla="*/ 0 h 2661314"/>
                <a:gd name="connsiteX2" fmla="*/ 1439839 w 1439839"/>
                <a:gd name="connsiteY2" fmla="*/ 1235122 h 2661314"/>
                <a:gd name="connsiteX3" fmla="*/ 627797 w 1439839"/>
                <a:gd name="connsiteY3" fmla="*/ 2661314 h 2661314"/>
                <a:gd name="connsiteX4" fmla="*/ 0 w 1439839"/>
                <a:gd name="connsiteY4" fmla="*/ 1330657 h 2661314"/>
                <a:gd name="connsiteX0" fmla="*/ 0 w 1453487"/>
                <a:gd name="connsiteY0" fmla="*/ 1241947 h 2661314"/>
                <a:gd name="connsiteX1" fmla="*/ 641445 w 1453487"/>
                <a:gd name="connsiteY1" fmla="*/ 0 h 2661314"/>
                <a:gd name="connsiteX2" fmla="*/ 1453487 w 1453487"/>
                <a:gd name="connsiteY2" fmla="*/ 1235122 h 2661314"/>
                <a:gd name="connsiteX3" fmla="*/ 641445 w 1453487"/>
                <a:gd name="connsiteY3" fmla="*/ 2661314 h 2661314"/>
                <a:gd name="connsiteX4" fmla="*/ 0 w 1453487"/>
                <a:gd name="connsiteY4" fmla="*/ 1241947 h 2661314"/>
                <a:gd name="connsiteX0" fmla="*/ 0 w 1453487"/>
                <a:gd name="connsiteY0" fmla="*/ 1241947 h 2661314"/>
                <a:gd name="connsiteX1" fmla="*/ 641445 w 1453487"/>
                <a:gd name="connsiteY1" fmla="*/ 0 h 2661314"/>
                <a:gd name="connsiteX2" fmla="*/ 887105 w 1453487"/>
                <a:gd name="connsiteY2" fmla="*/ 368490 h 2661314"/>
                <a:gd name="connsiteX3" fmla="*/ 1453487 w 1453487"/>
                <a:gd name="connsiteY3" fmla="*/ 1235122 h 2661314"/>
                <a:gd name="connsiteX4" fmla="*/ 641445 w 1453487"/>
                <a:gd name="connsiteY4" fmla="*/ 2661314 h 2661314"/>
                <a:gd name="connsiteX5" fmla="*/ 0 w 1453487"/>
                <a:gd name="connsiteY5" fmla="*/ 1241947 h 2661314"/>
                <a:gd name="connsiteX0" fmla="*/ 0 w 1453487"/>
                <a:gd name="connsiteY0" fmla="*/ 1514901 h 2934268"/>
                <a:gd name="connsiteX1" fmla="*/ 641445 w 1453487"/>
                <a:gd name="connsiteY1" fmla="*/ 272954 h 2934268"/>
                <a:gd name="connsiteX2" fmla="*/ 1173708 w 1453487"/>
                <a:gd name="connsiteY2" fmla="*/ 0 h 2934268"/>
                <a:gd name="connsiteX3" fmla="*/ 1453487 w 1453487"/>
                <a:gd name="connsiteY3" fmla="*/ 1508076 h 2934268"/>
                <a:gd name="connsiteX4" fmla="*/ 641445 w 1453487"/>
                <a:gd name="connsiteY4" fmla="*/ 2934268 h 2934268"/>
                <a:gd name="connsiteX5" fmla="*/ 0 w 1453487"/>
                <a:gd name="connsiteY5" fmla="*/ 1514901 h 2934268"/>
                <a:gd name="connsiteX0" fmla="*/ 0 w 1453487"/>
                <a:gd name="connsiteY0" fmla="*/ 1514901 h 2934268"/>
                <a:gd name="connsiteX1" fmla="*/ 334371 w 1453487"/>
                <a:gd name="connsiteY1" fmla="*/ 859808 h 2934268"/>
                <a:gd name="connsiteX2" fmla="*/ 641445 w 1453487"/>
                <a:gd name="connsiteY2" fmla="*/ 272954 h 2934268"/>
                <a:gd name="connsiteX3" fmla="*/ 1173708 w 1453487"/>
                <a:gd name="connsiteY3" fmla="*/ 0 h 2934268"/>
                <a:gd name="connsiteX4" fmla="*/ 1453487 w 1453487"/>
                <a:gd name="connsiteY4" fmla="*/ 1508076 h 2934268"/>
                <a:gd name="connsiteX5" fmla="*/ 641445 w 1453487"/>
                <a:gd name="connsiteY5" fmla="*/ 2934268 h 2934268"/>
                <a:gd name="connsiteX6" fmla="*/ 0 w 1453487"/>
                <a:gd name="connsiteY6" fmla="*/ 1514901 h 2934268"/>
                <a:gd name="connsiteX0" fmla="*/ 0 w 1453487"/>
                <a:gd name="connsiteY0" fmla="*/ 1521726 h 2941093"/>
                <a:gd name="connsiteX1" fmla="*/ 361667 w 1453487"/>
                <a:gd name="connsiteY1" fmla="*/ 0 h 2941093"/>
                <a:gd name="connsiteX2" fmla="*/ 641445 w 1453487"/>
                <a:gd name="connsiteY2" fmla="*/ 279779 h 2941093"/>
                <a:gd name="connsiteX3" fmla="*/ 1173708 w 1453487"/>
                <a:gd name="connsiteY3" fmla="*/ 6825 h 2941093"/>
                <a:gd name="connsiteX4" fmla="*/ 1453487 w 1453487"/>
                <a:gd name="connsiteY4" fmla="*/ 1514901 h 2941093"/>
                <a:gd name="connsiteX5" fmla="*/ 641445 w 1453487"/>
                <a:gd name="connsiteY5" fmla="*/ 2941093 h 2941093"/>
                <a:gd name="connsiteX6" fmla="*/ 0 w 1453487"/>
                <a:gd name="connsiteY6" fmla="*/ 1521726 h 2941093"/>
                <a:gd name="connsiteX0" fmla="*/ 0 w 1453487"/>
                <a:gd name="connsiteY0" fmla="*/ 1521726 h 2941093"/>
                <a:gd name="connsiteX1" fmla="*/ 361667 w 1453487"/>
                <a:gd name="connsiteY1" fmla="*/ 0 h 2941093"/>
                <a:gd name="connsiteX2" fmla="*/ 552735 w 1453487"/>
                <a:gd name="connsiteY2" fmla="*/ 252483 h 2941093"/>
                <a:gd name="connsiteX3" fmla="*/ 1173708 w 1453487"/>
                <a:gd name="connsiteY3" fmla="*/ 6825 h 2941093"/>
                <a:gd name="connsiteX4" fmla="*/ 1453487 w 1453487"/>
                <a:gd name="connsiteY4" fmla="*/ 1514901 h 2941093"/>
                <a:gd name="connsiteX5" fmla="*/ 641445 w 1453487"/>
                <a:gd name="connsiteY5" fmla="*/ 2941093 h 2941093"/>
                <a:gd name="connsiteX6" fmla="*/ 0 w 1453487"/>
                <a:gd name="connsiteY6" fmla="*/ 1521726 h 2941093"/>
                <a:gd name="connsiteX0" fmla="*/ 0 w 1453487"/>
                <a:gd name="connsiteY0" fmla="*/ 1521726 h 2941093"/>
                <a:gd name="connsiteX1" fmla="*/ 361667 w 1453487"/>
                <a:gd name="connsiteY1" fmla="*/ 0 h 2941093"/>
                <a:gd name="connsiteX2" fmla="*/ 552735 w 1453487"/>
                <a:gd name="connsiteY2" fmla="*/ 252483 h 2941093"/>
                <a:gd name="connsiteX3" fmla="*/ 846162 w 1453487"/>
                <a:gd name="connsiteY3" fmla="*/ 143303 h 2941093"/>
                <a:gd name="connsiteX4" fmla="*/ 1173708 w 1453487"/>
                <a:gd name="connsiteY4" fmla="*/ 6825 h 2941093"/>
                <a:gd name="connsiteX5" fmla="*/ 1453487 w 1453487"/>
                <a:gd name="connsiteY5" fmla="*/ 1514901 h 2941093"/>
                <a:gd name="connsiteX6" fmla="*/ 641445 w 1453487"/>
                <a:gd name="connsiteY6" fmla="*/ 2941093 h 2941093"/>
                <a:gd name="connsiteX7" fmla="*/ 0 w 1453487"/>
                <a:gd name="connsiteY7" fmla="*/ 1521726 h 2941093"/>
                <a:gd name="connsiteX0" fmla="*/ 0 w 1453487"/>
                <a:gd name="connsiteY0" fmla="*/ 1521726 h 2941093"/>
                <a:gd name="connsiteX1" fmla="*/ 361667 w 1453487"/>
                <a:gd name="connsiteY1" fmla="*/ 0 h 2941093"/>
                <a:gd name="connsiteX2" fmla="*/ 552735 w 1453487"/>
                <a:gd name="connsiteY2" fmla="*/ 252483 h 2941093"/>
                <a:gd name="connsiteX3" fmla="*/ 1003112 w 1453487"/>
                <a:gd name="connsiteY3" fmla="*/ 266133 h 2941093"/>
                <a:gd name="connsiteX4" fmla="*/ 1173708 w 1453487"/>
                <a:gd name="connsiteY4" fmla="*/ 6825 h 2941093"/>
                <a:gd name="connsiteX5" fmla="*/ 1453487 w 1453487"/>
                <a:gd name="connsiteY5" fmla="*/ 1514901 h 2941093"/>
                <a:gd name="connsiteX6" fmla="*/ 641445 w 1453487"/>
                <a:gd name="connsiteY6" fmla="*/ 2941093 h 2941093"/>
                <a:gd name="connsiteX7" fmla="*/ 0 w 1453487"/>
                <a:gd name="connsiteY7" fmla="*/ 1521726 h 2941093"/>
                <a:gd name="connsiteX0" fmla="*/ 0 w 1453487"/>
                <a:gd name="connsiteY0" fmla="*/ 1521726 h 2941093"/>
                <a:gd name="connsiteX1" fmla="*/ 361667 w 1453487"/>
                <a:gd name="connsiteY1" fmla="*/ 0 h 2941093"/>
                <a:gd name="connsiteX2" fmla="*/ 552735 w 1453487"/>
                <a:gd name="connsiteY2" fmla="*/ 252483 h 2941093"/>
                <a:gd name="connsiteX3" fmla="*/ 1000263 w 1453487"/>
                <a:gd name="connsiteY3" fmla="*/ 260435 h 2941093"/>
                <a:gd name="connsiteX4" fmla="*/ 1173708 w 1453487"/>
                <a:gd name="connsiteY4" fmla="*/ 6825 h 2941093"/>
                <a:gd name="connsiteX5" fmla="*/ 1453487 w 1453487"/>
                <a:gd name="connsiteY5" fmla="*/ 1514901 h 2941093"/>
                <a:gd name="connsiteX6" fmla="*/ 641445 w 1453487"/>
                <a:gd name="connsiteY6" fmla="*/ 2941093 h 2941093"/>
                <a:gd name="connsiteX7" fmla="*/ 0 w 1453487"/>
                <a:gd name="connsiteY7" fmla="*/ 1521726 h 2941093"/>
                <a:gd name="connsiteX0" fmla="*/ 0 w 1453487"/>
                <a:gd name="connsiteY0" fmla="*/ 1521726 h 2941093"/>
                <a:gd name="connsiteX1" fmla="*/ 361667 w 1453487"/>
                <a:gd name="connsiteY1" fmla="*/ 0 h 2941093"/>
                <a:gd name="connsiteX2" fmla="*/ 549886 w 1453487"/>
                <a:gd name="connsiteY2" fmla="*/ 252483 h 2941093"/>
                <a:gd name="connsiteX3" fmla="*/ 1000263 w 1453487"/>
                <a:gd name="connsiteY3" fmla="*/ 260435 h 2941093"/>
                <a:gd name="connsiteX4" fmla="*/ 1173708 w 1453487"/>
                <a:gd name="connsiteY4" fmla="*/ 6825 h 2941093"/>
                <a:gd name="connsiteX5" fmla="*/ 1453487 w 1453487"/>
                <a:gd name="connsiteY5" fmla="*/ 1514901 h 2941093"/>
                <a:gd name="connsiteX6" fmla="*/ 641445 w 1453487"/>
                <a:gd name="connsiteY6" fmla="*/ 2941093 h 2941093"/>
                <a:gd name="connsiteX7" fmla="*/ 0 w 1453487"/>
                <a:gd name="connsiteY7" fmla="*/ 1521726 h 2941093"/>
                <a:gd name="connsiteX0" fmla="*/ 0 w 1453487"/>
                <a:gd name="connsiteY0" fmla="*/ 1521726 h 2941093"/>
                <a:gd name="connsiteX1" fmla="*/ 361667 w 1453487"/>
                <a:gd name="connsiteY1" fmla="*/ 0 h 2941093"/>
                <a:gd name="connsiteX2" fmla="*/ 549886 w 1453487"/>
                <a:gd name="connsiteY2" fmla="*/ 252483 h 2941093"/>
                <a:gd name="connsiteX3" fmla="*/ 997414 w 1453487"/>
                <a:gd name="connsiteY3" fmla="*/ 257587 h 2941093"/>
                <a:gd name="connsiteX4" fmla="*/ 1173708 w 1453487"/>
                <a:gd name="connsiteY4" fmla="*/ 6825 h 2941093"/>
                <a:gd name="connsiteX5" fmla="*/ 1453487 w 1453487"/>
                <a:gd name="connsiteY5" fmla="*/ 1514901 h 2941093"/>
                <a:gd name="connsiteX6" fmla="*/ 641445 w 1453487"/>
                <a:gd name="connsiteY6" fmla="*/ 2941093 h 2941093"/>
                <a:gd name="connsiteX7" fmla="*/ 0 w 1453487"/>
                <a:gd name="connsiteY7" fmla="*/ 1521726 h 2941093"/>
                <a:gd name="connsiteX0" fmla="*/ 0 w 1453487"/>
                <a:gd name="connsiteY0" fmla="*/ 1521726 h 2941093"/>
                <a:gd name="connsiteX1" fmla="*/ 361667 w 1453487"/>
                <a:gd name="connsiteY1" fmla="*/ 0 h 2941093"/>
                <a:gd name="connsiteX2" fmla="*/ 549886 w 1453487"/>
                <a:gd name="connsiteY2" fmla="*/ 252483 h 2941093"/>
                <a:gd name="connsiteX3" fmla="*/ 997414 w 1453487"/>
                <a:gd name="connsiteY3" fmla="*/ 251890 h 2941093"/>
                <a:gd name="connsiteX4" fmla="*/ 1173708 w 1453487"/>
                <a:gd name="connsiteY4" fmla="*/ 6825 h 2941093"/>
                <a:gd name="connsiteX5" fmla="*/ 1453487 w 1453487"/>
                <a:gd name="connsiteY5" fmla="*/ 1514901 h 2941093"/>
                <a:gd name="connsiteX6" fmla="*/ 641445 w 1453487"/>
                <a:gd name="connsiteY6" fmla="*/ 2941093 h 2941093"/>
                <a:gd name="connsiteX7" fmla="*/ 0 w 1453487"/>
                <a:gd name="connsiteY7" fmla="*/ 1521726 h 2941093"/>
                <a:gd name="connsiteX0" fmla="*/ 0 w 1453487"/>
                <a:gd name="connsiteY0" fmla="*/ 1541666 h 2961033"/>
                <a:gd name="connsiteX1" fmla="*/ 364516 w 1453487"/>
                <a:gd name="connsiteY1" fmla="*/ 0 h 2961033"/>
                <a:gd name="connsiteX2" fmla="*/ 549886 w 1453487"/>
                <a:gd name="connsiteY2" fmla="*/ 272423 h 2961033"/>
                <a:gd name="connsiteX3" fmla="*/ 997414 w 1453487"/>
                <a:gd name="connsiteY3" fmla="*/ 271830 h 2961033"/>
                <a:gd name="connsiteX4" fmla="*/ 1173708 w 1453487"/>
                <a:gd name="connsiteY4" fmla="*/ 26765 h 2961033"/>
                <a:gd name="connsiteX5" fmla="*/ 1453487 w 1453487"/>
                <a:gd name="connsiteY5" fmla="*/ 1534841 h 2961033"/>
                <a:gd name="connsiteX6" fmla="*/ 641445 w 1453487"/>
                <a:gd name="connsiteY6" fmla="*/ 2961033 h 2961033"/>
                <a:gd name="connsiteX7" fmla="*/ 0 w 1453487"/>
                <a:gd name="connsiteY7" fmla="*/ 1541666 h 2961033"/>
                <a:gd name="connsiteX0" fmla="*/ 0 w 1453487"/>
                <a:gd name="connsiteY0" fmla="*/ 1541666 h 2961033"/>
                <a:gd name="connsiteX1" fmla="*/ 364516 w 1453487"/>
                <a:gd name="connsiteY1" fmla="*/ 0 h 2961033"/>
                <a:gd name="connsiteX2" fmla="*/ 547038 w 1453487"/>
                <a:gd name="connsiteY2" fmla="*/ 269574 h 2961033"/>
                <a:gd name="connsiteX3" fmla="*/ 997414 w 1453487"/>
                <a:gd name="connsiteY3" fmla="*/ 271830 h 2961033"/>
                <a:gd name="connsiteX4" fmla="*/ 1173708 w 1453487"/>
                <a:gd name="connsiteY4" fmla="*/ 26765 h 2961033"/>
                <a:gd name="connsiteX5" fmla="*/ 1453487 w 1453487"/>
                <a:gd name="connsiteY5" fmla="*/ 1534841 h 2961033"/>
                <a:gd name="connsiteX6" fmla="*/ 641445 w 1453487"/>
                <a:gd name="connsiteY6" fmla="*/ 2961033 h 2961033"/>
                <a:gd name="connsiteX7" fmla="*/ 0 w 1453487"/>
                <a:gd name="connsiteY7" fmla="*/ 1541666 h 2961033"/>
                <a:gd name="connsiteX0" fmla="*/ 0 w 1453487"/>
                <a:gd name="connsiteY0" fmla="*/ 1541666 h 2961033"/>
                <a:gd name="connsiteX1" fmla="*/ 364516 w 1453487"/>
                <a:gd name="connsiteY1" fmla="*/ 0 h 2961033"/>
                <a:gd name="connsiteX2" fmla="*/ 547038 w 1453487"/>
                <a:gd name="connsiteY2" fmla="*/ 269574 h 2961033"/>
                <a:gd name="connsiteX3" fmla="*/ 1000263 w 1453487"/>
                <a:gd name="connsiteY3" fmla="*/ 268982 h 2961033"/>
                <a:gd name="connsiteX4" fmla="*/ 1173708 w 1453487"/>
                <a:gd name="connsiteY4" fmla="*/ 26765 h 2961033"/>
                <a:gd name="connsiteX5" fmla="*/ 1453487 w 1453487"/>
                <a:gd name="connsiteY5" fmla="*/ 1534841 h 2961033"/>
                <a:gd name="connsiteX6" fmla="*/ 641445 w 1453487"/>
                <a:gd name="connsiteY6" fmla="*/ 2961033 h 2961033"/>
                <a:gd name="connsiteX7" fmla="*/ 0 w 1453487"/>
                <a:gd name="connsiteY7" fmla="*/ 1541666 h 2961033"/>
                <a:gd name="connsiteX0" fmla="*/ 0 w 1453487"/>
                <a:gd name="connsiteY0" fmla="*/ 1541666 h 2961033"/>
                <a:gd name="connsiteX1" fmla="*/ 364516 w 1453487"/>
                <a:gd name="connsiteY1" fmla="*/ 0 h 2961033"/>
                <a:gd name="connsiteX2" fmla="*/ 547038 w 1453487"/>
                <a:gd name="connsiteY2" fmla="*/ 269574 h 2961033"/>
                <a:gd name="connsiteX3" fmla="*/ 994566 w 1453487"/>
                <a:gd name="connsiteY3" fmla="*/ 271831 h 2961033"/>
                <a:gd name="connsiteX4" fmla="*/ 1173708 w 1453487"/>
                <a:gd name="connsiteY4" fmla="*/ 26765 h 2961033"/>
                <a:gd name="connsiteX5" fmla="*/ 1453487 w 1453487"/>
                <a:gd name="connsiteY5" fmla="*/ 1534841 h 2961033"/>
                <a:gd name="connsiteX6" fmla="*/ 641445 w 1453487"/>
                <a:gd name="connsiteY6" fmla="*/ 2961033 h 2961033"/>
                <a:gd name="connsiteX7" fmla="*/ 0 w 1453487"/>
                <a:gd name="connsiteY7" fmla="*/ 1541666 h 296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3487" h="2961033">
                  <a:moveTo>
                    <a:pt x="0" y="1541666"/>
                  </a:moveTo>
                  <a:lnTo>
                    <a:pt x="364516" y="0"/>
                  </a:lnTo>
                  <a:lnTo>
                    <a:pt x="547038" y="269574"/>
                  </a:lnTo>
                  <a:lnTo>
                    <a:pt x="994566" y="271831"/>
                  </a:lnTo>
                  <a:lnTo>
                    <a:pt x="1173708" y="26765"/>
                  </a:lnTo>
                  <a:lnTo>
                    <a:pt x="1453487" y="1534841"/>
                  </a:lnTo>
                  <a:lnTo>
                    <a:pt x="641445" y="2961033"/>
                  </a:lnTo>
                  <a:lnTo>
                    <a:pt x="0" y="1541666"/>
                  </a:ln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67539"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grpSp>
      <p:grpSp>
        <p:nvGrpSpPr>
          <p:cNvPr id="519" name="Group 21">
            <a:extLst>
              <a:ext uri="{FF2B5EF4-FFF2-40B4-BE49-F238E27FC236}">
                <a16:creationId xmlns:a16="http://schemas.microsoft.com/office/drawing/2014/main" id="{B0A90D35-90F1-6054-D46C-9835037CF988}"/>
              </a:ext>
            </a:extLst>
          </p:cNvPr>
          <p:cNvGrpSpPr>
            <a:grpSpLocks noChangeAspect="1"/>
          </p:cNvGrpSpPr>
          <p:nvPr/>
        </p:nvGrpSpPr>
        <p:grpSpPr>
          <a:xfrm>
            <a:off x="6410744" y="2047966"/>
            <a:ext cx="429447" cy="429447"/>
            <a:chOff x="1981200" y="2606675"/>
            <a:chExt cx="1644650" cy="1644650"/>
          </a:xfrm>
        </p:grpSpPr>
        <p:sp>
          <p:nvSpPr>
            <p:cNvPr id="520" name="AutoShape 3">
              <a:extLst>
                <a:ext uri="{FF2B5EF4-FFF2-40B4-BE49-F238E27FC236}">
                  <a16:creationId xmlns:a16="http://schemas.microsoft.com/office/drawing/2014/main" id="{9004B4C3-E065-4D19-0912-9B96ED644242}"/>
                </a:ext>
              </a:extLst>
            </p:cNvPr>
            <p:cNvSpPr>
              <a:spLocks noChangeAspect="1" noChangeArrowheads="1" noTextEdit="1"/>
            </p:cNvSpPr>
            <p:nvPr/>
          </p:nvSpPr>
          <p:spPr bwMode="auto">
            <a:xfrm>
              <a:off x="1981200"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467539"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521" name="Group 23">
              <a:extLst>
                <a:ext uri="{FF2B5EF4-FFF2-40B4-BE49-F238E27FC236}">
                  <a16:creationId xmlns:a16="http://schemas.microsoft.com/office/drawing/2014/main" id="{44C31192-102F-9719-55F0-D089B182B22B}"/>
                </a:ext>
              </a:extLst>
            </p:cNvPr>
            <p:cNvGrpSpPr/>
            <p:nvPr/>
          </p:nvGrpSpPr>
          <p:grpSpPr>
            <a:xfrm>
              <a:off x="2151063" y="2784475"/>
              <a:ext cx="1304925" cy="1287463"/>
              <a:chOff x="2151063" y="2784475"/>
              <a:chExt cx="1304925" cy="1287463"/>
            </a:xfrm>
          </p:grpSpPr>
          <p:sp>
            <p:nvSpPr>
              <p:cNvPr id="522" name="Freeform 5">
                <a:extLst>
                  <a:ext uri="{FF2B5EF4-FFF2-40B4-BE49-F238E27FC236}">
                    <a16:creationId xmlns:a16="http://schemas.microsoft.com/office/drawing/2014/main" id="{66EA4676-4B9A-846F-FF62-E34F237DAAD6}"/>
                  </a:ext>
                </a:extLst>
              </p:cNvPr>
              <p:cNvSpPr>
                <a:spLocks noEditPoints="1"/>
              </p:cNvSpPr>
              <p:nvPr/>
            </p:nvSpPr>
            <p:spPr bwMode="auto">
              <a:xfrm>
                <a:off x="2257425" y="2900363"/>
                <a:ext cx="1081088" cy="1171575"/>
              </a:xfrm>
              <a:custGeom>
                <a:avLst/>
                <a:gdLst>
                  <a:gd name="T0" fmla="*/ 467 w 1513"/>
                  <a:gd name="T1" fmla="*/ 934 h 1642"/>
                  <a:gd name="T2" fmla="*/ 763 w 1513"/>
                  <a:gd name="T3" fmla="*/ 1269 h 1642"/>
                  <a:gd name="T4" fmla="*/ 1058 w 1513"/>
                  <a:gd name="T5" fmla="*/ 934 h 1642"/>
                  <a:gd name="T6" fmla="*/ 1103 w 1513"/>
                  <a:gd name="T7" fmla="*/ 886 h 1642"/>
                  <a:gd name="T8" fmla="*/ 1153 w 1513"/>
                  <a:gd name="T9" fmla="*/ 866 h 1642"/>
                  <a:gd name="T10" fmla="*/ 981 w 1513"/>
                  <a:gd name="T11" fmla="*/ 1201 h 1642"/>
                  <a:gd name="T12" fmla="*/ 971 w 1513"/>
                  <a:gd name="T13" fmla="*/ 1274 h 1642"/>
                  <a:gd name="T14" fmla="*/ 938 w 1513"/>
                  <a:gd name="T15" fmla="*/ 1237 h 1642"/>
                  <a:gd name="T16" fmla="*/ 588 w 1513"/>
                  <a:gd name="T17" fmla="*/ 1237 h 1642"/>
                  <a:gd name="T18" fmla="*/ 555 w 1513"/>
                  <a:gd name="T19" fmla="*/ 1275 h 1642"/>
                  <a:gd name="T20" fmla="*/ 545 w 1513"/>
                  <a:gd name="T21" fmla="*/ 1201 h 1642"/>
                  <a:gd name="T22" fmla="*/ 373 w 1513"/>
                  <a:gd name="T23" fmla="*/ 868 h 1642"/>
                  <a:gd name="T24" fmla="*/ 423 w 1513"/>
                  <a:gd name="T25" fmla="*/ 886 h 1642"/>
                  <a:gd name="T26" fmla="*/ 1509 w 1513"/>
                  <a:gd name="T27" fmla="*/ 1617 h 1642"/>
                  <a:gd name="T28" fmla="*/ 1007 w 1513"/>
                  <a:gd name="T29" fmla="*/ 1300 h 1642"/>
                  <a:gd name="T30" fmla="*/ 967 w 1513"/>
                  <a:gd name="T31" fmla="*/ 1340 h 1642"/>
                  <a:gd name="T32" fmla="*/ 768 w 1513"/>
                  <a:gd name="T33" fmla="*/ 1416 h 1642"/>
                  <a:gd name="T34" fmla="*/ 764 w 1513"/>
                  <a:gd name="T35" fmla="*/ 1416 h 1642"/>
                  <a:gd name="T36" fmla="*/ 546 w 1513"/>
                  <a:gd name="T37" fmla="*/ 1328 h 1642"/>
                  <a:gd name="T38" fmla="*/ 199 w 1513"/>
                  <a:gd name="T39" fmla="*/ 1355 h 1642"/>
                  <a:gd name="T40" fmla="*/ 36 w 1513"/>
                  <a:gd name="T41" fmla="*/ 1642 h 1642"/>
                  <a:gd name="T42" fmla="*/ 1509 w 1513"/>
                  <a:gd name="T43" fmla="*/ 1617 h 1642"/>
                  <a:gd name="T44" fmla="*/ 1423 w 1513"/>
                  <a:gd name="T45" fmla="*/ 379 h 1642"/>
                  <a:gd name="T46" fmla="*/ 1451 w 1513"/>
                  <a:gd name="T47" fmla="*/ 562 h 1642"/>
                  <a:gd name="T48" fmla="*/ 1144 w 1513"/>
                  <a:gd name="T49" fmla="*/ 89 h 1642"/>
                  <a:gd name="T50" fmla="*/ 958 w 1513"/>
                  <a:gd name="T51" fmla="*/ 53 h 1642"/>
                  <a:gd name="T52" fmla="*/ 1144 w 1513"/>
                  <a:gd name="T53" fmla="*/ 89 h 1642"/>
                  <a:gd name="T54" fmla="*/ 566 w 1513"/>
                  <a:gd name="T55" fmla="*/ 43 h 1642"/>
                  <a:gd name="T56" fmla="*/ 371 w 1513"/>
                  <a:gd name="T57" fmla="*/ 76 h 1642"/>
                  <a:gd name="T58" fmla="*/ 399 w 1513"/>
                  <a:gd name="T59" fmla="*/ 110 h 1642"/>
                  <a:gd name="T60" fmla="*/ 86 w 1513"/>
                  <a:gd name="T61" fmla="*/ 363 h 1642"/>
                  <a:gd name="T62" fmla="*/ 0 w 1513"/>
                  <a:gd name="T63" fmla="*/ 551 h 1642"/>
                  <a:gd name="T64" fmla="*/ 44 w 1513"/>
                  <a:gd name="T65" fmla="*/ 553 h 1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13" h="1642">
                    <a:moveTo>
                      <a:pt x="457" y="924"/>
                    </a:moveTo>
                    <a:cubicBezTo>
                      <a:pt x="462" y="926"/>
                      <a:pt x="465" y="929"/>
                      <a:pt x="467" y="934"/>
                    </a:cubicBezTo>
                    <a:cubicBezTo>
                      <a:pt x="502" y="1024"/>
                      <a:pt x="561" y="1159"/>
                      <a:pt x="582" y="1178"/>
                    </a:cubicBezTo>
                    <a:cubicBezTo>
                      <a:pt x="617" y="1209"/>
                      <a:pt x="712" y="1269"/>
                      <a:pt x="763" y="1269"/>
                    </a:cubicBezTo>
                    <a:cubicBezTo>
                      <a:pt x="814" y="1269"/>
                      <a:pt x="909" y="1209"/>
                      <a:pt x="944" y="1178"/>
                    </a:cubicBezTo>
                    <a:cubicBezTo>
                      <a:pt x="965" y="1159"/>
                      <a:pt x="1023" y="1024"/>
                      <a:pt x="1058" y="934"/>
                    </a:cubicBezTo>
                    <a:cubicBezTo>
                      <a:pt x="1060" y="929"/>
                      <a:pt x="1064" y="926"/>
                      <a:pt x="1069" y="924"/>
                    </a:cubicBezTo>
                    <a:cubicBezTo>
                      <a:pt x="1087" y="914"/>
                      <a:pt x="1097" y="899"/>
                      <a:pt x="1103" y="886"/>
                    </a:cubicBezTo>
                    <a:cubicBezTo>
                      <a:pt x="1103" y="886"/>
                      <a:pt x="1103" y="886"/>
                      <a:pt x="1153" y="862"/>
                    </a:cubicBezTo>
                    <a:cubicBezTo>
                      <a:pt x="1153" y="863"/>
                      <a:pt x="1153" y="865"/>
                      <a:pt x="1153" y="866"/>
                    </a:cubicBezTo>
                    <a:cubicBezTo>
                      <a:pt x="1150" y="886"/>
                      <a:pt x="1139" y="931"/>
                      <a:pt x="1095" y="958"/>
                    </a:cubicBezTo>
                    <a:cubicBezTo>
                      <a:pt x="1078" y="1003"/>
                      <a:pt x="1017" y="1153"/>
                      <a:pt x="981" y="1201"/>
                    </a:cubicBezTo>
                    <a:cubicBezTo>
                      <a:pt x="981" y="1201"/>
                      <a:pt x="981" y="1201"/>
                      <a:pt x="981" y="1265"/>
                    </a:cubicBezTo>
                    <a:cubicBezTo>
                      <a:pt x="977" y="1267"/>
                      <a:pt x="974" y="1271"/>
                      <a:pt x="971" y="1274"/>
                    </a:cubicBezTo>
                    <a:cubicBezTo>
                      <a:pt x="970" y="1276"/>
                      <a:pt x="958" y="1291"/>
                      <a:pt x="938" y="1308"/>
                    </a:cubicBezTo>
                    <a:cubicBezTo>
                      <a:pt x="938" y="1308"/>
                      <a:pt x="938" y="1308"/>
                      <a:pt x="938" y="1237"/>
                    </a:cubicBezTo>
                    <a:cubicBezTo>
                      <a:pt x="888" y="1271"/>
                      <a:pt x="814" y="1312"/>
                      <a:pt x="763" y="1312"/>
                    </a:cubicBezTo>
                    <a:cubicBezTo>
                      <a:pt x="712" y="1312"/>
                      <a:pt x="638" y="1271"/>
                      <a:pt x="588" y="1237"/>
                    </a:cubicBezTo>
                    <a:cubicBezTo>
                      <a:pt x="588" y="1237"/>
                      <a:pt x="588" y="1237"/>
                      <a:pt x="588" y="1309"/>
                    </a:cubicBezTo>
                    <a:cubicBezTo>
                      <a:pt x="567" y="1291"/>
                      <a:pt x="555" y="1275"/>
                      <a:pt x="555" y="1275"/>
                    </a:cubicBezTo>
                    <a:cubicBezTo>
                      <a:pt x="552" y="1271"/>
                      <a:pt x="549" y="1268"/>
                      <a:pt x="545" y="1265"/>
                    </a:cubicBezTo>
                    <a:cubicBezTo>
                      <a:pt x="545" y="1265"/>
                      <a:pt x="545" y="1265"/>
                      <a:pt x="545" y="1201"/>
                    </a:cubicBezTo>
                    <a:cubicBezTo>
                      <a:pt x="509" y="1154"/>
                      <a:pt x="448" y="1003"/>
                      <a:pt x="430" y="958"/>
                    </a:cubicBezTo>
                    <a:cubicBezTo>
                      <a:pt x="390" y="933"/>
                      <a:pt x="377" y="891"/>
                      <a:pt x="373" y="868"/>
                    </a:cubicBezTo>
                    <a:cubicBezTo>
                      <a:pt x="373" y="866"/>
                      <a:pt x="373" y="864"/>
                      <a:pt x="373" y="862"/>
                    </a:cubicBezTo>
                    <a:cubicBezTo>
                      <a:pt x="373" y="862"/>
                      <a:pt x="373" y="862"/>
                      <a:pt x="423" y="886"/>
                    </a:cubicBezTo>
                    <a:cubicBezTo>
                      <a:pt x="429" y="899"/>
                      <a:pt x="438" y="914"/>
                      <a:pt x="457" y="924"/>
                    </a:cubicBezTo>
                    <a:close/>
                    <a:moveTo>
                      <a:pt x="1509" y="1617"/>
                    </a:moveTo>
                    <a:cubicBezTo>
                      <a:pt x="1486" y="1555"/>
                      <a:pt x="1420" y="1396"/>
                      <a:pt x="1329" y="1355"/>
                    </a:cubicBezTo>
                    <a:cubicBezTo>
                      <a:pt x="1216" y="1302"/>
                      <a:pt x="1007" y="1300"/>
                      <a:pt x="1007" y="1300"/>
                    </a:cubicBezTo>
                    <a:cubicBezTo>
                      <a:pt x="1007" y="1300"/>
                      <a:pt x="998" y="1311"/>
                      <a:pt x="982" y="1328"/>
                    </a:cubicBezTo>
                    <a:cubicBezTo>
                      <a:pt x="977" y="1332"/>
                      <a:pt x="972" y="1336"/>
                      <a:pt x="967" y="1340"/>
                    </a:cubicBezTo>
                    <a:cubicBezTo>
                      <a:pt x="928" y="1373"/>
                      <a:pt x="860" y="1415"/>
                      <a:pt x="764" y="1416"/>
                    </a:cubicBezTo>
                    <a:cubicBezTo>
                      <a:pt x="765" y="1416"/>
                      <a:pt x="767" y="1416"/>
                      <a:pt x="768" y="1416"/>
                    </a:cubicBezTo>
                    <a:cubicBezTo>
                      <a:pt x="760" y="1416"/>
                      <a:pt x="760" y="1416"/>
                      <a:pt x="760" y="1416"/>
                    </a:cubicBezTo>
                    <a:cubicBezTo>
                      <a:pt x="761" y="1416"/>
                      <a:pt x="763" y="1416"/>
                      <a:pt x="764" y="1416"/>
                    </a:cubicBezTo>
                    <a:cubicBezTo>
                      <a:pt x="668" y="1415"/>
                      <a:pt x="600" y="1373"/>
                      <a:pt x="561" y="1340"/>
                    </a:cubicBezTo>
                    <a:cubicBezTo>
                      <a:pt x="556" y="1336"/>
                      <a:pt x="551" y="1332"/>
                      <a:pt x="546" y="1328"/>
                    </a:cubicBezTo>
                    <a:cubicBezTo>
                      <a:pt x="530" y="1311"/>
                      <a:pt x="521" y="1300"/>
                      <a:pt x="521" y="1300"/>
                    </a:cubicBezTo>
                    <a:cubicBezTo>
                      <a:pt x="521" y="1300"/>
                      <a:pt x="312" y="1302"/>
                      <a:pt x="199" y="1355"/>
                    </a:cubicBezTo>
                    <a:cubicBezTo>
                      <a:pt x="108" y="1396"/>
                      <a:pt x="42" y="1555"/>
                      <a:pt x="19" y="1617"/>
                    </a:cubicBezTo>
                    <a:cubicBezTo>
                      <a:pt x="15" y="1629"/>
                      <a:pt x="24" y="1642"/>
                      <a:pt x="36" y="1642"/>
                    </a:cubicBezTo>
                    <a:cubicBezTo>
                      <a:pt x="1492" y="1642"/>
                      <a:pt x="1492" y="1642"/>
                      <a:pt x="1492" y="1642"/>
                    </a:cubicBezTo>
                    <a:cubicBezTo>
                      <a:pt x="1505" y="1642"/>
                      <a:pt x="1513" y="1629"/>
                      <a:pt x="1509" y="1617"/>
                    </a:cubicBezTo>
                    <a:close/>
                    <a:moveTo>
                      <a:pt x="1493" y="552"/>
                    </a:moveTo>
                    <a:cubicBezTo>
                      <a:pt x="1476" y="491"/>
                      <a:pt x="1453" y="433"/>
                      <a:pt x="1423" y="379"/>
                    </a:cubicBezTo>
                    <a:cubicBezTo>
                      <a:pt x="1412" y="388"/>
                      <a:pt x="1399" y="396"/>
                      <a:pt x="1387" y="401"/>
                    </a:cubicBezTo>
                    <a:cubicBezTo>
                      <a:pt x="1414" y="452"/>
                      <a:pt x="1436" y="505"/>
                      <a:pt x="1451" y="562"/>
                    </a:cubicBezTo>
                    <a:cubicBezTo>
                      <a:pt x="1464" y="557"/>
                      <a:pt x="1478" y="554"/>
                      <a:pt x="1493" y="552"/>
                    </a:cubicBezTo>
                    <a:close/>
                    <a:moveTo>
                      <a:pt x="1144" y="89"/>
                    </a:moveTo>
                    <a:cubicBezTo>
                      <a:pt x="1088" y="56"/>
                      <a:pt x="1029" y="30"/>
                      <a:pt x="965" y="10"/>
                    </a:cubicBezTo>
                    <a:cubicBezTo>
                      <a:pt x="964" y="25"/>
                      <a:pt x="961" y="39"/>
                      <a:pt x="958" y="53"/>
                    </a:cubicBezTo>
                    <a:cubicBezTo>
                      <a:pt x="1015" y="70"/>
                      <a:pt x="1070" y="95"/>
                      <a:pt x="1120" y="124"/>
                    </a:cubicBezTo>
                    <a:cubicBezTo>
                      <a:pt x="1127" y="112"/>
                      <a:pt x="1136" y="100"/>
                      <a:pt x="1144" y="89"/>
                    </a:cubicBezTo>
                    <a:close/>
                    <a:moveTo>
                      <a:pt x="399" y="110"/>
                    </a:moveTo>
                    <a:cubicBezTo>
                      <a:pt x="451" y="81"/>
                      <a:pt x="507" y="58"/>
                      <a:pt x="566" y="43"/>
                    </a:cubicBezTo>
                    <a:cubicBezTo>
                      <a:pt x="563" y="30"/>
                      <a:pt x="561" y="15"/>
                      <a:pt x="561" y="0"/>
                    </a:cubicBezTo>
                    <a:cubicBezTo>
                      <a:pt x="494" y="17"/>
                      <a:pt x="430" y="42"/>
                      <a:pt x="371" y="76"/>
                    </a:cubicBezTo>
                    <a:cubicBezTo>
                      <a:pt x="372" y="76"/>
                      <a:pt x="372" y="77"/>
                      <a:pt x="372" y="77"/>
                    </a:cubicBezTo>
                    <a:cubicBezTo>
                      <a:pt x="383" y="87"/>
                      <a:pt x="392" y="98"/>
                      <a:pt x="399" y="110"/>
                    </a:cubicBezTo>
                    <a:close/>
                    <a:moveTo>
                      <a:pt x="114" y="387"/>
                    </a:moveTo>
                    <a:cubicBezTo>
                      <a:pt x="105" y="380"/>
                      <a:pt x="95" y="372"/>
                      <a:pt x="86" y="363"/>
                    </a:cubicBezTo>
                    <a:cubicBezTo>
                      <a:pt x="85" y="362"/>
                      <a:pt x="83" y="360"/>
                      <a:pt x="82" y="359"/>
                    </a:cubicBezTo>
                    <a:cubicBezTo>
                      <a:pt x="46" y="417"/>
                      <a:pt x="19" y="482"/>
                      <a:pt x="0" y="551"/>
                    </a:cubicBezTo>
                    <a:cubicBezTo>
                      <a:pt x="3" y="551"/>
                      <a:pt x="5" y="551"/>
                      <a:pt x="8" y="551"/>
                    </a:cubicBezTo>
                    <a:cubicBezTo>
                      <a:pt x="20" y="551"/>
                      <a:pt x="32" y="552"/>
                      <a:pt x="44" y="553"/>
                    </a:cubicBezTo>
                    <a:cubicBezTo>
                      <a:pt x="61" y="495"/>
                      <a:pt x="84" y="439"/>
                      <a:pt x="114" y="387"/>
                    </a:cubicBezTo>
                    <a:close/>
                  </a:path>
                </a:pathLst>
              </a:custGeom>
              <a:solidFill>
                <a:srgbClr val="008789"/>
              </a:solidFill>
              <a:ln>
                <a:noFill/>
              </a:ln>
            </p:spPr>
            <p:txBody>
              <a:bodyPr vert="horz" wrap="square" lIns="121920" tIns="60960" rIns="121920" bIns="60960" numCol="1" anchor="t" anchorCtr="0" compatLnSpc="1">
                <a:prstTxWarp prst="textNoShape">
                  <a:avLst/>
                </a:prstTxWarp>
              </a:bodyPr>
              <a:lstStyle/>
              <a:p>
                <a:pPr marL="0" marR="0" lvl="0" indent="0" algn="l" defTabSz="467539"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a:ea typeface="+mn-ea"/>
                  <a:cs typeface="+mn-cs"/>
                </a:endParaRPr>
              </a:p>
            </p:txBody>
          </p:sp>
          <p:sp>
            <p:nvSpPr>
              <p:cNvPr id="523" name="Freeform 6">
                <a:extLst>
                  <a:ext uri="{FF2B5EF4-FFF2-40B4-BE49-F238E27FC236}">
                    <a16:creationId xmlns:a16="http://schemas.microsoft.com/office/drawing/2014/main" id="{07D20E73-37B1-B990-8831-D96B7740F880}"/>
                  </a:ext>
                </a:extLst>
              </p:cNvPr>
              <p:cNvSpPr>
                <a:spLocks noEditPoints="1"/>
              </p:cNvSpPr>
              <p:nvPr/>
            </p:nvSpPr>
            <p:spPr bwMode="auto">
              <a:xfrm>
                <a:off x="2151063" y="2784475"/>
                <a:ext cx="1304925" cy="766763"/>
              </a:xfrm>
              <a:custGeom>
                <a:avLst/>
                <a:gdLst>
                  <a:gd name="T0" fmla="*/ 1239 w 1828"/>
                  <a:gd name="T1" fmla="*/ 1026 h 1074"/>
                  <a:gd name="T2" fmla="*/ 585 w 1828"/>
                  <a:gd name="T3" fmla="*/ 1019 h 1074"/>
                  <a:gd name="T4" fmla="*/ 915 w 1828"/>
                  <a:gd name="T5" fmla="*/ 322 h 1074"/>
                  <a:gd name="T6" fmla="*/ 1074 w 1828"/>
                  <a:gd name="T7" fmla="*/ 161 h 1074"/>
                  <a:gd name="T8" fmla="*/ 826 w 1828"/>
                  <a:gd name="T9" fmla="*/ 143 h 1074"/>
                  <a:gd name="T10" fmla="*/ 920 w 1828"/>
                  <a:gd name="T11" fmla="*/ 184 h 1074"/>
                  <a:gd name="T12" fmla="*/ 929 w 1828"/>
                  <a:gd name="T13" fmla="*/ 203 h 1074"/>
                  <a:gd name="T14" fmla="*/ 1001 w 1828"/>
                  <a:gd name="T15" fmla="*/ 233 h 1074"/>
                  <a:gd name="T16" fmla="*/ 949 w 1828"/>
                  <a:gd name="T17" fmla="*/ 181 h 1074"/>
                  <a:gd name="T18" fmla="*/ 849 w 1828"/>
                  <a:gd name="T19" fmla="*/ 62 h 1074"/>
                  <a:gd name="T20" fmla="*/ 928 w 1828"/>
                  <a:gd name="T21" fmla="*/ 92 h 1074"/>
                  <a:gd name="T22" fmla="*/ 853 w 1828"/>
                  <a:gd name="T23" fmla="*/ 149 h 1074"/>
                  <a:gd name="T24" fmla="*/ 1449 w 1828"/>
                  <a:gd name="T25" fmla="*/ 448 h 1074"/>
                  <a:gd name="T26" fmla="*/ 1473 w 1828"/>
                  <a:gd name="T27" fmla="*/ 398 h 1074"/>
                  <a:gd name="T28" fmla="*/ 1449 w 1828"/>
                  <a:gd name="T29" fmla="*/ 411 h 1074"/>
                  <a:gd name="T30" fmla="*/ 1337 w 1828"/>
                  <a:gd name="T31" fmla="*/ 495 h 1074"/>
                  <a:gd name="T32" fmla="*/ 1561 w 1828"/>
                  <a:gd name="T33" fmla="*/ 271 h 1074"/>
                  <a:gd name="T34" fmla="*/ 1522 w 1828"/>
                  <a:gd name="T35" fmla="*/ 461 h 1074"/>
                  <a:gd name="T36" fmla="*/ 1341 w 1828"/>
                  <a:gd name="T37" fmla="*/ 383 h 1074"/>
                  <a:gd name="T38" fmla="*/ 288 w 1828"/>
                  <a:gd name="T39" fmla="*/ 512 h 1074"/>
                  <a:gd name="T40" fmla="*/ 485 w 1828"/>
                  <a:gd name="T41" fmla="*/ 263 h 1074"/>
                  <a:gd name="T42" fmla="*/ 322 w 1828"/>
                  <a:gd name="T43" fmla="*/ 400 h 1074"/>
                  <a:gd name="T44" fmla="*/ 283 w 1828"/>
                  <a:gd name="T45" fmla="*/ 466 h 1074"/>
                  <a:gd name="T46" fmla="*/ 322 w 1828"/>
                  <a:gd name="T47" fmla="*/ 466 h 1074"/>
                  <a:gd name="T48" fmla="*/ 335 w 1828"/>
                  <a:gd name="T49" fmla="*/ 369 h 1074"/>
                  <a:gd name="T50" fmla="*/ 335 w 1828"/>
                  <a:gd name="T51" fmla="*/ 471 h 1074"/>
                  <a:gd name="T52" fmla="*/ 416 w 1828"/>
                  <a:gd name="T53" fmla="*/ 342 h 1074"/>
                  <a:gd name="T54" fmla="*/ 377 w 1828"/>
                  <a:gd name="T55" fmla="*/ 344 h 1074"/>
                  <a:gd name="T56" fmla="*/ 416 w 1828"/>
                  <a:gd name="T57" fmla="*/ 466 h 1074"/>
                  <a:gd name="T58" fmla="*/ 437 w 1828"/>
                  <a:gd name="T59" fmla="*/ 295 h 1074"/>
                  <a:gd name="T60" fmla="*/ 423 w 1828"/>
                  <a:gd name="T61" fmla="*/ 466 h 1074"/>
                  <a:gd name="T62" fmla="*/ 1668 w 1828"/>
                  <a:gd name="T63" fmla="*/ 757 h 1074"/>
                  <a:gd name="T64" fmla="*/ 1652 w 1828"/>
                  <a:gd name="T65" fmla="*/ 758 h 1074"/>
                  <a:gd name="T66" fmla="*/ 1638 w 1828"/>
                  <a:gd name="T67" fmla="*/ 1006 h 1074"/>
                  <a:gd name="T68" fmla="*/ 1671 w 1828"/>
                  <a:gd name="T69" fmla="*/ 1027 h 1074"/>
                  <a:gd name="T70" fmla="*/ 1703 w 1828"/>
                  <a:gd name="T71" fmla="*/ 987 h 1074"/>
                  <a:gd name="T72" fmla="*/ 1703 w 1828"/>
                  <a:gd name="T73" fmla="*/ 979 h 1074"/>
                  <a:gd name="T74" fmla="*/ 1633 w 1828"/>
                  <a:gd name="T75" fmla="*/ 979 h 1074"/>
                  <a:gd name="T76" fmla="*/ 1660 w 1828"/>
                  <a:gd name="T77" fmla="*/ 805 h 1074"/>
                  <a:gd name="T78" fmla="*/ 1634 w 1828"/>
                  <a:gd name="T79" fmla="*/ 946 h 1074"/>
                  <a:gd name="T80" fmla="*/ 1673 w 1828"/>
                  <a:gd name="T81" fmla="*/ 918 h 1074"/>
                  <a:gd name="T82" fmla="*/ 1667 w 1828"/>
                  <a:gd name="T83" fmla="*/ 897 h 1074"/>
                  <a:gd name="T84" fmla="*/ 1654 w 1828"/>
                  <a:gd name="T85" fmla="*/ 887 h 1074"/>
                  <a:gd name="T86" fmla="*/ 1670 w 1828"/>
                  <a:gd name="T87" fmla="*/ 886 h 1074"/>
                  <a:gd name="T88" fmla="*/ 1686 w 1828"/>
                  <a:gd name="T89" fmla="*/ 908 h 1074"/>
                  <a:gd name="T90" fmla="*/ 1703 w 1828"/>
                  <a:gd name="T91" fmla="*/ 960 h 1074"/>
                  <a:gd name="T92" fmla="*/ 319 w 1828"/>
                  <a:gd name="T93" fmla="*/ 915 h 1074"/>
                  <a:gd name="T94" fmla="*/ 185 w 1828"/>
                  <a:gd name="T95" fmla="*/ 759 h 1074"/>
                  <a:gd name="T96" fmla="*/ 170 w 1828"/>
                  <a:gd name="T97" fmla="*/ 902 h 1074"/>
                  <a:gd name="T98" fmla="*/ 171 w 1828"/>
                  <a:gd name="T99" fmla="*/ 856 h 1074"/>
                  <a:gd name="T100" fmla="*/ 170 w 1828"/>
                  <a:gd name="T101" fmla="*/ 814 h 1074"/>
                  <a:gd name="T102" fmla="*/ 112 w 1828"/>
                  <a:gd name="T103" fmla="*/ 874 h 1074"/>
                  <a:gd name="T104" fmla="*/ 149 w 1828"/>
                  <a:gd name="T105" fmla="*/ 920 h 1074"/>
                  <a:gd name="T106" fmla="*/ 111 w 1828"/>
                  <a:gd name="T107" fmla="*/ 983 h 1074"/>
                  <a:gd name="T108" fmla="*/ 198 w 1828"/>
                  <a:gd name="T109" fmla="*/ 977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28" h="1074">
                    <a:moveTo>
                      <a:pt x="914" y="444"/>
                    </a:moveTo>
                    <a:cubicBezTo>
                      <a:pt x="1130" y="444"/>
                      <a:pt x="1296" y="619"/>
                      <a:pt x="1296" y="834"/>
                    </a:cubicBezTo>
                    <a:cubicBezTo>
                      <a:pt x="1296" y="880"/>
                      <a:pt x="1297" y="925"/>
                      <a:pt x="1283" y="966"/>
                    </a:cubicBezTo>
                    <a:cubicBezTo>
                      <a:pt x="1283" y="965"/>
                      <a:pt x="1283" y="965"/>
                      <a:pt x="1283" y="965"/>
                    </a:cubicBezTo>
                    <a:cubicBezTo>
                      <a:pt x="1282" y="966"/>
                      <a:pt x="1275" y="986"/>
                      <a:pt x="1239" y="1026"/>
                    </a:cubicBezTo>
                    <a:cubicBezTo>
                      <a:pt x="1239" y="1026"/>
                      <a:pt x="1239" y="1026"/>
                      <a:pt x="1212" y="1026"/>
                    </a:cubicBezTo>
                    <a:cubicBezTo>
                      <a:pt x="1212" y="1026"/>
                      <a:pt x="1212" y="1012"/>
                      <a:pt x="1208" y="739"/>
                    </a:cubicBezTo>
                    <a:cubicBezTo>
                      <a:pt x="1164" y="958"/>
                      <a:pt x="704" y="757"/>
                      <a:pt x="704" y="757"/>
                    </a:cubicBezTo>
                    <a:cubicBezTo>
                      <a:pt x="590" y="792"/>
                      <a:pt x="610" y="1022"/>
                      <a:pt x="610" y="1022"/>
                    </a:cubicBezTo>
                    <a:cubicBezTo>
                      <a:pt x="610" y="1022"/>
                      <a:pt x="610" y="1022"/>
                      <a:pt x="585" y="1019"/>
                    </a:cubicBezTo>
                    <a:cubicBezTo>
                      <a:pt x="585" y="1019"/>
                      <a:pt x="585" y="1005"/>
                      <a:pt x="546" y="970"/>
                    </a:cubicBezTo>
                    <a:cubicBezTo>
                      <a:pt x="546" y="970"/>
                      <a:pt x="546" y="970"/>
                      <a:pt x="546" y="970"/>
                    </a:cubicBezTo>
                    <a:cubicBezTo>
                      <a:pt x="531" y="928"/>
                      <a:pt x="532" y="882"/>
                      <a:pt x="532" y="834"/>
                    </a:cubicBezTo>
                    <a:cubicBezTo>
                      <a:pt x="532" y="619"/>
                      <a:pt x="697" y="444"/>
                      <a:pt x="914" y="444"/>
                    </a:cubicBezTo>
                    <a:close/>
                    <a:moveTo>
                      <a:pt x="915" y="322"/>
                    </a:moveTo>
                    <a:cubicBezTo>
                      <a:pt x="840" y="322"/>
                      <a:pt x="777" y="268"/>
                      <a:pt x="760" y="196"/>
                    </a:cubicBezTo>
                    <a:cubicBezTo>
                      <a:pt x="757" y="185"/>
                      <a:pt x="756" y="173"/>
                      <a:pt x="756" y="161"/>
                    </a:cubicBezTo>
                    <a:cubicBezTo>
                      <a:pt x="756" y="158"/>
                      <a:pt x="756" y="156"/>
                      <a:pt x="756" y="153"/>
                    </a:cubicBezTo>
                    <a:cubicBezTo>
                      <a:pt x="760" y="68"/>
                      <a:pt x="830" y="0"/>
                      <a:pt x="915" y="0"/>
                    </a:cubicBezTo>
                    <a:cubicBezTo>
                      <a:pt x="1003" y="0"/>
                      <a:pt x="1074" y="72"/>
                      <a:pt x="1074" y="161"/>
                    </a:cubicBezTo>
                    <a:cubicBezTo>
                      <a:pt x="1074" y="161"/>
                      <a:pt x="1074" y="161"/>
                      <a:pt x="1074" y="161"/>
                    </a:cubicBezTo>
                    <a:cubicBezTo>
                      <a:pt x="1074" y="176"/>
                      <a:pt x="1072" y="189"/>
                      <a:pt x="1068" y="203"/>
                    </a:cubicBezTo>
                    <a:cubicBezTo>
                      <a:pt x="1049" y="272"/>
                      <a:pt x="988" y="322"/>
                      <a:pt x="915" y="322"/>
                    </a:cubicBezTo>
                    <a:close/>
                    <a:moveTo>
                      <a:pt x="822" y="109"/>
                    </a:moveTo>
                    <a:cubicBezTo>
                      <a:pt x="821" y="121"/>
                      <a:pt x="822" y="133"/>
                      <a:pt x="826" y="143"/>
                    </a:cubicBezTo>
                    <a:cubicBezTo>
                      <a:pt x="829" y="150"/>
                      <a:pt x="832" y="156"/>
                      <a:pt x="836" y="162"/>
                    </a:cubicBezTo>
                    <a:cubicBezTo>
                      <a:pt x="843" y="172"/>
                      <a:pt x="853" y="179"/>
                      <a:pt x="864" y="184"/>
                    </a:cubicBezTo>
                    <a:cubicBezTo>
                      <a:pt x="870" y="187"/>
                      <a:pt x="875" y="188"/>
                      <a:pt x="882" y="189"/>
                    </a:cubicBezTo>
                    <a:cubicBezTo>
                      <a:pt x="885" y="189"/>
                      <a:pt x="889" y="189"/>
                      <a:pt x="892" y="189"/>
                    </a:cubicBezTo>
                    <a:cubicBezTo>
                      <a:pt x="902" y="189"/>
                      <a:pt x="911" y="188"/>
                      <a:pt x="920" y="184"/>
                    </a:cubicBezTo>
                    <a:cubicBezTo>
                      <a:pt x="922" y="183"/>
                      <a:pt x="924" y="182"/>
                      <a:pt x="926" y="181"/>
                    </a:cubicBezTo>
                    <a:cubicBezTo>
                      <a:pt x="926" y="181"/>
                      <a:pt x="926" y="181"/>
                      <a:pt x="929" y="184"/>
                    </a:cubicBezTo>
                    <a:cubicBezTo>
                      <a:pt x="930" y="186"/>
                      <a:pt x="931" y="188"/>
                      <a:pt x="934" y="192"/>
                    </a:cubicBezTo>
                    <a:cubicBezTo>
                      <a:pt x="934" y="192"/>
                      <a:pt x="934" y="192"/>
                      <a:pt x="930" y="195"/>
                    </a:cubicBezTo>
                    <a:cubicBezTo>
                      <a:pt x="928" y="197"/>
                      <a:pt x="928" y="201"/>
                      <a:pt x="929" y="203"/>
                    </a:cubicBezTo>
                    <a:cubicBezTo>
                      <a:pt x="929" y="203"/>
                      <a:pt x="929" y="203"/>
                      <a:pt x="969" y="257"/>
                    </a:cubicBezTo>
                    <a:cubicBezTo>
                      <a:pt x="971" y="259"/>
                      <a:pt x="974" y="261"/>
                      <a:pt x="978" y="261"/>
                    </a:cubicBezTo>
                    <a:cubicBezTo>
                      <a:pt x="979" y="261"/>
                      <a:pt x="980" y="261"/>
                      <a:pt x="981" y="261"/>
                    </a:cubicBezTo>
                    <a:cubicBezTo>
                      <a:pt x="985" y="260"/>
                      <a:pt x="989" y="258"/>
                      <a:pt x="993" y="255"/>
                    </a:cubicBezTo>
                    <a:cubicBezTo>
                      <a:pt x="1002" y="248"/>
                      <a:pt x="1005" y="238"/>
                      <a:pt x="1001" y="233"/>
                    </a:cubicBezTo>
                    <a:cubicBezTo>
                      <a:pt x="1001" y="233"/>
                      <a:pt x="1001" y="233"/>
                      <a:pt x="967" y="187"/>
                    </a:cubicBezTo>
                    <a:cubicBezTo>
                      <a:pt x="965" y="184"/>
                      <a:pt x="963" y="182"/>
                      <a:pt x="960" y="179"/>
                    </a:cubicBezTo>
                    <a:cubicBezTo>
                      <a:pt x="960" y="177"/>
                      <a:pt x="959" y="177"/>
                      <a:pt x="958" y="176"/>
                    </a:cubicBezTo>
                    <a:cubicBezTo>
                      <a:pt x="956" y="176"/>
                      <a:pt x="955" y="177"/>
                      <a:pt x="954" y="178"/>
                    </a:cubicBezTo>
                    <a:cubicBezTo>
                      <a:pt x="954" y="178"/>
                      <a:pt x="954" y="178"/>
                      <a:pt x="949" y="181"/>
                    </a:cubicBezTo>
                    <a:cubicBezTo>
                      <a:pt x="949" y="181"/>
                      <a:pt x="949" y="181"/>
                      <a:pt x="941" y="170"/>
                    </a:cubicBezTo>
                    <a:cubicBezTo>
                      <a:pt x="948" y="162"/>
                      <a:pt x="954" y="152"/>
                      <a:pt x="958" y="142"/>
                    </a:cubicBezTo>
                    <a:cubicBezTo>
                      <a:pt x="959" y="138"/>
                      <a:pt x="960" y="134"/>
                      <a:pt x="960" y="129"/>
                    </a:cubicBezTo>
                    <a:cubicBezTo>
                      <a:pt x="963" y="110"/>
                      <a:pt x="959" y="92"/>
                      <a:pt x="947" y="77"/>
                    </a:cubicBezTo>
                    <a:cubicBezTo>
                      <a:pt x="924" y="45"/>
                      <a:pt x="880" y="40"/>
                      <a:pt x="849" y="62"/>
                    </a:cubicBezTo>
                    <a:cubicBezTo>
                      <a:pt x="835" y="74"/>
                      <a:pt x="825" y="91"/>
                      <a:pt x="822" y="109"/>
                    </a:cubicBezTo>
                    <a:close/>
                    <a:moveTo>
                      <a:pt x="853" y="149"/>
                    </a:moveTo>
                    <a:cubicBezTo>
                      <a:pt x="869" y="171"/>
                      <a:pt x="899" y="175"/>
                      <a:pt x="920" y="159"/>
                    </a:cubicBezTo>
                    <a:cubicBezTo>
                      <a:pt x="925" y="154"/>
                      <a:pt x="929" y="149"/>
                      <a:pt x="933" y="142"/>
                    </a:cubicBezTo>
                    <a:cubicBezTo>
                      <a:pt x="941" y="126"/>
                      <a:pt x="940" y="106"/>
                      <a:pt x="928" y="92"/>
                    </a:cubicBezTo>
                    <a:cubicBezTo>
                      <a:pt x="920" y="79"/>
                      <a:pt x="905" y="73"/>
                      <a:pt x="891" y="73"/>
                    </a:cubicBezTo>
                    <a:cubicBezTo>
                      <a:pt x="882" y="73"/>
                      <a:pt x="871" y="76"/>
                      <a:pt x="863" y="82"/>
                    </a:cubicBezTo>
                    <a:cubicBezTo>
                      <a:pt x="852" y="90"/>
                      <a:pt x="846" y="102"/>
                      <a:pt x="845" y="113"/>
                    </a:cubicBezTo>
                    <a:cubicBezTo>
                      <a:pt x="844" y="124"/>
                      <a:pt x="845" y="134"/>
                      <a:pt x="849" y="143"/>
                    </a:cubicBezTo>
                    <a:cubicBezTo>
                      <a:pt x="850" y="145"/>
                      <a:pt x="852" y="147"/>
                      <a:pt x="853" y="149"/>
                    </a:cubicBezTo>
                    <a:close/>
                    <a:moveTo>
                      <a:pt x="1449" y="315"/>
                    </a:moveTo>
                    <a:cubicBezTo>
                      <a:pt x="1484" y="315"/>
                      <a:pt x="1513" y="345"/>
                      <a:pt x="1513" y="381"/>
                    </a:cubicBezTo>
                    <a:cubicBezTo>
                      <a:pt x="1513" y="399"/>
                      <a:pt x="1506" y="415"/>
                      <a:pt x="1496" y="426"/>
                    </a:cubicBezTo>
                    <a:cubicBezTo>
                      <a:pt x="1486" y="437"/>
                      <a:pt x="1473" y="445"/>
                      <a:pt x="1457" y="447"/>
                    </a:cubicBezTo>
                    <a:cubicBezTo>
                      <a:pt x="1454" y="447"/>
                      <a:pt x="1452" y="448"/>
                      <a:pt x="1449" y="448"/>
                    </a:cubicBezTo>
                    <a:cubicBezTo>
                      <a:pt x="1413" y="448"/>
                      <a:pt x="1384" y="418"/>
                      <a:pt x="1384" y="381"/>
                    </a:cubicBezTo>
                    <a:cubicBezTo>
                      <a:pt x="1384" y="377"/>
                      <a:pt x="1384" y="373"/>
                      <a:pt x="1385" y="370"/>
                    </a:cubicBezTo>
                    <a:cubicBezTo>
                      <a:pt x="1388" y="355"/>
                      <a:pt x="1396" y="341"/>
                      <a:pt x="1407" y="331"/>
                    </a:cubicBezTo>
                    <a:cubicBezTo>
                      <a:pt x="1418" y="321"/>
                      <a:pt x="1432" y="315"/>
                      <a:pt x="1449" y="315"/>
                    </a:cubicBezTo>
                    <a:close/>
                    <a:moveTo>
                      <a:pt x="1473" y="398"/>
                    </a:moveTo>
                    <a:cubicBezTo>
                      <a:pt x="1476" y="393"/>
                      <a:pt x="1477" y="387"/>
                      <a:pt x="1477" y="381"/>
                    </a:cubicBezTo>
                    <a:cubicBezTo>
                      <a:pt x="1477" y="365"/>
                      <a:pt x="1464" y="351"/>
                      <a:pt x="1449" y="351"/>
                    </a:cubicBezTo>
                    <a:cubicBezTo>
                      <a:pt x="1443" y="351"/>
                      <a:pt x="1437" y="353"/>
                      <a:pt x="1432" y="356"/>
                    </a:cubicBezTo>
                    <a:cubicBezTo>
                      <a:pt x="1425" y="362"/>
                      <a:pt x="1419" y="370"/>
                      <a:pt x="1419" y="381"/>
                    </a:cubicBezTo>
                    <a:cubicBezTo>
                      <a:pt x="1419" y="398"/>
                      <a:pt x="1432" y="411"/>
                      <a:pt x="1449" y="411"/>
                    </a:cubicBezTo>
                    <a:cubicBezTo>
                      <a:pt x="1458" y="411"/>
                      <a:pt x="1467" y="406"/>
                      <a:pt x="1473" y="398"/>
                    </a:cubicBezTo>
                    <a:close/>
                    <a:moveTo>
                      <a:pt x="1551" y="505"/>
                    </a:moveTo>
                    <a:cubicBezTo>
                      <a:pt x="1540" y="513"/>
                      <a:pt x="1528" y="521"/>
                      <a:pt x="1516" y="527"/>
                    </a:cubicBezTo>
                    <a:cubicBezTo>
                      <a:pt x="1494" y="537"/>
                      <a:pt x="1471" y="541"/>
                      <a:pt x="1449" y="541"/>
                    </a:cubicBezTo>
                    <a:cubicBezTo>
                      <a:pt x="1408" y="541"/>
                      <a:pt x="1368" y="526"/>
                      <a:pt x="1337" y="495"/>
                    </a:cubicBezTo>
                    <a:cubicBezTo>
                      <a:pt x="1286" y="446"/>
                      <a:pt x="1277" y="370"/>
                      <a:pt x="1308" y="310"/>
                    </a:cubicBezTo>
                    <a:cubicBezTo>
                      <a:pt x="1313" y="299"/>
                      <a:pt x="1322" y="286"/>
                      <a:pt x="1332" y="276"/>
                    </a:cubicBezTo>
                    <a:cubicBezTo>
                      <a:pt x="1333" y="275"/>
                      <a:pt x="1335" y="273"/>
                      <a:pt x="1337" y="271"/>
                    </a:cubicBezTo>
                    <a:cubicBezTo>
                      <a:pt x="1368" y="240"/>
                      <a:pt x="1408" y="224"/>
                      <a:pt x="1449" y="224"/>
                    </a:cubicBezTo>
                    <a:cubicBezTo>
                      <a:pt x="1489" y="224"/>
                      <a:pt x="1530" y="240"/>
                      <a:pt x="1561" y="271"/>
                    </a:cubicBezTo>
                    <a:cubicBezTo>
                      <a:pt x="1623" y="333"/>
                      <a:pt x="1623" y="433"/>
                      <a:pt x="1561" y="495"/>
                    </a:cubicBezTo>
                    <a:cubicBezTo>
                      <a:pt x="1557" y="499"/>
                      <a:pt x="1554" y="502"/>
                      <a:pt x="1551" y="505"/>
                    </a:cubicBezTo>
                    <a:close/>
                    <a:moveTo>
                      <a:pt x="1449" y="491"/>
                    </a:moveTo>
                    <a:cubicBezTo>
                      <a:pt x="1461" y="491"/>
                      <a:pt x="1475" y="488"/>
                      <a:pt x="1486" y="484"/>
                    </a:cubicBezTo>
                    <a:cubicBezTo>
                      <a:pt x="1500" y="480"/>
                      <a:pt x="1512" y="472"/>
                      <a:pt x="1522" y="461"/>
                    </a:cubicBezTo>
                    <a:cubicBezTo>
                      <a:pt x="1543" y="442"/>
                      <a:pt x="1556" y="414"/>
                      <a:pt x="1556" y="383"/>
                    </a:cubicBezTo>
                    <a:cubicBezTo>
                      <a:pt x="1556" y="324"/>
                      <a:pt x="1508" y="276"/>
                      <a:pt x="1449" y="276"/>
                    </a:cubicBezTo>
                    <a:cubicBezTo>
                      <a:pt x="1419" y="276"/>
                      <a:pt x="1393" y="287"/>
                      <a:pt x="1373" y="306"/>
                    </a:cubicBezTo>
                    <a:cubicBezTo>
                      <a:pt x="1363" y="316"/>
                      <a:pt x="1355" y="329"/>
                      <a:pt x="1349" y="341"/>
                    </a:cubicBezTo>
                    <a:cubicBezTo>
                      <a:pt x="1344" y="355"/>
                      <a:pt x="1341" y="368"/>
                      <a:pt x="1341" y="383"/>
                    </a:cubicBezTo>
                    <a:cubicBezTo>
                      <a:pt x="1341" y="443"/>
                      <a:pt x="1389" y="491"/>
                      <a:pt x="1449" y="491"/>
                    </a:cubicBezTo>
                    <a:close/>
                    <a:moveTo>
                      <a:pt x="514" y="295"/>
                    </a:moveTo>
                    <a:cubicBezTo>
                      <a:pt x="555" y="357"/>
                      <a:pt x="550" y="441"/>
                      <a:pt x="494" y="495"/>
                    </a:cubicBezTo>
                    <a:cubicBezTo>
                      <a:pt x="462" y="526"/>
                      <a:pt x="421" y="541"/>
                      <a:pt x="380" y="541"/>
                    </a:cubicBezTo>
                    <a:cubicBezTo>
                      <a:pt x="348" y="541"/>
                      <a:pt x="316" y="532"/>
                      <a:pt x="288" y="512"/>
                    </a:cubicBezTo>
                    <a:cubicBezTo>
                      <a:pt x="281" y="508"/>
                      <a:pt x="274" y="502"/>
                      <a:pt x="267" y="495"/>
                    </a:cubicBezTo>
                    <a:cubicBezTo>
                      <a:pt x="263" y="491"/>
                      <a:pt x="260" y="487"/>
                      <a:pt x="256" y="483"/>
                    </a:cubicBezTo>
                    <a:cubicBezTo>
                      <a:pt x="205" y="421"/>
                      <a:pt x="208" y="329"/>
                      <a:pt x="267" y="271"/>
                    </a:cubicBezTo>
                    <a:cubicBezTo>
                      <a:pt x="298" y="240"/>
                      <a:pt x="339" y="224"/>
                      <a:pt x="380" y="224"/>
                    </a:cubicBezTo>
                    <a:cubicBezTo>
                      <a:pt x="417" y="224"/>
                      <a:pt x="455" y="237"/>
                      <a:pt x="485" y="263"/>
                    </a:cubicBezTo>
                    <a:cubicBezTo>
                      <a:pt x="488" y="265"/>
                      <a:pt x="491" y="268"/>
                      <a:pt x="494" y="271"/>
                    </a:cubicBezTo>
                    <a:cubicBezTo>
                      <a:pt x="502" y="278"/>
                      <a:pt x="508" y="286"/>
                      <a:pt x="514" y="295"/>
                    </a:cubicBezTo>
                    <a:close/>
                    <a:moveTo>
                      <a:pt x="322" y="466"/>
                    </a:moveTo>
                    <a:cubicBezTo>
                      <a:pt x="322" y="466"/>
                      <a:pt x="322" y="466"/>
                      <a:pt x="322" y="402"/>
                    </a:cubicBezTo>
                    <a:cubicBezTo>
                      <a:pt x="322" y="402"/>
                      <a:pt x="322" y="401"/>
                      <a:pt x="322" y="400"/>
                    </a:cubicBezTo>
                    <a:cubicBezTo>
                      <a:pt x="321" y="398"/>
                      <a:pt x="319" y="397"/>
                      <a:pt x="317" y="397"/>
                    </a:cubicBezTo>
                    <a:cubicBezTo>
                      <a:pt x="317" y="397"/>
                      <a:pt x="317" y="397"/>
                      <a:pt x="289" y="397"/>
                    </a:cubicBezTo>
                    <a:cubicBezTo>
                      <a:pt x="286" y="397"/>
                      <a:pt x="283" y="400"/>
                      <a:pt x="283" y="402"/>
                    </a:cubicBezTo>
                    <a:cubicBezTo>
                      <a:pt x="283" y="402"/>
                      <a:pt x="283" y="402"/>
                      <a:pt x="283" y="445"/>
                    </a:cubicBezTo>
                    <a:cubicBezTo>
                      <a:pt x="283" y="451"/>
                      <a:pt x="283" y="458"/>
                      <a:pt x="283" y="466"/>
                    </a:cubicBezTo>
                    <a:cubicBezTo>
                      <a:pt x="283" y="469"/>
                      <a:pt x="286" y="471"/>
                      <a:pt x="289" y="471"/>
                    </a:cubicBezTo>
                    <a:cubicBezTo>
                      <a:pt x="289" y="471"/>
                      <a:pt x="289" y="471"/>
                      <a:pt x="317" y="471"/>
                    </a:cubicBezTo>
                    <a:cubicBezTo>
                      <a:pt x="318" y="471"/>
                      <a:pt x="318" y="471"/>
                      <a:pt x="318" y="471"/>
                    </a:cubicBezTo>
                    <a:cubicBezTo>
                      <a:pt x="321" y="470"/>
                      <a:pt x="322" y="469"/>
                      <a:pt x="322" y="466"/>
                    </a:cubicBezTo>
                    <a:cubicBezTo>
                      <a:pt x="322" y="466"/>
                      <a:pt x="322" y="466"/>
                      <a:pt x="322" y="466"/>
                    </a:cubicBezTo>
                    <a:close/>
                    <a:moveTo>
                      <a:pt x="369" y="412"/>
                    </a:moveTo>
                    <a:cubicBezTo>
                      <a:pt x="369" y="374"/>
                      <a:pt x="369" y="374"/>
                      <a:pt x="369" y="374"/>
                    </a:cubicBezTo>
                    <a:cubicBezTo>
                      <a:pt x="369" y="371"/>
                      <a:pt x="367" y="369"/>
                      <a:pt x="364" y="369"/>
                    </a:cubicBezTo>
                    <a:cubicBezTo>
                      <a:pt x="359" y="369"/>
                      <a:pt x="355" y="369"/>
                      <a:pt x="351" y="369"/>
                    </a:cubicBezTo>
                    <a:cubicBezTo>
                      <a:pt x="335" y="369"/>
                      <a:pt x="335" y="369"/>
                      <a:pt x="335" y="369"/>
                    </a:cubicBezTo>
                    <a:cubicBezTo>
                      <a:pt x="332" y="369"/>
                      <a:pt x="330" y="371"/>
                      <a:pt x="330" y="374"/>
                    </a:cubicBezTo>
                    <a:cubicBezTo>
                      <a:pt x="330" y="380"/>
                      <a:pt x="330" y="385"/>
                      <a:pt x="330" y="391"/>
                    </a:cubicBezTo>
                    <a:cubicBezTo>
                      <a:pt x="330" y="426"/>
                      <a:pt x="330" y="446"/>
                      <a:pt x="330" y="455"/>
                    </a:cubicBezTo>
                    <a:cubicBezTo>
                      <a:pt x="330" y="466"/>
                      <a:pt x="330" y="466"/>
                      <a:pt x="330" y="466"/>
                    </a:cubicBezTo>
                    <a:cubicBezTo>
                      <a:pt x="330" y="469"/>
                      <a:pt x="332" y="471"/>
                      <a:pt x="335" y="471"/>
                    </a:cubicBezTo>
                    <a:cubicBezTo>
                      <a:pt x="364" y="471"/>
                      <a:pt x="364" y="471"/>
                      <a:pt x="364" y="471"/>
                    </a:cubicBezTo>
                    <a:cubicBezTo>
                      <a:pt x="367" y="471"/>
                      <a:pt x="369" y="469"/>
                      <a:pt x="369" y="466"/>
                    </a:cubicBezTo>
                    <a:cubicBezTo>
                      <a:pt x="369" y="443"/>
                      <a:pt x="369" y="425"/>
                      <a:pt x="369" y="412"/>
                    </a:cubicBezTo>
                    <a:close/>
                    <a:moveTo>
                      <a:pt x="416" y="367"/>
                    </a:moveTo>
                    <a:cubicBezTo>
                      <a:pt x="416" y="342"/>
                      <a:pt x="416" y="342"/>
                      <a:pt x="416" y="342"/>
                    </a:cubicBezTo>
                    <a:cubicBezTo>
                      <a:pt x="416" y="339"/>
                      <a:pt x="413" y="336"/>
                      <a:pt x="410" y="336"/>
                    </a:cubicBezTo>
                    <a:cubicBezTo>
                      <a:pt x="396" y="336"/>
                      <a:pt x="389" y="336"/>
                      <a:pt x="385" y="336"/>
                    </a:cubicBezTo>
                    <a:cubicBezTo>
                      <a:pt x="382" y="336"/>
                      <a:pt x="382" y="336"/>
                      <a:pt x="382" y="336"/>
                    </a:cubicBezTo>
                    <a:cubicBezTo>
                      <a:pt x="379" y="336"/>
                      <a:pt x="377" y="339"/>
                      <a:pt x="377" y="342"/>
                    </a:cubicBezTo>
                    <a:cubicBezTo>
                      <a:pt x="377" y="342"/>
                      <a:pt x="377" y="343"/>
                      <a:pt x="377" y="344"/>
                    </a:cubicBezTo>
                    <a:cubicBezTo>
                      <a:pt x="377" y="368"/>
                      <a:pt x="377" y="388"/>
                      <a:pt x="377" y="403"/>
                    </a:cubicBezTo>
                    <a:cubicBezTo>
                      <a:pt x="377" y="466"/>
                      <a:pt x="377" y="466"/>
                      <a:pt x="377" y="466"/>
                    </a:cubicBezTo>
                    <a:cubicBezTo>
                      <a:pt x="377" y="469"/>
                      <a:pt x="379" y="471"/>
                      <a:pt x="382" y="471"/>
                    </a:cubicBezTo>
                    <a:cubicBezTo>
                      <a:pt x="410" y="471"/>
                      <a:pt x="410" y="471"/>
                      <a:pt x="410" y="471"/>
                    </a:cubicBezTo>
                    <a:cubicBezTo>
                      <a:pt x="413" y="471"/>
                      <a:pt x="416" y="469"/>
                      <a:pt x="416" y="466"/>
                    </a:cubicBezTo>
                    <a:cubicBezTo>
                      <a:pt x="416" y="416"/>
                      <a:pt x="416" y="386"/>
                      <a:pt x="416" y="367"/>
                    </a:cubicBezTo>
                    <a:close/>
                    <a:moveTo>
                      <a:pt x="462" y="330"/>
                    </a:moveTo>
                    <a:cubicBezTo>
                      <a:pt x="462" y="301"/>
                      <a:pt x="462" y="301"/>
                      <a:pt x="462" y="301"/>
                    </a:cubicBezTo>
                    <a:cubicBezTo>
                      <a:pt x="462" y="298"/>
                      <a:pt x="460" y="295"/>
                      <a:pt x="457" y="295"/>
                    </a:cubicBezTo>
                    <a:cubicBezTo>
                      <a:pt x="447" y="295"/>
                      <a:pt x="441" y="295"/>
                      <a:pt x="437" y="295"/>
                    </a:cubicBezTo>
                    <a:cubicBezTo>
                      <a:pt x="429" y="295"/>
                      <a:pt x="429" y="295"/>
                      <a:pt x="429" y="295"/>
                    </a:cubicBezTo>
                    <a:cubicBezTo>
                      <a:pt x="426" y="295"/>
                      <a:pt x="423" y="298"/>
                      <a:pt x="423" y="301"/>
                    </a:cubicBezTo>
                    <a:cubicBezTo>
                      <a:pt x="423" y="302"/>
                      <a:pt x="423" y="304"/>
                      <a:pt x="423" y="305"/>
                    </a:cubicBezTo>
                    <a:cubicBezTo>
                      <a:pt x="423" y="326"/>
                      <a:pt x="423" y="344"/>
                      <a:pt x="423" y="361"/>
                    </a:cubicBezTo>
                    <a:cubicBezTo>
                      <a:pt x="423" y="466"/>
                      <a:pt x="423" y="466"/>
                      <a:pt x="423" y="466"/>
                    </a:cubicBezTo>
                    <a:cubicBezTo>
                      <a:pt x="423" y="469"/>
                      <a:pt x="426" y="471"/>
                      <a:pt x="429" y="471"/>
                    </a:cubicBezTo>
                    <a:cubicBezTo>
                      <a:pt x="457" y="471"/>
                      <a:pt x="457" y="471"/>
                      <a:pt x="457" y="471"/>
                    </a:cubicBezTo>
                    <a:cubicBezTo>
                      <a:pt x="460" y="471"/>
                      <a:pt x="462" y="469"/>
                      <a:pt x="462" y="466"/>
                    </a:cubicBezTo>
                    <a:cubicBezTo>
                      <a:pt x="462" y="393"/>
                      <a:pt x="462" y="353"/>
                      <a:pt x="462" y="330"/>
                    </a:cubicBezTo>
                    <a:close/>
                    <a:moveTo>
                      <a:pt x="1668" y="757"/>
                    </a:moveTo>
                    <a:cubicBezTo>
                      <a:pt x="1757" y="757"/>
                      <a:pt x="1828" y="827"/>
                      <a:pt x="1828" y="915"/>
                    </a:cubicBezTo>
                    <a:cubicBezTo>
                      <a:pt x="1828" y="1003"/>
                      <a:pt x="1757" y="1074"/>
                      <a:pt x="1668" y="1074"/>
                    </a:cubicBezTo>
                    <a:cubicBezTo>
                      <a:pt x="1581" y="1074"/>
                      <a:pt x="1509" y="1003"/>
                      <a:pt x="1509" y="915"/>
                    </a:cubicBezTo>
                    <a:cubicBezTo>
                      <a:pt x="1509" y="849"/>
                      <a:pt x="1551" y="791"/>
                      <a:pt x="1610" y="768"/>
                    </a:cubicBezTo>
                    <a:cubicBezTo>
                      <a:pt x="1624" y="763"/>
                      <a:pt x="1637" y="759"/>
                      <a:pt x="1652" y="758"/>
                    </a:cubicBezTo>
                    <a:cubicBezTo>
                      <a:pt x="1658" y="757"/>
                      <a:pt x="1664" y="757"/>
                      <a:pt x="1668" y="757"/>
                    </a:cubicBezTo>
                    <a:close/>
                    <a:moveTo>
                      <a:pt x="1700" y="1016"/>
                    </a:moveTo>
                    <a:cubicBezTo>
                      <a:pt x="1700" y="1008"/>
                      <a:pt x="1700" y="1008"/>
                      <a:pt x="1700" y="1008"/>
                    </a:cubicBezTo>
                    <a:cubicBezTo>
                      <a:pt x="1700" y="1007"/>
                      <a:pt x="1700" y="1006"/>
                      <a:pt x="1700" y="1006"/>
                    </a:cubicBezTo>
                    <a:cubicBezTo>
                      <a:pt x="1700" y="1006"/>
                      <a:pt x="1700" y="1006"/>
                      <a:pt x="1638" y="1006"/>
                    </a:cubicBezTo>
                    <a:cubicBezTo>
                      <a:pt x="1638" y="1006"/>
                      <a:pt x="1637" y="1007"/>
                      <a:pt x="1637" y="1008"/>
                    </a:cubicBezTo>
                    <a:cubicBezTo>
                      <a:pt x="1637" y="1016"/>
                      <a:pt x="1637" y="1016"/>
                      <a:pt x="1637" y="1016"/>
                    </a:cubicBezTo>
                    <a:cubicBezTo>
                      <a:pt x="1637" y="1018"/>
                      <a:pt x="1639" y="1020"/>
                      <a:pt x="1641" y="1021"/>
                    </a:cubicBezTo>
                    <a:cubicBezTo>
                      <a:pt x="1654" y="1027"/>
                      <a:pt x="1665" y="1027"/>
                      <a:pt x="1668" y="1027"/>
                    </a:cubicBezTo>
                    <a:cubicBezTo>
                      <a:pt x="1669" y="1027"/>
                      <a:pt x="1670" y="1027"/>
                      <a:pt x="1671" y="1027"/>
                    </a:cubicBezTo>
                    <a:cubicBezTo>
                      <a:pt x="1677" y="1027"/>
                      <a:pt x="1687" y="1026"/>
                      <a:pt x="1697" y="1021"/>
                    </a:cubicBezTo>
                    <a:cubicBezTo>
                      <a:pt x="1699" y="1020"/>
                      <a:pt x="1700" y="1018"/>
                      <a:pt x="1700" y="1016"/>
                    </a:cubicBezTo>
                    <a:close/>
                    <a:moveTo>
                      <a:pt x="1703" y="999"/>
                    </a:moveTo>
                    <a:cubicBezTo>
                      <a:pt x="1707" y="999"/>
                      <a:pt x="1709" y="996"/>
                      <a:pt x="1709" y="993"/>
                    </a:cubicBezTo>
                    <a:cubicBezTo>
                      <a:pt x="1709" y="990"/>
                      <a:pt x="1707" y="987"/>
                      <a:pt x="1703" y="987"/>
                    </a:cubicBezTo>
                    <a:cubicBezTo>
                      <a:pt x="1633" y="987"/>
                      <a:pt x="1633" y="987"/>
                      <a:pt x="1633" y="987"/>
                    </a:cubicBezTo>
                    <a:cubicBezTo>
                      <a:pt x="1630" y="987"/>
                      <a:pt x="1629" y="990"/>
                      <a:pt x="1629" y="993"/>
                    </a:cubicBezTo>
                    <a:cubicBezTo>
                      <a:pt x="1629" y="996"/>
                      <a:pt x="1630" y="999"/>
                      <a:pt x="1633" y="999"/>
                    </a:cubicBezTo>
                    <a:cubicBezTo>
                      <a:pt x="1703" y="999"/>
                      <a:pt x="1703" y="999"/>
                      <a:pt x="1703" y="999"/>
                    </a:cubicBezTo>
                    <a:close/>
                    <a:moveTo>
                      <a:pt x="1703" y="979"/>
                    </a:moveTo>
                    <a:cubicBezTo>
                      <a:pt x="1707" y="979"/>
                      <a:pt x="1709" y="976"/>
                      <a:pt x="1709" y="973"/>
                    </a:cubicBezTo>
                    <a:cubicBezTo>
                      <a:pt x="1709" y="971"/>
                      <a:pt x="1707" y="968"/>
                      <a:pt x="1703" y="968"/>
                    </a:cubicBezTo>
                    <a:cubicBezTo>
                      <a:pt x="1633" y="968"/>
                      <a:pt x="1633" y="968"/>
                      <a:pt x="1633" y="968"/>
                    </a:cubicBezTo>
                    <a:cubicBezTo>
                      <a:pt x="1630" y="968"/>
                      <a:pt x="1629" y="971"/>
                      <a:pt x="1629" y="973"/>
                    </a:cubicBezTo>
                    <a:cubicBezTo>
                      <a:pt x="1629" y="976"/>
                      <a:pt x="1630" y="979"/>
                      <a:pt x="1633" y="979"/>
                    </a:cubicBezTo>
                    <a:cubicBezTo>
                      <a:pt x="1703" y="979"/>
                      <a:pt x="1703" y="979"/>
                      <a:pt x="1703" y="979"/>
                    </a:cubicBezTo>
                    <a:close/>
                    <a:moveTo>
                      <a:pt x="1720" y="915"/>
                    </a:moveTo>
                    <a:cubicBezTo>
                      <a:pt x="1731" y="903"/>
                      <a:pt x="1736" y="887"/>
                      <a:pt x="1736" y="871"/>
                    </a:cubicBezTo>
                    <a:cubicBezTo>
                      <a:pt x="1736" y="835"/>
                      <a:pt x="1706" y="804"/>
                      <a:pt x="1668" y="804"/>
                    </a:cubicBezTo>
                    <a:cubicBezTo>
                      <a:pt x="1665" y="804"/>
                      <a:pt x="1663" y="805"/>
                      <a:pt x="1660" y="805"/>
                    </a:cubicBezTo>
                    <a:cubicBezTo>
                      <a:pt x="1644" y="807"/>
                      <a:pt x="1629" y="815"/>
                      <a:pt x="1620" y="827"/>
                    </a:cubicBezTo>
                    <a:cubicBezTo>
                      <a:pt x="1608" y="838"/>
                      <a:pt x="1601" y="854"/>
                      <a:pt x="1601" y="871"/>
                    </a:cubicBezTo>
                    <a:cubicBezTo>
                      <a:pt x="1601" y="887"/>
                      <a:pt x="1607" y="903"/>
                      <a:pt x="1618" y="915"/>
                    </a:cubicBezTo>
                    <a:cubicBezTo>
                      <a:pt x="1618" y="915"/>
                      <a:pt x="1618" y="915"/>
                      <a:pt x="1619" y="915"/>
                    </a:cubicBezTo>
                    <a:cubicBezTo>
                      <a:pt x="1619" y="916"/>
                      <a:pt x="1634" y="930"/>
                      <a:pt x="1634" y="946"/>
                    </a:cubicBezTo>
                    <a:cubicBezTo>
                      <a:pt x="1634" y="946"/>
                      <a:pt x="1634" y="946"/>
                      <a:pt x="1634" y="960"/>
                    </a:cubicBezTo>
                    <a:cubicBezTo>
                      <a:pt x="1634" y="960"/>
                      <a:pt x="1634" y="960"/>
                      <a:pt x="1664" y="960"/>
                    </a:cubicBezTo>
                    <a:cubicBezTo>
                      <a:pt x="1664" y="956"/>
                      <a:pt x="1664" y="948"/>
                      <a:pt x="1664" y="933"/>
                    </a:cubicBezTo>
                    <a:cubicBezTo>
                      <a:pt x="1664" y="931"/>
                      <a:pt x="1664" y="930"/>
                      <a:pt x="1665" y="929"/>
                    </a:cubicBezTo>
                    <a:cubicBezTo>
                      <a:pt x="1665" y="929"/>
                      <a:pt x="1665" y="929"/>
                      <a:pt x="1673" y="918"/>
                    </a:cubicBezTo>
                    <a:cubicBezTo>
                      <a:pt x="1673" y="918"/>
                      <a:pt x="1673" y="918"/>
                      <a:pt x="1661" y="918"/>
                    </a:cubicBezTo>
                    <a:cubicBezTo>
                      <a:pt x="1659" y="918"/>
                      <a:pt x="1657" y="917"/>
                      <a:pt x="1656" y="915"/>
                    </a:cubicBezTo>
                    <a:cubicBezTo>
                      <a:pt x="1655" y="914"/>
                      <a:pt x="1655" y="913"/>
                      <a:pt x="1656" y="911"/>
                    </a:cubicBezTo>
                    <a:cubicBezTo>
                      <a:pt x="1656" y="911"/>
                      <a:pt x="1656" y="910"/>
                      <a:pt x="1657" y="910"/>
                    </a:cubicBezTo>
                    <a:cubicBezTo>
                      <a:pt x="1657" y="910"/>
                      <a:pt x="1657" y="910"/>
                      <a:pt x="1667" y="897"/>
                    </a:cubicBezTo>
                    <a:cubicBezTo>
                      <a:pt x="1667" y="897"/>
                      <a:pt x="1667" y="896"/>
                      <a:pt x="1668" y="896"/>
                    </a:cubicBezTo>
                    <a:cubicBezTo>
                      <a:pt x="1668" y="896"/>
                      <a:pt x="1668" y="896"/>
                      <a:pt x="1667" y="896"/>
                    </a:cubicBezTo>
                    <a:cubicBezTo>
                      <a:pt x="1666" y="896"/>
                      <a:pt x="1664" y="896"/>
                      <a:pt x="1659" y="896"/>
                    </a:cubicBezTo>
                    <a:cubicBezTo>
                      <a:pt x="1657" y="896"/>
                      <a:pt x="1655" y="895"/>
                      <a:pt x="1654" y="893"/>
                    </a:cubicBezTo>
                    <a:cubicBezTo>
                      <a:pt x="1653" y="891"/>
                      <a:pt x="1653" y="889"/>
                      <a:pt x="1654" y="887"/>
                    </a:cubicBezTo>
                    <a:cubicBezTo>
                      <a:pt x="1654" y="887"/>
                      <a:pt x="1654" y="887"/>
                      <a:pt x="1666" y="873"/>
                    </a:cubicBezTo>
                    <a:cubicBezTo>
                      <a:pt x="1668" y="869"/>
                      <a:pt x="1671" y="866"/>
                      <a:pt x="1675" y="861"/>
                    </a:cubicBezTo>
                    <a:cubicBezTo>
                      <a:pt x="1677" y="859"/>
                      <a:pt x="1681" y="858"/>
                      <a:pt x="1683" y="860"/>
                    </a:cubicBezTo>
                    <a:cubicBezTo>
                      <a:pt x="1686" y="862"/>
                      <a:pt x="1686" y="866"/>
                      <a:pt x="1684" y="868"/>
                    </a:cubicBezTo>
                    <a:cubicBezTo>
                      <a:pt x="1684" y="868"/>
                      <a:pt x="1684" y="868"/>
                      <a:pt x="1670" y="886"/>
                    </a:cubicBezTo>
                    <a:cubicBezTo>
                      <a:pt x="1670" y="886"/>
                      <a:pt x="1670" y="886"/>
                      <a:pt x="1680" y="886"/>
                    </a:cubicBezTo>
                    <a:cubicBezTo>
                      <a:pt x="1683" y="886"/>
                      <a:pt x="1685" y="886"/>
                      <a:pt x="1686" y="888"/>
                    </a:cubicBezTo>
                    <a:cubicBezTo>
                      <a:pt x="1687" y="890"/>
                      <a:pt x="1686" y="892"/>
                      <a:pt x="1685" y="894"/>
                    </a:cubicBezTo>
                    <a:cubicBezTo>
                      <a:pt x="1685" y="894"/>
                      <a:pt x="1685" y="894"/>
                      <a:pt x="1673" y="908"/>
                    </a:cubicBezTo>
                    <a:cubicBezTo>
                      <a:pt x="1673" y="908"/>
                      <a:pt x="1673" y="908"/>
                      <a:pt x="1686" y="908"/>
                    </a:cubicBezTo>
                    <a:cubicBezTo>
                      <a:pt x="1688" y="908"/>
                      <a:pt x="1690" y="909"/>
                      <a:pt x="1691" y="911"/>
                    </a:cubicBezTo>
                    <a:cubicBezTo>
                      <a:pt x="1692" y="913"/>
                      <a:pt x="1692" y="915"/>
                      <a:pt x="1690" y="916"/>
                    </a:cubicBezTo>
                    <a:cubicBezTo>
                      <a:pt x="1690" y="916"/>
                      <a:pt x="1690" y="916"/>
                      <a:pt x="1674" y="935"/>
                    </a:cubicBezTo>
                    <a:cubicBezTo>
                      <a:pt x="1674" y="935"/>
                      <a:pt x="1674" y="935"/>
                      <a:pt x="1674" y="960"/>
                    </a:cubicBezTo>
                    <a:cubicBezTo>
                      <a:pt x="1674" y="960"/>
                      <a:pt x="1674" y="960"/>
                      <a:pt x="1703" y="960"/>
                    </a:cubicBezTo>
                    <a:cubicBezTo>
                      <a:pt x="1703" y="958"/>
                      <a:pt x="1703" y="953"/>
                      <a:pt x="1703" y="946"/>
                    </a:cubicBezTo>
                    <a:cubicBezTo>
                      <a:pt x="1703" y="930"/>
                      <a:pt x="1719" y="916"/>
                      <a:pt x="1719" y="915"/>
                    </a:cubicBezTo>
                    <a:cubicBezTo>
                      <a:pt x="1719" y="915"/>
                      <a:pt x="1719" y="915"/>
                      <a:pt x="1720" y="915"/>
                    </a:cubicBezTo>
                    <a:close/>
                    <a:moveTo>
                      <a:pt x="185" y="759"/>
                    </a:moveTo>
                    <a:cubicBezTo>
                      <a:pt x="261" y="771"/>
                      <a:pt x="319" y="836"/>
                      <a:pt x="319" y="915"/>
                    </a:cubicBezTo>
                    <a:cubicBezTo>
                      <a:pt x="319" y="1003"/>
                      <a:pt x="247" y="1074"/>
                      <a:pt x="160" y="1074"/>
                    </a:cubicBezTo>
                    <a:cubicBezTo>
                      <a:pt x="71" y="1074"/>
                      <a:pt x="0" y="1003"/>
                      <a:pt x="0" y="915"/>
                    </a:cubicBezTo>
                    <a:cubicBezTo>
                      <a:pt x="0" y="833"/>
                      <a:pt x="62" y="767"/>
                      <a:pt x="142" y="758"/>
                    </a:cubicBezTo>
                    <a:cubicBezTo>
                      <a:pt x="148" y="757"/>
                      <a:pt x="154" y="757"/>
                      <a:pt x="160" y="757"/>
                    </a:cubicBezTo>
                    <a:cubicBezTo>
                      <a:pt x="168" y="757"/>
                      <a:pt x="177" y="758"/>
                      <a:pt x="185" y="759"/>
                    </a:cubicBezTo>
                    <a:close/>
                    <a:moveTo>
                      <a:pt x="198" y="977"/>
                    </a:moveTo>
                    <a:cubicBezTo>
                      <a:pt x="204" y="970"/>
                      <a:pt x="207" y="961"/>
                      <a:pt x="207" y="951"/>
                    </a:cubicBezTo>
                    <a:cubicBezTo>
                      <a:pt x="207" y="944"/>
                      <a:pt x="206" y="938"/>
                      <a:pt x="203" y="932"/>
                    </a:cubicBezTo>
                    <a:cubicBezTo>
                      <a:pt x="201" y="926"/>
                      <a:pt x="198" y="920"/>
                      <a:pt x="193" y="916"/>
                    </a:cubicBezTo>
                    <a:cubicBezTo>
                      <a:pt x="188" y="912"/>
                      <a:pt x="180" y="908"/>
                      <a:pt x="170" y="902"/>
                    </a:cubicBezTo>
                    <a:cubicBezTo>
                      <a:pt x="169" y="902"/>
                      <a:pt x="169" y="902"/>
                      <a:pt x="169" y="902"/>
                    </a:cubicBezTo>
                    <a:cubicBezTo>
                      <a:pt x="150" y="892"/>
                      <a:pt x="140" y="883"/>
                      <a:pt x="140" y="874"/>
                    </a:cubicBezTo>
                    <a:cubicBezTo>
                      <a:pt x="140" y="869"/>
                      <a:pt x="141" y="864"/>
                      <a:pt x="145" y="861"/>
                    </a:cubicBezTo>
                    <a:cubicBezTo>
                      <a:pt x="149" y="857"/>
                      <a:pt x="154" y="856"/>
                      <a:pt x="160" y="856"/>
                    </a:cubicBezTo>
                    <a:cubicBezTo>
                      <a:pt x="163" y="856"/>
                      <a:pt x="167" y="856"/>
                      <a:pt x="171" y="856"/>
                    </a:cubicBezTo>
                    <a:cubicBezTo>
                      <a:pt x="178" y="858"/>
                      <a:pt x="185" y="861"/>
                      <a:pt x="192" y="866"/>
                    </a:cubicBezTo>
                    <a:cubicBezTo>
                      <a:pt x="192" y="866"/>
                      <a:pt x="192" y="866"/>
                      <a:pt x="199" y="842"/>
                    </a:cubicBezTo>
                    <a:cubicBezTo>
                      <a:pt x="194" y="837"/>
                      <a:pt x="185" y="834"/>
                      <a:pt x="173" y="832"/>
                    </a:cubicBezTo>
                    <a:cubicBezTo>
                      <a:pt x="172" y="832"/>
                      <a:pt x="171" y="832"/>
                      <a:pt x="170" y="832"/>
                    </a:cubicBezTo>
                    <a:cubicBezTo>
                      <a:pt x="170" y="832"/>
                      <a:pt x="170" y="832"/>
                      <a:pt x="170" y="814"/>
                    </a:cubicBezTo>
                    <a:cubicBezTo>
                      <a:pt x="170" y="814"/>
                      <a:pt x="170" y="814"/>
                      <a:pt x="146" y="814"/>
                    </a:cubicBezTo>
                    <a:cubicBezTo>
                      <a:pt x="146" y="814"/>
                      <a:pt x="146" y="814"/>
                      <a:pt x="146" y="833"/>
                    </a:cubicBezTo>
                    <a:cubicBezTo>
                      <a:pt x="139" y="835"/>
                      <a:pt x="134" y="837"/>
                      <a:pt x="129" y="840"/>
                    </a:cubicBezTo>
                    <a:cubicBezTo>
                      <a:pt x="127" y="842"/>
                      <a:pt x="124" y="845"/>
                      <a:pt x="121" y="848"/>
                    </a:cubicBezTo>
                    <a:cubicBezTo>
                      <a:pt x="115" y="856"/>
                      <a:pt x="112" y="864"/>
                      <a:pt x="112" y="874"/>
                    </a:cubicBezTo>
                    <a:cubicBezTo>
                      <a:pt x="112" y="881"/>
                      <a:pt x="113" y="886"/>
                      <a:pt x="115" y="892"/>
                    </a:cubicBezTo>
                    <a:cubicBezTo>
                      <a:pt x="117" y="897"/>
                      <a:pt x="121" y="902"/>
                      <a:pt x="125" y="906"/>
                    </a:cubicBezTo>
                    <a:cubicBezTo>
                      <a:pt x="126" y="907"/>
                      <a:pt x="126" y="907"/>
                      <a:pt x="127" y="907"/>
                    </a:cubicBezTo>
                    <a:cubicBezTo>
                      <a:pt x="127" y="909"/>
                      <a:pt x="129" y="910"/>
                      <a:pt x="131" y="911"/>
                    </a:cubicBezTo>
                    <a:cubicBezTo>
                      <a:pt x="135" y="914"/>
                      <a:pt x="141" y="916"/>
                      <a:pt x="149" y="920"/>
                    </a:cubicBezTo>
                    <a:cubicBezTo>
                      <a:pt x="161" y="926"/>
                      <a:pt x="168" y="932"/>
                      <a:pt x="173" y="937"/>
                    </a:cubicBezTo>
                    <a:cubicBezTo>
                      <a:pt x="177" y="942"/>
                      <a:pt x="179" y="947"/>
                      <a:pt x="179" y="953"/>
                    </a:cubicBezTo>
                    <a:cubicBezTo>
                      <a:pt x="179" y="964"/>
                      <a:pt x="171" y="970"/>
                      <a:pt x="155" y="970"/>
                    </a:cubicBezTo>
                    <a:cubicBezTo>
                      <a:pt x="144" y="970"/>
                      <a:pt x="132" y="966"/>
                      <a:pt x="122" y="958"/>
                    </a:cubicBezTo>
                    <a:cubicBezTo>
                      <a:pt x="122" y="958"/>
                      <a:pt x="122" y="958"/>
                      <a:pt x="111" y="983"/>
                    </a:cubicBezTo>
                    <a:cubicBezTo>
                      <a:pt x="122" y="990"/>
                      <a:pt x="133" y="994"/>
                      <a:pt x="146" y="995"/>
                    </a:cubicBezTo>
                    <a:cubicBezTo>
                      <a:pt x="146" y="995"/>
                      <a:pt x="146" y="995"/>
                      <a:pt x="146" y="1017"/>
                    </a:cubicBezTo>
                    <a:cubicBezTo>
                      <a:pt x="146" y="1017"/>
                      <a:pt x="146" y="1017"/>
                      <a:pt x="170" y="1017"/>
                    </a:cubicBezTo>
                    <a:cubicBezTo>
                      <a:pt x="170" y="1017"/>
                      <a:pt x="170" y="1017"/>
                      <a:pt x="170" y="992"/>
                    </a:cubicBezTo>
                    <a:cubicBezTo>
                      <a:pt x="182" y="989"/>
                      <a:pt x="191" y="984"/>
                      <a:pt x="198" y="977"/>
                    </a:cubicBezTo>
                    <a:close/>
                  </a:path>
                </a:pathLst>
              </a:custGeom>
              <a:solidFill>
                <a:srgbClr val="008789"/>
              </a:solidFill>
              <a:ln>
                <a:noFill/>
              </a:ln>
            </p:spPr>
            <p:txBody>
              <a:bodyPr vert="horz" wrap="square" lIns="121920" tIns="60960" rIns="121920" bIns="60960" numCol="1" anchor="t" anchorCtr="0" compatLnSpc="1">
                <a:prstTxWarp prst="textNoShape">
                  <a:avLst/>
                </a:prstTxWarp>
              </a:bodyPr>
              <a:lstStyle/>
              <a:p>
                <a:pPr marL="0" marR="0" lvl="0" indent="0" algn="l" defTabSz="467539"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a:ea typeface="+mn-ea"/>
                  <a:cs typeface="+mn-cs"/>
                </a:endParaRPr>
              </a:p>
            </p:txBody>
          </p:sp>
        </p:grpSp>
      </p:grpSp>
      <p:pic>
        <p:nvPicPr>
          <p:cNvPr id="350" name="Graphic 6" descr="Users with solid fill">
            <a:extLst>
              <a:ext uri="{FF2B5EF4-FFF2-40B4-BE49-F238E27FC236}">
                <a16:creationId xmlns:a16="http://schemas.microsoft.com/office/drawing/2014/main" id="{70848A96-9E2D-1018-2BFF-055055E1C823}"/>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5359257" y="3478675"/>
            <a:ext cx="455465" cy="455467"/>
          </a:xfrm>
          <a:prstGeom prst="rect">
            <a:avLst/>
          </a:prstGeom>
          <a:effectLst>
            <a:outerShdw blurRad="50800" dist="38100" dir="5400000" algn="t" rotWithShape="0">
              <a:prstClr val="black">
                <a:alpha val="40000"/>
              </a:prstClr>
            </a:outerShdw>
          </a:effectLst>
        </p:spPr>
      </p:pic>
      <p:pic>
        <p:nvPicPr>
          <p:cNvPr id="364" name="Graphic 6" descr="Users with solid fill">
            <a:extLst>
              <a:ext uri="{FF2B5EF4-FFF2-40B4-BE49-F238E27FC236}">
                <a16:creationId xmlns:a16="http://schemas.microsoft.com/office/drawing/2014/main" id="{D7DA30D1-A9C2-E6D7-0D54-600CEF1A3390}"/>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5368259" y="4198039"/>
            <a:ext cx="455465" cy="455467"/>
          </a:xfrm>
          <a:prstGeom prst="rect">
            <a:avLst/>
          </a:prstGeom>
          <a:effectLst>
            <a:outerShdw blurRad="50800" dist="38100" dir="5400000" algn="t" rotWithShape="0">
              <a:prstClr val="black">
                <a:alpha val="40000"/>
              </a:prstClr>
            </a:outerShdw>
          </a:effectLst>
        </p:spPr>
      </p:pic>
      <p:sp>
        <p:nvSpPr>
          <p:cNvPr id="48" name="Tytuł 1">
            <a:extLst>
              <a:ext uri="{FF2B5EF4-FFF2-40B4-BE49-F238E27FC236}">
                <a16:creationId xmlns:a16="http://schemas.microsoft.com/office/drawing/2014/main" id="{A403C438-3425-2A24-BB9B-BBE5DBB659FC}"/>
              </a:ext>
            </a:extLst>
          </p:cNvPr>
          <p:cNvSpPr>
            <a:spLocks noGrp="1"/>
          </p:cNvSpPr>
          <p:nvPr>
            <p:ph type="title"/>
          </p:nvPr>
        </p:nvSpPr>
        <p:spPr>
          <a:xfrm>
            <a:off x="287632" y="183108"/>
            <a:ext cx="6620293" cy="530293"/>
          </a:xfrm>
        </p:spPr>
        <p:txBody>
          <a:bodyPr/>
          <a:lstStyle/>
          <a:p>
            <a:r>
              <a:rPr lang="pl-PL" sz="3200" dirty="0">
                <a:latin typeface="Arial Black" panose="020B0A04020102020204" pitchFamily="34" charset="0"/>
                <a:ea typeface="Calibri" panose="020F0502020204030204" pitchFamily="34" charset="0"/>
                <a:cs typeface="Calibri" panose="020F0502020204030204" pitchFamily="34" charset="0"/>
              </a:rPr>
              <a:t>Classic CRM SME</a:t>
            </a:r>
            <a:endParaRPr lang="en-US" sz="3200" dirty="0">
              <a:latin typeface="Arial Black" panose="020B0A04020102020204" pitchFamily="34" charset="0"/>
              <a:ea typeface="Calibri" panose="020F0502020204030204" pitchFamily="34" charset="0"/>
              <a:cs typeface="Calibri" panose="020F0502020204030204" pitchFamily="34" charset="0"/>
            </a:endParaRPr>
          </a:p>
        </p:txBody>
      </p:sp>
      <p:grpSp>
        <p:nvGrpSpPr>
          <p:cNvPr id="2" name="Grupa 1">
            <a:extLst>
              <a:ext uri="{FF2B5EF4-FFF2-40B4-BE49-F238E27FC236}">
                <a16:creationId xmlns:a16="http://schemas.microsoft.com/office/drawing/2014/main" id="{5D46FD8C-F202-3A5B-61DD-DF095572C43A}"/>
              </a:ext>
            </a:extLst>
          </p:cNvPr>
          <p:cNvGrpSpPr/>
          <p:nvPr/>
        </p:nvGrpSpPr>
        <p:grpSpPr>
          <a:xfrm>
            <a:off x="6299341" y="2680805"/>
            <a:ext cx="5640063" cy="696721"/>
            <a:chOff x="341953" y="969197"/>
            <a:chExt cx="4230047" cy="522541"/>
          </a:xfrm>
        </p:grpSpPr>
        <p:grpSp>
          <p:nvGrpSpPr>
            <p:cNvPr id="4" name="Grupa 3">
              <a:extLst>
                <a:ext uri="{FF2B5EF4-FFF2-40B4-BE49-F238E27FC236}">
                  <a16:creationId xmlns:a16="http://schemas.microsoft.com/office/drawing/2014/main" id="{41BB7E54-B2B2-98DB-77D0-3D621A3377DA}"/>
                </a:ext>
              </a:extLst>
            </p:cNvPr>
            <p:cNvGrpSpPr/>
            <p:nvPr/>
          </p:nvGrpSpPr>
          <p:grpSpPr>
            <a:xfrm>
              <a:off x="341953" y="969197"/>
              <a:ext cx="4230047" cy="522541"/>
              <a:chOff x="5292008" y="1971909"/>
              <a:chExt cx="7381979" cy="881139"/>
            </a:xfrm>
          </p:grpSpPr>
          <p:grpSp>
            <p:nvGrpSpPr>
              <p:cNvPr id="11" name="Group 66">
                <a:extLst>
                  <a:ext uri="{FF2B5EF4-FFF2-40B4-BE49-F238E27FC236}">
                    <a16:creationId xmlns:a16="http://schemas.microsoft.com/office/drawing/2014/main" id="{248B5362-DDE0-6246-E57D-187676A48812}"/>
                  </a:ext>
                </a:extLst>
              </p:cNvPr>
              <p:cNvGrpSpPr/>
              <p:nvPr/>
            </p:nvGrpSpPr>
            <p:grpSpPr>
              <a:xfrm flipH="1">
                <a:off x="5292008" y="1971909"/>
                <a:ext cx="7381979" cy="881139"/>
                <a:chOff x="-357157" y="4543393"/>
                <a:chExt cx="8806928" cy="1051226"/>
              </a:xfrm>
            </p:grpSpPr>
            <p:sp>
              <p:nvSpPr>
                <p:cNvPr id="13" name="Rectangle 143">
                  <a:extLst>
                    <a:ext uri="{FF2B5EF4-FFF2-40B4-BE49-F238E27FC236}">
                      <a16:creationId xmlns:a16="http://schemas.microsoft.com/office/drawing/2014/main" id="{E70E12A5-6905-5E5C-260B-2BD0C33182C7}"/>
                    </a:ext>
                  </a:extLst>
                </p:cNvPr>
                <p:cNvSpPr/>
                <p:nvPr/>
              </p:nvSpPr>
              <p:spPr>
                <a:xfrm>
                  <a:off x="-357157" y="4725399"/>
                  <a:ext cx="8443381" cy="687217"/>
                </a:xfrm>
                <a:custGeom>
                  <a:avLst/>
                  <a:gdLst>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 name="connsiteX0" fmla="*/ 0 w 2263070"/>
                    <a:gd name="connsiteY0" fmla="*/ 0 h 687216"/>
                    <a:gd name="connsiteX1" fmla="*/ 2263070 w 2263070"/>
                    <a:gd name="connsiteY1" fmla="*/ 0 h 687216"/>
                    <a:gd name="connsiteX2" fmla="*/ 2084172 w 2263070"/>
                    <a:gd name="connsiteY2" fmla="*/ 362830 h 687216"/>
                    <a:gd name="connsiteX3" fmla="*/ 2263070 w 2263070"/>
                    <a:gd name="connsiteY3" fmla="*/ 687216 h 687216"/>
                    <a:gd name="connsiteX4" fmla="*/ 0 w 2263070"/>
                    <a:gd name="connsiteY4" fmla="*/ 687216 h 687216"/>
                    <a:gd name="connsiteX5" fmla="*/ 0 w 2263070"/>
                    <a:gd name="connsiteY5" fmla="*/ 0 h 687216"/>
                    <a:gd name="connsiteX0" fmla="*/ 0 w 2545953"/>
                    <a:gd name="connsiteY0" fmla="*/ 0 h 687216"/>
                    <a:gd name="connsiteX1" fmla="*/ 2263070 w 2545953"/>
                    <a:gd name="connsiteY1" fmla="*/ 0 h 687216"/>
                    <a:gd name="connsiteX2" fmla="*/ 2263070 w 2545953"/>
                    <a:gd name="connsiteY2" fmla="*/ 687216 h 687216"/>
                    <a:gd name="connsiteX3" fmla="*/ 0 w 2545953"/>
                    <a:gd name="connsiteY3" fmla="*/ 687216 h 687216"/>
                    <a:gd name="connsiteX4" fmla="*/ 0 w 2545953"/>
                    <a:gd name="connsiteY4" fmla="*/ 0 h 687216"/>
                    <a:gd name="connsiteX0" fmla="*/ 0 w 2406114"/>
                    <a:gd name="connsiteY0" fmla="*/ 0 h 687216"/>
                    <a:gd name="connsiteX1" fmla="*/ 2263070 w 2406114"/>
                    <a:gd name="connsiteY1" fmla="*/ 0 h 687216"/>
                    <a:gd name="connsiteX2" fmla="*/ 2263070 w 2406114"/>
                    <a:gd name="connsiteY2" fmla="*/ 687216 h 687216"/>
                    <a:gd name="connsiteX3" fmla="*/ 0 w 2406114"/>
                    <a:gd name="connsiteY3" fmla="*/ 687216 h 687216"/>
                    <a:gd name="connsiteX4" fmla="*/ 0 w 2406114"/>
                    <a:gd name="connsiteY4" fmla="*/ 0 h 687216"/>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3070" h="687216">
                      <a:moveTo>
                        <a:pt x="0" y="0"/>
                      </a:moveTo>
                      <a:lnTo>
                        <a:pt x="2263070" y="0"/>
                      </a:lnTo>
                      <a:cubicBezTo>
                        <a:pt x="2090180" y="109772"/>
                        <a:pt x="1973498" y="458379"/>
                        <a:pt x="2263070" y="687216"/>
                      </a:cubicBezTo>
                      <a:lnTo>
                        <a:pt x="0" y="687216"/>
                      </a:lnTo>
                      <a:lnTo>
                        <a:pt x="0" y="0"/>
                      </a:lnTo>
                      <a:close/>
                    </a:path>
                  </a:pathLst>
                </a:custGeom>
                <a:gradFill flip="none" rotWithShape="1">
                  <a:gsLst>
                    <a:gs pos="94200">
                      <a:schemeClr val="bg1"/>
                    </a:gs>
                    <a:gs pos="0">
                      <a:schemeClr val="bg1">
                        <a:lumMod val="65000"/>
                      </a:schemeClr>
                    </a:gs>
                    <a:gs pos="100000">
                      <a:schemeClr val="bg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4" name="Group 76">
                  <a:extLst>
                    <a:ext uri="{FF2B5EF4-FFF2-40B4-BE49-F238E27FC236}">
                      <a16:creationId xmlns:a16="http://schemas.microsoft.com/office/drawing/2014/main" id="{8ADDA7C7-0B1D-FFE9-369D-CAF9B729D11E}"/>
                    </a:ext>
                  </a:extLst>
                </p:cNvPr>
                <p:cNvGrpSpPr/>
                <p:nvPr/>
              </p:nvGrpSpPr>
              <p:grpSpPr>
                <a:xfrm flipH="1">
                  <a:off x="7398543" y="4543393"/>
                  <a:ext cx="1051228" cy="1051226"/>
                  <a:chOff x="4396042" y="1286485"/>
                  <a:chExt cx="989390" cy="989390"/>
                </a:xfrm>
              </p:grpSpPr>
              <p:sp>
                <p:nvSpPr>
                  <p:cNvPr id="15" name="Donut 77">
                    <a:extLst>
                      <a:ext uri="{FF2B5EF4-FFF2-40B4-BE49-F238E27FC236}">
                        <a16:creationId xmlns:a16="http://schemas.microsoft.com/office/drawing/2014/main" id="{AA7D5C7A-B8D1-9B51-A4EF-2A5C5E36CB66}"/>
                      </a:ext>
                    </a:extLst>
                  </p:cNvPr>
                  <p:cNvSpPr/>
                  <p:nvPr/>
                </p:nvSpPr>
                <p:spPr>
                  <a:xfrm flipH="1">
                    <a:off x="4396042" y="1286485"/>
                    <a:ext cx="989390" cy="989390"/>
                  </a:xfrm>
                  <a:prstGeom prst="donut">
                    <a:avLst>
                      <a:gd name="adj" fmla="val 10135"/>
                    </a:avLst>
                  </a:prstGeom>
                  <a:solidFill>
                    <a:srgbClr val="00878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6" name="Oval 78">
                    <a:extLst>
                      <a:ext uri="{FF2B5EF4-FFF2-40B4-BE49-F238E27FC236}">
                        <a16:creationId xmlns:a16="http://schemas.microsoft.com/office/drawing/2014/main" id="{D95718BF-9EEE-E0E5-97CE-7974C29FD976}"/>
                      </a:ext>
                    </a:extLst>
                  </p:cNvPr>
                  <p:cNvSpPr/>
                  <p:nvPr/>
                </p:nvSpPr>
                <p:spPr>
                  <a:xfrm flipH="1">
                    <a:off x="4550930" y="1432173"/>
                    <a:ext cx="679614" cy="679614"/>
                  </a:xfrm>
                  <a:prstGeom prst="ellipse">
                    <a:avLst/>
                  </a:prstGeom>
                  <a:solidFill>
                    <a:schemeClr val="bg1"/>
                  </a:solidFill>
                  <a:ln>
                    <a:solidFill>
                      <a:schemeClr val="bg1">
                        <a:lumMod val="95000"/>
                      </a:schemeClr>
                    </a:solidFill>
                  </a:ln>
                  <a:effectLst>
                    <a:outerShdw blurRad="508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sp>
            <p:nvSpPr>
              <p:cNvPr id="12" name="TextBox 39">
                <a:extLst>
                  <a:ext uri="{FF2B5EF4-FFF2-40B4-BE49-F238E27FC236}">
                    <a16:creationId xmlns:a16="http://schemas.microsoft.com/office/drawing/2014/main" id="{44D8B9C8-5B35-AB75-055E-3B9710155C6C}"/>
                  </a:ext>
                </a:extLst>
              </p:cNvPr>
              <p:cNvSpPr txBox="1"/>
              <p:nvPr/>
            </p:nvSpPr>
            <p:spPr>
              <a:xfrm flipH="1">
                <a:off x="6177389" y="2250254"/>
                <a:ext cx="1367523" cy="324451"/>
              </a:xfrm>
              <a:prstGeom prst="rect">
                <a:avLst/>
              </a:prstGeom>
              <a:noFill/>
            </p:spPr>
            <p:txBody>
              <a:bodyPr wrap="square" rtlCol="0" anchor="ctr">
                <a:sp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NSS - Pretexts</a:t>
                </a:r>
              </a:p>
            </p:txBody>
          </p:sp>
        </p:grpSp>
        <p:grpSp>
          <p:nvGrpSpPr>
            <p:cNvPr id="5" name="Grupa 4">
              <a:extLst>
                <a:ext uri="{FF2B5EF4-FFF2-40B4-BE49-F238E27FC236}">
                  <a16:creationId xmlns:a16="http://schemas.microsoft.com/office/drawing/2014/main" id="{4FCED42E-EE4A-17EB-5B99-1EC62AEDDBFC}"/>
                </a:ext>
              </a:extLst>
            </p:cNvPr>
            <p:cNvGrpSpPr/>
            <p:nvPr/>
          </p:nvGrpSpPr>
          <p:grpSpPr>
            <a:xfrm>
              <a:off x="1511965" y="1063183"/>
              <a:ext cx="1449360" cy="315567"/>
              <a:chOff x="7952506" y="1404209"/>
              <a:chExt cx="1954467" cy="300835"/>
            </a:xfrm>
          </p:grpSpPr>
          <p:sp>
            <p:nvSpPr>
              <p:cNvPr id="8" name="pole tekstowe 7">
                <a:extLst>
                  <a:ext uri="{FF2B5EF4-FFF2-40B4-BE49-F238E27FC236}">
                    <a16:creationId xmlns:a16="http://schemas.microsoft.com/office/drawing/2014/main" id="{FA0C72C1-68C9-BC7C-0CC3-B14F71F1C10D}"/>
                  </a:ext>
                </a:extLst>
              </p:cNvPr>
              <p:cNvSpPr txBox="1"/>
              <p:nvPr/>
            </p:nvSpPr>
            <p:spPr>
              <a:xfrm>
                <a:off x="8959322" y="1404209"/>
                <a:ext cx="947651" cy="300835"/>
              </a:xfrm>
              <a:prstGeom prst="rect">
                <a:avLst/>
              </a:prstGeom>
              <a:noFill/>
            </p:spPr>
            <p:txBody>
              <a:bodyPr wrap="square" rtlCol="0">
                <a:spAutoFit/>
              </a:bodyPr>
              <a:lstStyle/>
              <a:p>
                <a:pPr marL="0" marR="0" lvl="0" indent="0" algn="ctr" defTabSz="467539"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NEAR</a:t>
                </a:r>
                <a:br>
                  <a:rPr kumimoji="0" lang="en-US" sz="1067"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br>
                <a:r>
                  <a:rPr kumimoji="0" lang="en-US" sz="1067"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REAL TIME</a:t>
                </a:r>
              </a:p>
            </p:txBody>
          </p:sp>
          <p:sp>
            <p:nvSpPr>
              <p:cNvPr id="10" name="pole tekstowe 9">
                <a:extLst>
                  <a:ext uri="{FF2B5EF4-FFF2-40B4-BE49-F238E27FC236}">
                    <a16:creationId xmlns:a16="http://schemas.microsoft.com/office/drawing/2014/main" id="{0FBF4C36-C39A-2C95-0287-427EA10B0383}"/>
                  </a:ext>
                </a:extLst>
              </p:cNvPr>
              <p:cNvSpPr txBox="1"/>
              <p:nvPr/>
            </p:nvSpPr>
            <p:spPr>
              <a:xfrm>
                <a:off x="7952506" y="1460535"/>
                <a:ext cx="1053745" cy="183427"/>
              </a:xfrm>
              <a:prstGeom prst="rect">
                <a:avLst/>
              </a:prstGeom>
              <a:noFill/>
            </p:spPr>
            <p:txBody>
              <a:bodyPr wrap="square" rtlCol="0">
                <a:spAutoFit/>
              </a:bodyPr>
              <a:lstStyle/>
              <a:p>
                <a:pPr marL="0" marR="0" lvl="0" indent="0" algn="ctr" defTabSz="467539" rtl="0" eaLnBrk="1" fontAlgn="auto" latinLnBrk="0" hangingPunct="1">
                  <a:lnSpc>
                    <a:spcPct val="100000"/>
                  </a:lnSpc>
                  <a:spcBef>
                    <a:spcPts val="0"/>
                  </a:spcBef>
                  <a:spcAft>
                    <a:spcPts val="0"/>
                  </a:spcAft>
                  <a:buClrTx/>
                  <a:buSzTx/>
                  <a:buFontTx/>
                  <a:buNone/>
                  <a:tabLst/>
                  <a:defRPr/>
                </a:pPr>
                <a:r>
                  <a:rPr kumimoji="0" lang="pl-PL" sz="1067"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292 349</a:t>
                </a:r>
              </a:p>
            </p:txBody>
          </p:sp>
        </p:grpSp>
        <p:sp>
          <p:nvSpPr>
            <p:cNvPr id="6" name="Owal 5">
              <a:extLst>
                <a:ext uri="{FF2B5EF4-FFF2-40B4-BE49-F238E27FC236}">
                  <a16:creationId xmlns:a16="http://schemas.microsoft.com/office/drawing/2014/main" id="{AAA4B34C-9801-245D-732A-C4FD696BCE7D}"/>
                </a:ext>
              </a:extLst>
            </p:cNvPr>
            <p:cNvSpPr/>
            <p:nvPr/>
          </p:nvSpPr>
          <p:spPr>
            <a:xfrm>
              <a:off x="3133774" y="1171702"/>
              <a:ext cx="133481" cy="135000"/>
            </a:xfrm>
            <a:prstGeom prst="ellipse">
              <a:avLst/>
            </a:prstGeom>
            <a:solidFill>
              <a:srgbClr val="92D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467539"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FFFFFF"/>
                </a:solidFill>
                <a:effectLst/>
                <a:uLnTx/>
                <a:uFillTx/>
                <a:latin typeface="Arial"/>
                <a:ea typeface="+mn-ea"/>
                <a:cs typeface="+mn-cs"/>
              </a:endParaRPr>
            </a:p>
          </p:txBody>
        </p:sp>
        <p:sp>
          <p:nvSpPr>
            <p:cNvPr id="7" name="Owal 6">
              <a:extLst>
                <a:ext uri="{FF2B5EF4-FFF2-40B4-BE49-F238E27FC236}">
                  <a16:creationId xmlns:a16="http://schemas.microsoft.com/office/drawing/2014/main" id="{8A39B1DB-1561-C970-DA7A-CDBDDC269DE8}"/>
                </a:ext>
              </a:extLst>
            </p:cNvPr>
            <p:cNvSpPr/>
            <p:nvPr/>
          </p:nvSpPr>
          <p:spPr>
            <a:xfrm>
              <a:off x="3664051" y="1169283"/>
              <a:ext cx="133481" cy="135000"/>
            </a:xfrm>
            <a:prstGeom prst="ellipse">
              <a:avLst/>
            </a:prstGeom>
            <a:solidFill>
              <a:srgbClr val="96CA1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467539"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17" name="Grupa 16">
            <a:extLst>
              <a:ext uri="{FF2B5EF4-FFF2-40B4-BE49-F238E27FC236}">
                <a16:creationId xmlns:a16="http://schemas.microsoft.com/office/drawing/2014/main" id="{3630DBD4-0C69-B164-533B-A093A663B70F}"/>
              </a:ext>
            </a:extLst>
          </p:cNvPr>
          <p:cNvGrpSpPr/>
          <p:nvPr/>
        </p:nvGrpSpPr>
        <p:grpSpPr>
          <a:xfrm>
            <a:off x="6299341" y="3400811"/>
            <a:ext cx="5640063" cy="696722"/>
            <a:chOff x="341953" y="969197"/>
            <a:chExt cx="4230047" cy="522541"/>
          </a:xfrm>
        </p:grpSpPr>
        <p:grpSp>
          <p:nvGrpSpPr>
            <p:cNvPr id="18" name="Grupa 17">
              <a:extLst>
                <a:ext uri="{FF2B5EF4-FFF2-40B4-BE49-F238E27FC236}">
                  <a16:creationId xmlns:a16="http://schemas.microsoft.com/office/drawing/2014/main" id="{A9B46C05-AD59-7F99-CBA4-309E5AEE98DE}"/>
                </a:ext>
              </a:extLst>
            </p:cNvPr>
            <p:cNvGrpSpPr/>
            <p:nvPr/>
          </p:nvGrpSpPr>
          <p:grpSpPr>
            <a:xfrm>
              <a:off x="341953" y="969197"/>
              <a:ext cx="4230047" cy="522541"/>
              <a:chOff x="5292008" y="1971909"/>
              <a:chExt cx="7381979" cy="881139"/>
            </a:xfrm>
          </p:grpSpPr>
          <p:grpSp>
            <p:nvGrpSpPr>
              <p:cNvPr id="24" name="Group 66">
                <a:extLst>
                  <a:ext uri="{FF2B5EF4-FFF2-40B4-BE49-F238E27FC236}">
                    <a16:creationId xmlns:a16="http://schemas.microsoft.com/office/drawing/2014/main" id="{D565E716-442A-0C30-5E49-FB534D902650}"/>
                  </a:ext>
                </a:extLst>
              </p:cNvPr>
              <p:cNvGrpSpPr/>
              <p:nvPr/>
            </p:nvGrpSpPr>
            <p:grpSpPr>
              <a:xfrm flipH="1">
                <a:off x="5292008" y="1971909"/>
                <a:ext cx="7381979" cy="881139"/>
                <a:chOff x="-357157" y="4543393"/>
                <a:chExt cx="8806928" cy="1051226"/>
              </a:xfrm>
            </p:grpSpPr>
            <p:sp>
              <p:nvSpPr>
                <p:cNvPr id="26" name="Rectangle 143">
                  <a:extLst>
                    <a:ext uri="{FF2B5EF4-FFF2-40B4-BE49-F238E27FC236}">
                      <a16:creationId xmlns:a16="http://schemas.microsoft.com/office/drawing/2014/main" id="{C4AD4893-FE1F-CA9E-FCE4-1DFB92FAE354}"/>
                    </a:ext>
                  </a:extLst>
                </p:cNvPr>
                <p:cNvSpPr/>
                <p:nvPr/>
              </p:nvSpPr>
              <p:spPr>
                <a:xfrm>
                  <a:off x="-357157" y="4725399"/>
                  <a:ext cx="8443381" cy="687217"/>
                </a:xfrm>
                <a:custGeom>
                  <a:avLst/>
                  <a:gdLst>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 name="connsiteX0" fmla="*/ 0 w 2263070"/>
                    <a:gd name="connsiteY0" fmla="*/ 0 h 687216"/>
                    <a:gd name="connsiteX1" fmla="*/ 2263070 w 2263070"/>
                    <a:gd name="connsiteY1" fmla="*/ 0 h 687216"/>
                    <a:gd name="connsiteX2" fmla="*/ 2084172 w 2263070"/>
                    <a:gd name="connsiteY2" fmla="*/ 362830 h 687216"/>
                    <a:gd name="connsiteX3" fmla="*/ 2263070 w 2263070"/>
                    <a:gd name="connsiteY3" fmla="*/ 687216 h 687216"/>
                    <a:gd name="connsiteX4" fmla="*/ 0 w 2263070"/>
                    <a:gd name="connsiteY4" fmla="*/ 687216 h 687216"/>
                    <a:gd name="connsiteX5" fmla="*/ 0 w 2263070"/>
                    <a:gd name="connsiteY5" fmla="*/ 0 h 687216"/>
                    <a:gd name="connsiteX0" fmla="*/ 0 w 2545953"/>
                    <a:gd name="connsiteY0" fmla="*/ 0 h 687216"/>
                    <a:gd name="connsiteX1" fmla="*/ 2263070 w 2545953"/>
                    <a:gd name="connsiteY1" fmla="*/ 0 h 687216"/>
                    <a:gd name="connsiteX2" fmla="*/ 2263070 w 2545953"/>
                    <a:gd name="connsiteY2" fmla="*/ 687216 h 687216"/>
                    <a:gd name="connsiteX3" fmla="*/ 0 w 2545953"/>
                    <a:gd name="connsiteY3" fmla="*/ 687216 h 687216"/>
                    <a:gd name="connsiteX4" fmla="*/ 0 w 2545953"/>
                    <a:gd name="connsiteY4" fmla="*/ 0 h 687216"/>
                    <a:gd name="connsiteX0" fmla="*/ 0 w 2406114"/>
                    <a:gd name="connsiteY0" fmla="*/ 0 h 687216"/>
                    <a:gd name="connsiteX1" fmla="*/ 2263070 w 2406114"/>
                    <a:gd name="connsiteY1" fmla="*/ 0 h 687216"/>
                    <a:gd name="connsiteX2" fmla="*/ 2263070 w 2406114"/>
                    <a:gd name="connsiteY2" fmla="*/ 687216 h 687216"/>
                    <a:gd name="connsiteX3" fmla="*/ 0 w 2406114"/>
                    <a:gd name="connsiteY3" fmla="*/ 687216 h 687216"/>
                    <a:gd name="connsiteX4" fmla="*/ 0 w 2406114"/>
                    <a:gd name="connsiteY4" fmla="*/ 0 h 687216"/>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 name="connsiteX0" fmla="*/ 0 w 2263070"/>
                    <a:gd name="connsiteY0" fmla="*/ 0 h 687216"/>
                    <a:gd name="connsiteX1" fmla="*/ 2263070 w 2263070"/>
                    <a:gd name="connsiteY1" fmla="*/ 0 h 687216"/>
                    <a:gd name="connsiteX2" fmla="*/ 2263070 w 2263070"/>
                    <a:gd name="connsiteY2" fmla="*/ 687216 h 687216"/>
                    <a:gd name="connsiteX3" fmla="*/ 0 w 2263070"/>
                    <a:gd name="connsiteY3" fmla="*/ 687216 h 687216"/>
                    <a:gd name="connsiteX4" fmla="*/ 0 w 2263070"/>
                    <a:gd name="connsiteY4" fmla="*/ 0 h 687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3070" h="687216">
                      <a:moveTo>
                        <a:pt x="0" y="0"/>
                      </a:moveTo>
                      <a:lnTo>
                        <a:pt x="2263070" y="0"/>
                      </a:lnTo>
                      <a:cubicBezTo>
                        <a:pt x="2090180" y="109772"/>
                        <a:pt x="1973498" y="458379"/>
                        <a:pt x="2263070" y="687216"/>
                      </a:cubicBezTo>
                      <a:lnTo>
                        <a:pt x="0" y="687216"/>
                      </a:lnTo>
                      <a:lnTo>
                        <a:pt x="0" y="0"/>
                      </a:lnTo>
                      <a:close/>
                    </a:path>
                  </a:pathLst>
                </a:custGeom>
                <a:gradFill flip="none" rotWithShape="1">
                  <a:gsLst>
                    <a:gs pos="94200">
                      <a:schemeClr val="bg1"/>
                    </a:gs>
                    <a:gs pos="0">
                      <a:schemeClr val="bg1">
                        <a:lumMod val="65000"/>
                      </a:schemeClr>
                    </a:gs>
                    <a:gs pos="100000">
                      <a:schemeClr val="bg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27" name="Group 76">
                  <a:extLst>
                    <a:ext uri="{FF2B5EF4-FFF2-40B4-BE49-F238E27FC236}">
                      <a16:creationId xmlns:a16="http://schemas.microsoft.com/office/drawing/2014/main" id="{9570EB9E-0432-B375-1509-5A14DBB27816}"/>
                    </a:ext>
                  </a:extLst>
                </p:cNvPr>
                <p:cNvGrpSpPr/>
                <p:nvPr/>
              </p:nvGrpSpPr>
              <p:grpSpPr>
                <a:xfrm flipH="1">
                  <a:off x="7398543" y="4543393"/>
                  <a:ext cx="1051228" cy="1051226"/>
                  <a:chOff x="4396042" y="1286485"/>
                  <a:chExt cx="989390" cy="989390"/>
                </a:xfrm>
              </p:grpSpPr>
              <p:sp>
                <p:nvSpPr>
                  <p:cNvPr id="28" name="Donut 77">
                    <a:extLst>
                      <a:ext uri="{FF2B5EF4-FFF2-40B4-BE49-F238E27FC236}">
                        <a16:creationId xmlns:a16="http://schemas.microsoft.com/office/drawing/2014/main" id="{B4BD4E69-2B9F-46C5-4DD5-A9082038F7F4}"/>
                      </a:ext>
                    </a:extLst>
                  </p:cNvPr>
                  <p:cNvSpPr/>
                  <p:nvPr/>
                </p:nvSpPr>
                <p:spPr>
                  <a:xfrm flipH="1">
                    <a:off x="4396042" y="1286485"/>
                    <a:ext cx="989390" cy="989390"/>
                  </a:xfrm>
                  <a:prstGeom prst="donut">
                    <a:avLst>
                      <a:gd name="adj" fmla="val 10135"/>
                    </a:avLst>
                  </a:prstGeom>
                  <a:solidFill>
                    <a:srgbClr val="00878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9" name="Oval 78">
                    <a:extLst>
                      <a:ext uri="{FF2B5EF4-FFF2-40B4-BE49-F238E27FC236}">
                        <a16:creationId xmlns:a16="http://schemas.microsoft.com/office/drawing/2014/main" id="{DB6F85BA-70E5-548C-61F2-1823E5535814}"/>
                      </a:ext>
                    </a:extLst>
                  </p:cNvPr>
                  <p:cNvSpPr/>
                  <p:nvPr/>
                </p:nvSpPr>
                <p:spPr>
                  <a:xfrm flipH="1">
                    <a:off x="4550930" y="1445678"/>
                    <a:ext cx="679613" cy="679614"/>
                  </a:xfrm>
                  <a:prstGeom prst="ellipse">
                    <a:avLst/>
                  </a:prstGeom>
                  <a:solidFill>
                    <a:schemeClr val="bg1"/>
                  </a:solidFill>
                  <a:ln>
                    <a:solidFill>
                      <a:schemeClr val="bg1">
                        <a:lumMod val="95000"/>
                      </a:schemeClr>
                    </a:solidFill>
                  </a:ln>
                  <a:effectLst>
                    <a:outerShdw blurRad="508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sp>
            <p:nvSpPr>
              <p:cNvPr id="25" name="TextBox 39">
                <a:extLst>
                  <a:ext uri="{FF2B5EF4-FFF2-40B4-BE49-F238E27FC236}">
                    <a16:creationId xmlns:a16="http://schemas.microsoft.com/office/drawing/2014/main" id="{AEB1423B-0D50-0CCF-3662-BE2CA11F81D0}"/>
                  </a:ext>
                </a:extLst>
              </p:cNvPr>
              <p:cNvSpPr txBox="1"/>
              <p:nvPr/>
            </p:nvSpPr>
            <p:spPr>
              <a:xfrm flipH="1">
                <a:off x="6131340" y="2146418"/>
                <a:ext cx="1478369" cy="532127"/>
              </a:xfrm>
              <a:prstGeom prst="rect">
                <a:avLst/>
              </a:prstGeom>
              <a:noFill/>
            </p:spPr>
            <p:txBody>
              <a:bodyPr wrap="square" rtlCol="0" anchor="ctr">
                <a:sp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NSS – Additional data</a:t>
                </a:r>
              </a:p>
            </p:txBody>
          </p:sp>
        </p:grpSp>
        <p:grpSp>
          <p:nvGrpSpPr>
            <p:cNvPr id="19" name="Grupa 18">
              <a:extLst>
                <a:ext uri="{FF2B5EF4-FFF2-40B4-BE49-F238E27FC236}">
                  <a16:creationId xmlns:a16="http://schemas.microsoft.com/office/drawing/2014/main" id="{00F6F827-D749-6DD9-6BB7-B9A3733C2342}"/>
                </a:ext>
              </a:extLst>
            </p:cNvPr>
            <p:cNvGrpSpPr/>
            <p:nvPr/>
          </p:nvGrpSpPr>
          <p:grpSpPr>
            <a:xfrm>
              <a:off x="1511966" y="1063180"/>
              <a:ext cx="1449362" cy="315567"/>
              <a:chOff x="7952504" y="1404209"/>
              <a:chExt cx="1954469" cy="300836"/>
            </a:xfrm>
          </p:grpSpPr>
          <p:sp>
            <p:nvSpPr>
              <p:cNvPr id="22" name="pole tekstowe 21">
                <a:extLst>
                  <a:ext uri="{FF2B5EF4-FFF2-40B4-BE49-F238E27FC236}">
                    <a16:creationId xmlns:a16="http://schemas.microsoft.com/office/drawing/2014/main" id="{73F2E8E4-F60E-500A-0643-0FEEB7BE60FD}"/>
                  </a:ext>
                </a:extLst>
              </p:cNvPr>
              <p:cNvSpPr txBox="1"/>
              <p:nvPr/>
            </p:nvSpPr>
            <p:spPr>
              <a:xfrm>
                <a:off x="8959322" y="1404209"/>
                <a:ext cx="947651" cy="300836"/>
              </a:xfrm>
              <a:prstGeom prst="rect">
                <a:avLst/>
              </a:prstGeom>
              <a:noFill/>
            </p:spPr>
            <p:txBody>
              <a:bodyPr wrap="square" rtlCol="0">
                <a:spAutoFit/>
              </a:bodyPr>
              <a:lstStyle/>
              <a:p>
                <a:pPr marL="0" marR="0" lvl="0" indent="0" algn="ctr" defTabSz="467539"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NEAR</a:t>
                </a:r>
                <a:br>
                  <a:rPr kumimoji="0" lang="en-US" sz="1067"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br>
                <a:r>
                  <a:rPr kumimoji="0" lang="en-US" sz="1067"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REAL TIME</a:t>
                </a:r>
              </a:p>
            </p:txBody>
          </p:sp>
          <p:sp>
            <p:nvSpPr>
              <p:cNvPr id="23" name="pole tekstowe 22">
                <a:extLst>
                  <a:ext uri="{FF2B5EF4-FFF2-40B4-BE49-F238E27FC236}">
                    <a16:creationId xmlns:a16="http://schemas.microsoft.com/office/drawing/2014/main" id="{BCE16B09-29B7-D640-AB69-6A9D7F4446D1}"/>
                  </a:ext>
                </a:extLst>
              </p:cNvPr>
              <p:cNvSpPr txBox="1"/>
              <p:nvPr/>
            </p:nvSpPr>
            <p:spPr>
              <a:xfrm>
                <a:off x="7952504" y="1460535"/>
                <a:ext cx="1053745" cy="183427"/>
              </a:xfrm>
              <a:prstGeom prst="rect">
                <a:avLst/>
              </a:prstGeom>
              <a:noFill/>
            </p:spPr>
            <p:txBody>
              <a:bodyPr wrap="square" rtlCol="0">
                <a:spAutoFit/>
              </a:bodyPr>
              <a:lstStyle/>
              <a:p>
                <a:pPr marL="0" marR="0" lvl="0" indent="0" algn="ctr" defTabSz="467539" rtl="0" eaLnBrk="1" fontAlgn="auto" latinLnBrk="0" hangingPunct="1">
                  <a:lnSpc>
                    <a:spcPct val="100000"/>
                  </a:lnSpc>
                  <a:spcBef>
                    <a:spcPts val="0"/>
                  </a:spcBef>
                  <a:spcAft>
                    <a:spcPts val="0"/>
                  </a:spcAft>
                  <a:buClrTx/>
                  <a:buSzTx/>
                  <a:buFontTx/>
                  <a:buNone/>
                  <a:tabLst/>
                  <a:defRPr/>
                </a:pPr>
                <a:r>
                  <a:rPr kumimoji="0" lang="pl-PL" sz="1067"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1 689 939</a:t>
                </a:r>
              </a:p>
            </p:txBody>
          </p:sp>
        </p:grpSp>
        <p:sp>
          <p:nvSpPr>
            <p:cNvPr id="20" name="Owal 19">
              <a:extLst>
                <a:ext uri="{FF2B5EF4-FFF2-40B4-BE49-F238E27FC236}">
                  <a16:creationId xmlns:a16="http://schemas.microsoft.com/office/drawing/2014/main" id="{5C612849-8291-2CC7-CC0F-CF1D781577E9}"/>
                </a:ext>
              </a:extLst>
            </p:cNvPr>
            <p:cNvSpPr/>
            <p:nvPr/>
          </p:nvSpPr>
          <p:spPr>
            <a:xfrm>
              <a:off x="3133774" y="1171702"/>
              <a:ext cx="133481" cy="135000"/>
            </a:xfrm>
            <a:prstGeom prst="ellipse">
              <a:avLst/>
            </a:prstGeom>
            <a:solidFill>
              <a:srgbClr val="92D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467539"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FFFFFF"/>
                </a:solidFill>
                <a:effectLst/>
                <a:uLnTx/>
                <a:uFillTx/>
                <a:latin typeface="Arial"/>
                <a:ea typeface="+mn-ea"/>
                <a:cs typeface="+mn-cs"/>
              </a:endParaRPr>
            </a:p>
          </p:txBody>
        </p:sp>
        <p:sp>
          <p:nvSpPr>
            <p:cNvPr id="21" name="Owal 20">
              <a:extLst>
                <a:ext uri="{FF2B5EF4-FFF2-40B4-BE49-F238E27FC236}">
                  <a16:creationId xmlns:a16="http://schemas.microsoft.com/office/drawing/2014/main" id="{D0AFDAFE-0D4F-7E6D-036E-DFE31512782B}"/>
                </a:ext>
              </a:extLst>
            </p:cNvPr>
            <p:cNvSpPr/>
            <p:nvPr/>
          </p:nvSpPr>
          <p:spPr>
            <a:xfrm>
              <a:off x="3663180" y="1169283"/>
              <a:ext cx="133481" cy="135000"/>
            </a:xfrm>
            <a:prstGeom prst="ellipse">
              <a:avLst/>
            </a:prstGeom>
            <a:solidFill>
              <a:srgbClr val="96CA1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467539"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30" name="Group 383">
            <a:extLst>
              <a:ext uri="{FF2B5EF4-FFF2-40B4-BE49-F238E27FC236}">
                <a16:creationId xmlns:a16="http://schemas.microsoft.com/office/drawing/2014/main" id="{DDF93ABA-03C6-CF6D-FEA5-185C931D5B11}"/>
              </a:ext>
            </a:extLst>
          </p:cNvPr>
          <p:cNvGrpSpPr/>
          <p:nvPr/>
        </p:nvGrpSpPr>
        <p:grpSpPr>
          <a:xfrm>
            <a:off x="11409784" y="2897518"/>
            <a:ext cx="330885" cy="291109"/>
            <a:chOff x="-2429678" y="-3238500"/>
            <a:chExt cx="13663209" cy="13417212"/>
          </a:xfrm>
          <a:solidFill>
            <a:srgbClr val="008789"/>
          </a:solidFill>
        </p:grpSpPr>
        <p:sp>
          <p:nvSpPr>
            <p:cNvPr id="31" name="Freeform 394">
              <a:extLst>
                <a:ext uri="{FF2B5EF4-FFF2-40B4-BE49-F238E27FC236}">
                  <a16:creationId xmlns:a16="http://schemas.microsoft.com/office/drawing/2014/main" id="{3A14546D-75BF-788F-8AD1-96E91D260CD4}"/>
                </a:ext>
              </a:extLst>
            </p:cNvPr>
            <p:cNvSpPr/>
            <p:nvPr/>
          </p:nvSpPr>
          <p:spPr>
            <a:xfrm>
              <a:off x="990599" y="-3238500"/>
              <a:ext cx="6825423" cy="7410594"/>
            </a:xfrm>
            <a:custGeom>
              <a:avLst/>
              <a:gdLst>
                <a:gd name="connsiteX0" fmla="*/ 3409950 w 6825423"/>
                <a:gd name="connsiteY0" fmla="*/ 0 h 7410594"/>
                <a:gd name="connsiteX1" fmla="*/ 6229951 w 6825423"/>
                <a:gd name="connsiteY1" fmla="*/ 2516401 h 7410594"/>
                <a:gd name="connsiteX2" fmla="*/ 6238704 w 6825423"/>
                <a:gd name="connsiteY2" fmla="*/ 2557692 h 7410594"/>
                <a:gd name="connsiteX3" fmla="*/ 6296533 w 6825423"/>
                <a:gd name="connsiteY3" fmla="*/ 2595147 h 7410594"/>
                <a:gd name="connsiteX4" fmla="*/ 6674736 w 6825423"/>
                <a:gd name="connsiteY4" fmla="*/ 2949584 h 7410594"/>
                <a:gd name="connsiteX5" fmla="*/ 6674736 w 6825423"/>
                <a:gd name="connsiteY5" fmla="*/ 4422766 h 7410594"/>
                <a:gd name="connsiteX6" fmla="*/ 6134530 w 6825423"/>
                <a:gd name="connsiteY6" fmla="*/ 4903781 h 7410594"/>
                <a:gd name="connsiteX7" fmla="*/ 6097506 w 6825423"/>
                <a:gd name="connsiteY7" fmla="*/ 4909551 h 7410594"/>
                <a:gd name="connsiteX8" fmla="*/ 6054756 w 6825423"/>
                <a:gd name="connsiteY8" fmla="*/ 5016817 h 7410594"/>
                <a:gd name="connsiteX9" fmla="*/ 3352800 w 6825423"/>
                <a:gd name="connsiteY9" fmla="*/ 7410450 h 7410594"/>
                <a:gd name="connsiteX10" fmla="*/ 799523 w 6825423"/>
                <a:gd name="connsiteY10" fmla="*/ 5059710 h 7410594"/>
                <a:gd name="connsiteX11" fmla="*/ 738130 w 6825423"/>
                <a:gd name="connsiteY11" fmla="*/ 4892092 h 7410594"/>
                <a:gd name="connsiteX12" fmla="*/ 690893 w 6825423"/>
                <a:gd name="connsiteY12" fmla="*/ 4884731 h 7410594"/>
                <a:gd name="connsiteX13" fmla="*/ 150687 w 6825423"/>
                <a:gd name="connsiteY13" fmla="*/ 4403716 h 7410594"/>
                <a:gd name="connsiteX14" fmla="*/ 150687 w 6825423"/>
                <a:gd name="connsiteY14" fmla="*/ 2930534 h 7410594"/>
                <a:gd name="connsiteX15" fmla="*/ 436548 w 6825423"/>
                <a:gd name="connsiteY15" fmla="*/ 2646152 h 7410594"/>
                <a:gd name="connsiteX16" fmla="*/ 522375 w 6825423"/>
                <a:gd name="connsiteY16" fmla="*/ 2581039 h 7410594"/>
                <a:gd name="connsiteX17" fmla="*/ 543969 w 6825423"/>
                <a:gd name="connsiteY17" fmla="*/ 2473931 h 7410594"/>
                <a:gd name="connsiteX18" fmla="*/ 3409950 w 6825423"/>
                <a:gd name="connsiteY18" fmla="*/ 0 h 7410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825423" h="7410594">
                  <a:moveTo>
                    <a:pt x="3409950" y="0"/>
                  </a:moveTo>
                  <a:cubicBezTo>
                    <a:pt x="4734941" y="0"/>
                    <a:pt x="5856099" y="1058526"/>
                    <a:pt x="6229951" y="2516401"/>
                  </a:cubicBezTo>
                  <a:lnTo>
                    <a:pt x="6238704" y="2557692"/>
                  </a:lnTo>
                  <a:lnTo>
                    <a:pt x="6296533" y="2595147"/>
                  </a:lnTo>
                  <a:cubicBezTo>
                    <a:pt x="6416937" y="2679806"/>
                    <a:pt x="6549956" y="2799961"/>
                    <a:pt x="6674736" y="2949584"/>
                  </a:cubicBezTo>
                  <a:cubicBezTo>
                    <a:pt x="6821179" y="3212045"/>
                    <a:pt x="6923689" y="3855505"/>
                    <a:pt x="6674736" y="4422766"/>
                  </a:cubicBezTo>
                  <a:cubicBezTo>
                    <a:pt x="6575328" y="4635424"/>
                    <a:pt x="6329416" y="4856355"/>
                    <a:pt x="6134530" y="4903781"/>
                  </a:cubicBezTo>
                  <a:lnTo>
                    <a:pt x="6097506" y="4909551"/>
                  </a:lnTo>
                  <a:lnTo>
                    <a:pt x="6054756" y="5016817"/>
                  </a:lnTo>
                  <a:cubicBezTo>
                    <a:pt x="5478809" y="6376352"/>
                    <a:pt x="4218682" y="7424738"/>
                    <a:pt x="3352800" y="7410450"/>
                  </a:cubicBezTo>
                  <a:cubicBezTo>
                    <a:pt x="2486918" y="7396163"/>
                    <a:pt x="1360736" y="6426399"/>
                    <a:pt x="799523" y="5059710"/>
                  </a:cubicBezTo>
                  <a:lnTo>
                    <a:pt x="738130" y="4892092"/>
                  </a:lnTo>
                  <a:lnTo>
                    <a:pt x="690893" y="4884731"/>
                  </a:lnTo>
                  <a:cubicBezTo>
                    <a:pt x="496007" y="4837305"/>
                    <a:pt x="250095" y="4616374"/>
                    <a:pt x="150687" y="4403716"/>
                  </a:cubicBezTo>
                  <a:cubicBezTo>
                    <a:pt x="-98266" y="3836455"/>
                    <a:pt x="4244" y="3192995"/>
                    <a:pt x="150687" y="2930534"/>
                  </a:cubicBezTo>
                  <a:cubicBezTo>
                    <a:pt x="244273" y="2818317"/>
                    <a:pt x="342492" y="2722675"/>
                    <a:pt x="436548" y="2646152"/>
                  </a:cubicBezTo>
                  <a:lnTo>
                    <a:pt x="522375" y="2581039"/>
                  </a:lnTo>
                  <a:lnTo>
                    <a:pt x="543969" y="2473931"/>
                  </a:lnTo>
                  <a:cubicBezTo>
                    <a:pt x="882058" y="983022"/>
                    <a:pt x="2084958" y="0"/>
                    <a:pt x="34099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67539"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32" name="Rectangle 92">
              <a:extLst>
                <a:ext uri="{FF2B5EF4-FFF2-40B4-BE49-F238E27FC236}">
                  <a16:creationId xmlns:a16="http://schemas.microsoft.com/office/drawing/2014/main" id="{40E936D1-8ACB-75B2-3599-3E00BCB7A6CB}"/>
                </a:ext>
              </a:extLst>
            </p:cNvPr>
            <p:cNvSpPr/>
            <p:nvPr/>
          </p:nvSpPr>
          <p:spPr>
            <a:xfrm>
              <a:off x="-2429678" y="3891431"/>
              <a:ext cx="13663209" cy="6287281"/>
            </a:xfrm>
            <a:custGeom>
              <a:avLst/>
              <a:gdLst>
                <a:gd name="connsiteX0" fmla="*/ 0 w 13620364"/>
                <a:gd name="connsiteY0" fmla="*/ 0 h 6310100"/>
                <a:gd name="connsiteX1" fmla="*/ 13620364 w 13620364"/>
                <a:gd name="connsiteY1" fmla="*/ 0 h 6310100"/>
                <a:gd name="connsiteX2" fmla="*/ 13620364 w 13620364"/>
                <a:gd name="connsiteY2" fmla="*/ 6310100 h 6310100"/>
                <a:gd name="connsiteX3" fmla="*/ 0 w 13620364"/>
                <a:gd name="connsiteY3" fmla="*/ 6310100 h 6310100"/>
                <a:gd name="connsiteX4" fmla="*/ 0 w 13620364"/>
                <a:gd name="connsiteY4" fmla="*/ 0 h 6310100"/>
                <a:gd name="connsiteX0" fmla="*/ 0 w 13620364"/>
                <a:gd name="connsiteY0" fmla="*/ 1 h 6310101"/>
                <a:gd name="connsiteX1" fmla="*/ 6914764 w 13620364"/>
                <a:gd name="connsiteY1" fmla="*/ 0 h 6310101"/>
                <a:gd name="connsiteX2" fmla="*/ 13620364 w 13620364"/>
                <a:gd name="connsiteY2" fmla="*/ 1 h 6310101"/>
                <a:gd name="connsiteX3" fmla="*/ 13620364 w 13620364"/>
                <a:gd name="connsiteY3" fmla="*/ 6310101 h 6310101"/>
                <a:gd name="connsiteX4" fmla="*/ 0 w 13620364"/>
                <a:gd name="connsiteY4" fmla="*/ 6310101 h 6310101"/>
                <a:gd name="connsiteX5" fmla="*/ 0 w 13620364"/>
                <a:gd name="connsiteY5" fmla="*/ 1 h 6310101"/>
                <a:gd name="connsiteX0" fmla="*/ 0 w 13620364"/>
                <a:gd name="connsiteY0" fmla="*/ 0 h 6310100"/>
                <a:gd name="connsiteX1" fmla="*/ 6774087 w 13620364"/>
                <a:gd name="connsiteY1" fmla="*/ 5017476 h 6310100"/>
                <a:gd name="connsiteX2" fmla="*/ 13620364 w 13620364"/>
                <a:gd name="connsiteY2" fmla="*/ 0 h 6310100"/>
                <a:gd name="connsiteX3" fmla="*/ 13620364 w 13620364"/>
                <a:gd name="connsiteY3" fmla="*/ 6310100 h 6310100"/>
                <a:gd name="connsiteX4" fmla="*/ 0 w 13620364"/>
                <a:gd name="connsiteY4" fmla="*/ 6310100 h 6310100"/>
                <a:gd name="connsiteX5" fmla="*/ 0 w 13620364"/>
                <a:gd name="connsiteY5" fmla="*/ 0 h 6310100"/>
                <a:gd name="connsiteX0" fmla="*/ 0 w 13620364"/>
                <a:gd name="connsiteY0" fmla="*/ 0 h 6310100"/>
                <a:gd name="connsiteX1" fmla="*/ 6774087 w 13620364"/>
                <a:gd name="connsiteY1" fmla="*/ 5017476 h 6310100"/>
                <a:gd name="connsiteX2" fmla="*/ 10994394 w 13620364"/>
                <a:gd name="connsiteY2" fmla="*/ 1852246 h 6310100"/>
                <a:gd name="connsiteX3" fmla="*/ 13620364 w 13620364"/>
                <a:gd name="connsiteY3" fmla="*/ 0 h 6310100"/>
                <a:gd name="connsiteX4" fmla="*/ 13620364 w 13620364"/>
                <a:gd name="connsiteY4" fmla="*/ 6310100 h 6310100"/>
                <a:gd name="connsiteX5" fmla="*/ 0 w 13620364"/>
                <a:gd name="connsiteY5" fmla="*/ 6310100 h 6310100"/>
                <a:gd name="connsiteX6" fmla="*/ 0 w 13620364"/>
                <a:gd name="connsiteY6" fmla="*/ 0 h 6310100"/>
                <a:gd name="connsiteX0" fmla="*/ 0 w 13620364"/>
                <a:gd name="connsiteY0" fmla="*/ 0 h 6310100"/>
                <a:gd name="connsiteX1" fmla="*/ 6774087 w 13620364"/>
                <a:gd name="connsiteY1" fmla="*/ 5017476 h 6310100"/>
                <a:gd name="connsiteX2" fmla="*/ 9235932 w 13620364"/>
                <a:gd name="connsiteY2" fmla="*/ 23446 h 6310100"/>
                <a:gd name="connsiteX3" fmla="*/ 13620364 w 13620364"/>
                <a:gd name="connsiteY3" fmla="*/ 0 h 6310100"/>
                <a:gd name="connsiteX4" fmla="*/ 13620364 w 13620364"/>
                <a:gd name="connsiteY4" fmla="*/ 6310100 h 6310100"/>
                <a:gd name="connsiteX5" fmla="*/ 0 w 13620364"/>
                <a:gd name="connsiteY5" fmla="*/ 6310100 h 6310100"/>
                <a:gd name="connsiteX6" fmla="*/ 0 w 13620364"/>
                <a:gd name="connsiteY6" fmla="*/ 0 h 6310100"/>
                <a:gd name="connsiteX0" fmla="*/ 0 w 13620364"/>
                <a:gd name="connsiteY0" fmla="*/ 0 h 6310100"/>
                <a:gd name="connsiteX1" fmla="*/ 2108302 w 13620364"/>
                <a:gd name="connsiteY1" fmla="*/ 1547446 h 6310100"/>
                <a:gd name="connsiteX2" fmla="*/ 6774087 w 13620364"/>
                <a:gd name="connsiteY2" fmla="*/ 5017476 h 6310100"/>
                <a:gd name="connsiteX3" fmla="*/ 9235932 w 13620364"/>
                <a:gd name="connsiteY3" fmla="*/ 23446 h 6310100"/>
                <a:gd name="connsiteX4" fmla="*/ 13620364 w 13620364"/>
                <a:gd name="connsiteY4" fmla="*/ 0 h 6310100"/>
                <a:gd name="connsiteX5" fmla="*/ 13620364 w 13620364"/>
                <a:gd name="connsiteY5" fmla="*/ 6310100 h 6310100"/>
                <a:gd name="connsiteX6" fmla="*/ 0 w 13620364"/>
                <a:gd name="connsiteY6" fmla="*/ 6310100 h 6310100"/>
                <a:gd name="connsiteX7" fmla="*/ 0 w 13620364"/>
                <a:gd name="connsiteY7" fmla="*/ 0 h 6310100"/>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3620364 w 13620364"/>
                <a:gd name="connsiteY4" fmla="*/ 0 h 6310100"/>
                <a:gd name="connsiteX5" fmla="*/ 13620364 w 13620364"/>
                <a:gd name="connsiteY5" fmla="*/ 6310100 h 6310100"/>
                <a:gd name="connsiteX6" fmla="*/ 0 w 13620364"/>
                <a:gd name="connsiteY6" fmla="*/ 6310100 h 6310100"/>
                <a:gd name="connsiteX7" fmla="*/ 0 w 13620364"/>
                <a:gd name="connsiteY7" fmla="*/ 0 h 6310100"/>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3620364 w 13620364"/>
                <a:gd name="connsiteY4" fmla="*/ 0 h 6310100"/>
                <a:gd name="connsiteX5" fmla="*/ 13620364 w 13620364"/>
                <a:gd name="connsiteY5" fmla="*/ 6310100 h 6310100"/>
                <a:gd name="connsiteX6" fmla="*/ 10830271 w 13620364"/>
                <a:gd name="connsiteY6" fmla="*/ 6307015 h 6310100"/>
                <a:gd name="connsiteX7" fmla="*/ 0 w 13620364"/>
                <a:gd name="connsiteY7" fmla="*/ 6310100 h 6310100"/>
                <a:gd name="connsiteX8" fmla="*/ 0 w 13620364"/>
                <a:gd name="connsiteY8" fmla="*/ 0 h 6310100"/>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3620364 w 13620364"/>
                <a:gd name="connsiteY4" fmla="*/ 0 h 6310100"/>
                <a:gd name="connsiteX5" fmla="*/ 13620364 w 13620364"/>
                <a:gd name="connsiteY5" fmla="*/ 6310100 h 6310100"/>
                <a:gd name="connsiteX6" fmla="*/ 10830271 w 13620364"/>
                <a:gd name="connsiteY6" fmla="*/ 6307015 h 6310100"/>
                <a:gd name="connsiteX7" fmla="*/ 9681410 w 13620364"/>
                <a:gd name="connsiteY7" fmla="*/ 6283569 h 6310100"/>
                <a:gd name="connsiteX8" fmla="*/ 0 w 13620364"/>
                <a:gd name="connsiteY8" fmla="*/ 6310100 h 6310100"/>
                <a:gd name="connsiteX9" fmla="*/ 0 w 13620364"/>
                <a:gd name="connsiteY9" fmla="*/ 0 h 6310100"/>
                <a:gd name="connsiteX0" fmla="*/ 0 w 13620364"/>
                <a:gd name="connsiteY0" fmla="*/ 0 h 6330461"/>
                <a:gd name="connsiteX1" fmla="*/ 4406025 w 13620364"/>
                <a:gd name="connsiteY1" fmla="*/ 46892 h 6330461"/>
                <a:gd name="connsiteX2" fmla="*/ 6774087 w 13620364"/>
                <a:gd name="connsiteY2" fmla="*/ 5017476 h 6330461"/>
                <a:gd name="connsiteX3" fmla="*/ 9235932 w 13620364"/>
                <a:gd name="connsiteY3" fmla="*/ 23446 h 6330461"/>
                <a:gd name="connsiteX4" fmla="*/ 13620364 w 13620364"/>
                <a:gd name="connsiteY4" fmla="*/ 0 h 6330461"/>
                <a:gd name="connsiteX5" fmla="*/ 13620364 w 13620364"/>
                <a:gd name="connsiteY5" fmla="*/ 6310100 h 6330461"/>
                <a:gd name="connsiteX6" fmla="*/ 10830271 w 13620364"/>
                <a:gd name="connsiteY6" fmla="*/ 6307015 h 6330461"/>
                <a:gd name="connsiteX7" fmla="*/ 10220671 w 13620364"/>
                <a:gd name="connsiteY7" fmla="*/ 6330461 h 6330461"/>
                <a:gd name="connsiteX8" fmla="*/ 0 w 13620364"/>
                <a:gd name="connsiteY8" fmla="*/ 6310100 h 6330461"/>
                <a:gd name="connsiteX9" fmla="*/ 0 w 13620364"/>
                <a:gd name="connsiteY9" fmla="*/ 0 h 6330461"/>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3620364 w 13620364"/>
                <a:gd name="connsiteY4" fmla="*/ 0 h 6310100"/>
                <a:gd name="connsiteX5" fmla="*/ 13620364 w 13620364"/>
                <a:gd name="connsiteY5" fmla="*/ 6310100 h 6310100"/>
                <a:gd name="connsiteX6" fmla="*/ 10830271 w 13620364"/>
                <a:gd name="connsiteY6" fmla="*/ 6307015 h 6310100"/>
                <a:gd name="connsiteX7" fmla="*/ 7594702 w 13620364"/>
                <a:gd name="connsiteY7" fmla="*/ 6213230 h 6310100"/>
                <a:gd name="connsiteX8" fmla="*/ 0 w 13620364"/>
                <a:gd name="connsiteY8" fmla="*/ 6310100 h 6310100"/>
                <a:gd name="connsiteX9" fmla="*/ 0 w 13620364"/>
                <a:gd name="connsiteY9" fmla="*/ 0 h 6310100"/>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3620364 w 13620364"/>
                <a:gd name="connsiteY4" fmla="*/ 0 h 6310100"/>
                <a:gd name="connsiteX5" fmla="*/ 13620364 w 13620364"/>
                <a:gd name="connsiteY5" fmla="*/ 6310100 h 6310100"/>
                <a:gd name="connsiteX6" fmla="*/ 10830271 w 13620364"/>
                <a:gd name="connsiteY6" fmla="*/ 6307015 h 6310100"/>
                <a:gd name="connsiteX7" fmla="*/ 10384794 w 13620364"/>
                <a:gd name="connsiteY7" fmla="*/ 6283569 h 6310100"/>
                <a:gd name="connsiteX8" fmla="*/ 7594702 w 13620364"/>
                <a:gd name="connsiteY8" fmla="*/ 6213230 h 6310100"/>
                <a:gd name="connsiteX9" fmla="*/ 0 w 13620364"/>
                <a:gd name="connsiteY9" fmla="*/ 6310100 h 6310100"/>
                <a:gd name="connsiteX10" fmla="*/ 0 w 13620364"/>
                <a:gd name="connsiteY10" fmla="*/ 0 h 6310100"/>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3620364 w 13620364"/>
                <a:gd name="connsiteY4" fmla="*/ 0 h 6310100"/>
                <a:gd name="connsiteX5" fmla="*/ 13620364 w 13620364"/>
                <a:gd name="connsiteY5" fmla="*/ 6310100 h 6310100"/>
                <a:gd name="connsiteX6" fmla="*/ 10830271 w 13620364"/>
                <a:gd name="connsiteY6" fmla="*/ 6307015 h 6310100"/>
                <a:gd name="connsiteX7" fmla="*/ 10877164 w 13620364"/>
                <a:gd name="connsiteY7" fmla="*/ 4032738 h 6310100"/>
                <a:gd name="connsiteX8" fmla="*/ 7594702 w 13620364"/>
                <a:gd name="connsiteY8" fmla="*/ 6213230 h 6310100"/>
                <a:gd name="connsiteX9" fmla="*/ 0 w 13620364"/>
                <a:gd name="connsiteY9" fmla="*/ 6310100 h 6310100"/>
                <a:gd name="connsiteX10" fmla="*/ 0 w 13620364"/>
                <a:gd name="connsiteY10" fmla="*/ 0 h 6310100"/>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3620364 w 13620364"/>
                <a:gd name="connsiteY4" fmla="*/ 0 h 6310100"/>
                <a:gd name="connsiteX5" fmla="*/ 13620364 w 13620364"/>
                <a:gd name="connsiteY5" fmla="*/ 6310100 h 6310100"/>
                <a:gd name="connsiteX6" fmla="*/ 10830271 w 13620364"/>
                <a:gd name="connsiteY6" fmla="*/ 6307015 h 6310100"/>
                <a:gd name="connsiteX7" fmla="*/ 10783380 w 13620364"/>
                <a:gd name="connsiteY7" fmla="*/ 4056184 h 6310100"/>
                <a:gd name="connsiteX8" fmla="*/ 7594702 w 13620364"/>
                <a:gd name="connsiteY8" fmla="*/ 6213230 h 6310100"/>
                <a:gd name="connsiteX9" fmla="*/ 0 w 13620364"/>
                <a:gd name="connsiteY9" fmla="*/ 6310100 h 6310100"/>
                <a:gd name="connsiteX10" fmla="*/ 0 w 13620364"/>
                <a:gd name="connsiteY10" fmla="*/ 0 h 6310100"/>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3620364 w 13620364"/>
                <a:gd name="connsiteY4" fmla="*/ 0 h 6310100"/>
                <a:gd name="connsiteX5" fmla="*/ 13620364 w 13620364"/>
                <a:gd name="connsiteY5" fmla="*/ 6310100 h 6310100"/>
                <a:gd name="connsiteX6" fmla="*/ 10830271 w 13620364"/>
                <a:gd name="connsiteY6" fmla="*/ 6307015 h 6310100"/>
                <a:gd name="connsiteX7" fmla="*/ 10877165 w 13620364"/>
                <a:gd name="connsiteY7" fmla="*/ 4103077 h 6310100"/>
                <a:gd name="connsiteX8" fmla="*/ 7594702 w 13620364"/>
                <a:gd name="connsiteY8" fmla="*/ 6213230 h 6310100"/>
                <a:gd name="connsiteX9" fmla="*/ 0 w 13620364"/>
                <a:gd name="connsiteY9" fmla="*/ 6310100 h 6310100"/>
                <a:gd name="connsiteX10" fmla="*/ 0 w 13620364"/>
                <a:gd name="connsiteY10" fmla="*/ 0 h 6310100"/>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3620364 w 13620364"/>
                <a:gd name="connsiteY4" fmla="*/ 0 h 6310100"/>
                <a:gd name="connsiteX5" fmla="*/ 13620364 w 13620364"/>
                <a:gd name="connsiteY5" fmla="*/ 6310100 h 6310100"/>
                <a:gd name="connsiteX6" fmla="*/ 10830271 w 13620364"/>
                <a:gd name="connsiteY6" fmla="*/ 6307015 h 6310100"/>
                <a:gd name="connsiteX7" fmla="*/ 10877165 w 13620364"/>
                <a:gd name="connsiteY7" fmla="*/ 4103077 h 6310100"/>
                <a:gd name="connsiteX8" fmla="*/ 8931133 w 13620364"/>
                <a:gd name="connsiteY8" fmla="*/ 5322276 h 6310100"/>
                <a:gd name="connsiteX9" fmla="*/ 7594702 w 13620364"/>
                <a:gd name="connsiteY9" fmla="*/ 6213230 h 6310100"/>
                <a:gd name="connsiteX10" fmla="*/ 0 w 13620364"/>
                <a:gd name="connsiteY10" fmla="*/ 6310100 h 6310100"/>
                <a:gd name="connsiteX11" fmla="*/ 0 w 13620364"/>
                <a:gd name="connsiteY11" fmla="*/ 0 h 6310100"/>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3620364 w 13620364"/>
                <a:gd name="connsiteY4" fmla="*/ 0 h 6310100"/>
                <a:gd name="connsiteX5" fmla="*/ 13620364 w 13620364"/>
                <a:gd name="connsiteY5" fmla="*/ 6310100 h 6310100"/>
                <a:gd name="connsiteX6" fmla="*/ 10830271 w 13620364"/>
                <a:gd name="connsiteY6" fmla="*/ 6307015 h 6310100"/>
                <a:gd name="connsiteX7" fmla="*/ 10877165 w 13620364"/>
                <a:gd name="connsiteY7" fmla="*/ 4103077 h 6310100"/>
                <a:gd name="connsiteX8" fmla="*/ 10197225 w 13620364"/>
                <a:gd name="connsiteY8" fmla="*/ 4267200 h 6310100"/>
                <a:gd name="connsiteX9" fmla="*/ 7594702 w 13620364"/>
                <a:gd name="connsiteY9" fmla="*/ 6213230 h 6310100"/>
                <a:gd name="connsiteX10" fmla="*/ 0 w 13620364"/>
                <a:gd name="connsiteY10" fmla="*/ 6310100 h 6310100"/>
                <a:gd name="connsiteX11" fmla="*/ 0 w 13620364"/>
                <a:gd name="connsiteY11" fmla="*/ 0 h 6310100"/>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3620364 w 13620364"/>
                <a:gd name="connsiteY4" fmla="*/ 0 h 6310100"/>
                <a:gd name="connsiteX5" fmla="*/ 13620364 w 13620364"/>
                <a:gd name="connsiteY5" fmla="*/ 6310100 h 6310100"/>
                <a:gd name="connsiteX6" fmla="*/ 10830271 w 13620364"/>
                <a:gd name="connsiteY6" fmla="*/ 6307015 h 6310100"/>
                <a:gd name="connsiteX7" fmla="*/ 10877165 w 13620364"/>
                <a:gd name="connsiteY7" fmla="*/ 4103077 h 6310100"/>
                <a:gd name="connsiteX8" fmla="*/ 10197225 w 13620364"/>
                <a:gd name="connsiteY8" fmla="*/ 4267200 h 6310100"/>
                <a:gd name="connsiteX9" fmla="*/ 10173779 w 13620364"/>
                <a:gd name="connsiteY9" fmla="*/ 6307015 h 6310100"/>
                <a:gd name="connsiteX10" fmla="*/ 0 w 13620364"/>
                <a:gd name="connsiteY10" fmla="*/ 6310100 h 6310100"/>
                <a:gd name="connsiteX11" fmla="*/ 0 w 13620364"/>
                <a:gd name="connsiteY11" fmla="*/ 0 h 6310100"/>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3620364 w 13620364"/>
                <a:gd name="connsiteY4" fmla="*/ 0 h 6310100"/>
                <a:gd name="connsiteX5" fmla="*/ 13620364 w 13620364"/>
                <a:gd name="connsiteY5" fmla="*/ 6310100 h 6310100"/>
                <a:gd name="connsiteX6" fmla="*/ 10877164 w 13620364"/>
                <a:gd name="connsiteY6" fmla="*/ 6307015 h 6310100"/>
                <a:gd name="connsiteX7" fmla="*/ 10877165 w 13620364"/>
                <a:gd name="connsiteY7" fmla="*/ 4103077 h 6310100"/>
                <a:gd name="connsiteX8" fmla="*/ 10197225 w 13620364"/>
                <a:gd name="connsiteY8" fmla="*/ 4267200 h 6310100"/>
                <a:gd name="connsiteX9" fmla="*/ 10173779 w 13620364"/>
                <a:gd name="connsiteY9" fmla="*/ 6307015 h 6310100"/>
                <a:gd name="connsiteX10" fmla="*/ 0 w 13620364"/>
                <a:gd name="connsiteY10" fmla="*/ 6310100 h 6310100"/>
                <a:gd name="connsiteX11" fmla="*/ 0 w 13620364"/>
                <a:gd name="connsiteY11" fmla="*/ 0 h 6310100"/>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3620364 w 13620364"/>
                <a:gd name="connsiteY4" fmla="*/ 0 h 6310100"/>
                <a:gd name="connsiteX5" fmla="*/ 13620364 w 13620364"/>
                <a:gd name="connsiteY5" fmla="*/ 6310100 h 6310100"/>
                <a:gd name="connsiteX6" fmla="*/ 10877164 w 13620364"/>
                <a:gd name="connsiteY6" fmla="*/ 6307015 h 6310100"/>
                <a:gd name="connsiteX7" fmla="*/ 10877165 w 13620364"/>
                <a:gd name="connsiteY7" fmla="*/ 4103077 h 6310100"/>
                <a:gd name="connsiteX8" fmla="*/ 10197225 w 13620364"/>
                <a:gd name="connsiteY8" fmla="*/ 4267200 h 6310100"/>
                <a:gd name="connsiteX9" fmla="*/ 10173779 w 13620364"/>
                <a:gd name="connsiteY9" fmla="*/ 6307015 h 6310100"/>
                <a:gd name="connsiteX10" fmla="*/ 0 w 13620364"/>
                <a:gd name="connsiteY10" fmla="*/ 6310100 h 6310100"/>
                <a:gd name="connsiteX11" fmla="*/ 0 w 13620364"/>
                <a:gd name="connsiteY11" fmla="*/ 0 h 6310100"/>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3620364 w 13620364"/>
                <a:gd name="connsiteY4" fmla="*/ 0 h 6310100"/>
                <a:gd name="connsiteX5" fmla="*/ 13620364 w 13620364"/>
                <a:gd name="connsiteY5" fmla="*/ 6310100 h 6310100"/>
                <a:gd name="connsiteX6" fmla="*/ 10877164 w 13620364"/>
                <a:gd name="connsiteY6" fmla="*/ 6307015 h 6310100"/>
                <a:gd name="connsiteX7" fmla="*/ 10877165 w 13620364"/>
                <a:gd name="connsiteY7" fmla="*/ 4103077 h 6310100"/>
                <a:gd name="connsiteX8" fmla="*/ 10197225 w 13620364"/>
                <a:gd name="connsiteY8" fmla="*/ 4267200 h 6310100"/>
                <a:gd name="connsiteX9" fmla="*/ 10173779 w 13620364"/>
                <a:gd name="connsiteY9" fmla="*/ 6307015 h 6310100"/>
                <a:gd name="connsiteX10" fmla="*/ 0 w 13620364"/>
                <a:gd name="connsiteY10" fmla="*/ 6310100 h 6310100"/>
                <a:gd name="connsiteX11" fmla="*/ 0 w 13620364"/>
                <a:gd name="connsiteY11" fmla="*/ 0 h 6310100"/>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3620364 w 13620364"/>
                <a:gd name="connsiteY4" fmla="*/ 0 h 6310100"/>
                <a:gd name="connsiteX5" fmla="*/ 13620364 w 13620364"/>
                <a:gd name="connsiteY5" fmla="*/ 6310100 h 6310100"/>
                <a:gd name="connsiteX6" fmla="*/ 10877164 w 13620364"/>
                <a:gd name="connsiteY6" fmla="*/ 6307015 h 6310100"/>
                <a:gd name="connsiteX7" fmla="*/ 10877165 w 13620364"/>
                <a:gd name="connsiteY7" fmla="*/ 4103077 h 6310100"/>
                <a:gd name="connsiteX8" fmla="*/ 10197225 w 13620364"/>
                <a:gd name="connsiteY8" fmla="*/ 4267200 h 6310100"/>
                <a:gd name="connsiteX9" fmla="*/ 10173779 w 13620364"/>
                <a:gd name="connsiteY9" fmla="*/ 6307015 h 6310100"/>
                <a:gd name="connsiteX10" fmla="*/ 0 w 13620364"/>
                <a:gd name="connsiteY10" fmla="*/ 6310100 h 6310100"/>
                <a:gd name="connsiteX11" fmla="*/ 0 w 13620364"/>
                <a:gd name="connsiteY11" fmla="*/ 0 h 6310100"/>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3620364 w 13620364"/>
                <a:gd name="connsiteY4" fmla="*/ 0 h 6310100"/>
                <a:gd name="connsiteX5" fmla="*/ 13620364 w 13620364"/>
                <a:gd name="connsiteY5" fmla="*/ 6310100 h 6310100"/>
                <a:gd name="connsiteX6" fmla="*/ 10877164 w 13620364"/>
                <a:gd name="connsiteY6" fmla="*/ 6307015 h 6310100"/>
                <a:gd name="connsiteX7" fmla="*/ 10877165 w 13620364"/>
                <a:gd name="connsiteY7" fmla="*/ 4103077 h 6310100"/>
                <a:gd name="connsiteX8" fmla="*/ 10197225 w 13620364"/>
                <a:gd name="connsiteY8" fmla="*/ 4267200 h 6310100"/>
                <a:gd name="connsiteX9" fmla="*/ 10173779 w 13620364"/>
                <a:gd name="connsiteY9" fmla="*/ 6307015 h 6310100"/>
                <a:gd name="connsiteX10" fmla="*/ 0 w 13620364"/>
                <a:gd name="connsiteY10" fmla="*/ 6310100 h 6310100"/>
                <a:gd name="connsiteX11" fmla="*/ 0 w 13620364"/>
                <a:gd name="connsiteY11" fmla="*/ 0 h 6310100"/>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2213595 w 13620364"/>
                <a:gd name="connsiteY4" fmla="*/ 1430215 h 6310100"/>
                <a:gd name="connsiteX5" fmla="*/ 13620364 w 13620364"/>
                <a:gd name="connsiteY5" fmla="*/ 6310100 h 6310100"/>
                <a:gd name="connsiteX6" fmla="*/ 10877164 w 13620364"/>
                <a:gd name="connsiteY6" fmla="*/ 6307015 h 6310100"/>
                <a:gd name="connsiteX7" fmla="*/ 10877165 w 13620364"/>
                <a:gd name="connsiteY7" fmla="*/ 4103077 h 6310100"/>
                <a:gd name="connsiteX8" fmla="*/ 10197225 w 13620364"/>
                <a:gd name="connsiteY8" fmla="*/ 4267200 h 6310100"/>
                <a:gd name="connsiteX9" fmla="*/ 10173779 w 13620364"/>
                <a:gd name="connsiteY9" fmla="*/ 6307015 h 6310100"/>
                <a:gd name="connsiteX10" fmla="*/ 0 w 13620364"/>
                <a:gd name="connsiteY10" fmla="*/ 6310100 h 6310100"/>
                <a:gd name="connsiteX11" fmla="*/ 0 w 13620364"/>
                <a:gd name="connsiteY11" fmla="*/ 0 h 6310100"/>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2213595 w 13620364"/>
                <a:gd name="connsiteY4" fmla="*/ 1430215 h 6310100"/>
                <a:gd name="connsiteX5" fmla="*/ 13620364 w 13620364"/>
                <a:gd name="connsiteY5" fmla="*/ 6310100 h 6310100"/>
                <a:gd name="connsiteX6" fmla="*/ 10877164 w 13620364"/>
                <a:gd name="connsiteY6" fmla="*/ 6307015 h 6310100"/>
                <a:gd name="connsiteX7" fmla="*/ 10877165 w 13620364"/>
                <a:gd name="connsiteY7" fmla="*/ 4103077 h 6310100"/>
                <a:gd name="connsiteX8" fmla="*/ 10197225 w 13620364"/>
                <a:gd name="connsiteY8" fmla="*/ 4267200 h 6310100"/>
                <a:gd name="connsiteX9" fmla="*/ 10173779 w 13620364"/>
                <a:gd name="connsiteY9" fmla="*/ 6307015 h 6310100"/>
                <a:gd name="connsiteX10" fmla="*/ 0 w 13620364"/>
                <a:gd name="connsiteY10" fmla="*/ 6310100 h 6310100"/>
                <a:gd name="connsiteX11" fmla="*/ 0 w 13620364"/>
                <a:gd name="connsiteY11" fmla="*/ 0 h 6310100"/>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2213595 w 13620364"/>
                <a:gd name="connsiteY4" fmla="*/ 1430215 h 6310100"/>
                <a:gd name="connsiteX5" fmla="*/ 13620364 w 13620364"/>
                <a:gd name="connsiteY5" fmla="*/ 6310100 h 6310100"/>
                <a:gd name="connsiteX6" fmla="*/ 10877164 w 13620364"/>
                <a:gd name="connsiteY6" fmla="*/ 6307015 h 6310100"/>
                <a:gd name="connsiteX7" fmla="*/ 10877165 w 13620364"/>
                <a:gd name="connsiteY7" fmla="*/ 4103077 h 6310100"/>
                <a:gd name="connsiteX8" fmla="*/ 10197225 w 13620364"/>
                <a:gd name="connsiteY8" fmla="*/ 4267200 h 6310100"/>
                <a:gd name="connsiteX9" fmla="*/ 10173779 w 13620364"/>
                <a:gd name="connsiteY9" fmla="*/ 6307015 h 6310100"/>
                <a:gd name="connsiteX10" fmla="*/ 0 w 13620364"/>
                <a:gd name="connsiteY10" fmla="*/ 6310100 h 6310100"/>
                <a:gd name="connsiteX11" fmla="*/ 0 w 13620364"/>
                <a:gd name="connsiteY11" fmla="*/ 0 h 6310100"/>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2213595 w 13620364"/>
                <a:gd name="connsiteY4" fmla="*/ 1430215 h 6310100"/>
                <a:gd name="connsiteX5" fmla="*/ 13620364 w 13620364"/>
                <a:gd name="connsiteY5" fmla="*/ 6310100 h 6310100"/>
                <a:gd name="connsiteX6" fmla="*/ 10877164 w 13620364"/>
                <a:gd name="connsiteY6" fmla="*/ 6307015 h 6310100"/>
                <a:gd name="connsiteX7" fmla="*/ 10877165 w 13620364"/>
                <a:gd name="connsiteY7" fmla="*/ 4103077 h 6310100"/>
                <a:gd name="connsiteX8" fmla="*/ 10197225 w 13620364"/>
                <a:gd name="connsiteY8" fmla="*/ 4267200 h 6310100"/>
                <a:gd name="connsiteX9" fmla="*/ 10173779 w 13620364"/>
                <a:gd name="connsiteY9" fmla="*/ 6307015 h 6310100"/>
                <a:gd name="connsiteX10" fmla="*/ 0 w 13620364"/>
                <a:gd name="connsiteY10" fmla="*/ 6310100 h 6310100"/>
                <a:gd name="connsiteX11" fmla="*/ 0 w 13620364"/>
                <a:gd name="connsiteY11" fmla="*/ 0 h 6310100"/>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2213595 w 13620364"/>
                <a:gd name="connsiteY4" fmla="*/ 1430215 h 6310100"/>
                <a:gd name="connsiteX5" fmla="*/ 13620364 w 13620364"/>
                <a:gd name="connsiteY5" fmla="*/ 6310100 h 6310100"/>
                <a:gd name="connsiteX6" fmla="*/ 10877164 w 13620364"/>
                <a:gd name="connsiteY6" fmla="*/ 6307015 h 6310100"/>
                <a:gd name="connsiteX7" fmla="*/ 10877165 w 13620364"/>
                <a:gd name="connsiteY7" fmla="*/ 4103077 h 6310100"/>
                <a:gd name="connsiteX8" fmla="*/ 10197225 w 13620364"/>
                <a:gd name="connsiteY8" fmla="*/ 4267200 h 6310100"/>
                <a:gd name="connsiteX9" fmla="*/ 10173779 w 13620364"/>
                <a:gd name="connsiteY9" fmla="*/ 6307015 h 6310100"/>
                <a:gd name="connsiteX10" fmla="*/ 0 w 13620364"/>
                <a:gd name="connsiteY10" fmla="*/ 6310100 h 6310100"/>
                <a:gd name="connsiteX11" fmla="*/ 0 w 13620364"/>
                <a:gd name="connsiteY11" fmla="*/ 0 h 6310100"/>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2213595 w 13620364"/>
                <a:gd name="connsiteY4" fmla="*/ 1430215 h 6310100"/>
                <a:gd name="connsiteX5" fmla="*/ 13620364 w 13620364"/>
                <a:gd name="connsiteY5" fmla="*/ 6310100 h 6310100"/>
                <a:gd name="connsiteX6" fmla="*/ 10877164 w 13620364"/>
                <a:gd name="connsiteY6" fmla="*/ 6307015 h 6310100"/>
                <a:gd name="connsiteX7" fmla="*/ 10877165 w 13620364"/>
                <a:gd name="connsiteY7" fmla="*/ 4103077 h 6310100"/>
                <a:gd name="connsiteX8" fmla="*/ 10197225 w 13620364"/>
                <a:gd name="connsiteY8" fmla="*/ 4267200 h 6310100"/>
                <a:gd name="connsiteX9" fmla="*/ 10173779 w 13620364"/>
                <a:gd name="connsiteY9" fmla="*/ 6307015 h 6310100"/>
                <a:gd name="connsiteX10" fmla="*/ 0 w 13620364"/>
                <a:gd name="connsiteY10" fmla="*/ 6310100 h 6310100"/>
                <a:gd name="connsiteX11" fmla="*/ 0 w 13620364"/>
                <a:gd name="connsiteY11" fmla="*/ 0 h 6310100"/>
                <a:gd name="connsiteX0" fmla="*/ 0 w 13656942"/>
                <a:gd name="connsiteY0" fmla="*/ 0 h 6310100"/>
                <a:gd name="connsiteX1" fmla="*/ 4406025 w 13656942"/>
                <a:gd name="connsiteY1" fmla="*/ 46892 h 6310100"/>
                <a:gd name="connsiteX2" fmla="*/ 6774087 w 13656942"/>
                <a:gd name="connsiteY2" fmla="*/ 5017476 h 6310100"/>
                <a:gd name="connsiteX3" fmla="*/ 9235932 w 13656942"/>
                <a:gd name="connsiteY3" fmla="*/ 23446 h 6310100"/>
                <a:gd name="connsiteX4" fmla="*/ 12213595 w 13656942"/>
                <a:gd name="connsiteY4" fmla="*/ 1430215 h 6310100"/>
                <a:gd name="connsiteX5" fmla="*/ 13620364 w 13656942"/>
                <a:gd name="connsiteY5" fmla="*/ 6310100 h 6310100"/>
                <a:gd name="connsiteX6" fmla="*/ 10877164 w 13656942"/>
                <a:gd name="connsiteY6" fmla="*/ 6307015 h 6310100"/>
                <a:gd name="connsiteX7" fmla="*/ 10877165 w 13656942"/>
                <a:gd name="connsiteY7" fmla="*/ 4103077 h 6310100"/>
                <a:gd name="connsiteX8" fmla="*/ 10197225 w 13656942"/>
                <a:gd name="connsiteY8" fmla="*/ 4267200 h 6310100"/>
                <a:gd name="connsiteX9" fmla="*/ 10173779 w 13656942"/>
                <a:gd name="connsiteY9" fmla="*/ 6307015 h 6310100"/>
                <a:gd name="connsiteX10" fmla="*/ 0 w 13656942"/>
                <a:gd name="connsiteY10" fmla="*/ 6310100 h 6310100"/>
                <a:gd name="connsiteX11" fmla="*/ 0 w 13656942"/>
                <a:gd name="connsiteY11" fmla="*/ 0 h 6310100"/>
                <a:gd name="connsiteX0" fmla="*/ 0 w 13688189"/>
                <a:gd name="connsiteY0" fmla="*/ 0 h 6310100"/>
                <a:gd name="connsiteX1" fmla="*/ 4406025 w 13688189"/>
                <a:gd name="connsiteY1" fmla="*/ 46892 h 6310100"/>
                <a:gd name="connsiteX2" fmla="*/ 6774087 w 13688189"/>
                <a:gd name="connsiteY2" fmla="*/ 5017476 h 6310100"/>
                <a:gd name="connsiteX3" fmla="*/ 9235932 w 13688189"/>
                <a:gd name="connsiteY3" fmla="*/ 23446 h 6310100"/>
                <a:gd name="connsiteX4" fmla="*/ 12213595 w 13688189"/>
                <a:gd name="connsiteY4" fmla="*/ 1430215 h 6310100"/>
                <a:gd name="connsiteX5" fmla="*/ 13620364 w 13688189"/>
                <a:gd name="connsiteY5" fmla="*/ 6310100 h 6310100"/>
                <a:gd name="connsiteX6" fmla="*/ 10877164 w 13688189"/>
                <a:gd name="connsiteY6" fmla="*/ 6307015 h 6310100"/>
                <a:gd name="connsiteX7" fmla="*/ 10877165 w 13688189"/>
                <a:gd name="connsiteY7" fmla="*/ 4103077 h 6310100"/>
                <a:gd name="connsiteX8" fmla="*/ 10197225 w 13688189"/>
                <a:gd name="connsiteY8" fmla="*/ 4267200 h 6310100"/>
                <a:gd name="connsiteX9" fmla="*/ 10173779 w 13688189"/>
                <a:gd name="connsiteY9" fmla="*/ 6307015 h 6310100"/>
                <a:gd name="connsiteX10" fmla="*/ 0 w 13688189"/>
                <a:gd name="connsiteY10" fmla="*/ 6310100 h 6310100"/>
                <a:gd name="connsiteX11" fmla="*/ 0 w 13688189"/>
                <a:gd name="connsiteY11" fmla="*/ 0 h 6310100"/>
                <a:gd name="connsiteX0" fmla="*/ 0 w 13623187"/>
                <a:gd name="connsiteY0" fmla="*/ 0 h 6310100"/>
                <a:gd name="connsiteX1" fmla="*/ 4406025 w 13623187"/>
                <a:gd name="connsiteY1" fmla="*/ 46892 h 6310100"/>
                <a:gd name="connsiteX2" fmla="*/ 6774087 w 13623187"/>
                <a:gd name="connsiteY2" fmla="*/ 5017476 h 6310100"/>
                <a:gd name="connsiteX3" fmla="*/ 9235932 w 13623187"/>
                <a:gd name="connsiteY3" fmla="*/ 23446 h 6310100"/>
                <a:gd name="connsiteX4" fmla="*/ 12213595 w 13623187"/>
                <a:gd name="connsiteY4" fmla="*/ 1430215 h 6310100"/>
                <a:gd name="connsiteX5" fmla="*/ 13620364 w 13623187"/>
                <a:gd name="connsiteY5" fmla="*/ 6310100 h 6310100"/>
                <a:gd name="connsiteX6" fmla="*/ 10877164 w 13623187"/>
                <a:gd name="connsiteY6" fmla="*/ 6307015 h 6310100"/>
                <a:gd name="connsiteX7" fmla="*/ 10877165 w 13623187"/>
                <a:gd name="connsiteY7" fmla="*/ 4103077 h 6310100"/>
                <a:gd name="connsiteX8" fmla="*/ 10197225 w 13623187"/>
                <a:gd name="connsiteY8" fmla="*/ 4267200 h 6310100"/>
                <a:gd name="connsiteX9" fmla="*/ 10173779 w 13623187"/>
                <a:gd name="connsiteY9" fmla="*/ 6307015 h 6310100"/>
                <a:gd name="connsiteX10" fmla="*/ 0 w 13623187"/>
                <a:gd name="connsiteY10" fmla="*/ 6310100 h 6310100"/>
                <a:gd name="connsiteX11" fmla="*/ 0 w 13623187"/>
                <a:gd name="connsiteY11" fmla="*/ 0 h 6310100"/>
                <a:gd name="connsiteX0" fmla="*/ 0 w 13623187"/>
                <a:gd name="connsiteY0" fmla="*/ 0 h 6310100"/>
                <a:gd name="connsiteX1" fmla="*/ 4406025 w 13623187"/>
                <a:gd name="connsiteY1" fmla="*/ 46892 h 6310100"/>
                <a:gd name="connsiteX2" fmla="*/ 6774087 w 13623187"/>
                <a:gd name="connsiteY2" fmla="*/ 5017476 h 6310100"/>
                <a:gd name="connsiteX3" fmla="*/ 9235932 w 13623187"/>
                <a:gd name="connsiteY3" fmla="*/ 23446 h 6310100"/>
                <a:gd name="connsiteX4" fmla="*/ 12213595 w 13623187"/>
                <a:gd name="connsiteY4" fmla="*/ 1430215 h 6310100"/>
                <a:gd name="connsiteX5" fmla="*/ 13620364 w 13623187"/>
                <a:gd name="connsiteY5" fmla="*/ 6310100 h 6310100"/>
                <a:gd name="connsiteX6" fmla="*/ 10877164 w 13623187"/>
                <a:gd name="connsiteY6" fmla="*/ 6307015 h 6310100"/>
                <a:gd name="connsiteX7" fmla="*/ 10877165 w 13623187"/>
                <a:gd name="connsiteY7" fmla="*/ 4103077 h 6310100"/>
                <a:gd name="connsiteX8" fmla="*/ 10197225 w 13623187"/>
                <a:gd name="connsiteY8" fmla="*/ 4267200 h 6310100"/>
                <a:gd name="connsiteX9" fmla="*/ 10173779 w 13623187"/>
                <a:gd name="connsiteY9" fmla="*/ 6307015 h 6310100"/>
                <a:gd name="connsiteX10" fmla="*/ 2600671 w 13623187"/>
                <a:gd name="connsiteY10" fmla="*/ 6283569 h 6310100"/>
                <a:gd name="connsiteX11" fmla="*/ 0 w 13623187"/>
                <a:gd name="connsiteY11" fmla="*/ 6310100 h 6310100"/>
                <a:gd name="connsiteX12" fmla="*/ 0 w 13623187"/>
                <a:gd name="connsiteY12" fmla="*/ 0 h 6310100"/>
                <a:gd name="connsiteX0" fmla="*/ 0 w 13623187"/>
                <a:gd name="connsiteY0" fmla="*/ 0 h 6310100"/>
                <a:gd name="connsiteX1" fmla="*/ 4406025 w 13623187"/>
                <a:gd name="connsiteY1" fmla="*/ 46892 h 6310100"/>
                <a:gd name="connsiteX2" fmla="*/ 6774087 w 13623187"/>
                <a:gd name="connsiteY2" fmla="*/ 5017476 h 6310100"/>
                <a:gd name="connsiteX3" fmla="*/ 9235932 w 13623187"/>
                <a:gd name="connsiteY3" fmla="*/ 23446 h 6310100"/>
                <a:gd name="connsiteX4" fmla="*/ 12213595 w 13623187"/>
                <a:gd name="connsiteY4" fmla="*/ 1430215 h 6310100"/>
                <a:gd name="connsiteX5" fmla="*/ 13620364 w 13623187"/>
                <a:gd name="connsiteY5" fmla="*/ 6310100 h 6310100"/>
                <a:gd name="connsiteX6" fmla="*/ 10877164 w 13623187"/>
                <a:gd name="connsiteY6" fmla="*/ 6307015 h 6310100"/>
                <a:gd name="connsiteX7" fmla="*/ 10877165 w 13623187"/>
                <a:gd name="connsiteY7" fmla="*/ 4103077 h 6310100"/>
                <a:gd name="connsiteX8" fmla="*/ 10197225 w 13623187"/>
                <a:gd name="connsiteY8" fmla="*/ 4267200 h 6310100"/>
                <a:gd name="connsiteX9" fmla="*/ 10173779 w 13623187"/>
                <a:gd name="connsiteY9" fmla="*/ 6307015 h 6310100"/>
                <a:gd name="connsiteX10" fmla="*/ 3374394 w 13623187"/>
                <a:gd name="connsiteY10" fmla="*/ 6283569 h 6310100"/>
                <a:gd name="connsiteX11" fmla="*/ 2600671 w 13623187"/>
                <a:gd name="connsiteY11" fmla="*/ 6283569 h 6310100"/>
                <a:gd name="connsiteX12" fmla="*/ 0 w 13623187"/>
                <a:gd name="connsiteY12" fmla="*/ 6310100 h 6310100"/>
                <a:gd name="connsiteX13" fmla="*/ 0 w 13623187"/>
                <a:gd name="connsiteY13" fmla="*/ 0 h 6310100"/>
                <a:gd name="connsiteX0" fmla="*/ 0 w 13623187"/>
                <a:gd name="connsiteY0" fmla="*/ 0 h 6310100"/>
                <a:gd name="connsiteX1" fmla="*/ 4406025 w 13623187"/>
                <a:gd name="connsiteY1" fmla="*/ 46892 h 6310100"/>
                <a:gd name="connsiteX2" fmla="*/ 6774087 w 13623187"/>
                <a:gd name="connsiteY2" fmla="*/ 5017476 h 6310100"/>
                <a:gd name="connsiteX3" fmla="*/ 9235932 w 13623187"/>
                <a:gd name="connsiteY3" fmla="*/ 23446 h 6310100"/>
                <a:gd name="connsiteX4" fmla="*/ 12213595 w 13623187"/>
                <a:gd name="connsiteY4" fmla="*/ 1430215 h 6310100"/>
                <a:gd name="connsiteX5" fmla="*/ 13620364 w 13623187"/>
                <a:gd name="connsiteY5" fmla="*/ 6310100 h 6310100"/>
                <a:gd name="connsiteX6" fmla="*/ 10877164 w 13623187"/>
                <a:gd name="connsiteY6" fmla="*/ 6307015 h 6310100"/>
                <a:gd name="connsiteX7" fmla="*/ 10877165 w 13623187"/>
                <a:gd name="connsiteY7" fmla="*/ 4103077 h 6310100"/>
                <a:gd name="connsiteX8" fmla="*/ 10197225 w 13623187"/>
                <a:gd name="connsiteY8" fmla="*/ 4267200 h 6310100"/>
                <a:gd name="connsiteX9" fmla="*/ 10173779 w 13623187"/>
                <a:gd name="connsiteY9" fmla="*/ 6307015 h 6310100"/>
                <a:gd name="connsiteX10" fmla="*/ 2647564 w 13623187"/>
                <a:gd name="connsiteY10" fmla="*/ 4220308 h 6310100"/>
                <a:gd name="connsiteX11" fmla="*/ 2600671 w 13623187"/>
                <a:gd name="connsiteY11" fmla="*/ 6283569 h 6310100"/>
                <a:gd name="connsiteX12" fmla="*/ 0 w 13623187"/>
                <a:gd name="connsiteY12" fmla="*/ 6310100 h 6310100"/>
                <a:gd name="connsiteX13" fmla="*/ 0 w 13623187"/>
                <a:gd name="connsiteY13" fmla="*/ 0 h 6310100"/>
                <a:gd name="connsiteX0" fmla="*/ 0 w 13623187"/>
                <a:gd name="connsiteY0" fmla="*/ 0 h 6310100"/>
                <a:gd name="connsiteX1" fmla="*/ 4406025 w 13623187"/>
                <a:gd name="connsiteY1" fmla="*/ 46892 h 6310100"/>
                <a:gd name="connsiteX2" fmla="*/ 6774087 w 13623187"/>
                <a:gd name="connsiteY2" fmla="*/ 5017476 h 6310100"/>
                <a:gd name="connsiteX3" fmla="*/ 9235932 w 13623187"/>
                <a:gd name="connsiteY3" fmla="*/ 23446 h 6310100"/>
                <a:gd name="connsiteX4" fmla="*/ 12213595 w 13623187"/>
                <a:gd name="connsiteY4" fmla="*/ 1430215 h 6310100"/>
                <a:gd name="connsiteX5" fmla="*/ 13620364 w 13623187"/>
                <a:gd name="connsiteY5" fmla="*/ 6310100 h 6310100"/>
                <a:gd name="connsiteX6" fmla="*/ 10877164 w 13623187"/>
                <a:gd name="connsiteY6" fmla="*/ 6307015 h 6310100"/>
                <a:gd name="connsiteX7" fmla="*/ 10877165 w 13623187"/>
                <a:gd name="connsiteY7" fmla="*/ 4103077 h 6310100"/>
                <a:gd name="connsiteX8" fmla="*/ 10197225 w 13623187"/>
                <a:gd name="connsiteY8" fmla="*/ 4267200 h 6310100"/>
                <a:gd name="connsiteX9" fmla="*/ 10173779 w 13623187"/>
                <a:gd name="connsiteY9" fmla="*/ 6307015 h 6310100"/>
                <a:gd name="connsiteX10" fmla="*/ 2647564 w 13623187"/>
                <a:gd name="connsiteY10" fmla="*/ 4220308 h 6310100"/>
                <a:gd name="connsiteX11" fmla="*/ 2647564 w 13623187"/>
                <a:gd name="connsiteY11" fmla="*/ 6283569 h 6310100"/>
                <a:gd name="connsiteX12" fmla="*/ 0 w 13623187"/>
                <a:gd name="connsiteY12" fmla="*/ 6310100 h 6310100"/>
                <a:gd name="connsiteX13" fmla="*/ 0 w 13623187"/>
                <a:gd name="connsiteY13" fmla="*/ 0 h 6310100"/>
                <a:gd name="connsiteX0" fmla="*/ 0 w 13623187"/>
                <a:gd name="connsiteY0" fmla="*/ 0 h 6310100"/>
                <a:gd name="connsiteX1" fmla="*/ 4406025 w 13623187"/>
                <a:gd name="connsiteY1" fmla="*/ 46892 h 6310100"/>
                <a:gd name="connsiteX2" fmla="*/ 6774087 w 13623187"/>
                <a:gd name="connsiteY2" fmla="*/ 5017476 h 6310100"/>
                <a:gd name="connsiteX3" fmla="*/ 9235932 w 13623187"/>
                <a:gd name="connsiteY3" fmla="*/ 23446 h 6310100"/>
                <a:gd name="connsiteX4" fmla="*/ 12213595 w 13623187"/>
                <a:gd name="connsiteY4" fmla="*/ 1430215 h 6310100"/>
                <a:gd name="connsiteX5" fmla="*/ 13620364 w 13623187"/>
                <a:gd name="connsiteY5" fmla="*/ 6310100 h 6310100"/>
                <a:gd name="connsiteX6" fmla="*/ 10877164 w 13623187"/>
                <a:gd name="connsiteY6" fmla="*/ 6307015 h 6310100"/>
                <a:gd name="connsiteX7" fmla="*/ 10877165 w 13623187"/>
                <a:gd name="connsiteY7" fmla="*/ 4103077 h 6310100"/>
                <a:gd name="connsiteX8" fmla="*/ 10197225 w 13623187"/>
                <a:gd name="connsiteY8" fmla="*/ 4267200 h 6310100"/>
                <a:gd name="connsiteX9" fmla="*/ 10173779 w 13623187"/>
                <a:gd name="connsiteY9" fmla="*/ 6307015 h 6310100"/>
                <a:gd name="connsiteX10" fmla="*/ 4570148 w 13623187"/>
                <a:gd name="connsiteY10" fmla="*/ 4759569 h 6310100"/>
                <a:gd name="connsiteX11" fmla="*/ 2647564 w 13623187"/>
                <a:gd name="connsiteY11" fmla="*/ 4220308 h 6310100"/>
                <a:gd name="connsiteX12" fmla="*/ 2647564 w 13623187"/>
                <a:gd name="connsiteY12" fmla="*/ 6283569 h 6310100"/>
                <a:gd name="connsiteX13" fmla="*/ 0 w 13623187"/>
                <a:gd name="connsiteY13" fmla="*/ 6310100 h 6310100"/>
                <a:gd name="connsiteX14" fmla="*/ 0 w 13623187"/>
                <a:gd name="connsiteY14" fmla="*/ 0 h 6310100"/>
                <a:gd name="connsiteX0" fmla="*/ 0 w 13623187"/>
                <a:gd name="connsiteY0" fmla="*/ 0 h 6310100"/>
                <a:gd name="connsiteX1" fmla="*/ 4406025 w 13623187"/>
                <a:gd name="connsiteY1" fmla="*/ 46892 h 6310100"/>
                <a:gd name="connsiteX2" fmla="*/ 6774087 w 13623187"/>
                <a:gd name="connsiteY2" fmla="*/ 5017476 h 6310100"/>
                <a:gd name="connsiteX3" fmla="*/ 9235932 w 13623187"/>
                <a:gd name="connsiteY3" fmla="*/ 23446 h 6310100"/>
                <a:gd name="connsiteX4" fmla="*/ 12213595 w 13623187"/>
                <a:gd name="connsiteY4" fmla="*/ 1430215 h 6310100"/>
                <a:gd name="connsiteX5" fmla="*/ 13620364 w 13623187"/>
                <a:gd name="connsiteY5" fmla="*/ 6310100 h 6310100"/>
                <a:gd name="connsiteX6" fmla="*/ 10877164 w 13623187"/>
                <a:gd name="connsiteY6" fmla="*/ 6307015 h 6310100"/>
                <a:gd name="connsiteX7" fmla="*/ 10877165 w 13623187"/>
                <a:gd name="connsiteY7" fmla="*/ 4103077 h 6310100"/>
                <a:gd name="connsiteX8" fmla="*/ 10197225 w 13623187"/>
                <a:gd name="connsiteY8" fmla="*/ 4267200 h 6310100"/>
                <a:gd name="connsiteX9" fmla="*/ 10173779 w 13623187"/>
                <a:gd name="connsiteY9" fmla="*/ 6307015 h 6310100"/>
                <a:gd name="connsiteX10" fmla="*/ 3327501 w 13623187"/>
                <a:gd name="connsiteY10" fmla="*/ 4243753 h 6310100"/>
                <a:gd name="connsiteX11" fmla="*/ 2647564 w 13623187"/>
                <a:gd name="connsiteY11" fmla="*/ 4220308 h 6310100"/>
                <a:gd name="connsiteX12" fmla="*/ 2647564 w 13623187"/>
                <a:gd name="connsiteY12" fmla="*/ 6283569 h 6310100"/>
                <a:gd name="connsiteX13" fmla="*/ 0 w 13623187"/>
                <a:gd name="connsiteY13" fmla="*/ 6310100 h 6310100"/>
                <a:gd name="connsiteX14" fmla="*/ 0 w 13623187"/>
                <a:gd name="connsiteY14" fmla="*/ 0 h 6310100"/>
                <a:gd name="connsiteX0" fmla="*/ 0 w 13623187"/>
                <a:gd name="connsiteY0" fmla="*/ 0 h 6310100"/>
                <a:gd name="connsiteX1" fmla="*/ 4406025 w 13623187"/>
                <a:gd name="connsiteY1" fmla="*/ 46892 h 6310100"/>
                <a:gd name="connsiteX2" fmla="*/ 6774087 w 13623187"/>
                <a:gd name="connsiteY2" fmla="*/ 5017476 h 6310100"/>
                <a:gd name="connsiteX3" fmla="*/ 9235932 w 13623187"/>
                <a:gd name="connsiteY3" fmla="*/ 23446 h 6310100"/>
                <a:gd name="connsiteX4" fmla="*/ 12213595 w 13623187"/>
                <a:gd name="connsiteY4" fmla="*/ 1430215 h 6310100"/>
                <a:gd name="connsiteX5" fmla="*/ 13620364 w 13623187"/>
                <a:gd name="connsiteY5" fmla="*/ 6310100 h 6310100"/>
                <a:gd name="connsiteX6" fmla="*/ 10877164 w 13623187"/>
                <a:gd name="connsiteY6" fmla="*/ 6307015 h 6310100"/>
                <a:gd name="connsiteX7" fmla="*/ 10877165 w 13623187"/>
                <a:gd name="connsiteY7" fmla="*/ 4103077 h 6310100"/>
                <a:gd name="connsiteX8" fmla="*/ 10197225 w 13623187"/>
                <a:gd name="connsiteY8" fmla="*/ 4267200 h 6310100"/>
                <a:gd name="connsiteX9" fmla="*/ 10173779 w 13623187"/>
                <a:gd name="connsiteY9" fmla="*/ 6307015 h 6310100"/>
                <a:gd name="connsiteX10" fmla="*/ 5976918 w 13623187"/>
                <a:gd name="connsiteY10" fmla="*/ 5040922 h 6310100"/>
                <a:gd name="connsiteX11" fmla="*/ 3327501 w 13623187"/>
                <a:gd name="connsiteY11" fmla="*/ 4243753 h 6310100"/>
                <a:gd name="connsiteX12" fmla="*/ 2647564 w 13623187"/>
                <a:gd name="connsiteY12" fmla="*/ 4220308 h 6310100"/>
                <a:gd name="connsiteX13" fmla="*/ 2647564 w 13623187"/>
                <a:gd name="connsiteY13" fmla="*/ 6283569 h 6310100"/>
                <a:gd name="connsiteX14" fmla="*/ 0 w 13623187"/>
                <a:gd name="connsiteY14" fmla="*/ 6310100 h 6310100"/>
                <a:gd name="connsiteX15" fmla="*/ 0 w 13623187"/>
                <a:gd name="connsiteY15" fmla="*/ 0 h 6310100"/>
                <a:gd name="connsiteX0" fmla="*/ 0 w 13623187"/>
                <a:gd name="connsiteY0" fmla="*/ 0 h 6310100"/>
                <a:gd name="connsiteX1" fmla="*/ 4406025 w 13623187"/>
                <a:gd name="connsiteY1" fmla="*/ 46892 h 6310100"/>
                <a:gd name="connsiteX2" fmla="*/ 6774087 w 13623187"/>
                <a:gd name="connsiteY2" fmla="*/ 5017476 h 6310100"/>
                <a:gd name="connsiteX3" fmla="*/ 9235932 w 13623187"/>
                <a:gd name="connsiteY3" fmla="*/ 23446 h 6310100"/>
                <a:gd name="connsiteX4" fmla="*/ 12213595 w 13623187"/>
                <a:gd name="connsiteY4" fmla="*/ 1430215 h 6310100"/>
                <a:gd name="connsiteX5" fmla="*/ 13620364 w 13623187"/>
                <a:gd name="connsiteY5" fmla="*/ 6310100 h 6310100"/>
                <a:gd name="connsiteX6" fmla="*/ 10877164 w 13623187"/>
                <a:gd name="connsiteY6" fmla="*/ 6307015 h 6310100"/>
                <a:gd name="connsiteX7" fmla="*/ 10877165 w 13623187"/>
                <a:gd name="connsiteY7" fmla="*/ 4103077 h 6310100"/>
                <a:gd name="connsiteX8" fmla="*/ 10197225 w 13623187"/>
                <a:gd name="connsiteY8" fmla="*/ 4267200 h 6310100"/>
                <a:gd name="connsiteX9" fmla="*/ 10173779 w 13623187"/>
                <a:gd name="connsiteY9" fmla="*/ 6307015 h 6310100"/>
                <a:gd name="connsiteX10" fmla="*/ 3374395 w 13623187"/>
                <a:gd name="connsiteY10" fmla="*/ 6236676 h 6310100"/>
                <a:gd name="connsiteX11" fmla="*/ 3327501 w 13623187"/>
                <a:gd name="connsiteY11" fmla="*/ 4243753 h 6310100"/>
                <a:gd name="connsiteX12" fmla="*/ 2647564 w 13623187"/>
                <a:gd name="connsiteY12" fmla="*/ 4220308 h 6310100"/>
                <a:gd name="connsiteX13" fmla="*/ 2647564 w 13623187"/>
                <a:gd name="connsiteY13" fmla="*/ 6283569 h 6310100"/>
                <a:gd name="connsiteX14" fmla="*/ 0 w 13623187"/>
                <a:gd name="connsiteY14" fmla="*/ 6310100 h 6310100"/>
                <a:gd name="connsiteX15" fmla="*/ 0 w 13623187"/>
                <a:gd name="connsiteY15" fmla="*/ 0 h 6310100"/>
                <a:gd name="connsiteX0" fmla="*/ 0 w 13623187"/>
                <a:gd name="connsiteY0" fmla="*/ 0 h 6353906"/>
                <a:gd name="connsiteX1" fmla="*/ 4406025 w 13623187"/>
                <a:gd name="connsiteY1" fmla="*/ 46892 h 6353906"/>
                <a:gd name="connsiteX2" fmla="*/ 6774087 w 13623187"/>
                <a:gd name="connsiteY2" fmla="*/ 5017476 h 6353906"/>
                <a:gd name="connsiteX3" fmla="*/ 9235932 w 13623187"/>
                <a:gd name="connsiteY3" fmla="*/ 23446 h 6353906"/>
                <a:gd name="connsiteX4" fmla="*/ 12213595 w 13623187"/>
                <a:gd name="connsiteY4" fmla="*/ 1430215 h 6353906"/>
                <a:gd name="connsiteX5" fmla="*/ 13620364 w 13623187"/>
                <a:gd name="connsiteY5" fmla="*/ 6310100 h 6353906"/>
                <a:gd name="connsiteX6" fmla="*/ 10877164 w 13623187"/>
                <a:gd name="connsiteY6" fmla="*/ 6307015 h 6353906"/>
                <a:gd name="connsiteX7" fmla="*/ 10877165 w 13623187"/>
                <a:gd name="connsiteY7" fmla="*/ 4103077 h 6353906"/>
                <a:gd name="connsiteX8" fmla="*/ 10197225 w 13623187"/>
                <a:gd name="connsiteY8" fmla="*/ 4267200 h 6353906"/>
                <a:gd name="connsiteX9" fmla="*/ 10173779 w 13623187"/>
                <a:gd name="connsiteY9" fmla="*/ 6307015 h 6353906"/>
                <a:gd name="connsiteX10" fmla="*/ 3374395 w 13623187"/>
                <a:gd name="connsiteY10" fmla="*/ 6353906 h 6353906"/>
                <a:gd name="connsiteX11" fmla="*/ 3327501 w 13623187"/>
                <a:gd name="connsiteY11" fmla="*/ 4243753 h 6353906"/>
                <a:gd name="connsiteX12" fmla="*/ 2647564 w 13623187"/>
                <a:gd name="connsiteY12" fmla="*/ 4220308 h 6353906"/>
                <a:gd name="connsiteX13" fmla="*/ 2647564 w 13623187"/>
                <a:gd name="connsiteY13" fmla="*/ 6283569 h 6353906"/>
                <a:gd name="connsiteX14" fmla="*/ 0 w 13623187"/>
                <a:gd name="connsiteY14" fmla="*/ 6310100 h 6353906"/>
                <a:gd name="connsiteX15" fmla="*/ 0 w 13623187"/>
                <a:gd name="connsiteY15" fmla="*/ 0 h 6353906"/>
                <a:gd name="connsiteX0" fmla="*/ 0 w 13623187"/>
                <a:gd name="connsiteY0" fmla="*/ 0 h 6377352"/>
                <a:gd name="connsiteX1" fmla="*/ 4406025 w 13623187"/>
                <a:gd name="connsiteY1" fmla="*/ 46892 h 6377352"/>
                <a:gd name="connsiteX2" fmla="*/ 6774087 w 13623187"/>
                <a:gd name="connsiteY2" fmla="*/ 5017476 h 6377352"/>
                <a:gd name="connsiteX3" fmla="*/ 9235932 w 13623187"/>
                <a:gd name="connsiteY3" fmla="*/ 23446 h 6377352"/>
                <a:gd name="connsiteX4" fmla="*/ 12213595 w 13623187"/>
                <a:gd name="connsiteY4" fmla="*/ 1430215 h 6377352"/>
                <a:gd name="connsiteX5" fmla="*/ 13620364 w 13623187"/>
                <a:gd name="connsiteY5" fmla="*/ 6310100 h 6377352"/>
                <a:gd name="connsiteX6" fmla="*/ 10877164 w 13623187"/>
                <a:gd name="connsiteY6" fmla="*/ 6307015 h 6377352"/>
                <a:gd name="connsiteX7" fmla="*/ 10877165 w 13623187"/>
                <a:gd name="connsiteY7" fmla="*/ 4103077 h 6377352"/>
                <a:gd name="connsiteX8" fmla="*/ 10197225 w 13623187"/>
                <a:gd name="connsiteY8" fmla="*/ 4267200 h 6377352"/>
                <a:gd name="connsiteX9" fmla="*/ 10173779 w 13623187"/>
                <a:gd name="connsiteY9" fmla="*/ 6307015 h 6377352"/>
                <a:gd name="connsiteX10" fmla="*/ 3350949 w 13623187"/>
                <a:gd name="connsiteY10" fmla="*/ 6377352 h 6377352"/>
                <a:gd name="connsiteX11" fmla="*/ 3327501 w 13623187"/>
                <a:gd name="connsiteY11" fmla="*/ 4243753 h 6377352"/>
                <a:gd name="connsiteX12" fmla="*/ 2647564 w 13623187"/>
                <a:gd name="connsiteY12" fmla="*/ 4220308 h 6377352"/>
                <a:gd name="connsiteX13" fmla="*/ 2647564 w 13623187"/>
                <a:gd name="connsiteY13" fmla="*/ 6283569 h 6377352"/>
                <a:gd name="connsiteX14" fmla="*/ 0 w 13623187"/>
                <a:gd name="connsiteY14" fmla="*/ 6310100 h 6377352"/>
                <a:gd name="connsiteX15" fmla="*/ 0 w 13623187"/>
                <a:gd name="connsiteY15" fmla="*/ 0 h 6377352"/>
                <a:gd name="connsiteX0" fmla="*/ 0 w 13623187"/>
                <a:gd name="connsiteY0" fmla="*/ 0 h 6330460"/>
                <a:gd name="connsiteX1" fmla="*/ 4406025 w 13623187"/>
                <a:gd name="connsiteY1" fmla="*/ 46892 h 6330460"/>
                <a:gd name="connsiteX2" fmla="*/ 6774087 w 13623187"/>
                <a:gd name="connsiteY2" fmla="*/ 5017476 h 6330460"/>
                <a:gd name="connsiteX3" fmla="*/ 9235932 w 13623187"/>
                <a:gd name="connsiteY3" fmla="*/ 23446 h 6330460"/>
                <a:gd name="connsiteX4" fmla="*/ 12213595 w 13623187"/>
                <a:gd name="connsiteY4" fmla="*/ 1430215 h 6330460"/>
                <a:gd name="connsiteX5" fmla="*/ 13620364 w 13623187"/>
                <a:gd name="connsiteY5" fmla="*/ 6310100 h 6330460"/>
                <a:gd name="connsiteX6" fmla="*/ 10877164 w 13623187"/>
                <a:gd name="connsiteY6" fmla="*/ 6307015 h 6330460"/>
                <a:gd name="connsiteX7" fmla="*/ 10877165 w 13623187"/>
                <a:gd name="connsiteY7" fmla="*/ 4103077 h 6330460"/>
                <a:gd name="connsiteX8" fmla="*/ 10197225 w 13623187"/>
                <a:gd name="connsiteY8" fmla="*/ 4267200 h 6330460"/>
                <a:gd name="connsiteX9" fmla="*/ 10173779 w 13623187"/>
                <a:gd name="connsiteY9" fmla="*/ 6307015 h 6330460"/>
                <a:gd name="connsiteX10" fmla="*/ 3397841 w 13623187"/>
                <a:gd name="connsiteY10" fmla="*/ 6330460 h 6330460"/>
                <a:gd name="connsiteX11" fmla="*/ 3327501 w 13623187"/>
                <a:gd name="connsiteY11" fmla="*/ 4243753 h 6330460"/>
                <a:gd name="connsiteX12" fmla="*/ 2647564 w 13623187"/>
                <a:gd name="connsiteY12" fmla="*/ 4220308 h 6330460"/>
                <a:gd name="connsiteX13" fmla="*/ 2647564 w 13623187"/>
                <a:gd name="connsiteY13" fmla="*/ 6283569 h 6330460"/>
                <a:gd name="connsiteX14" fmla="*/ 0 w 13623187"/>
                <a:gd name="connsiteY14" fmla="*/ 6310100 h 6330460"/>
                <a:gd name="connsiteX15" fmla="*/ 0 w 13623187"/>
                <a:gd name="connsiteY15" fmla="*/ 0 h 6330460"/>
                <a:gd name="connsiteX0" fmla="*/ 0 w 13623187"/>
                <a:gd name="connsiteY0" fmla="*/ 0 h 6330460"/>
                <a:gd name="connsiteX1" fmla="*/ 4406025 w 13623187"/>
                <a:gd name="connsiteY1" fmla="*/ 46892 h 6330460"/>
                <a:gd name="connsiteX2" fmla="*/ 6774087 w 13623187"/>
                <a:gd name="connsiteY2" fmla="*/ 5017476 h 6330460"/>
                <a:gd name="connsiteX3" fmla="*/ 9235932 w 13623187"/>
                <a:gd name="connsiteY3" fmla="*/ 23446 h 6330460"/>
                <a:gd name="connsiteX4" fmla="*/ 12213595 w 13623187"/>
                <a:gd name="connsiteY4" fmla="*/ 1430215 h 6330460"/>
                <a:gd name="connsiteX5" fmla="*/ 13620364 w 13623187"/>
                <a:gd name="connsiteY5" fmla="*/ 6310100 h 6330460"/>
                <a:gd name="connsiteX6" fmla="*/ 10877164 w 13623187"/>
                <a:gd name="connsiteY6" fmla="*/ 6307015 h 6330460"/>
                <a:gd name="connsiteX7" fmla="*/ 10877165 w 13623187"/>
                <a:gd name="connsiteY7" fmla="*/ 4103077 h 6330460"/>
                <a:gd name="connsiteX8" fmla="*/ 10197225 w 13623187"/>
                <a:gd name="connsiteY8" fmla="*/ 4267200 h 6330460"/>
                <a:gd name="connsiteX9" fmla="*/ 10173779 w 13623187"/>
                <a:gd name="connsiteY9" fmla="*/ 6307015 h 6330460"/>
                <a:gd name="connsiteX10" fmla="*/ 3397841 w 13623187"/>
                <a:gd name="connsiteY10" fmla="*/ 6330460 h 6330460"/>
                <a:gd name="connsiteX11" fmla="*/ 3421286 w 13623187"/>
                <a:gd name="connsiteY11" fmla="*/ 4220307 h 6330460"/>
                <a:gd name="connsiteX12" fmla="*/ 2647564 w 13623187"/>
                <a:gd name="connsiteY12" fmla="*/ 4220308 h 6330460"/>
                <a:gd name="connsiteX13" fmla="*/ 2647564 w 13623187"/>
                <a:gd name="connsiteY13" fmla="*/ 6283569 h 6330460"/>
                <a:gd name="connsiteX14" fmla="*/ 0 w 13623187"/>
                <a:gd name="connsiteY14" fmla="*/ 6310100 h 6330460"/>
                <a:gd name="connsiteX15" fmla="*/ 0 w 13623187"/>
                <a:gd name="connsiteY15" fmla="*/ 0 h 6330460"/>
                <a:gd name="connsiteX0" fmla="*/ 0 w 13623187"/>
                <a:gd name="connsiteY0" fmla="*/ 0 h 6330460"/>
                <a:gd name="connsiteX1" fmla="*/ 4406025 w 13623187"/>
                <a:gd name="connsiteY1" fmla="*/ 46892 h 6330460"/>
                <a:gd name="connsiteX2" fmla="*/ 6774087 w 13623187"/>
                <a:gd name="connsiteY2" fmla="*/ 5017476 h 6330460"/>
                <a:gd name="connsiteX3" fmla="*/ 9235932 w 13623187"/>
                <a:gd name="connsiteY3" fmla="*/ 23446 h 6330460"/>
                <a:gd name="connsiteX4" fmla="*/ 12213595 w 13623187"/>
                <a:gd name="connsiteY4" fmla="*/ 1430215 h 6330460"/>
                <a:gd name="connsiteX5" fmla="*/ 13620364 w 13623187"/>
                <a:gd name="connsiteY5" fmla="*/ 6310100 h 6330460"/>
                <a:gd name="connsiteX6" fmla="*/ 10877164 w 13623187"/>
                <a:gd name="connsiteY6" fmla="*/ 6307015 h 6330460"/>
                <a:gd name="connsiteX7" fmla="*/ 10877165 w 13623187"/>
                <a:gd name="connsiteY7" fmla="*/ 4103077 h 6330460"/>
                <a:gd name="connsiteX8" fmla="*/ 10197225 w 13623187"/>
                <a:gd name="connsiteY8" fmla="*/ 4267200 h 6330460"/>
                <a:gd name="connsiteX9" fmla="*/ 10173779 w 13623187"/>
                <a:gd name="connsiteY9" fmla="*/ 6307015 h 6330460"/>
                <a:gd name="connsiteX10" fmla="*/ 3397841 w 13623187"/>
                <a:gd name="connsiteY10" fmla="*/ 6330460 h 6330460"/>
                <a:gd name="connsiteX11" fmla="*/ 3421286 w 13623187"/>
                <a:gd name="connsiteY11" fmla="*/ 4220307 h 6330460"/>
                <a:gd name="connsiteX12" fmla="*/ 2647564 w 13623187"/>
                <a:gd name="connsiteY12" fmla="*/ 4220308 h 6330460"/>
                <a:gd name="connsiteX13" fmla="*/ 2647564 w 13623187"/>
                <a:gd name="connsiteY13" fmla="*/ 6283569 h 6330460"/>
                <a:gd name="connsiteX14" fmla="*/ 0 w 13623187"/>
                <a:gd name="connsiteY14" fmla="*/ 6310100 h 6330460"/>
                <a:gd name="connsiteX15" fmla="*/ 0 w 13623187"/>
                <a:gd name="connsiteY15" fmla="*/ 0 h 6330460"/>
                <a:gd name="connsiteX0" fmla="*/ 0 w 13623187"/>
                <a:gd name="connsiteY0" fmla="*/ 0 h 6330460"/>
                <a:gd name="connsiteX1" fmla="*/ 4406025 w 13623187"/>
                <a:gd name="connsiteY1" fmla="*/ 46892 h 6330460"/>
                <a:gd name="connsiteX2" fmla="*/ 6774087 w 13623187"/>
                <a:gd name="connsiteY2" fmla="*/ 5017476 h 6330460"/>
                <a:gd name="connsiteX3" fmla="*/ 9235932 w 13623187"/>
                <a:gd name="connsiteY3" fmla="*/ 23446 h 6330460"/>
                <a:gd name="connsiteX4" fmla="*/ 12213595 w 13623187"/>
                <a:gd name="connsiteY4" fmla="*/ 1430215 h 6330460"/>
                <a:gd name="connsiteX5" fmla="*/ 13620364 w 13623187"/>
                <a:gd name="connsiteY5" fmla="*/ 6310100 h 6330460"/>
                <a:gd name="connsiteX6" fmla="*/ 10877164 w 13623187"/>
                <a:gd name="connsiteY6" fmla="*/ 6307015 h 6330460"/>
                <a:gd name="connsiteX7" fmla="*/ 10877165 w 13623187"/>
                <a:gd name="connsiteY7" fmla="*/ 4103077 h 6330460"/>
                <a:gd name="connsiteX8" fmla="*/ 10197225 w 13623187"/>
                <a:gd name="connsiteY8" fmla="*/ 4267200 h 6330460"/>
                <a:gd name="connsiteX9" fmla="*/ 10173779 w 13623187"/>
                <a:gd name="connsiteY9" fmla="*/ 6307015 h 6330460"/>
                <a:gd name="connsiteX10" fmla="*/ 3397841 w 13623187"/>
                <a:gd name="connsiteY10" fmla="*/ 6330460 h 6330460"/>
                <a:gd name="connsiteX11" fmla="*/ 3421286 w 13623187"/>
                <a:gd name="connsiteY11" fmla="*/ 4220307 h 6330460"/>
                <a:gd name="connsiteX12" fmla="*/ 2647564 w 13623187"/>
                <a:gd name="connsiteY12" fmla="*/ 4220308 h 6330460"/>
                <a:gd name="connsiteX13" fmla="*/ 2647564 w 13623187"/>
                <a:gd name="connsiteY13" fmla="*/ 6283569 h 6330460"/>
                <a:gd name="connsiteX14" fmla="*/ 0 w 13623187"/>
                <a:gd name="connsiteY14" fmla="*/ 6310100 h 6330460"/>
                <a:gd name="connsiteX15" fmla="*/ 0 w 13623187"/>
                <a:gd name="connsiteY15" fmla="*/ 0 h 6330460"/>
                <a:gd name="connsiteX0" fmla="*/ 0 w 13623187"/>
                <a:gd name="connsiteY0" fmla="*/ 0 h 6330460"/>
                <a:gd name="connsiteX1" fmla="*/ 4406025 w 13623187"/>
                <a:gd name="connsiteY1" fmla="*/ 46892 h 6330460"/>
                <a:gd name="connsiteX2" fmla="*/ 6774087 w 13623187"/>
                <a:gd name="connsiteY2" fmla="*/ 5017476 h 6330460"/>
                <a:gd name="connsiteX3" fmla="*/ 9235932 w 13623187"/>
                <a:gd name="connsiteY3" fmla="*/ 23446 h 6330460"/>
                <a:gd name="connsiteX4" fmla="*/ 12213595 w 13623187"/>
                <a:gd name="connsiteY4" fmla="*/ 1430215 h 6330460"/>
                <a:gd name="connsiteX5" fmla="*/ 13620364 w 13623187"/>
                <a:gd name="connsiteY5" fmla="*/ 6310100 h 6330460"/>
                <a:gd name="connsiteX6" fmla="*/ 10877164 w 13623187"/>
                <a:gd name="connsiteY6" fmla="*/ 6307015 h 6330460"/>
                <a:gd name="connsiteX7" fmla="*/ 10877165 w 13623187"/>
                <a:gd name="connsiteY7" fmla="*/ 4103077 h 6330460"/>
                <a:gd name="connsiteX8" fmla="*/ 10197225 w 13623187"/>
                <a:gd name="connsiteY8" fmla="*/ 4267200 h 6330460"/>
                <a:gd name="connsiteX9" fmla="*/ 10173779 w 13623187"/>
                <a:gd name="connsiteY9" fmla="*/ 6307015 h 6330460"/>
                <a:gd name="connsiteX10" fmla="*/ 3397841 w 13623187"/>
                <a:gd name="connsiteY10" fmla="*/ 6330460 h 6330460"/>
                <a:gd name="connsiteX11" fmla="*/ 3421286 w 13623187"/>
                <a:gd name="connsiteY11" fmla="*/ 4220307 h 6330460"/>
                <a:gd name="connsiteX12" fmla="*/ 2647564 w 13623187"/>
                <a:gd name="connsiteY12" fmla="*/ 4220308 h 6330460"/>
                <a:gd name="connsiteX13" fmla="*/ 2647564 w 13623187"/>
                <a:gd name="connsiteY13" fmla="*/ 6283569 h 6330460"/>
                <a:gd name="connsiteX14" fmla="*/ 0 w 13623187"/>
                <a:gd name="connsiteY14" fmla="*/ 6310100 h 6330460"/>
                <a:gd name="connsiteX15" fmla="*/ 0 w 13623187"/>
                <a:gd name="connsiteY15" fmla="*/ 0 h 6330460"/>
                <a:gd name="connsiteX0" fmla="*/ 0 w 13623187"/>
                <a:gd name="connsiteY0" fmla="*/ 0 h 6330460"/>
                <a:gd name="connsiteX1" fmla="*/ 4406025 w 13623187"/>
                <a:gd name="connsiteY1" fmla="*/ 46892 h 6330460"/>
                <a:gd name="connsiteX2" fmla="*/ 6774087 w 13623187"/>
                <a:gd name="connsiteY2" fmla="*/ 5017476 h 6330460"/>
                <a:gd name="connsiteX3" fmla="*/ 9235932 w 13623187"/>
                <a:gd name="connsiteY3" fmla="*/ 23446 h 6330460"/>
                <a:gd name="connsiteX4" fmla="*/ 12213595 w 13623187"/>
                <a:gd name="connsiteY4" fmla="*/ 1430215 h 6330460"/>
                <a:gd name="connsiteX5" fmla="*/ 13620364 w 13623187"/>
                <a:gd name="connsiteY5" fmla="*/ 6310100 h 6330460"/>
                <a:gd name="connsiteX6" fmla="*/ 10877164 w 13623187"/>
                <a:gd name="connsiteY6" fmla="*/ 6307015 h 6330460"/>
                <a:gd name="connsiteX7" fmla="*/ 10877165 w 13623187"/>
                <a:gd name="connsiteY7" fmla="*/ 4103077 h 6330460"/>
                <a:gd name="connsiteX8" fmla="*/ 10197225 w 13623187"/>
                <a:gd name="connsiteY8" fmla="*/ 4267200 h 6330460"/>
                <a:gd name="connsiteX9" fmla="*/ 10173779 w 13623187"/>
                <a:gd name="connsiteY9" fmla="*/ 6307015 h 6330460"/>
                <a:gd name="connsiteX10" fmla="*/ 3397841 w 13623187"/>
                <a:gd name="connsiteY10" fmla="*/ 6330460 h 6330460"/>
                <a:gd name="connsiteX11" fmla="*/ 3421286 w 13623187"/>
                <a:gd name="connsiteY11" fmla="*/ 4220307 h 6330460"/>
                <a:gd name="connsiteX12" fmla="*/ 2647564 w 13623187"/>
                <a:gd name="connsiteY12" fmla="*/ 4220308 h 6330460"/>
                <a:gd name="connsiteX13" fmla="*/ 2647564 w 13623187"/>
                <a:gd name="connsiteY13" fmla="*/ 6283569 h 6330460"/>
                <a:gd name="connsiteX14" fmla="*/ 0 w 13623187"/>
                <a:gd name="connsiteY14" fmla="*/ 6310100 h 6330460"/>
                <a:gd name="connsiteX15" fmla="*/ 0 w 13623187"/>
                <a:gd name="connsiteY15" fmla="*/ 0 h 6330460"/>
                <a:gd name="connsiteX0" fmla="*/ 914400 w 13623187"/>
                <a:gd name="connsiteY0" fmla="*/ 1970108 h 6307645"/>
                <a:gd name="connsiteX1" fmla="*/ 4406025 w 13623187"/>
                <a:gd name="connsiteY1" fmla="*/ 24077 h 6307645"/>
                <a:gd name="connsiteX2" fmla="*/ 6774087 w 13623187"/>
                <a:gd name="connsiteY2" fmla="*/ 4994661 h 6307645"/>
                <a:gd name="connsiteX3" fmla="*/ 9235932 w 13623187"/>
                <a:gd name="connsiteY3" fmla="*/ 631 h 6307645"/>
                <a:gd name="connsiteX4" fmla="*/ 12213595 w 13623187"/>
                <a:gd name="connsiteY4" fmla="*/ 1407400 h 6307645"/>
                <a:gd name="connsiteX5" fmla="*/ 13620364 w 13623187"/>
                <a:gd name="connsiteY5" fmla="*/ 6287285 h 6307645"/>
                <a:gd name="connsiteX6" fmla="*/ 10877164 w 13623187"/>
                <a:gd name="connsiteY6" fmla="*/ 6284200 h 6307645"/>
                <a:gd name="connsiteX7" fmla="*/ 10877165 w 13623187"/>
                <a:gd name="connsiteY7" fmla="*/ 4080262 h 6307645"/>
                <a:gd name="connsiteX8" fmla="*/ 10197225 w 13623187"/>
                <a:gd name="connsiteY8" fmla="*/ 4244385 h 6307645"/>
                <a:gd name="connsiteX9" fmla="*/ 10173779 w 13623187"/>
                <a:gd name="connsiteY9" fmla="*/ 6284200 h 6307645"/>
                <a:gd name="connsiteX10" fmla="*/ 3397841 w 13623187"/>
                <a:gd name="connsiteY10" fmla="*/ 6307645 h 6307645"/>
                <a:gd name="connsiteX11" fmla="*/ 3421286 w 13623187"/>
                <a:gd name="connsiteY11" fmla="*/ 4197492 h 6307645"/>
                <a:gd name="connsiteX12" fmla="*/ 2647564 w 13623187"/>
                <a:gd name="connsiteY12" fmla="*/ 4197493 h 6307645"/>
                <a:gd name="connsiteX13" fmla="*/ 2647564 w 13623187"/>
                <a:gd name="connsiteY13" fmla="*/ 6260754 h 6307645"/>
                <a:gd name="connsiteX14" fmla="*/ 0 w 13623187"/>
                <a:gd name="connsiteY14" fmla="*/ 6287285 h 6307645"/>
                <a:gd name="connsiteX15" fmla="*/ 914400 w 13623187"/>
                <a:gd name="connsiteY15" fmla="*/ 1970108 h 6307645"/>
                <a:gd name="connsiteX0" fmla="*/ 914400 w 13623187"/>
                <a:gd name="connsiteY0" fmla="*/ 1970108 h 6307645"/>
                <a:gd name="connsiteX1" fmla="*/ 4406025 w 13623187"/>
                <a:gd name="connsiteY1" fmla="*/ 24077 h 6307645"/>
                <a:gd name="connsiteX2" fmla="*/ 6774087 w 13623187"/>
                <a:gd name="connsiteY2" fmla="*/ 4994661 h 6307645"/>
                <a:gd name="connsiteX3" fmla="*/ 9235932 w 13623187"/>
                <a:gd name="connsiteY3" fmla="*/ 631 h 6307645"/>
                <a:gd name="connsiteX4" fmla="*/ 12213595 w 13623187"/>
                <a:gd name="connsiteY4" fmla="*/ 1407400 h 6307645"/>
                <a:gd name="connsiteX5" fmla="*/ 13620364 w 13623187"/>
                <a:gd name="connsiteY5" fmla="*/ 6287285 h 6307645"/>
                <a:gd name="connsiteX6" fmla="*/ 10877164 w 13623187"/>
                <a:gd name="connsiteY6" fmla="*/ 6284200 h 6307645"/>
                <a:gd name="connsiteX7" fmla="*/ 10877165 w 13623187"/>
                <a:gd name="connsiteY7" fmla="*/ 4080262 h 6307645"/>
                <a:gd name="connsiteX8" fmla="*/ 10197225 w 13623187"/>
                <a:gd name="connsiteY8" fmla="*/ 4244385 h 6307645"/>
                <a:gd name="connsiteX9" fmla="*/ 10173779 w 13623187"/>
                <a:gd name="connsiteY9" fmla="*/ 6284200 h 6307645"/>
                <a:gd name="connsiteX10" fmla="*/ 3397841 w 13623187"/>
                <a:gd name="connsiteY10" fmla="*/ 6307645 h 6307645"/>
                <a:gd name="connsiteX11" fmla="*/ 3421286 w 13623187"/>
                <a:gd name="connsiteY11" fmla="*/ 4197492 h 6307645"/>
                <a:gd name="connsiteX12" fmla="*/ 2647564 w 13623187"/>
                <a:gd name="connsiteY12" fmla="*/ 4197493 h 6307645"/>
                <a:gd name="connsiteX13" fmla="*/ 2647564 w 13623187"/>
                <a:gd name="connsiteY13" fmla="*/ 6260754 h 6307645"/>
                <a:gd name="connsiteX14" fmla="*/ 0 w 13623187"/>
                <a:gd name="connsiteY14" fmla="*/ 6287285 h 6307645"/>
                <a:gd name="connsiteX15" fmla="*/ 914400 w 13623187"/>
                <a:gd name="connsiteY15" fmla="*/ 1970108 h 6307645"/>
                <a:gd name="connsiteX0" fmla="*/ 914400 w 13623187"/>
                <a:gd name="connsiteY0" fmla="*/ 1985552 h 6323089"/>
                <a:gd name="connsiteX1" fmla="*/ 4406025 w 13623187"/>
                <a:gd name="connsiteY1" fmla="*/ 39521 h 6323089"/>
                <a:gd name="connsiteX2" fmla="*/ 6774087 w 13623187"/>
                <a:gd name="connsiteY2" fmla="*/ 5010105 h 6323089"/>
                <a:gd name="connsiteX3" fmla="*/ 9235932 w 13623187"/>
                <a:gd name="connsiteY3" fmla="*/ 16075 h 6323089"/>
                <a:gd name="connsiteX4" fmla="*/ 12213595 w 13623187"/>
                <a:gd name="connsiteY4" fmla="*/ 1422844 h 6323089"/>
                <a:gd name="connsiteX5" fmla="*/ 13620364 w 13623187"/>
                <a:gd name="connsiteY5" fmla="*/ 6302729 h 6323089"/>
                <a:gd name="connsiteX6" fmla="*/ 10877164 w 13623187"/>
                <a:gd name="connsiteY6" fmla="*/ 6299644 h 6323089"/>
                <a:gd name="connsiteX7" fmla="*/ 10877165 w 13623187"/>
                <a:gd name="connsiteY7" fmla="*/ 4095706 h 6323089"/>
                <a:gd name="connsiteX8" fmla="*/ 10197225 w 13623187"/>
                <a:gd name="connsiteY8" fmla="*/ 4259829 h 6323089"/>
                <a:gd name="connsiteX9" fmla="*/ 10173779 w 13623187"/>
                <a:gd name="connsiteY9" fmla="*/ 6299644 h 6323089"/>
                <a:gd name="connsiteX10" fmla="*/ 3397841 w 13623187"/>
                <a:gd name="connsiteY10" fmla="*/ 6323089 h 6323089"/>
                <a:gd name="connsiteX11" fmla="*/ 3421286 w 13623187"/>
                <a:gd name="connsiteY11" fmla="*/ 4212936 h 6323089"/>
                <a:gd name="connsiteX12" fmla="*/ 2647564 w 13623187"/>
                <a:gd name="connsiteY12" fmla="*/ 4212937 h 6323089"/>
                <a:gd name="connsiteX13" fmla="*/ 2647564 w 13623187"/>
                <a:gd name="connsiteY13" fmla="*/ 6276198 h 6323089"/>
                <a:gd name="connsiteX14" fmla="*/ 0 w 13623187"/>
                <a:gd name="connsiteY14" fmla="*/ 6302729 h 6323089"/>
                <a:gd name="connsiteX15" fmla="*/ 914400 w 13623187"/>
                <a:gd name="connsiteY15" fmla="*/ 1985552 h 6323089"/>
                <a:gd name="connsiteX0" fmla="*/ 937847 w 13646634"/>
                <a:gd name="connsiteY0" fmla="*/ 1985552 h 6323089"/>
                <a:gd name="connsiteX1" fmla="*/ 4429472 w 13646634"/>
                <a:gd name="connsiteY1" fmla="*/ 39521 h 6323089"/>
                <a:gd name="connsiteX2" fmla="*/ 6797534 w 13646634"/>
                <a:gd name="connsiteY2" fmla="*/ 5010105 h 6323089"/>
                <a:gd name="connsiteX3" fmla="*/ 9259379 w 13646634"/>
                <a:gd name="connsiteY3" fmla="*/ 16075 h 6323089"/>
                <a:gd name="connsiteX4" fmla="*/ 12237042 w 13646634"/>
                <a:gd name="connsiteY4" fmla="*/ 1422844 h 6323089"/>
                <a:gd name="connsiteX5" fmla="*/ 13643811 w 13646634"/>
                <a:gd name="connsiteY5" fmla="*/ 6302729 h 6323089"/>
                <a:gd name="connsiteX6" fmla="*/ 10900611 w 13646634"/>
                <a:gd name="connsiteY6" fmla="*/ 6299644 h 6323089"/>
                <a:gd name="connsiteX7" fmla="*/ 10900612 w 13646634"/>
                <a:gd name="connsiteY7" fmla="*/ 4095706 h 6323089"/>
                <a:gd name="connsiteX8" fmla="*/ 10220672 w 13646634"/>
                <a:gd name="connsiteY8" fmla="*/ 4259829 h 6323089"/>
                <a:gd name="connsiteX9" fmla="*/ 10197226 w 13646634"/>
                <a:gd name="connsiteY9" fmla="*/ 6299644 h 6323089"/>
                <a:gd name="connsiteX10" fmla="*/ 3421288 w 13646634"/>
                <a:gd name="connsiteY10" fmla="*/ 6323089 h 6323089"/>
                <a:gd name="connsiteX11" fmla="*/ 3444733 w 13646634"/>
                <a:gd name="connsiteY11" fmla="*/ 4212936 h 6323089"/>
                <a:gd name="connsiteX12" fmla="*/ 2671011 w 13646634"/>
                <a:gd name="connsiteY12" fmla="*/ 4212937 h 6323089"/>
                <a:gd name="connsiteX13" fmla="*/ 2671011 w 13646634"/>
                <a:gd name="connsiteY13" fmla="*/ 6276198 h 6323089"/>
                <a:gd name="connsiteX14" fmla="*/ 0 w 13646634"/>
                <a:gd name="connsiteY14" fmla="*/ 6232390 h 6323089"/>
                <a:gd name="connsiteX15" fmla="*/ 937847 w 13646634"/>
                <a:gd name="connsiteY15" fmla="*/ 1985552 h 6323089"/>
                <a:gd name="connsiteX0" fmla="*/ 867509 w 13576296"/>
                <a:gd name="connsiteY0" fmla="*/ 1985552 h 6323089"/>
                <a:gd name="connsiteX1" fmla="*/ 4359134 w 13576296"/>
                <a:gd name="connsiteY1" fmla="*/ 39521 h 6323089"/>
                <a:gd name="connsiteX2" fmla="*/ 6727196 w 13576296"/>
                <a:gd name="connsiteY2" fmla="*/ 5010105 h 6323089"/>
                <a:gd name="connsiteX3" fmla="*/ 9189041 w 13576296"/>
                <a:gd name="connsiteY3" fmla="*/ 16075 h 6323089"/>
                <a:gd name="connsiteX4" fmla="*/ 12166704 w 13576296"/>
                <a:gd name="connsiteY4" fmla="*/ 1422844 h 6323089"/>
                <a:gd name="connsiteX5" fmla="*/ 13573473 w 13576296"/>
                <a:gd name="connsiteY5" fmla="*/ 6302729 h 6323089"/>
                <a:gd name="connsiteX6" fmla="*/ 10830273 w 13576296"/>
                <a:gd name="connsiteY6" fmla="*/ 6299644 h 6323089"/>
                <a:gd name="connsiteX7" fmla="*/ 10830274 w 13576296"/>
                <a:gd name="connsiteY7" fmla="*/ 4095706 h 6323089"/>
                <a:gd name="connsiteX8" fmla="*/ 10150334 w 13576296"/>
                <a:gd name="connsiteY8" fmla="*/ 4259829 h 6323089"/>
                <a:gd name="connsiteX9" fmla="*/ 10126888 w 13576296"/>
                <a:gd name="connsiteY9" fmla="*/ 6299644 h 6323089"/>
                <a:gd name="connsiteX10" fmla="*/ 3350950 w 13576296"/>
                <a:gd name="connsiteY10" fmla="*/ 6323089 h 6323089"/>
                <a:gd name="connsiteX11" fmla="*/ 3374395 w 13576296"/>
                <a:gd name="connsiteY11" fmla="*/ 4212936 h 6323089"/>
                <a:gd name="connsiteX12" fmla="*/ 2600673 w 13576296"/>
                <a:gd name="connsiteY12" fmla="*/ 4212937 h 6323089"/>
                <a:gd name="connsiteX13" fmla="*/ 2600673 w 13576296"/>
                <a:gd name="connsiteY13" fmla="*/ 6276198 h 6323089"/>
                <a:gd name="connsiteX14" fmla="*/ 0 w 13576296"/>
                <a:gd name="connsiteY14" fmla="*/ 6302729 h 6323089"/>
                <a:gd name="connsiteX15" fmla="*/ 867509 w 13576296"/>
                <a:gd name="connsiteY15" fmla="*/ 1985552 h 6323089"/>
                <a:gd name="connsiteX0" fmla="*/ 875123 w 13583910"/>
                <a:gd name="connsiteY0" fmla="*/ 1985552 h 6323089"/>
                <a:gd name="connsiteX1" fmla="*/ 4366748 w 13583910"/>
                <a:gd name="connsiteY1" fmla="*/ 39521 h 6323089"/>
                <a:gd name="connsiteX2" fmla="*/ 6734810 w 13583910"/>
                <a:gd name="connsiteY2" fmla="*/ 5010105 h 6323089"/>
                <a:gd name="connsiteX3" fmla="*/ 9196655 w 13583910"/>
                <a:gd name="connsiteY3" fmla="*/ 16075 h 6323089"/>
                <a:gd name="connsiteX4" fmla="*/ 12174318 w 13583910"/>
                <a:gd name="connsiteY4" fmla="*/ 1422844 h 6323089"/>
                <a:gd name="connsiteX5" fmla="*/ 13581087 w 13583910"/>
                <a:gd name="connsiteY5" fmla="*/ 6302729 h 6323089"/>
                <a:gd name="connsiteX6" fmla="*/ 10837887 w 13583910"/>
                <a:gd name="connsiteY6" fmla="*/ 6299644 h 6323089"/>
                <a:gd name="connsiteX7" fmla="*/ 10837888 w 13583910"/>
                <a:gd name="connsiteY7" fmla="*/ 4095706 h 6323089"/>
                <a:gd name="connsiteX8" fmla="*/ 10157948 w 13583910"/>
                <a:gd name="connsiteY8" fmla="*/ 4259829 h 6323089"/>
                <a:gd name="connsiteX9" fmla="*/ 10134502 w 13583910"/>
                <a:gd name="connsiteY9" fmla="*/ 6299644 h 6323089"/>
                <a:gd name="connsiteX10" fmla="*/ 3358564 w 13583910"/>
                <a:gd name="connsiteY10" fmla="*/ 6323089 h 6323089"/>
                <a:gd name="connsiteX11" fmla="*/ 3382009 w 13583910"/>
                <a:gd name="connsiteY11" fmla="*/ 4212936 h 6323089"/>
                <a:gd name="connsiteX12" fmla="*/ 2608287 w 13583910"/>
                <a:gd name="connsiteY12" fmla="*/ 4212937 h 6323089"/>
                <a:gd name="connsiteX13" fmla="*/ 2608287 w 13583910"/>
                <a:gd name="connsiteY13" fmla="*/ 6276198 h 6323089"/>
                <a:gd name="connsiteX14" fmla="*/ 7614 w 13583910"/>
                <a:gd name="connsiteY14" fmla="*/ 6302729 h 6323089"/>
                <a:gd name="connsiteX15" fmla="*/ 875123 w 13583910"/>
                <a:gd name="connsiteY15" fmla="*/ 1985552 h 6323089"/>
                <a:gd name="connsiteX0" fmla="*/ 1154365 w 13581798"/>
                <a:gd name="connsiteY0" fmla="*/ 1654535 h 6343764"/>
                <a:gd name="connsiteX1" fmla="*/ 4364636 w 13581798"/>
                <a:gd name="connsiteY1" fmla="*/ 60196 h 6343764"/>
                <a:gd name="connsiteX2" fmla="*/ 6732698 w 13581798"/>
                <a:gd name="connsiteY2" fmla="*/ 5030780 h 6343764"/>
                <a:gd name="connsiteX3" fmla="*/ 9194543 w 13581798"/>
                <a:gd name="connsiteY3" fmla="*/ 36750 h 6343764"/>
                <a:gd name="connsiteX4" fmla="*/ 12172206 w 13581798"/>
                <a:gd name="connsiteY4" fmla="*/ 1443519 h 6343764"/>
                <a:gd name="connsiteX5" fmla="*/ 13578975 w 13581798"/>
                <a:gd name="connsiteY5" fmla="*/ 6323404 h 6343764"/>
                <a:gd name="connsiteX6" fmla="*/ 10835775 w 13581798"/>
                <a:gd name="connsiteY6" fmla="*/ 6320319 h 6343764"/>
                <a:gd name="connsiteX7" fmla="*/ 10835776 w 13581798"/>
                <a:gd name="connsiteY7" fmla="*/ 4116381 h 6343764"/>
                <a:gd name="connsiteX8" fmla="*/ 10155836 w 13581798"/>
                <a:gd name="connsiteY8" fmla="*/ 4280504 h 6343764"/>
                <a:gd name="connsiteX9" fmla="*/ 10132390 w 13581798"/>
                <a:gd name="connsiteY9" fmla="*/ 6320319 h 6343764"/>
                <a:gd name="connsiteX10" fmla="*/ 3356452 w 13581798"/>
                <a:gd name="connsiteY10" fmla="*/ 6343764 h 6343764"/>
                <a:gd name="connsiteX11" fmla="*/ 3379897 w 13581798"/>
                <a:gd name="connsiteY11" fmla="*/ 4233611 h 6343764"/>
                <a:gd name="connsiteX12" fmla="*/ 2606175 w 13581798"/>
                <a:gd name="connsiteY12" fmla="*/ 4233612 h 6343764"/>
                <a:gd name="connsiteX13" fmla="*/ 2606175 w 13581798"/>
                <a:gd name="connsiteY13" fmla="*/ 6296873 h 6343764"/>
                <a:gd name="connsiteX14" fmla="*/ 5502 w 13581798"/>
                <a:gd name="connsiteY14" fmla="*/ 6323404 h 6343764"/>
                <a:gd name="connsiteX15" fmla="*/ 1154365 w 13581798"/>
                <a:gd name="connsiteY15" fmla="*/ 1654535 h 6343764"/>
                <a:gd name="connsiteX0" fmla="*/ 1154012 w 13581445"/>
                <a:gd name="connsiteY0" fmla="*/ 1654535 h 6343764"/>
                <a:gd name="connsiteX1" fmla="*/ 4364283 w 13581445"/>
                <a:gd name="connsiteY1" fmla="*/ 60196 h 6343764"/>
                <a:gd name="connsiteX2" fmla="*/ 6732345 w 13581445"/>
                <a:gd name="connsiteY2" fmla="*/ 5030780 h 6343764"/>
                <a:gd name="connsiteX3" fmla="*/ 9194190 w 13581445"/>
                <a:gd name="connsiteY3" fmla="*/ 36750 h 6343764"/>
                <a:gd name="connsiteX4" fmla="*/ 12171853 w 13581445"/>
                <a:gd name="connsiteY4" fmla="*/ 1443519 h 6343764"/>
                <a:gd name="connsiteX5" fmla="*/ 13578622 w 13581445"/>
                <a:gd name="connsiteY5" fmla="*/ 6323404 h 6343764"/>
                <a:gd name="connsiteX6" fmla="*/ 10835422 w 13581445"/>
                <a:gd name="connsiteY6" fmla="*/ 6320319 h 6343764"/>
                <a:gd name="connsiteX7" fmla="*/ 10835423 w 13581445"/>
                <a:gd name="connsiteY7" fmla="*/ 4116381 h 6343764"/>
                <a:gd name="connsiteX8" fmla="*/ 10155483 w 13581445"/>
                <a:gd name="connsiteY8" fmla="*/ 4280504 h 6343764"/>
                <a:gd name="connsiteX9" fmla="*/ 10132037 w 13581445"/>
                <a:gd name="connsiteY9" fmla="*/ 6320319 h 6343764"/>
                <a:gd name="connsiteX10" fmla="*/ 3356099 w 13581445"/>
                <a:gd name="connsiteY10" fmla="*/ 6343764 h 6343764"/>
                <a:gd name="connsiteX11" fmla="*/ 3379544 w 13581445"/>
                <a:gd name="connsiteY11" fmla="*/ 4233611 h 6343764"/>
                <a:gd name="connsiteX12" fmla="*/ 2605822 w 13581445"/>
                <a:gd name="connsiteY12" fmla="*/ 4233612 h 6343764"/>
                <a:gd name="connsiteX13" fmla="*/ 2605822 w 13581445"/>
                <a:gd name="connsiteY13" fmla="*/ 6296873 h 6343764"/>
                <a:gd name="connsiteX14" fmla="*/ 5149 w 13581445"/>
                <a:gd name="connsiteY14" fmla="*/ 6323404 h 6343764"/>
                <a:gd name="connsiteX15" fmla="*/ 1154012 w 13581445"/>
                <a:gd name="connsiteY15" fmla="*/ 1654535 h 6343764"/>
                <a:gd name="connsiteX0" fmla="*/ 1227606 w 13655039"/>
                <a:gd name="connsiteY0" fmla="*/ 1654535 h 6343764"/>
                <a:gd name="connsiteX1" fmla="*/ 4437877 w 13655039"/>
                <a:gd name="connsiteY1" fmla="*/ 60196 h 6343764"/>
                <a:gd name="connsiteX2" fmla="*/ 6805939 w 13655039"/>
                <a:gd name="connsiteY2" fmla="*/ 5030780 h 6343764"/>
                <a:gd name="connsiteX3" fmla="*/ 9267784 w 13655039"/>
                <a:gd name="connsiteY3" fmla="*/ 36750 h 6343764"/>
                <a:gd name="connsiteX4" fmla="*/ 12245447 w 13655039"/>
                <a:gd name="connsiteY4" fmla="*/ 1443519 h 6343764"/>
                <a:gd name="connsiteX5" fmla="*/ 13652216 w 13655039"/>
                <a:gd name="connsiteY5" fmla="*/ 6323404 h 6343764"/>
                <a:gd name="connsiteX6" fmla="*/ 10909016 w 13655039"/>
                <a:gd name="connsiteY6" fmla="*/ 6320319 h 6343764"/>
                <a:gd name="connsiteX7" fmla="*/ 10909017 w 13655039"/>
                <a:gd name="connsiteY7" fmla="*/ 4116381 h 6343764"/>
                <a:gd name="connsiteX8" fmla="*/ 10229077 w 13655039"/>
                <a:gd name="connsiteY8" fmla="*/ 4280504 h 6343764"/>
                <a:gd name="connsiteX9" fmla="*/ 10205631 w 13655039"/>
                <a:gd name="connsiteY9" fmla="*/ 6320319 h 6343764"/>
                <a:gd name="connsiteX10" fmla="*/ 3429693 w 13655039"/>
                <a:gd name="connsiteY10" fmla="*/ 6343764 h 6343764"/>
                <a:gd name="connsiteX11" fmla="*/ 3453138 w 13655039"/>
                <a:gd name="connsiteY11" fmla="*/ 4233611 h 6343764"/>
                <a:gd name="connsiteX12" fmla="*/ 2679416 w 13655039"/>
                <a:gd name="connsiteY12" fmla="*/ 4233612 h 6343764"/>
                <a:gd name="connsiteX13" fmla="*/ 2679416 w 13655039"/>
                <a:gd name="connsiteY13" fmla="*/ 6296873 h 6343764"/>
                <a:gd name="connsiteX14" fmla="*/ 78743 w 13655039"/>
                <a:gd name="connsiteY14" fmla="*/ 6323404 h 6343764"/>
                <a:gd name="connsiteX15" fmla="*/ 1227606 w 13655039"/>
                <a:gd name="connsiteY15" fmla="*/ 1654535 h 6343764"/>
                <a:gd name="connsiteX0" fmla="*/ 1227606 w 13655039"/>
                <a:gd name="connsiteY0" fmla="*/ 1626092 h 6315321"/>
                <a:gd name="connsiteX1" fmla="*/ 4437877 w 13655039"/>
                <a:gd name="connsiteY1" fmla="*/ 31753 h 6315321"/>
                <a:gd name="connsiteX2" fmla="*/ 6805939 w 13655039"/>
                <a:gd name="connsiteY2" fmla="*/ 5002337 h 6315321"/>
                <a:gd name="connsiteX3" fmla="*/ 9267784 w 13655039"/>
                <a:gd name="connsiteY3" fmla="*/ 8307 h 6315321"/>
                <a:gd name="connsiteX4" fmla="*/ 12245447 w 13655039"/>
                <a:gd name="connsiteY4" fmla="*/ 1415076 h 6315321"/>
                <a:gd name="connsiteX5" fmla="*/ 13652216 w 13655039"/>
                <a:gd name="connsiteY5" fmla="*/ 6294961 h 6315321"/>
                <a:gd name="connsiteX6" fmla="*/ 10909016 w 13655039"/>
                <a:gd name="connsiteY6" fmla="*/ 6291876 h 6315321"/>
                <a:gd name="connsiteX7" fmla="*/ 10909017 w 13655039"/>
                <a:gd name="connsiteY7" fmla="*/ 4087938 h 6315321"/>
                <a:gd name="connsiteX8" fmla="*/ 10229077 w 13655039"/>
                <a:gd name="connsiteY8" fmla="*/ 4252061 h 6315321"/>
                <a:gd name="connsiteX9" fmla="*/ 10205631 w 13655039"/>
                <a:gd name="connsiteY9" fmla="*/ 6291876 h 6315321"/>
                <a:gd name="connsiteX10" fmla="*/ 3429693 w 13655039"/>
                <a:gd name="connsiteY10" fmla="*/ 6315321 h 6315321"/>
                <a:gd name="connsiteX11" fmla="*/ 3453138 w 13655039"/>
                <a:gd name="connsiteY11" fmla="*/ 4205168 h 6315321"/>
                <a:gd name="connsiteX12" fmla="*/ 2679416 w 13655039"/>
                <a:gd name="connsiteY12" fmla="*/ 4205169 h 6315321"/>
                <a:gd name="connsiteX13" fmla="*/ 2679416 w 13655039"/>
                <a:gd name="connsiteY13" fmla="*/ 6268430 h 6315321"/>
                <a:gd name="connsiteX14" fmla="*/ 78743 w 13655039"/>
                <a:gd name="connsiteY14" fmla="*/ 6294961 h 6315321"/>
                <a:gd name="connsiteX15" fmla="*/ 1227606 w 13655039"/>
                <a:gd name="connsiteY15" fmla="*/ 1626092 h 6315321"/>
                <a:gd name="connsiteX0" fmla="*/ 1227606 w 13655039"/>
                <a:gd name="connsiteY0" fmla="*/ 1618416 h 6307645"/>
                <a:gd name="connsiteX1" fmla="*/ 4437877 w 13655039"/>
                <a:gd name="connsiteY1" fmla="*/ 24077 h 6307645"/>
                <a:gd name="connsiteX2" fmla="*/ 6805939 w 13655039"/>
                <a:gd name="connsiteY2" fmla="*/ 4994661 h 6307645"/>
                <a:gd name="connsiteX3" fmla="*/ 9267784 w 13655039"/>
                <a:gd name="connsiteY3" fmla="*/ 631 h 6307645"/>
                <a:gd name="connsiteX4" fmla="*/ 12245447 w 13655039"/>
                <a:gd name="connsiteY4" fmla="*/ 1407400 h 6307645"/>
                <a:gd name="connsiteX5" fmla="*/ 13652216 w 13655039"/>
                <a:gd name="connsiteY5" fmla="*/ 6287285 h 6307645"/>
                <a:gd name="connsiteX6" fmla="*/ 10909016 w 13655039"/>
                <a:gd name="connsiteY6" fmla="*/ 6284200 h 6307645"/>
                <a:gd name="connsiteX7" fmla="*/ 10909017 w 13655039"/>
                <a:gd name="connsiteY7" fmla="*/ 4080262 h 6307645"/>
                <a:gd name="connsiteX8" fmla="*/ 10229077 w 13655039"/>
                <a:gd name="connsiteY8" fmla="*/ 4244385 h 6307645"/>
                <a:gd name="connsiteX9" fmla="*/ 10205631 w 13655039"/>
                <a:gd name="connsiteY9" fmla="*/ 6284200 h 6307645"/>
                <a:gd name="connsiteX10" fmla="*/ 3429693 w 13655039"/>
                <a:gd name="connsiteY10" fmla="*/ 6307645 h 6307645"/>
                <a:gd name="connsiteX11" fmla="*/ 3453138 w 13655039"/>
                <a:gd name="connsiteY11" fmla="*/ 4197492 h 6307645"/>
                <a:gd name="connsiteX12" fmla="*/ 2679416 w 13655039"/>
                <a:gd name="connsiteY12" fmla="*/ 4197493 h 6307645"/>
                <a:gd name="connsiteX13" fmla="*/ 2679416 w 13655039"/>
                <a:gd name="connsiteY13" fmla="*/ 6260754 h 6307645"/>
                <a:gd name="connsiteX14" fmla="*/ 78743 w 13655039"/>
                <a:gd name="connsiteY14" fmla="*/ 6287285 h 6307645"/>
                <a:gd name="connsiteX15" fmla="*/ 1227606 w 13655039"/>
                <a:gd name="connsiteY15" fmla="*/ 1618416 h 6307645"/>
                <a:gd name="connsiteX0" fmla="*/ 1235776 w 13663209"/>
                <a:gd name="connsiteY0" fmla="*/ 1618416 h 6307645"/>
                <a:gd name="connsiteX1" fmla="*/ 4446047 w 13663209"/>
                <a:gd name="connsiteY1" fmla="*/ 24077 h 6307645"/>
                <a:gd name="connsiteX2" fmla="*/ 6814109 w 13663209"/>
                <a:gd name="connsiteY2" fmla="*/ 4994661 h 6307645"/>
                <a:gd name="connsiteX3" fmla="*/ 9275954 w 13663209"/>
                <a:gd name="connsiteY3" fmla="*/ 631 h 6307645"/>
                <a:gd name="connsiteX4" fmla="*/ 12253617 w 13663209"/>
                <a:gd name="connsiteY4" fmla="*/ 1407400 h 6307645"/>
                <a:gd name="connsiteX5" fmla="*/ 13660386 w 13663209"/>
                <a:gd name="connsiteY5" fmla="*/ 6287285 h 6307645"/>
                <a:gd name="connsiteX6" fmla="*/ 10917186 w 13663209"/>
                <a:gd name="connsiteY6" fmla="*/ 6284200 h 6307645"/>
                <a:gd name="connsiteX7" fmla="*/ 10917187 w 13663209"/>
                <a:gd name="connsiteY7" fmla="*/ 4080262 h 6307645"/>
                <a:gd name="connsiteX8" fmla="*/ 10237247 w 13663209"/>
                <a:gd name="connsiteY8" fmla="*/ 4244385 h 6307645"/>
                <a:gd name="connsiteX9" fmla="*/ 10213801 w 13663209"/>
                <a:gd name="connsiteY9" fmla="*/ 6284200 h 6307645"/>
                <a:gd name="connsiteX10" fmla="*/ 3437863 w 13663209"/>
                <a:gd name="connsiteY10" fmla="*/ 6307645 h 6307645"/>
                <a:gd name="connsiteX11" fmla="*/ 3461308 w 13663209"/>
                <a:gd name="connsiteY11" fmla="*/ 4197492 h 6307645"/>
                <a:gd name="connsiteX12" fmla="*/ 2687586 w 13663209"/>
                <a:gd name="connsiteY12" fmla="*/ 4197493 h 6307645"/>
                <a:gd name="connsiteX13" fmla="*/ 2687586 w 13663209"/>
                <a:gd name="connsiteY13" fmla="*/ 6260754 h 6307645"/>
                <a:gd name="connsiteX14" fmla="*/ 86913 w 13663209"/>
                <a:gd name="connsiteY14" fmla="*/ 6287285 h 6307645"/>
                <a:gd name="connsiteX15" fmla="*/ 1235776 w 13663209"/>
                <a:gd name="connsiteY15" fmla="*/ 1618416 h 6307645"/>
                <a:gd name="connsiteX0" fmla="*/ 1235776 w 13663209"/>
                <a:gd name="connsiteY0" fmla="*/ 1618416 h 6307645"/>
                <a:gd name="connsiteX1" fmla="*/ 4446047 w 13663209"/>
                <a:gd name="connsiteY1" fmla="*/ 24077 h 6307645"/>
                <a:gd name="connsiteX2" fmla="*/ 6814109 w 13663209"/>
                <a:gd name="connsiteY2" fmla="*/ 4994661 h 6307645"/>
                <a:gd name="connsiteX3" fmla="*/ 9275954 w 13663209"/>
                <a:gd name="connsiteY3" fmla="*/ 631 h 6307645"/>
                <a:gd name="connsiteX4" fmla="*/ 12253617 w 13663209"/>
                <a:gd name="connsiteY4" fmla="*/ 1407400 h 6307645"/>
                <a:gd name="connsiteX5" fmla="*/ 13660386 w 13663209"/>
                <a:gd name="connsiteY5" fmla="*/ 6287285 h 6307645"/>
                <a:gd name="connsiteX6" fmla="*/ 10917186 w 13663209"/>
                <a:gd name="connsiteY6" fmla="*/ 6284200 h 6307645"/>
                <a:gd name="connsiteX7" fmla="*/ 10917187 w 13663209"/>
                <a:gd name="connsiteY7" fmla="*/ 4080262 h 6307645"/>
                <a:gd name="connsiteX8" fmla="*/ 10237247 w 13663209"/>
                <a:gd name="connsiteY8" fmla="*/ 4244385 h 6307645"/>
                <a:gd name="connsiteX9" fmla="*/ 10213801 w 13663209"/>
                <a:gd name="connsiteY9" fmla="*/ 6284200 h 6307645"/>
                <a:gd name="connsiteX10" fmla="*/ 3437863 w 13663209"/>
                <a:gd name="connsiteY10" fmla="*/ 6307645 h 6307645"/>
                <a:gd name="connsiteX11" fmla="*/ 3461308 w 13663209"/>
                <a:gd name="connsiteY11" fmla="*/ 4197492 h 6307645"/>
                <a:gd name="connsiteX12" fmla="*/ 2687586 w 13663209"/>
                <a:gd name="connsiteY12" fmla="*/ 4197493 h 6307645"/>
                <a:gd name="connsiteX13" fmla="*/ 2687586 w 13663209"/>
                <a:gd name="connsiteY13" fmla="*/ 6260754 h 6307645"/>
                <a:gd name="connsiteX14" fmla="*/ 86913 w 13663209"/>
                <a:gd name="connsiteY14" fmla="*/ 6287285 h 6307645"/>
                <a:gd name="connsiteX15" fmla="*/ 1235776 w 13663209"/>
                <a:gd name="connsiteY15" fmla="*/ 1618416 h 6307645"/>
                <a:gd name="connsiteX0" fmla="*/ 1235776 w 13663209"/>
                <a:gd name="connsiteY0" fmla="*/ 1618416 h 6307645"/>
                <a:gd name="connsiteX1" fmla="*/ 4446047 w 13663209"/>
                <a:gd name="connsiteY1" fmla="*/ 24077 h 6307645"/>
                <a:gd name="connsiteX2" fmla="*/ 6814109 w 13663209"/>
                <a:gd name="connsiteY2" fmla="*/ 4994661 h 6307645"/>
                <a:gd name="connsiteX3" fmla="*/ 9275954 w 13663209"/>
                <a:gd name="connsiteY3" fmla="*/ 631 h 6307645"/>
                <a:gd name="connsiteX4" fmla="*/ 12253617 w 13663209"/>
                <a:gd name="connsiteY4" fmla="*/ 1407400 h 6307645"/>
                <a:gd name="connsiteX5" fmla="*/ 13660386 w 13663209"/>
                <a:gd name="connsiteY5" fmla="*/ 6287285 h 6307645"/>
                <a:gd name="connsiteX6" fmla="*/ 10917186 w 13663209"/>
                <a:gd name="connsiteY6" fmla="*/ 6284200 h 6307645"/>
                <a:gd name="connsiteX7" fmla="*/ 10917187 w 13663209"/>
                <a:gd name="connsiteY7" fmla="*/ 4080262 h 6307645"/>
                <a:gd name="connsiteX8" fmla="*/ 10237247 w 13663209"/>
                <a:gd name="connsiteY8" fmla="*/ 4244385 h 6307645"/>
                <a:gd name="connsiteX9" fmla="*/ 10213801 w 13663209"/>
                <a:gd name="connsiteY9" fmla="*/ 6284200 h 6307645"/>
                <a:gd name="connsiteX10" fmla="*/ 3437863 w 13663209"/>
                <a:gd name="connsiteY10" fmla="*/ 6307645 h 6307645"/>
                <a:gd name="connsiteX11" fmla="*/ 3433981 w 13663209"/>
                <a:gd name="connsiteY11" fmla="*/ 4197491 h 6307645"/>
                <a:gd name="connsiteX12" fmla="*/ 2687586 w 13663209"/>
                <a:gd name="connsiteY12" fmla="*/ 4197493 h 6307645"/>
                <a:gd name="connsiteX13" fmla="*/ 2687586 w 13663209"/>
                <a:gd name="connsiteY13" fmla="*/ 6260754 h 6307645"/>
                <a:gd name="connsiteX14" fmla="*/ 86913 w 13663209"/>
                <a:gd name="connsiteY14" fmla="*/ 6287285 h 6307645"/>
                <a:gd name="connsiteX15" fmla="*/ 1235776 w 13663209"/>
                <a:gd name="connsiteY15" fmla="*/ 1618416 h 6307645"/>
                <a:gd name="connsiteX0" fmla="*/ 1235776 w 13663209"/>
                <a:gd name="connsiteY0" fmla="*/ 1618416 h 6307645"/>
                <a:gd name="connsiteX1" fmla="*/ 4446047 w 13663209"/>
                <a:gd name="connsiteY1" fmla="*/ 24077 h 6307645"/>
                <a:gd name="connsiteX2" fmla="*/ 6814109 w 13663209"/>
                <a:gd name="connsiteY2" fmla="*/ 4994661 h 6307645"/>
                <a:gd name="connsiteX3" fmla="*/ 9275954 w 13663209"/>
                <a:gd name="connsiteY3" fmla="*/ 631 h 6307645"/>
                <a:gd name="connsiteX4" fmla="*/ 12253617 w 13663209"/>
                <a:gd name="connsiteY4" fmla="*/ 1407400 h 6307645"/>
                <a:gd name="connsiteX5" fmla="*/ 13660386 w 13663209"/>
                <a:gd name="connsiteY5" fmla="*/ 6287285 h 6307645"/>
                <a:gd name="connsiteX6" fmla="*/ 10917186 w 13663209"/>
                <a:gd name="connsiteY6" fmla="*/ 6284200 h 6307645"/>
                <a:gd name="connsiteX7" fmla="*/ 10917187 w 13663209"/>
                <a:gd name="connsiteY7" fmla="*/ 4080262 h 6307645"/>
                <a:gd name="connsiteX8" fmla="*/ 10237247 w 13663209"/>
                <a:gd name="connsiteY8" fmla="*/ 4244385 h 6307645"/>
                <a:gd name="connsiteX9" fmla="*/ 10213801 w 13663209"/>
                <a:gd name="connsiteY9" fmla="*/ 6284200 h 6307645"/>
                <a:gd name="connsiteX10" fmla="*/ 3437863 w 13663209"/>
                <a:gd name="connsiteY10" fmla="*/ 6307645 h 6307645"/>
                <a:gd name="connsiteX11" fmla="*/ 3433981 w 13663209"/>
                <a:gd name="connsiteY11" fmla="*/ 4197491 h 6307645"/>
                <a:gd name="connsiteX12" fmla="*/ 2687586 w 13663209"/>
                <a:gd name="connsiteY12" fmla="*/ 4197493 h 6307645"/>
                <a:gd name="connsiteX13" fmla="*/ 2687586 w 13663209"/>
                <a:gd name="connsiteY13" fmla="*/ 6274421 h 6307645"/>
                <a:gd name="connsiteX14" fmla="*/ 86913 w 13663209"/>
                <a:gd name="connsiteY14" fmla="*/ 6287285 h 6307645"/>
                <a:gd name="connsiteX15" fmla="*/ 1235776 w 13663209"/>
                <a:gd name="connsiteY15" fmla="*/ 1618416 h 6307645"/>
                <a:gd name="connsiteX0" fmla="*/ 1235776 w 13663209"/>
                <a:gd name="connsiteY0" fmla="*/ 1618416 h 6293981"/>
                <a:gd name="connsiteX1" fmla="*/ 4446047 w 13663209"/>
                <a:gd name="connsiteY1" fmla="*/ 24077 h 6293981"/>
                <a:gd name="connsiteX2" fmla="*/ 6814109 w 13663209"/>
                <a:gd name="connsiteY2" fmla="*/ 4994661 h 6293981"/>
                <a:gd name="connsiteX3" fmla="*/ 9275954 w 13663209"/>
                <a:gd name="connsiteY3" fmla="*/ 631 h 6293981"/>
                <a:gd name="connsiteX4" fmla="*/ 12253617 w 13663209"/>
                <a:gd name="connsiteY4" fmla="*/ 1407400 h 6293981"/>
                <a:gd name="connsiteX5" fmla="*/ 13660386 w 13663209"/>
                <a:gd name="connsiteY5" fmla="*/ 6287285 h 6293981"/>
                <a:gd name="connsiteX6" fmla="*/ 10917186 w 13663209"/>
                <a:gd name="connsiteY6" fmla="*/ 6284200 h 6293981"/>
                <a:gd name="connsiteX7" fmla="*/ 10917187 w 13663209"/>
                <a:gd name="connsiteY7" fmla="*/ 4080262 h 6293981"/>
                <a:gd name="connsiteX8" fmla="*/ 10237247 w 13663209"/>
                <a:gd name="connsiteY8" fmla="*/ 4244385 h 6293981"/>
                <a:gd name="connsiteX9" fmla="*/ 10213801 w 13663209"/>
                <a:gd name="connsiteY9" fmla="*/ 6284200 h 6293981"/>
                <a:gd name="connsiteX10" fmla="*/ 3437863 w 13663209"/>
                <a:gd name="connsiteY10" fmla="*/ 6293981 h 6293981"/>
                <a:gd name="connsiteX11" fmla="*/ 3433981 w 13663209"/>
                <a:gd name="connsiteY11" fmla="*/ 4197491 h 6293981"/>
                <a:gd name="connsiteX12" fmla="*/ 2687586 w 13663209"/>
                <a:gd name="connsiteY12" fmla="*/ 4197493 h 6293981"/>
                <a:gd name="connsiteX13" fmla="*/ 2687586 w 13663209"/>
                <a:gd name="connsiteY13" fmla="*/ 6274421 h 6293981"/>
                <a:gd name="connsiteX14" fmla="*/ 86913 w 13663209"/>
                <a:gd name="connsiteY14" fmla="*/ 6287285 h 6293981"/>
                <a:gd name="connsiteX15" fmla="*/ 1235776 w 13663209"/>
                <a:gd name="connsiteY15" fmla="*/ 1618416 h 6293981"/>
                <a:gd name="connsiteX0" fmla="*/ 1235776 w 13663209"/>
                <a:gd name="connsiteY0" fmla="*/ 1618416 h 6287284"/>
                <a:gd name="connsiteX1" fmla="*/ 4446047 w 13663209"/>
                <a:gd name="connsiteY1" fmla="*/ 24077 h 6287284"/>
                <a:gd name="connsiteX2" fmla="*/ 6814109 w 13663209"/>
                <a:gd name="connsiteY2" fmla="*/ 4994661 h 6287284"/>
                <a:gd name="connsiteX3" fmla="*/ 9275954 w 13663209"/>
                <a:gd name="connsiteY3" fmla="*/ 631 h 6287284"/>
                <a:gd name="connsiteX4" fmla="*/ 12253617 w 13663209"/>
                <a:gd name="connsiteY4" fmla="*/ 1407400 h 6287284"/>
                <a:gd name="connsiteX5" fmla="*/ 13660386 w 13663209"/>
                <a:gd name="connsiteY5" fmla="*/ 6287285 h 6287284"/>
                <a:gd name="connsiteX6" fmla="*/ 10917186 w 13663209"/>
                <a:gd name="connsiteY6" fmla="*/ 6284200 h 6287284"/>
                <a:gd name="connsiteX7" fmla="*/ 10917187 w 13663209"/>
                <a:gd name="connsiteY7" fmla="*/ 4080262 h 6287284"/>
                <a:gd name="connsiteX8" fmla="*/ 10237247 w 13663209"/>
                <a:gd name="connsiteY8" fmla="*/ 4244385 h 6287284"/>
                <a:gd name="connsiteX9" fmla="*/ 10213801 w 13663209"/>
                <a:gd name="connsiteY9" fmla="*/ 6284200 h 6287284"/>
                <a:gd name="connsiteX10" fmla="*/ 3437863 w 13663209"/>
                <a:gd name="connsiteY10" fmla="*/ 6280317 h 6287284"/>
                <a:gd name="connsiteX11" fmla="*/ 3433981 w 13663209"/>
                <a:gd name="connsiteY11" fmla="*/ 4197491 h 6287284"/>
                <a:gd name="connsiteX12" fmla="*/ 2687586 w 13663209"/>
                <a:gd name="connsiteY12" fmla="*/ 4197493 h 6287284"/>
                <a:gd name="connsiteX13" fmla="*/ 2687586 w 13663209"/>
                <a:gd name="connsiteY13" fmla="*/ 6274421 h 6287284"/>
                <a:gd name="connsiteX14" fmla="*/ 86913 w 13663209"/>
                <a:gd name="connsiteY14" fmla="*/ 6287285 h 6287284"/>
                <a:gd name="connsiteX15" fmla="*/ 1235776 w 13663209"/>
                <a:gd name="connsiteY15" fmla="*/ 1618416 h 6287284"/>
                <a:gd name="connsiteX0" fmla="*/ 1235776 w 13663209"/>
                <a:gd name="connsiteY0" fmla="*/ 1618416 h 6287284"/>
                <a:gd name="connsiteX1" fmla="*/ 4446047 w 13663209"/>
                <a:gd name="connsiteY1" fmla="*/ 24077 h 6287284"/>
                <a:gd name="connsiteX2" fmla="*/ 6814109 w 13663209"/>
                <a:gd name="connsiteY2" fmla="*/ 4994661 h 6287284"/>
                <a:gd name="connsiteX3" fmla="*/ 9275954 w 13663209"/>
                <a:gd name="connsiteY3" fmla="*/ 631 h 6287284"/>
                <a:gd name="connsiteX4" fmla="*/ 12253617 w 13663209"/>
                <a:gd name="connsiteY4" fmla="*/ 1407400 h 6287284"/>
                <a:gd name="connsiteX5" fmla="*/ 13660386 w 13663209"/>
                <a:gd name="connsiteY5" fmla="*/ 6287285 h 6287284"/>
                <a:gd name="connsiteX6" fmla="*/ 10917186 w 13663209"/>
                <a:gd name="connsiteY6" fmla="*/ 6284200 h 6287284"/>
                <a:gd name="connsiteX7" fmla="*/ 10917187 w 13663209"/>
                <a:gd name="connsiteY7" fmla="*/ 4080262 h 6287284"/>
                <a:gd name="connsiteX8" fmla="*/ 10237247 w 13663209"/>
                <a:gd name="connsiteY8" fmla="*/ 4244385 h 6287284"/>
                <a:gd name="connsiteX9" fmla="*/ 10227468 w 13663209"/>
                <a:gd name="connsiteY9" fmla="*/ 6284198 h 6287284"/>
                <a:gd name="connsiteX10" fmla="*/ 3437863 w 13663209"/>
                <a:gd name="connsiteY10" fmla="*/ 6280317 h 6287284"/>
                <a:gd name="connsiteX11" fmla="*/ 3433981 w 13663209"/>
                <a:gd name="connsiteY11" fmla="*/ 4197491 h 6287284"/>
                <a:gd name="connsiteX12" fmla="*/ 2687586 w 13663209"/>
                <a:gd name="connsiteY12" fmla="*/ 4197493 h 6287284"/>
                <a:gd name="connsiteX13" fmla="*/ 2687586 w 13663209"/>
                <a:gd name="connsiteY13" fmla="*/ 6274421 h 6287284"/>
                <a:gd name="connsiteX14" fmla="*/ 86913 w 13663209"/>
                <a:gd name="connsiteY14" fmla="*/ 6287285 h 6287284"/>
                <a:gd name="connsiteX15" fmla="*/ 1235776 w 13663209"/>
                <a:gd name="connsiteY15" fmla="*/ 1618416 h 6287284"/>
                <a:gd name="connsiteX0" fmla="*/ 1235776 w 13663209"/>
                <a:gd name="connsiteY0" fmla="*/ 1618416 h 6287284"/>
                <a:gd name="connsiteX1" fmla="*/ 4446047 w 13663209"/>
                <a:gd name="connsiteY1" fmla="*/ 24077 h 6287284"/>
                <a:gd name="connsiteX2" fmla="*/ 6814109 w 13663209"/>
                <a:gd name="connsiteY2" fmla="*/ 4994661 h 6287284"/>
                <a:gd name="connsiteX3" fmla="*/ 9275954 w 13663209"/>
                <a:gd name="connsiteY3" fmla="*/ 631 h 6287284"/>
                <a:gd name="connsiteX4" fmla="*/ 12253617 w 13663209"/>
                <a:gd name="connsiteY4" fmla="*/ 1407400 h 6287284"/>
                <a:gd name="connsiteX5" fmla="*/ 13660386 w 13663209"/>
                <a:gd name="connsiteY5" fmla="*/ 6287285 h 6287284"/>
                <a:gd name="connsiteX6" fmla="*/ 10917186 w 13663209"/>
                <a:gd name="connsiteY6" fmla="*/ 6284200 h 6287284"/>
                <a:gd name="connsiteX7" fmla="*/ 10917187 w 13663209"/>
                <a:gd name="connsiteY7" fmla="*/ 4080262 h 6287284"/>
                <a:gd name="connsiteX8" fmla="*/ 10237247 w 13663209"/>
                <a:gd name="connsiteY8" fmla="*/ 4244385 h 6287284"/>
                <a:gd name="connsiteX9" fmla="*/ 10241132 w 13663209"/>
                <a:gd name="connsiteY9" fmla="*/ 6270534 h 6287284"/>
                <a:gd name="connsiteX10" fmla="*/ 3437863 w 13663209"/>
                <a:gd name="connsiteY10" fmla="*/ 6280317 h 6287284"/>
                <a:gd name="connsiteX11" fmla="*/ 3433981 w 13663209"/>
                <a:gd name="connsiteY11" fmla="*/ 4197491 h 6287284"/>
                <a:gd name="connsiteX12" fmla="*/ 2687586 w 13663209"/>
                <a:gd name="connsiteY12" fmla="*/ 4197493 h 6287284"/>
                <a:gd name="connsiteX13" fmla="*/ 2687586 w 13663209"/>
                <a:gd name="connsiteY13" fmla="*/ 6274421 h 6287284"/>
                <a:gd name="connsiteX14" fmla="*/ 86913 w 13663209"/>
                <a:gd name="connsiteY14" fmla="*/ 6287285 h 6287284"/>
                <a:gd name="connsiteX15" fmla="*/ 1235776 w 13663209"/>
                <a:gd name="connsiteY15" fmla="*/ 1618416 h 6287284"/>
                <a:gd name="connsiteX0" fmla="*/ 1235776 w 13663209"/>
                <a:gd name="connsiteY0" fmla="*/ 1618416 h 6297862"/>
                <a:gd name="connsiteX1" fmla="*/ 4446047 w 13663209"/>
                <a:gd name="connsiteY1" fmla="*/ 24077 h 6297862"/>
                <a:gd name="connsiteX2" fmla="*/ 6814109 w 13663209"/>
                <a:gd name="connsiteY2" fmla="*/ 4994661 h 6297862"/>
                <a:gd name="connsiteX3" fmla="*/ 9275954 w 13663209"/>
                <a:gd name="connsiteY3" fmla="*/ 631 h 6297862"/>
                <a:gd name="connsiteX4" fmla="*/ 12253617 w 13663209"/>
                <a:gd name="connsiteY4" fmla="*/ 1407400 h 6297862"/>
                <a:gd name="connsiteX5" fmla="*/ 13660386 w 13663209"/>
                <a:gd name="connsiteY5" fmla="*/ 6287285 h 6297862"/>
                <a:gd name="connsiteX6" fmla="*/ 10917186 w 13663209"/>
                <a:gd name="connsiteY6" fmla="*/ 6284200 h 6297862"/>
                <a:gd name="connsiteX7" fmla="*/ 10917187 w 13663209"/>
                <a:gd name="connsiteY7" fmla="*/ 4080262 h 6297862"/>
                <a:gd name="connsiteX8" fmla="*/ 10237247 w 13663209"/>
                <a:gd name="connsiteY8" fmla="*/ 4244385 h 6297862"/>
                <a:gd name="connsiteX9" fmla="*/ 10254796 w 13663209"/>
                <a:gd name="connsiteY9" fmla="*/ 6297862 h 6297862"/>
                <a:gd name="connsiteX10" fmla="*/ 3437863 w 13663209"/>
                <a:gd name="connsiteY10" fmla="*/ 6280317 h 6297862"/>
                <a:gd name="connsiteX11" fmla="*/ 3433981 w 13663209"/>
                <a:gd name="connsiteY11" fmla="*/ 4197491 h 6297862"/>
                <a:gd name="connsiteX12" fmla="*/ 2687586 w 13663209"/>
                <a:gd name="connsiteY12" fmla="*/ 4197493 h 6297862"/>
                <a:gd name="connsiteX13" fmla="*/ 2687586 w 13663209"/>
                <a:gd name="connsiteY13" fmla="*/ 6274421 h 6297862"/>
                <a:gd name="connsiteX14" fmla="*/ 86913 w 13663209"/>
                <a:gd name="connsiteY14" fmla="*/ 6287285 h 6297862"/>
                <a:gd name="connsiteX15" fmla="*/ 1235776 w 13663209"/>
                <a:gd name="connsiteY15" fmla="*/ 1618416 h 6297862"/>
                <a:gd name="connsiteX0" fmla="*/ 1235776 w 13663209"/>
                <a:gd name="connsiteY0" fmla="*/ 1618416 h 6287284"/>
                <a:gd name="connsiteX1" fmla="*/ 4446047 w 13663209"/>
                <a:gd name="connsiteY1" fmla="*/ 24077 h 6287284"/>
                <a:gd name="connsiteX2" fmla="*/ 6814109 w 13663209"/>
                <a:gd name="connsiteY2" fmla="*/ 4994661 h 6287284"/>
                <a:gd name="connsiteX3" fmla="*/ 9275954 w 13663209"/>
                <a:gd name="connsiteY3" fmla="*/ 631 h 6287284"/>
                <a:gd name="connsiteX4" fmla="*/ 12253617 w 13663209"/>
                <a:gd name="connsiteY4" fmla="*/ 1407400 h 6287284"/>
                <a:gd name="connsiteX5" fmla="*/ 13660386 w 13663209"/>
                <a:gd name="connsiteY5" fmla="*/ 6287285 h 6287284"/>
                <a:gd name="connsiteX6" fmla="*/ 10917186 w 13663209"/>
                <a:gd name="connsiteY6" fmla="*/ 6284200 h 6287284"/>
                <a:gd name="connsiteX7" fmla="*/ 10917187 w 13663209"/>
                <a:gd name="connsiteY7" fmla="*/ 4080262 h 6287284"/>
                <a:gd name="connsiteX8" fmla="*/ 10237247 w 13663209"/>
                <a:gd name="connsiteY8" fmla="*/ 4244385 h 6287284"/>
                <a:gd name="connsiteX9" fmla="*/ 10241132 w 13663209"/>
                <a:gd name="connsiteY9" fmla="*/ 6270534 h 6287284"/>
                <a:gd name="connsiteX10" fmla="*/ 3437863 w 13663209"/>
                <a:gd name="connsiteY10" fmla="*/ 6280317 h 6287284"/>
                <a:gd name="connsiteX11" fmla="*/ 3433981 w 13663209"/>
                <a:gd name="connsiteY11" fmla="*/ 4197491 h 6287284"/>
                <a:gd name="connsiteX12" fmla="*/ 2687586 w 13663209"/>
                <a:gd name="connsiteY12" fmla="*/ 4197493 h 6287284"/>
                <a:gd name="connsiteX13" fmla="*/ 2687586 w 13663209"/>
                <a:gd name="connsiteY13" fmla="*/ 6274421 h 6287284"/>
                <a:gd name="connsiteX14" fmla="*/ 86913 w 13663209"/>
                <a:gd name="connsiteY14" fmla="*/ 6287285 h 6287284"/>
                <a:gd name="connsiteX15" fmla="*/ 1235776 w 13663209"/>
                <a:gd name="connsiteY15" fmla="*/ 1618416 h 6287284"/>
                <a:gd name="connsiteX0" fmla="*/ 1235776 w 13663209"/>
                <a:gd name="connsiteY0" fmla="*/ 1618416 h 6287284"/>
                <a:gd name="connsiteX1" fmla="*/ 4446047 w 13663209"/>
                <a:gd name="connsiteY1" fmla="*/ 24077 h 6287284"/>
                <a:gd name="connsiteX2" fmla="*/ 6814109 w 13663209"/>
                <a:gd name="connsiteY2" fmla="*/ 4994661 h 6287284"/>
                <a:gd name="connsiteX3" fmla="*/ 9275954 w 13663209"/>
                <a:gd name="connsiteY3" fmla="*/ 631 h 6287284"/>
                <a:gd name="connsiteX4" fmla="*/ 12253617 w 13663209"/>
                <a:gd name="connsiteY4" fmla="*/ 1407400 h 6287284"/>
                <a:gd name="connsiteX5" fmla="*/ 13660386 w 13663209"/>
                <a:gd name="connsiteY5" fmla="*/ 6287285 h 6287284"/>
                <a:gd name="connsiteX6" fmla="*/ 10917186 w 13663209"/>
                <a:gd name="connsiteY6" fmla="*/ 6284200 h 6287284"/>
                <a:gd name="connsiteX7" fmla="*/ 10917187 w 13663209"/>
                <a:gd name="connsiteY7" fmla="*/ 4080262 h 6287284"/>
                <a:gd name="connsiteX8" fmla="*/ 10237247 w 13663209"/>
                <a:gd name="connsiteY8" fmla="*/ 4244385 h 6287284"/>
                <a:gd name="connsiteX9" fmla="*/ 10227468 w 13663209"/>
                <a:gd name="connsiteY9" fmla="*/ 6284198 h 6287284"/>
                <a:gd name="connsiteX10" fmla="*/ 3437863 w 13663209"/>
                <a:gd name="connsiteY10" fmla="*/ 6280317 h 6287284"/>
                <a:gd name="connsiteX11" fmla="*/ 3433981 w 13663209"/>
                <a:gd name="connsiteY11" fmla="*/ 4197491 h 6287284"/>
                <a:gd name="connsiteX12" fmla="*/ 2687586 w 13663209"/>
                <a:gd name="connsiteY12" fmla="*/ 4197493 h 6287284"/>
                <a:gd name="connsiteX13" fmla="*/ 2687586 w 13663209"/>
                <a:gd name="connsiteY13" fmla="*/ 6274421 h 6287284"/>
                <a:gd name="connsiteX14" fmla="*/ 86913 w 13663209"/>
                <a:gd name="connsiteY14" fmla="*/ 6287285 h 6287284"/>
                <a:gd name="connsiteX15" fmla="*/ 1235776 w 13663209"/>
                <a:gd name="connsiteY15" fmla="*/ 1618416 h 6287284"/>
                <a:gd name="connsiteX0" fmla="*/ 1235776 w 13663209"/>
                <a:gd name="connsiteY0" fmla="*/ 1618416 h 6287284"/>
                <a:gd name="connsiteX1" fmla="*/ 4446047 w 13663209"/>
                <a:gd name="connsiteY1" fmla="*/ 24077 h 6287284"/>
                <a:gd name="connsiteX2" fmla="*/ 6814109 w 13663209"/>
                <a:gd name="connsiteY2" fmla="*/ 4994661 h 6287284"/>
                <a:gd name="connsiteX3" fmla="*/ 9275954 w 13663209"/>
                <a:gd name="connsiteY3" fmla="*/ 631 h 6287284"/>
                <a:gd name="connsiteX4" fmla="*/ 12253617 w 13663209"/>
                <a:gd name="connsiteY4" fmla="*/ 1407400 h 6287284"/>
                <a:gd name="connsiteX5" fmla="*/ 13660386 w 13663209"/>
                <a:gd name="connsiteY5" fmla="*/ 6287285 h 6287284"/>
                <a:gd name="connsiteX6" fmla="*/ 10917186 w 13663209"/>
                <a:gd name="connsiteY6" fmla="*/ 6284200 h 6287284"/>
                <a:gd name="connsiteX7" fmla="*/ 10917187 w 13663209"/>
                <a:gd name="connsiteY7" fmla="*/ 4080262 h 6287284"/>
                <a:gd name="connsiteX8" fmla="*/ 10223582 w 13663209"/>
                <a:gd name="connsiteY8" fmla="*/ 4230721 h 6287284"/>
                <a:gd name="connsiteX9" fmla="*/ 10227468 w 13663209"/>
                <a:gd name="connsiteY9" fmla="*/ 6284198 h 6287284"/>
                <a:gd name="connsiteX10" fmla="*/ 3437863 w 13663209"/>
                <a:gd name="connsiteY10" fmla="*/ 6280317 h 6287284"/>
                <a:gd name="connsiteX11" fmla="*/ 3433981 w 13663209"/>
                <a:gd name="connsiteY11" fmla="*/ 4197491 h 6287284"/>
                <a:gd name="connsiteX12" fmla="*/ 2687586 w 13663209"/>
                <a:gd name="connsiteY12" fmla="*/ 4197493 h 6287284"/>
                <a:gd name="connsiteX13" fmla="*/ 2687586 w 13663209"/>
                <a:gd name="connsiteY13" fmla="*/ 6274421 h 6287284"/>
                <a:gd name="connsiteX14" fmla="*/ 86913 w 13663209"/>
                <a:gd name="connsiteY14" fmla="*/ 6287285 h 6287284"/>
                <a:gd name="connsiteX15" fmla="*/ 1235776 w 13663209"/>
                <a:gd name="connsiteY15" fmla="*/ 1618416 h 6287284"/>
                <a:gd name="connsiteX0" fmla="*/ 1235776 w 13663209"/>
                <a:gd name="connsiteY0" fmla="*/ 1618416 h 6287284"/>
                <a:gd name="connsiteX1" fmla="*/ 4446047 w 13663209"/>
                <a:gd name="connsiteY1" fmla="*/ 24077 h 6287284"/>
                <a:gd name="connsiteX2" fmla="*/ 6814109 w 13663209"/>
                <a:gd name="connsiteY2" fmla="*/ 4994661 h 6287284"/>
                <a:gd name="connsiteX3" fmla="*/ 9275954 w 13663209"/>
                <a:gd name="connsiteY3" fmla="*/ 631 h 6287284"/>
                <a:gd name="connsiteX4" fmla="*/ 12253617 w 13663209"/>
                <a:gd name="connsiteY4" fmla="*/ 1407400 h 6287284"/>
                <a:gd name="connsiteX5" fmla="*/ 13660386 w 13663209"/>
                <a:gd name="connsiteY5" fmla="*/ 6287285 h 6287284"/>
                <a:gd name="connsiteX6" fmla="*/ 10917186 w 13663209"/>
                <a:gd name="connsiteY6" fmla="*/ 6284200 h 6287284"/>
                <a:gd name="connsiteX7" fmla="*/ 10917187 w 13663209"/>
                <a:gd name="connsiteY7" fmla="*/ 4080262 h 6287284"/>
                <a:gd name="connsiteX8" fmla="*/ 10223582 w 13663209"/>
                <a:gd name="connsiteY8" fmla="*/ 4230721 h 6287284"/>
                <a:gd name="connsiteX9" fmla="*/ 10227468 w 13663209"/>
                <a:gd name="connsiteY9" fmla="*/ 6284198 h 6287284"/>
                <a:gd name="connsiteX10" fmla="*/ 3437863 w 13663209"/>
                <a:gd name="connsiteY10" fmla="*/ 6280317 h 6287284"/>
                <a:gd name="connsiteX11" fmla="*/ 3433981 w 13663209"/>
                <a:gd name="connsiteY11" fmla="*/ 4197491 h 6287284"/>
                <a:gd name="connsiteX12" fmla="*/ 2687586 w 13663209"/>
                <a:gd name="connsiteY12" fmla="*/ 4197493 h 6287284"/>
                <a:gd name="connsiteX13" fmla="*/ 2687586 w 13663209"/>
                <a:gd name="connsiteY13" fmla="*/ 6274421 h 6287284"/>
                <a:gd name="connsiteX14" fmla="*/ 86913 w 13663209"/>
                <a:gd name="connsiteY14" fmla="*/ 6287285 h 6287284"/>
                <a:gd name="connsiteX15" fmla="*/ 1235776 w 13663209"/>
                <a:gd name="connsiteY15" fmla="*/ 1618416 h 6287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663209" h="6287284">
                  <a:moveTo>
                    <a:pt x="1235776" y="1618416"/>
                  </a:moveTo>
                  <a:cubicBezTo>
                    <a:pt x="2071405" y="758724"/>
                    <a:pt x="3727649" y="-30631"/>
                    <a:pt x="4446047" y="24077"/>
                  </a:cubicBezTo>
                  <a:lnTo>
                    <a:pt x="6814109" y="4994661"/>
                  </a:lnTo>
                  <a:lnTo>
                    <a:pt x="9275954" y="631"/>
                  </a:lnTo>
                  <a:cubicBezTo>
                    <a:pt x="9705800" y="-22816"/>
                    <a:pt x="11401739" y="610230"/>
                    <a:pt x="12253617" y="1407400"/>
                  </a:cubicBezTo>
                  <a:cubicBezTo>
                    <a:pt x="13590047" y="2776120"/>
                    <a:pt x="13683833" y="5176472"/>
                    <a:pt x="13660386" y="6287285"/>
                  </a:cubicBezTo>
                  <a:lnTo>
                    <a:pt x="10917186" y="6284200"/>
                  </a:lnTo>
                  <a:cubicBezTo>
                    <a:pt x="10917186" y="5549554"/>
                    <a:pt x="10917187" y="4814908"/>
                    <a:pt x="10917187" y="4080262"/>
                  </a:cubicBezTo>
                  <a:cubicBezTo>
                    <a:pt x="10901555" y="3759831"/>
                    <a:pt x="10256759" y="3449182"/>
                    <a:pt x="10223582" y="4230721"/>
                  </a:cubicBezTo>
                  <a:cubicBezTo>
                    <a:pt x="10220322" y="4910659"/>
                    <a:pt x="10230728" y="5604260"/>
                    <a:pt x="10227468" y="6284198"/>
                  </a:cubicBezTo>
                  <a:lnTo>
                    <a:pt x="3437863" y="6280317"/>
                  </a:lnTo>
                  <a:cubicBezTo>
                    <a:pt x="3432014" y="5535940"/>
                    <a:pt x="3426166" y="4900875"/>
                    <a:pt x="3433981" y="4197491"/>
                  </a:cubicBezTo>
                  <a:cubicBezTo>
                    <a:pt x="3340197" y="3540999"/>
                    <a:pt x="2617248" y="3869247"/>
                    <a:pt x="2687586" y="4197493"/>
                  </a:cubicBezTo>
                  <a:lnTo>
                    <a:pt x="2687586" y="6274421"/>
                  </a:lnTo>
                  <a:lnTo>
                    <a:pt x="86913" y="6287285"/>
                  </a:lnTo>
                  <a:cubicBezTo>
                    <a:pt x="-327301" y="3183549"/>
                    <a:pt x="852822" y="2189967"/>
                    <a:pt x="1235776" y="1618416"/>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67539"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33" name="Freeform 14">
              <a:extLst>
                <a:ext uri="{FF2B5EF4-FFF2-40B4-BE49-F238E27FC236}">
                  <a16:creationId xmlns:a16="http://schemas.microsoft.com/office/drawing/2014/main" id="{A05757FC-C952-7DA0-7DFC-FF34AC7A4C9F}"/>
                </a:ext>
              </a:extLst>
            </p:cNvPr>
            <p:cNvSpPr>
              <a:spLocks/>
            </p:cNvSpPr>
            <p:nvPr/>
          </p:nvSpPr>
          <p:spPr bwMode="auto">
            <a:xfrm>
              <a:off x="3828198" y="4385784"/>
              <a:ext cx="1081196" cy="1133975"/>
            </a:xfrm>
            <a:custGeom>
              <a:avLst/>
              <a:gdLst>
                <a:gd name="T0" fmla="*/ 7 w 7"/>
                <a:gd name="T1" fmla="*/ 2 h 7"/>
                <a:gd name="T2" fmla="*/ 7 w 7"/>
                <a:gd name="T3" fmla="*/ 2 h 7"/>
                <a:gd name="T4" fmla="*/ 7 w 7"/>
                <a:gd name="T5" fmla="*/ 4 h 7"/>
                <a:gd name="T6" fmla="*/ 4 w 7"/>
                <a:gd name="T7" fmla="*/ 7 h 7"/>
                <a:gd name="T8" fmla="*/ 2 w 7"/>
                <a:gd name="T9" fmla="*/ 7 h 7"/>
                <a:gd name="T10" fmla="*/ 2 w 7"/>
                <a:gd name="T11" fmla="*/ 5 h 7"/>
                <a:gd name="T12" fmla="*/ 0 w 7"/>
                <a:gd name="T13" fmla="*/ 2 h 7"/>
                <a:gd name="T14" fmla="*/ 0 w 7"/>
                <a:gd name="T15" fmla="*/ 2 h 7"/>
                <a:gd name="T16" fmla="*/ 0 w 7"/>
                <a:gd name="T17" fmla="*/ 0 h 7"/>
                <a:gd name="T18" fmla="*/ 7 w 7"/>
                <a:gd name="T19" fmla="*/ 2 h 7"/>
                <a:gd name="connsiteX0" fmla="*/ 10000 w 10000"/>
                <a:gd name="connsiteY0" fmla="*/ 2857 h 10000"/>
                <a:gd name="connsiteX1" fmla="*/ 10000 w 10000"/>
                <a:gd name="connsiteY1" fmla="*/ 2857 h 10000"/>
                <a:gd name="connsiteX2" fmla="*/ 10000 w 10000"/>
                <a:gd name="connsiteY2" fmla="*/ 5714 h 10000"/>
                <a:gd name="connsiteX3" fmla="*/ 5714 w 10000"/>
                <a:gd name="connsiteY3" fmla="*/ 10000 h 10000"/>
                <a:gd name="connsiteX4" fmla="*/ 2857 w 10000"/>
                <a:gd name="connsiteY4" fmla="*/ 10000 h 10000"/>
                <a:gd name="connsiteX5" fmla="*/ 2857 w 10000"/>
                <a:gd name="connsiteY5" fmla="*/ 7143 h 10000"/>
                <a:gd name="connsiteX6" fmla="*/ 0 w 10000"/>
                <a:gd name="connsiteY6" fmla="*/ 2857 h 10000"/>
                <a:gd name="connsiteX7" fmla="*/ 0 w 10000"/>
                <a:gd name="connsiteY7" fmla="*/ 0 h 10000"/>
                <a:gd name="connsiteX8" fmla="*/ 10000 w 10000"/>
                <a:gd name="connsiteY8" fmla="*/ 2857 h 10000"/>
                <a:gd name="connsiteX0" fmla="*/ 10495 w 10495"/>
                <a:gd name="connsiteY0" fmla="*/ 2857 h 10000"/>
                <a:gd name="connsiteX1" fmla="*/ 10495 w 10495"/>
                <a:gd name="connsiteY1" fmla="*/ 2857 h 10000"/>
                <a:gd name="connsiteX2" fmla="*/ 10495 w 10495"/>
                <a:gd name="connsiteY2" fmla="*/ 5714 h 10000"/>
                <a:gd name="connsiteX3" fmla="*/ 6209 w 10495"/>
                <a:gd name="connsiteY3" fmla="*/ 10000 h 10000"/>
                <a:gd name="connsiteX4" fmla="*/ 3352 w 10495"/>
                <a:gd name="connsiteY4" fmla="*/ 10000 h 10000"/>
                <a:gd name="connsiteX5" fmla="*/ 3352 w 10495"/>
                <a:gd name="connsiteY5" fmla="*/ 7143 h 10000"/>
                <a:gd name="connsiteX6" fmla="*/ 495 w 10495"/>
                <a:gd name="connsiteY6" fmla="*/ 2857 h 10000"/>
                <a:gd name="connsiteX7" fmla="*/ 495 w 10495"/>
                <a:gd name="connsiteY7" fmla="*/ 0 h 10000"/>
                <a:gd name="connsiteX8" fmla="*/ 10495 w 10495"/>
                <a:gd name="connsiteY8" fmla="*/ 2857 h 10000"/>
                <a:gd name="connsiteX0" fmla="*/ 10746 w 10746"/>
                <a:gd name="connsiteY0" fmla="*/ 2857 h 10000"/>
                <a:gd name="connsiteX1" fmla="*/ 10746 w 10746"/>
                <a:gd name="connsiteY1" fmla="*/ 2857 h 10000"/>
                <a:gd name="connsiteX2" fmla="*/ 10746 w 10746"/>
                <a:gd name="connsiteY2" fmla="*/ 5714 h 10000"/>
                <a:gd name="connsiteX3" fmla="*/ 6460 w 10746"/>
                <a:gd name="connsiteY3" fmla="*/ 10000 h 10000"/>
                <a:gd name="connsiteX4" fmla="*/ 3603 w 10746"/>
                <a:gd name="connsiteY4" fmla="*/ 10000 h 10000"/>
                <a:gd name="connsiteX5" fmla="*/ 3603 w 10746"/>
                <a:gd name="connsiteY5" fmla="*/ 7143 h 10000"/>
                <a:gd name="connsiteX6" fmla="*/ 746 w 10746"/>
                <a:gd name="connsiteY6" fmla="*/ 2857 h 10000"/>
                <a:gd name="connsiteX7" fmla="*/ 746 w 10746"/>
                <a:gd name="connsiteY7" fmla="*/ 0 h 10000"/>
                <a:gd name="connsiteX8" fmla="*/ 10746 w 10746"/>
                <a:gd name="connsiteY8" fmla="*/ 2857 h 10000"/>
                <a:gd name="connsiteX0" fmla="*/ 10746 w 10746"/>
                <a:gd name="connsiteY0" fmla="*/ 2998 h 10141"/>
                <a:gd name="connsiteX1" fmla="*/ 10746 w 10746"/>
                <a:gd name="connsiteY1" fmla="*/ 2998 h 10141"/>
                <a:gd name="connsiteX2" fmla="*/ 10746 w 10746"/>
                <a:gd name="connsiteY2" fmla="*/ 5855 h 10141"/>
                <a:gd name="connsiteX3" fmla="*/ 6460 w 10746"/>
                <a:gd name="connsiteY3" fmla="*/ 10141 h 10141"/>
                <a:gd name="connsiteX4" fmla="*/ 3603 w 10746"/>
                <a:gd name="connsiteY4" fmla="*/ 10141 h 10141"/>
                <a:gd name="connsiteX5" fmla="*/ 3603 w 10746"/>
                <a:gd name="connsiteY5" fmla="*/ 7284 h 10141"/>
                <a:gd name="connsiteX6" fmla="*/ 746 w 10746"/>
                <a:gd name="connsiteY6" fmla="*/ 2998 h 10141"/>
                <a:gd name="connsiteX7" fmla="*/ 746 w 10746"/>
                <a:gd name="connsiteY7" fmla="*/ 141 h 10141"/>
                <a:gd name="connsiteX8" fmla="*/ 10746 w 10746"/>
                <a:gd name="connsiteY8" fmla="*/ 2998 h 10141"/>
                <a:gd name="connsiteX0" fmla="*/ 746 w 10746"/>
                <a:gd name="connsiteY0" fmla="*/ 0 h 10000"/>
                <a:gd name="connsiteX1" fmla="*/ 10746 w 10746"/>
                <a:gd name="connsiteY1" fmla="*/ 2857 h 10000"/>
                <a:gd name="connsiteX2" fmla="*/ 10746 w 10746"/>
                <a:gd name="connsiteY2" fmla="*/ 5714 h 10000"/>
                <a:gd name="connsiteX3" fmla="*/ 6460 w 10746"/>
                <a:gd name="connsiteY3" fmla="*/ 10000 h 10000"/>
                <a:gd name="connsiteX4" fmla="*/ 3603 w 10746"/>
                <a:gd name="connsiteY4" fmla="*/ 10000 h 10000"/>
                <a:gd name="connsiteX5" fmla="*/ 3603 w 10746"/>
                <a:gd name="connsiteY5" fmla="*/ 7143 h 10000"/>
                <a:gd name="connsiteX6" fmla="*/ 746 w 10746"/>
                <a:gd name="connsiteY6" fmla="*/ 2857 h 10000"/>
                <a:gd name="connsiteX7" fmla="*/ 746 w 10746"/>
                <a:gd name="connsiteY7" fmla="*/ 0 h 10000"/>
                <a:gd name="connsiteX0" fmla="*/ 746 w 10746"/>
                <a:gd name="connsiteY0" fmla="*/ 0 h 10000"/>
                <a:gd name="connsiteX1" fmla="*/ 10746 w 10746"/>
                <a:gd name="connsiteY1" fmla="*/ 2857 h 10000"/>
                <a:gd name="connsiteX2" fmla="*/ 10746 w 10746"/>
                <a:gd name="connsiteY2" fmla="*/ 5714 h 10000"/>
                <a:gd name="connsiteX3" fmla="*/ 6460 w 10746"/>
                <a:gd name="connsiteY3" fmla="*/ 10000 h 10000"/>
                <a:gd name="connsiteX4" fmla="*/ 3603 w 10746"/>
                <a:gd name="connsiteY4" fmla="*/ 10000 h 10000"/>
                <a:gd name="connsiteX5" fmla="*/ 3603 w 10746"/>
                <a:gd name="connsiteY5" fmla="*/ 7143 h 10000"/>
                <a:gd name="connsiteX6" fmla="*/ 746 w 10746"/>
                <a:gd name="connsiteY6" fmla="*/ 2857 h 10000"/>
                <a:gd name="connsiteX7" fmla="*/ 746 w 10746"/>
                <a:gd name="connsiteY7" fmla="*/ 0 h 10000"/>
                <a:gd name="connsiteX0" fmla="*/ 746 w 10746"/>
                <a:gd name="connsiteY0" fmla="*/ 173 h 10173"/>
                <a:gd name="connsiteX1" fmla="*/ 10746 w 10746"/>
                <a:gd name="connsiteY1" fmla="*/ 3030 h 10173"/>
                <a:gd name="connsiteX2" fmla="*/ 10746 w 10746"/>
                <a:gd name="connsiteY2" fmla="*/ 5887 h 10173"/>
                <a:gd name="connsiteX3" fmla="*/ 6460 w 10746"/>
                <a:gd name="connsiteY3" fmla="*/ 10173 h 10173"/>
                <a:gd name="connsiteX4" fmla="*/ 3603 w 10746"/>
                <a:gd name="connsiteY4" fmla="*/ 10173 h 10173"/>
                <a:gd name="connsiteX5" fmla="*/ 3603 w 10746"/>
                <a:gd name="connsiteY5" fmla="*/ 7316 h 10173"/>
                <a:gd name="connsiteX6" fmla="*/ 746 w 10746"/>
                <a:gd name="connsiteY6" fmla="*/ 3030 h 10173"/>
                <a:gd name="connsiteX7" fmla="*/ 746 w 10746"/>
                <a:gd name="connsiteY7" fmla="*/ 173 h 10173"/>
                <a:gd name="connsiteX0" fmla="*/ 746 w 11186"/>
                <a:gd name="connsiteY0" fmla="*/ 173 h 10173"/>
                <a:gd name="connsiteX1" fmla="*/ 10746 w 11186"/>
                <a:gd name="connsiteY1" fmla="*/ 3030 h 10173"/>
                <a:gd name="connsiteX2" fmla="*/ 10746 w 11186"/>
                <a:gd name="connsiteY2" fmla="*/ 5887 h 10173"/>
                <a:gd name="connsiteX3" fmla="*/ 6460 w 11186"/>
                <a:gd name="connsiteY3" fmla="*/ 10173 h 10173"/>
                <a:gd name="connsiteX4" fmla="*/ 3603 w 11186"/>
                <a:gd name="connsiteY4" fmla="*/ 10173 h 10173"/>
                <a:gd name="connsiteX5" fmla="*/ 3603 w 11186"/>
                <a:gd name="connsiteY5" fmla="*/ 7316 h 10173"/>
                <a:gd name="connsiteX6" fmla="*/ 746 w 11186"/>
                <a:gd name="connsiteY6" fmla="*/ 3030 h 10173"/>
                <a:gd name="connsiteX7" fmla="*/ 746 w 11186"/>
                <a:gd name="connsiteY7" fmla="*/ 173 h 10173"/>
                <a:gd name="connsiteX0" fmla="*/ 746 w 11634"/>
                <a:gd name="connsiteY0" fmla="*/ 173 h 10173"/>
                <a:gd name="connsiteX1" fmla="*/ 10746 w 11634"/>
                <a:gd name="connsiteY1" fmla="*/ 3030 h 10173"/>
                <a:gd name="connsiteX2" fmla="*/ 10746 w 11634"/>
                <a:gd name="connsiteY2" fmla="*/ 5887 h 10173"/>
                <a:gd name="connsiteX3" fmla="*/ 6460 w 11634"/>
                <a:gd name="connsiteY3" fmla="*/ 10173 h 10173"/>
                <a:gd name="connsiteX4" fmla="*/ 3603 w 11634"/>
                <a:gd name="connsiteY4" fmla="*/ 10173 h 10173"/>
                <a:gd name="connsiteX5" fmla="*/ 3603 w 11634"/>
                <a:gd name="connsiteY5" fmla="*/ 7316 h 10173"/>
                <a:gd name="connsiteX6" fmla="*/ 746 w 11634"/>
                <a:gd name="connsiteY6" fmla="*/ 3030 h 10173"/>
                <a:gd name="connsiteX7" fmla="*/ 746 w 11634"/>
                <a:gd name="connsiteY7" fmla="*/ 173 h 10173"/>
                <a:gd name="connsiteX0" fmla="*/ 746 w 11634"/>
                <a:gd name="connsiteY0" fmla="*/ 173 h 10173"/>
                <a:gd name="connsiteX1" fmla="*/ 10746 w 11634"/>
                <a:gd name="connsiteY1" fmla="*/ 3030 h 10173"/>
                <a:gd name="connsiteX2" fmla="*/ 10746 w 11634"/>
                <a:gd name="connsiteY2" fmla="*/ 5887 h 10173"/>
                <a:gd name="connsiteX3" fmla="*/ 6460 w 11634"/>
                <a:gd name="connsiteY3" fmla="*/ 10173 h 10173"/>
                <a:gd name="connsiteX4" fmla="*/ 3603 w 11634"/>
                <a:gd name="connsiteY4" fmla="*/ 10173 h 10173"/>
                <a:gd name="connsiteX5" fmla="*/ 746 w 11634"/>
                <a:gd name="connsiteY5" fmla="*/ 3030 h 10173"/>
                <a:gd name="connsiteX6" fmla="*/ 746 w 11634"/>
                <a:gd name="connsiteY6" fmla="*/ 173 h 10173"/>
                <a:gd name="connsiteX0" fmla="*/ 746 w 11634"/>
                <a:gd name="connsiteY0" fmla="*/ 173 h 10173"/>
                <a:gd name="connsiteX1" fmla="*/ 10746 w 11634"/>
                <a:gd name="connsiteY1" fmla="*/ 3030 h 10173"/>
                <a:gd name="connsiteX2" fmla="*/ 10746 w 11634"/>
                <a:gd name="connsiteY2" fmla="*/ 5887 h 10173"/>
                <a:gd name="connsiteX3" fmla="*/ 6460 w 11634"/>
                <a:gd name="connsiteY3" fmla="*/ 10173 h 10173"/>
                <a:gd name="connsiteX4" fmla="*/ 3603 w 11634"/>
                <a:gd name="connsiteY4" fmla="*/ 10173 h 10173"/>
                <a:gd name="connsiteX5" fmla="*/ 746 w 11634"/>
                <a:gd name="connsiteY5" fmla="*/ 3030 h 10173"/>
                <a:gd name="connsiteX6" fmla="*/ 746 w 11634"/>
                <a:gd name="connsiteY6" fmla="*/ 173 h 10173"/>
                <a:gd name="connsiteX0" fmla="*/ 746 w 11634"/>
                <a:gd name="connsiteY0" fmla="*/ 173 h 10173"/>
                <a:gd name="connsiteX1" fmla="*/ 10746 w 11634"/>
                <a:gd name="connsiteY1" fmla="*/ 3030 h 10173"/>
                <a:gd name="connsiteX2" fmla="*/ 10746 w 11634"/>
                <a:gd name="connsiteY2" fmla="*/ 5887 h 10173"/>
                <a:gd name="connsiteX3" fmla="*/ 6460 w 11634"/>
                <a:gd name="connsiteY3" fmla="*/ 10173 h 10173"/>
                <a:gd name="connsiteX4" fmla="*/ 3603 w 11634"/>
                <a:gd name="connsiteY4" fmla="*/ 10173 h 10173"/>
                <a:gd name="connsiteX5" fmla="*/ 746 w 11634"/>
                <a:gd name="connsiteY5" fmla="*/ 3030 h 10173"/>
                <a:gd name="connsiteX6" fmla="*/ 746 w 11634"/>
                <a:gd name="connsiteY6" fmla="*/ 173 h 10173"/>
                <a:gd name="connsiteX0" fmla="*/ 746 w 11634"/>
                <a:gd name="connsiteY0" fmla="*/ 173 h 10173"/>
                <a:gd name="connsiteX1" fmla="*/ 10746 w 11634"/>
                <a:gd name="connsiteY1" fmla="*/ 3030 h 10173"/>
                <a:gd name="connsiteX2" fmla="*/ 10746 w 11634"/>
                <a:gd name="connsiteY2" fmla="*/ 5887 h 10173"/>
                <a:gd name="connsiteX3" fmla="*/ 6460 w 11634"/>
                <a:gd name="connsiteY3" fmla="*/ 10173 h 10173"/>
                <a:gd name="connsiteX4" fmla="*/ 5090 w 11634"/>
                <a:gd name="connsiteY4" fmla="*/ 10049 h 10173"/>
                <a:gd name="connsiteX5" fmla="*/ 746 w 11634"/>
                <a:gd name="connsiteY5" fmla="*/ 3030 h 10173"/>
                <a:gd name="connsiteX6" fmla="*/ 746 w 11634"/>
                <a:gd name="connsiteY6" fmla="*/ 173 h 10173"/>
                <a:gd name="connsiteX0" fmla="*/ 746 w 11634"/>
                <a:gd name="connsiteY0" fmla="*/ 173 h 10173"/>
                <a:gd name="connsiteX1" fmla="*/ 10746 w 11634"/>
                <a:gd name="connsiteY1" fmla="*/ 3030 h 10173"/>
                <a:gd name="connsiteX2" fmla="*/ 10746 w 11634"/>
                <a:gd name="connsiteY2" fmla="*/ 5887 h 10173"/>
                <a:gd name="connsiteX3" fmla="*/ 6460 w 11634"/>
                <a:gd name="connsiteY3" fmla="*/ 10173 h 10173"/>
                <a:gd name="connsiteX4" fmla="*/ 5090 w 11634"/>
                <a:gd name="connsiteY4" fmla="*/ 10049 h 10173"/>
                <a:gd name="connsiteX5" fmla="*/ 746 w 11634"/>
                <a:gd name="connsiteY5" fmla="*/ 3030 h 10173"/>
                <a:gd name="connsiteX6" fmla="*/ 746 w 11634"/>
                <a:gd name="connsiteY6" fmla="*/ 173 h 10173"/>
                <a:gd name="connsiteX0" fmla="*/ 746 w 11634"/>
                <a:gd name="connsiteY0" fmla="*/ 173 h 10173"/>
                <a:gd name="connsiteX1" fmla="*/ 10746 w 11634"/>
                <a:gd name="connsiteY1" fmla="*/ 3030 h 10173"/>
                <a:gd name="connsiteX2" fmla="*/ 10746 w 11634"/>
                <a:gd name="connsiteY2" fmla="*/ 5887 h 10173"/>
                <a:gd name="connsiteX3" fmla="*/ 6460 w 11634"/>
                <a:gd name="connsiteY3" fmla="*/ 10173 h 10173"/>
                <a:gd name="connsiteX4" fmla="*/ 5090 w 11634"/>
                <a:gd name="connsiteY4" fmla="*/ 10049 h 10173"/>
                <a:gd name="connsiteX5" fmla="*/ 746 w 11634"/>
                <a:gd name="connsiteY5" fmla="*/ 3030 h 10173"/>
                <a:gd name="connsiteX6" fmla="*/ 746 w 11634"/>
                <a:gd name="connsiteY6" fmla="*/ 173 h 10173"/>
                <a:gd name="connsiteX0" fmla="*/ 746 w 11781"/>
                <a:gd name="connsiteY0" fmla="*/ 278 h 10278"/>
                <a:gd name="connsiteX1" fmla="*/ 10994 w 11781"/>
                <a:gd name="connsiteY1" fmla="*/ 2143 h 10278"/>
                <a:gd name="connsiteX2" fmla="*/ 10746 w 11781"/>
                <a:gd name="connsiteY2" fmla="*/ 5992 h 10278"/>
                <a:gd name="connsiteX3" fmla="*/ 6460 w 11781"/>
                <a:gd name="connsiteY3" fmla="*/ 10278 h 10278"/>
                <a:gd name="connsiteX4" fmla="*/ 5090 w 11781"/>
                <a:gd name="connsiteY4" fmla="*/ 10154 h 10278"/>
                <a:gd name="connsiteX5" fmla="*/ 746 w 11781"/>
                <a:gd name="connsiteY5" fmla="*/ 3135 h 10278"/>
                <a:gd name="connsiteX6" fmla="*/ 746 w 11781"/>
                <a:gd name="connsiteY6" fmla="*/ 278 h 10278"/>
                <a:gd name="connsiteX0" fmla="*/ 746 w 11625"/>
                <a:gd name="connsiteY0" fmla="*/ 278 h 10278"/>
                <a:gd name="connsiteX1" fmla="*/ 10994 w 11625"/>
                <a:gd name="connsiteY1" fmla="*/ 2143 h 10278"/>
                <a:gd name="connsiteX2" fmla="*/ 10746 w 11625"/>
                <a:gd name="connsiteY2" fmla="*/ 5992 h 10278"/>
                <a:gd name="connsiteX3" fmla="*/ 6460 w 11625"/>
                <a:gd name="connsiteY3" fmla="*/ 10278 h 10278"/>
                <a:gd name="connsiteX4" fmla="*/ 5090 w 11625"/>
                <a:gd name="connsiteY4" fmla="*/ 10154 h 10278"/>
                <a:gd name="connsiteX5" fmla="*/ 746 w 11625"/>
                <a:gd name="connsiteY5" fmla="*/ 3135 h 10278"/>
                <a:gd name="connsiteX6" fmla="*/ 746 w 11625"/>
                <a:gd name="connsiteY6" fmla="*/ 278 h 10278"/>
                <a:gd name="connsiteX0" fmla="*/ 746 w 11625"/>
                <a:gd name="connsiteY0" fmla="*/ 278 h 10526"/>
                <a:gd name="connsiteX1" fmla="*/ 10994 w 11625"/>
                <a:gd name="connsiteY1" fmla="*/ 2143 h 10526"/>
                <a:gd name="connsiteX2" fmla="*/ 10746 w 11625"/>
                <a:gd name="connsiteY2" fmla="*/ 5992 h 10526"/>
                <a:gd name="connsiteX3" fmla="*/ 5964 w 11625"/>
                <a:gd name="connsiteY3" fmla="*/ 10526 h 10526"/>
                <a:gd name="connsiteX4" fmla="*/ 5090 w 11625"/>
                <a:gd name="connsiteY4" fmla="*/ 10154 h 10526"/>
                <a:gd name="connsiteX5" fmla="*/ 746 w 11625"/>
                <a:gd name="connsiteY5" fmla="*/ 3135 h 10526"/>
                <a:gd name="connsiteX6" fmla="*/ 746 w 11625"/>
                <a:gd name="connsiteY6" fmla="*/ 278 h 10526"/>
                <a:gd name="connsiteX0" fmla="*/ 746 w 11625"/>
                <a:gd name="connsiteY0" fmla="*/ 278 h 10526"/>
                <a:gd name="connsiteX1" fmla="*/ 10994 w 11625"/>
                <a:gd name="connsiteY1" fmla="*/ 2143 h 10526"/>
                <a:gd name="connsiteX2" fmla="*/ 10746 w 11625"/>
                <a:gd name="connsiteY2" fmla="*/ 5992 h 10526"/>
                <a:gd name="connsiteX3" fmla="*/ 5964 w 11625"/>
                <a:gd name="connsiteY3" fmla="*/ 10526 h 10526"/>
                <a:gd name="connsiteX4" fmla="*/ 5090 w 11625"/>
                <a:gd name="connsiteY4" fmla="*/ 10154 h 10526"/>
                <a:gd name="connsiteX5" fmla="*/ 746 w 11625"/>
                <a:gd name="connsiteY5" fmla="*/ 3135 h 10526"/>
                <a:gd name="connsiteX6" fmla="*/ 746 w 11625"/>
                <a:gd name="connsiteY6" fmla="*/ 278 h 10526"/>
                <a:gd name="connsiteX0" fmla="*/ 3086 w 13965"/>
                <a:gd name="connsiteY0" fmla="*/ 278 h 10526"/>
                <a:gd name="connsiteX1" fmla="*/ 13334 w 13965"/>
                <a:gd name="connsiteY1" fmla="*/ 2143 h 10526"/>
                <a:gd name="connsiteX2" fmla="*/ 13086 w 13965"/>
                <a:gd name="connsiteY2" fmla="*/ 5992 h 10526"/>
                <a:gd name="connsiteX3" fmla="*/ 8304 w 13965"/>
                <a:gd name="connsiteY3" fmla="*/ 10526 h 10526"/>
                <a:gd name="connsiteX4" fmla="*/ 7430 w 13965"/>
                <a:gd name="connsiteY4" fmla="*/ 10154 h 10526"/>
                <a:gd name="connsiteX5" fmla="*/ 239 w 13965"/>
                <a:gd name="connsiteY5" fmla="*/ 4287 h 10526"/>
                <a:gd name="connsiteX6" fmla="*/ 3086 w 13965"/>
                <a:gd name="connsiteY6" fmla="*/ 278 h 10526"/>
                <a:gd name="connsiteX0" fmla="*/ 3600 w 13937"/>
                <a:gd name="connsiteY0" fmla="*/ 135 h 12078"/>
                <a:gd name="connsiteX1" fmla="*/ 13306 w 13937"/>
                <a:gd name="connsiteY1" fmla="*/ 3695 h 12078"/>
                <a:gd name="connsiteX2" fmla="*/ 13058 w 13937"/>
                <a:gd name="connsiteY2" fmla="*/ 7544 h 12078"/>
                <a:gd name="connsiteX3" fmla="*/ 8276 w 13937"/>
                <a:gd name="connsiteY3" fmla="*/ 12078 h 12078"/>
                <a:gd name="connsiteX4" fmla="*/ 7402 w 13937"/>
                <a:gd name="connsiteY4" fmla="*/ 11706 h 12078"/>
                <a:gd name="connsiteX5" fmla="*/ 211 w 13937"/>
                <a:gd name="connsiteY5" fmla="*/ 5839 h 12078"/>
                <a:gd name="connsiteX6" fmla="*/ 3600 w 13937"/>
                <a:gd name="connsiteY6" fmla="*/ 135 h 12078"/>
                <a:gd name="connsiteX0" fmla="*/ 3600 w 14355"/>
                <a:gd name="connsiteY0" fmla="*/ 392 h 12335"/>
                <a:gd name="connsiteX1" fmla="*/ 13916 w 14355"/>
                <a:gd name="connsiteY1" fmla="*/ 1715 h 12335"/>
                <a:gd name="connsiteX2" fmla="*/ 13058 w 14355"/>
                <a:gd name="connsiteY2" fmla="*/ 7801 h 12335"/>
                <a:gd name="connsiteX3" fmla="*/ 8276 w 14355"/>
                <a:gd name="connsiteY3" fmla="*/ 12335 h 12335"/>
                <a:gd name="connsiteX4" fmla="*/ 7402 w 14355"/>
                <a:gd name="connsiteY4" fmla="*/ 11963 h 12335"/>
                <a:gd name="connsiteX5" fmla="*/ 211 w 14355"/>
                <a:gd name="connsiteY5" fmla="*/ 6096 h 12335"/>
                <a:gd name="connsiteX6" fmla="*/ 3600 w 14355"/>
                <a:gd name="connsiteY6" fmla="*/ 392 h 12335"/>
                <a:gd name="connsiteX0" fmla="*/ 3600 w 14355"/>
                <a:gd name="connsiteY0" fmla="*/ 392 h 14607"/>
                <a:gd name="connsiteX1" fmla="*/ 13916 w 14355"/>
                <a:gd name="connsiteY1" fmla="*/ 1715 h 14607"/>
                <a:gd name="connsiteX2" fmla="*/ 13058 w 14355"/>
                <a:gd name="connsiteY2" fmla="*/ 7801 h 14607"/>
                <a:gd name="connsiteX3" fmla="*/ 8276 w 14355"/>
                <a:gd name="connsiteY3" fmla="*/ 12335 h 14607"/>
                <a:gd name="connsiteX4" fmla="*/ 5911 w 14355"/>
                <a:gd name="connsiteY4" fmla="*/ 14607 h 14607"/>
                <a:gd name="connsiteX5" fmla="*/ 211 w 14355"/>
                <a:gd name="connsiteY5" fmla="*/ 6096 h 14607"/>
                <a:gd name="connsiteX6" fmla="*/ 3600 w 14355"/>
                <a:gd name="connsiteY6" fmla="*/ 392 h 14607"/>
                <a:gd name="connsiteX0" fmla="*/ 3600 w 14355"/>
                <a:gd name="connsiteY0" fmla="*/ 392 h 14607"/>
                <a:gd name="connsiteX1" fmla="*/ 13916 w 14355"/>
                <a:gd name="connsiteY1" fmla="*/ 1715 h 14607"/>
                <a:gd name="connsiteX2" fmla="*/ 13058 w 14355"/>
                <a:gd name="connsiteY2" fmla="*/ 7801 h 14607"/>
                <a:gd name="connsiteX3" fmla="*/ 9971 w 14355"/>
                <a:gd name="connsiteY3" fmla="*/ 13148 h 14607"/>
                <a:gd name="connsiteX4" fmla="*/ 5911 w 14355"/>
                <a:gd name="connsiteY4" fmla="*/ 14607 h 14607"/>
                <a:gd name="connsiteX5" fmla="*/ 211 w 14355"/>
                <a:gd name="connsiteY5" fmla="*/ 6096 h 14607"/>
                <a:gd name="connsiteX6" fmla="*/ 3600 w 14355"/>
                <a:gd name="connsiteY6" fmla="*/ 392 h 14607"/>
                <a:gd name="connsiteX0" fmla="*/ 3600 w 14355"/>
                <a:gd name="connsiteY0" fmla="*/ 392 h 13658"/>
                <a:gd name="connsiteX1" fmla="*/ 13916 w 14355"/>
                <a:gd name="connsiteY1" fmla="*/ 1715 h 13658"/>
                <a:gd name="connsiteX2" fmla="*/ 13058 w 14355"/>
                <a:gd name="connsiteY2" fmla="*/ 7801 h 13658"/>
                <a:gd name="connsiteX3" fmla="*/ 9971 w 14355"/>
                <a:gd name="connsiteY3" fmla="*/ 13148 h 13658"/>
                <a:gd name="connsiteX4" fmla="*/ 5504 w 14355"/>
                <a:gd name="connsiteY4" fmla="*/ 13658 h 13658"/>
                <a:gd name="connsiteX5" fmla="*/ 211 w 14355"/>
                <a:gd name="connsiteY5" fmla="*/ 6096 h 13658"/>
                <a:gd name="connsiteX6" fmla="*/ 3600 w 14355"/>
                <a:gd name="connsiteY6" fmla="*/ 392 h 13658"/>
                <a:gd name="connsiteX0" fmla="*/ 3600 w 14355"/>
                <a:gd name="connsiteY0" fmla="*/ 392 h 14551"/>
                <a:gd name="connsiteX1" fmla="*/ 13916 w 14355"/>
                <a:gd name="connsiteY1" fmla="*/ 1715 h 14551"/>
                <a:gd name="connsiteX2" fmla="*/ 13058 w 14355"/>
                <a:gd name="connsiteY2" fmla="*/ 7801 h 14551"/>
                <a:gd name="connsiteX3" fmla="*/ 9971 w 14355"/>
                <a:gd name="connsiteY3" fmla="*/ 13148 h 14551"/>
                <a:gd name="connsiteX4" fmla="*/ 5504 w 14355"/>
                <a:gd name="connsiteY4" fmla="*/ 13658 h 14551"/>
                <a:gd name="connsiteX5" fmla="*/ 211 w 14355"/>
                <a:gd name="connsiteY5" fmla="*/ 6096 h 14551"/>
                <a:gd name="connsiteX6" fmla="*/ 3600 w 14355"/>
                <a:gd name="connsiteY6" fmla="*/ 392 h 14551"/>
                <a:gd name="connsiteX0" fmla="*/ 3600 w 14355"/>
                <a:gd name="connsiteY0" fmla="*/ 392 h 14908"/>
                <a:gd name="connsiteX1" fmla="*/ 13916 w 14355"/>
                <a:gd name="connsiteY1" fmla="*/ 1715 h 14908"/>
                <a:gd name="connsiteX2" fmla="*/ 13058 w 14355"/>
                <a:gd name="connsiteY2" fmla="*/ 7801 h 14908"/>
                <a:gd name="connsiteX3" fmla="*/ 9971 w 14355"/>
                <a:gd name="connsiteY3" fmla="*/ 13148 h 14908"/>
                <a:gd name="connsiteX4" fmla="*/ 5504 w 14355"/>
                <a:gd name="connsiteY4" fmla="*/ 13658 h 14908"/>
                <a:gd name="connsiteX5" fmla="*/ 211 w 14355"/>
                <a:gd name="connsiteY5" fmla="*/ 6096 h 14908"/>
                <a:gd name="connsiteX6" fmla="*/ 3600 w 14355"/>
                <a:gd name="connsiteY6" fmla="*/ 392 h 14908"/>
                <a:gd name="connsiteX0" fmla="*/ 3600 w 14355"/>
                <a:gd name="connsiteY0" fmla="*/ 392 h 14908"/>
                <a:gd name="connsiteX1" fmla="*/ 13916 w 14355"/>
                <a:gd name="connsiteY1" fmla="*/ 1715 h 14908"/>
                <a:gd name="connsiteX2" fmla="*/ 13058 w 14355"/>
                <a:gd name="connsiteY2" fmla="*/ 7801 h 14908"/>
                <a:gd name="connsiteX3" fmla="*/ 9971 w 14355"/>
                <a:gd name="connsiteY3" fmla="*/ 13148 h 14908"/>
                <a:gd name="connsiteX4" fmla="*/ 5504 w 14355"/>
                <a:gd name="connsiteY4" fmla="*/ 13658 h 14908"/>
                <a:gd name="connsiteX5" fmla="*/ 211 w 14355"/>
                <a:gd name="connsiteY5" fmla="*/ 6096 h 14908"/>
                <a:gd name="connsiteX6" fmla="*/ 3600 w 14355"/>
                <a:gd name="connsiteY6" fmla="*/ 392 h 14908"/>
                <a:gd name="connsiteX0" fmla="*/ 3600 w 14605"/>
                <a:gd name="connsiteY0" fmla="*/ 392 h 14908"/>
                <a:gd name="connsiteX1" fmla="*/ 13916 w 14605"/>
                <a:gd name="connsiteY1" fmla="*/ 1715 h 14908"/>
                <a:gd name="connsiteX2" fmla="*/ 13804 w 14605"/>
                <a:gd name="connsiteY2" fmla="*/ 7462 h 14908"/>
                <a:gd name="connsiteX3" fmla="*/ 9971 w 14605"/>
                <a:gd name="connsiteY3" fmla="*/ 13148 h 14908"/>
                <a:gd name="connsiteX4" fmla="*/ 5504 w 14605"/>
                <a:gd name="connsiteY4" fmla="*/ 13658 h 14908"/>
                <a:gd name="connsiteX5" fmla="*/ 211 w 14605"/>
                <a:gd name="connsiteY5" fmla="*/ 6096 h 14908"/>
                <a:gd name="connsiteX6" fmla="*/ 3600 w 14605"/>
                <a:gd name="connsiteY6" fmla="*/ 392 h 14908"/>
                <a:gd name="connsiteX0" fmla="*/ 3600 w 14605"/>
                <a:gd name="connsiteY0" fmla="*/ 784 h 15300"/>
                <a:gd name="connsiteX1" fmla="*/ 13916 w 14605"/>
                <a:gd name="connsiteY1" fmla="*/ 2107 h 15300"/>
                <a:gd name="connsiteX2" fmla="*/ 13804 w 14605"/>
                <a:gd name="connsiteY2" fmla="*/ 7854 h 15300"/>
                <a:gd name="connsiteX3" fmla="*/ 9971 w 14605"/>
                <a:gd name="connsiteY3" fmla="*/ 13540 h 15300"/>
                <a:gd name="connsiteX4" fmla="*/ 5504 w 14605"/>
                <a:gd name="connsiteY4" fmla="*/ 14050 h 15300"/>
                <a:gd name="connsiteX5" fmla="*/ 211 w 14605"/>
                <a:gd name="connsiteY5" fmla="*/ 6488 h 15300"/>
                <a:gd name="connsiteX6" fmla="*/ 3600 w 14605"/>
                <a:gd name="connsiteY6" fmla="*/ 784 h 15300"/>
                <a:gd name="connsiteX0" fmla="*/ 3600 w 14630"/>
                <a:gd name="connsiteY0" fmla="*/ 784 h 15300"/>
                <a:gd name="connsiteX1" fmla="*/ 13916 w 14630"/>
                <a:gd name="connsiteY1" fmla="*/ 2107 h 15300"/>
                <a:gd name="connsiteX2" fmla="*/ 13804 w 14630"/>
                <a:gd name="connsiteY2" fmla="*/ 7854 h 15300"/>
                <a:gd name="connsiteX3" fmla="*/ 9971 w 14630"/>
                <a:gd name="connsiteY3" fmla="*/ 13540 h 15300"/>
                <a:gd name="connsiteX4" fmla="*/ 5504 w 14630"/>
                <a:gd name="connsiteY4" fmla="*/ 14050 h 15300"/>
                <a:gd name="connsiteX5" fmla="*/ 211 w 14630"/>
                <a:gd name="connsiteY5" fmla="*/ 6488 h 15300"/>
                <a:gd name="connsiteX6" fmla="*/ 3600 w 14630"/>
                <a:gd name="connsiteY6" fmla="*/ 784 h 15300"/>
                <a:gd name="connsiteX0" fmla="*/ 3738 w 14768"/>
                <a:gd name="connsiteY0" fmla="*/ 784 h 15300"/>
                <a:gd name="connsiteX1" fmla="*/ 14054 w 14768"/>
                <a:gd name="connsiteY1" fmla="*/ 2107 h 15300"/>
                <a:gd name="connsiteX2" fmla="*/ 13942 w 14768"/>
                <a:gd name="connsiteY2" fmla="*/ 7854 h 15300"/>
                <a:gd name="connsiteX3" fmla="*/ 10109 w 14768"/>
                <a:gd name="connsiteY3" fmla="*/ 13540 h 15300"/>
                <a:gd name="connsiteX4" fmla="*/ 5642 w 14768"/>
                <a:gd name="connsiteY4" fmla="*/ 14050 h 15300"/>
                <a:gd name="connsiteX5" fmla="*/ 349 w 14768"/>
                <a:gd name="connsiteY5" fmla="*/ 6488 h 15300"/>
                <a:gd name="connsiteX6" fmla="*/ 3738 w 14768"/>
                <a:gd name="connsiteY6" fmla="*/ 784 h 15300"/>
                <a:gd name="connsiteX0" fmla="*/ 3738 w 14768"/>
                <a:gd name="connsiteY0" fmla="*/ 784 h 15300"/>
                <a:gd name="connsiteX1" fmla="*/ 14054 w 14768"/>
                <a:gd name="connsiteY1" fmla="*/ 2107 h 15300"/>
                <a:gd name="connsiteX2" fmla="*/ 13942 w 14768"/>
                <a:gd name="connsiteY2" fmla="*/ 7854 h 15300"/>
                <a:gd name="connsiteX3" fmla="*/ 10109 w 14768"/>
                <a:gd name="connsiteY3" fmla="*/ 13540 h 15300"/>
                <a:gd name="connsiteX4" fmla="*/ 5642 w 14768"/>
                <a:gd name="connsiteY4" fmla="*/ 14050 h 15300"/>
                <a:gd name="connsiteX5" fmla="*/ 349 w 14768"/>
                <a:gd name="connsiteY5" fmla="*/ 6488 h 15300"/>
                <a:gd name="connsiteX6" fmla="*/ 3738 w 14768"/>
                <a:gd name="connsiteY6" fmla="*/ 784 h 15300"/>
                <a:gd name="connsiteX0" fmla="*/ 3738 w 14768"/>
                <a:gd name="connsiteY0" fmla="*/ 784 h 15300"/>
                <a:gd name="connsiteX1" fmla="*/ 14054 w 14768"/>
                <a:gd name="connsiteY1" fmla="*/ 2107 h 15300"/>
                <a:gd name="connsiteX2" fmla="*/ 13942 w 14768"/>
                <a:gd name="connsiteY2" fmla="*/ 7854 h 15300"/>
                <a:gd name="connsiteX3" fmla="*/ 10109 w 14768"/>
                <a:gd name="connsiteY3" fmla="*/ 13540 h 15300"/>
                <a:gd name="connsiteX4" fmla="*/ 5642 w 14768"/>
                <a:gd name="connsiteY4" fmla="*/ 14050 h 15300"/>
                <a:gd name="connsiteX5" fmla="*/ 349 w 14768"/>
                <a:gd name="connsiteY5" fmla="*/ 6488 h 15300"/>
                <a:gd name="connsiteX6" fmla="*/ 3738 w 14768"/>
                <a:gd name="connsiteY6" fmla="*/ 784 h 15300"/>
                <a:gd name="connsiteX0" fmla="*/ 3558 w 14588"/>
                <a:gd name="connsiteY0" fmla="*/ 784 h 15300"/>
                <a:gd name="connsiteX1" fmla="*/ 13874 w 14588"/>
                <a:gd name="connsiteY1" fmla="*/ 2107 h 15300"/>
                <a:gd name="connsiteX2" fmla="*/ 13762 w 14588"/>
                <a:gd name="connsiteY2" fmla="*/ 7854 h 15300"/>
                <a:gd name="connsiteX3" fmla="*/ 9929 w 14588"/>
                <a:gd name="connsiteY3" fmla="*/ 13540 h 15300"/>
                <a:gd name="connsiteX4" fmla="*/ 5462 w 14588"/>
                <a:gd name="connsiteY4" fmla="*/ 14050 h 15300"/>
                <a:gd name="connsiteX5" fmla="*/ 169 w 14588"/>
                <a:gd name="connsiteY5" fmla="*/ 6488 h 15300"/>
                <a:gd name="connsiteX6" fmla="*/ 3558 w 14588"/>
                <a:gd name="connsiteY6" fmla="*/ 784 h 1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88" h="15300">
                  <a:moveTo>
                    <a:pt x="3558" y="784"/>
                  </a:moveTo>
                  <a:cubicBezTo>
                    <a:pt x="5225" y="40"/>
                    <a:pt x="11719" y="-1001"/>
                    <a:pt x="13874" y="2107"/>
                  </a:cubicBezTo>
                  <a:cubicBezTo>
                    <a:pt x="14865" y="3679"/>
                    <a:pt x="14822" y="5908"/>
                    <a:pt x="13762" y="7854"/>
                  </a:cubicBezTo>
                  <a:cubicBezTo>
                    <a:pt x="12733" y="9636"/>
                    <a:pt x="11771" y="11283"/>
                    <a:pt x="9929" y="13540"/>
                  </a:cubicBezTo>
                  <a:cubicBezTo>
                    <a:pt x="8915" y="15201"/>
                    <a:pt x="6070" y="16253"/>
                    <a:pt x="5462" y="14050"/>
                  </a:cubicBezTo>
                  <a:cubicBezTo>
                    <a:pt x="4113" y="9698"/>
                    <a:pt x="1951" y="9841"/>
                    <a:pt x="169" y="6488"/>
                  </a:cubicBezTo>
                  <a:cubicBezTo>
                    <a:pt x="-471" y="3888"/>
                    <a:pt x="724" y="2189"/>
                    <a:pt x="3558" y="784"/>
                  </a:cubicBezTo>
                  <a:close/>
                </a:path>
              </a:pathLst>
            </a:custGeom>
            <a:grpFill/>
            <a:ln w="0">
              <a:noFill/>
              <a:prstDash val="solid"/>
              <a:round/>
              <a:headEnd/>
              <a:tailEnd/>
            </a:ln>
            <a:effectLst/>
          </p:spPr>
          <p:txBody>
            <a:bodyPr vert="horz" wrap="square" lIns="121920" tIns="60960" rIns="121920" bIns="60960" numCol="1" anchor="t" anchorCtr="0" compatLnSpc="1">
              <a:prstTxWarp prst="textNoShape">
                <a:avLst/>
              </a:prstTxWarp>
            </a:bodyPr>
            <a:lstStyle/>
            <a:p>
              <a:pPr marL="0" marR="0" lvl="0" indent="0" algn="l" defTabSz="467539"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a:ea typeface="+mn-ea"/>
                <a:cs typeface="+mn-cs"/>
              </a:endParaRPr>
            </a:p>
          </p:txBody>
        </p:sp>
        <p:sp>
          <p:nvSpPr>
            <p:cNvPr id="34" name="Diamond 100">
              <a:extLst>
                <a:ext uri="{FF2B5EF4-FFF2-40B4-BE49-F238E27FC236}">
                  <a16:creationId xmlns:a16="http://schemas.microsoft.com/office/drawing/2014/main" id="{359CD445-7CA4-06D5-62DC-C0482DFD1038}"/>
                </a:ext>
              </a:extLst>
            </p:cNvPr>
            <p:cNvSpPr/>
            <p:nvPr/>
          </p:nvSpPr>
          <p:spPr>
            <a:xfrm>
              <a:off x="3637128" y="5289038"/>
              <a:ext cx="1453487" cy="2961033"/>
            </a:xfrm>
            <a:custGeom>
              <a:avLst/>
              <a:gdLst>
                <a:gd name="connsiteX0" fmla="*/ 0 w 1255594"/>
                <a:gd name="connsiteY0" fmla="*/ 1330657 h 2661314"/>
                <a:gd name="connsiteX1" fmla="*/ 627797 w 1255594"/>
                <a:gd name="connsiteY1" fmla="*/ 0 h 2661314"/>
                <a:gd name="connsiteX2" fmla="*/ 1255594 w 1255594"/>
                <a:gd name="connsiteY2" fmla="*/ 1330657 h 2661314"/>
                <a:gd name="connsiteX3" fmla="*/ 627797 w 1255594"/>
                <a:gd name="connsiteY3" fmla="*/ 2661314 h 2661314"/>
                <a:gd name="connsiteX4" fmla="*/ 0 w 1255594"/>
                <a:gd name="connsiteY4" fmla="*/ 1330657 h 2661314"/>
                <a:gd name="connsiteX0" fmla="*/ 0 w 1439839"/>
                <a:gd name="connsiteY0" fmla="*/ 1330657 h 2661314"/>
                <a:gd name="connsiteX1" fmla="*/ 627797 w 1439839"/>
                <a:gd name="connsiteY1" fmla="*/ 0 h 2661314"/>
                <a:gd name="connsiteX2" fmla="*/ 1439839 w 1439839"/>
                <a:gd name="connsiteY2" fmla="*/ 1235122 h 2661314"/>
                <a:gd name="connsiteX3" fmla="*/ 627797 w 1439839"/>
                <a:gd name="connsiteY3" fmla="*/ 2661314 h 2661314"/>
                <a:gd name="connsiteX4" fmla="*/ 0 w 1439839"/>
                <a:gd name="connsiteY4" fmla="*/ 1330657 h 2661314"/>
                <a:gd name="connsiteX0" fmla="*/ 0 w 1453487"/>
                <a:gd name="connsiteY0" fmla="*/ 1241947 h 2661314"/>
                <a:gd name="connsiteX1" fmla="*/ 641445 w 1453487"/>
                <a:gd name="connsiteY1" fmla="*/ 0 h 2661314"/>
                <a:gd name="connsiteX2" fmla="*/ 1453487 w 1453487"/>
                <a:gd name="connsiteY2" fmla="*/ 1235122 h 2661314"/>
                <a:gd name="connsiteX3" fmla="*/ 641445 w 1453487"/>
                <a:gd name="connsiteY3" fmla="*/ 2661314 h 2661314"/>
                <a:gd name="connsiteX4" fmla="*/ 0 w 1453487"/>
                <a:gd name="connsiteY4" fmla="*/ 1241947 h 2661314"/>
                <a:gd name="connsiteX0" fmla="*/ 0 w 1453487"/>
                <a:gd name="connsiteY0" fmla="*/ 1241947 h 2661314"/>
                <a:gd name="connsiteX1" fmla="*/ 641445 w 1453487"/>
                <a:gd name="connsiteY1" fmla="*/ 0 h 2661314"/>
                <a:gd name="connsiteX2" fmla="*/ 887105 w 1453487"/>
                <a:gd name="connsiteY2" fmla="*/ 368490 h 2661314"/>
                <a:gd name="connsiteX3" fmla="*/ 1453487 w 1453487"/>
                <a:gd name="connsiteY3" fmla="*/ 1235122 h 2661314"/>
                <a:gd name="connsiteX4" fmla="*/ 641445 w 1453487"/>
                <a:gd name="connsiteY4" fmla="*/ 2661314 h 2661314"/>
                <a:gd name="connsiteX5" fmla="*/ 0 w 1453487"/>
                <a:gd name="connsiteY5" fmla="*/ 1241947 h 2661314"/>
                <a:gd name="connsiteX0" fmla="*/ 0 w 1453487"/>
                <a:gd name="connsiteY0" fmla="*/ 1514901 h 2934268"/>
                <a:gd name="connsiteX1" fmla="*/ 641445 w 1453487"/>
                <a:gd name="connsiteY1" fmla="*/ 272954 h 2934268"/>
                <a:gd name="connsiteX2" fmla="*/ 1173708 w 1453487"/>
                <a:gd name="connsiteY2" fmla="*/ 0 h 2934268"/>
                <a:gd name="connsiteX3" fmla="*/ 1453487 w 1453487"/>
                <a:gd name="connsiteY3" fmla="*/ 1508076 h 2934268"/>
                <a:gd name="connsiteX4" fmla="*/ 641445 w 1453487"/>
                <a:gd name="connsiteY4" fmla="*/ 2934268 h 2934268"/>
                <a:gd name="connsiteX5" fmla="*/ 0 w 1453487"/>
                <a:gd name="connsiteY5" fmla="*/ 1514901 h 2934268"/>
                <a:gd name="connsiteX0" fmla="*/ 0 w 1453487"/>
                <a:gd name="connsiteY0" fmla="*/ 1514901 h 2934268"/>
                <a:gd name="connsiteX1" fmla="*/ 334371 w 1453487"/>
                <a:gd name="connsiteY1" fmla="*/ 859808 h 2934268"/>
                <a:gd name="connsiteX2" fmla="*/ 641445 w 1453487"/>
                <a:gd name="connsiteY2" fmla="*/ 272954 h 2934268"/>
                <a:gd name="connsiteX3" fmla="*/ 1173708 w 1453487"/>
                <a:gd name="connsiteY3" fmla="*/ 0 h 2934268"/>
                <a:gd name="connsiteX4" fmla="*/ 1453487 w 1453487"/>
                <a:gd name="connsiteY4" fmla="*/ 1508076 h 2934268"/>
                <a:gd name="connsiteX5" fmla="*/ 641445 w 1453487"/>
                <a:gd name="connsiteY5" fmla="*/ 2934268 h 2934268"/>
                <a:gd name="connsiteX6" fmla="*/ 0 w 1453487"/>
                <a:gd name="connsiteY6" fmla="*/ 1514901 h 2934268"/>
                <a:gd name="connsiteX0" fmla="*/ 0 w 1453487"/>
                <a:gd name="connsiteY0" fmla="*/ 1521726 h 2941093"/>
                <a:gd name="connsiteX1" fmla="*/ 361667 w 1453487"/>
                <a:gd name="connsiteY1" fmla="*/ 0 h 2941093"/>
                <a:gd name="connsiteX2" fmla="*/ 641445 w 1453487"/>
                <a:gd name="connsiteY2" fmla="*/ 279779 h 2941093"/>
                <a:gd name="connsiteX3" fmla="*/ 1173708 w 1453487"/>
                <a:gd name="connsiteY3" fmla="*/ 6825 h 2941093"/>
                <a:gd name="connsiteX4" fmla="*/ 1453487 w 1453487"/>
                <a:gd name="connsiteY4" fmla="*/ 1514901 h 2941093"/>
                <a:gd name="connsiteX5" fmla="*/ 641445 w 1453487"/>
                <a:gd name="connsiteY5" fmla="*/ 2941093 h 2941093"/>
                <a:gd name="connsiteX6" fmla="*/ 0 w 1453487"/>
                <a:gd name="connsiteY6" fmla="*/ 1521726 h 2941093"/>
                <a:gd name="connsiteX0" fmla="*/ 0 w 1453487"/>
                <a:gd name="connsiteY0" fmla="*/ 1521726 h 2941093"/>
                <a:gd name="connsiteX1" fmla="*/ 361667 w 1453487"/>
                <a:gd name="connsiteY1" fmla="*/ 0 h 2941093"/>
                <a:gd name="connsiteX2" fmla="*/ 552735 w 1453487"/>
                <a:gd name="connsiteY2" fmla="*/ 252483 h 2941093"/>
                <a:gd name="connsiteX3" fmla="*/ 1173708 w 1453487"/>
                <a:gd name="connsiteY3" fmla="*/ 6825 h 2941093"/>
                <a:gd name="connsiteX4" fmla="*/ 1453487 w 1453487"/>
                <a:gd name="connsiteY4" fmla="*/ 1514901 h 2941093"/>
                <a:gd name="connsiteX5" fmla="*/ 641445 w 1453487"/>
                <a:gd name="connsiteY5" fmla="*/ 2941093 h 2941093"/>
                <a:gd name="connsiteX6" fmla="*/ 0 w 1453487"/>
                <a:gd name="connsiteY6" fmla="*/ 1521726 h 2941093"/>
                <a:gd name="connsiteX0" fmla="*/ 0 w 1453487"/>
                <a:gd name="connsiteY0" fmla="*/ 1521726 h 2941093"/>
                <a:gd name="connsiteX1" fmla="*/ 361667 w 1453487"/>
                <a:gd name="connsiteY1" fmla="*/ 0 h 2941093"/>
                <a:gd name="connsiteX2" fmla="*/ 552735 w 1453487"/>
                <a:gd name="connsiteY2" fmla="*/ 252483 h 2941093"/>
                <a:gd name="connsiteX3" fmla="*/ 846162 w 1453487"/>
                <a:gd name="connsiteY3" fmla="*/ 143303 h 2941093"/>
                <a:gd name="connsiteX4" fmla="*/ 1173708 w 1453487"/>
                <a:gd name="connsiteY4" fmla="*/ 6825 h 2941093"/>
                <a:gd name="connsiteX5" fmla="*/ 1453487 w 1453487"/>
                <a:gd name="connsiteY5" fmla="*/ 1514901 h 2941093"/>
                <a:gd name="connsiteX6" fmla="*/ 641445 w 1453487"/>
                <a:gd name="connsiteY6" fmla="*/ 2941093 h 2941093"/>
                <a:gd name="connsiteX7" fmla="*/ 0 w 1453487"/>
                <a:gd name="connsiteY7" fmla="*/ 1521726 h 2941093"/>
                <a:gd name="connsiteX0" fmla="*/ 0 w 1453487"/>
                <a:gd name="connsiteY0" fmla="*/ 1521726 h 2941093"/>
                <a:gd name="connsiteX1" fmla="*/ 361667 w 1453487"/>
                <a:gd name="connsiteY1" fmla="*/ 0 h 2941093"/>
                <a:gd name="connsiteX2" fmla="*/ 552735 w 1453487"/>
                <a:gd name="connsiteY2" fmla="*/ 252483 h 2941093"/>
                <a:gd name="connsiteX3" fmla="*/ 1003112 w 1453487"/>
                <a:gd name="connsiteY3" fmla="*/ 266133 h 2941093"/>
                <a:gd name="connsiteX4" fmla="*/ 1173708 w 1453487"/>
                <a:gd name="connsiteY4" fmla="*/ 6825 h 2941093"/>
                <a:gd name="connsiteX5" fmla="*/ 1453487 w 1453487"/>
                <a:gd name="connsiteY5" fmla="*/ 1514901 h 2941093"/>
                <a:gd name="connsiteX6" fmla="*/ 641445 w 1453487"/>
                <a:gd name="connsiteY6" fmla="*/ 2941093 h 2941093"/>
                <a:gd name="connsiteX7" fmla="*/ 0 w 1453487"/>
                <a:gd name="connsiteY7" fmla="*/ 1521726 h 2941093"/>
                <a:gd name="connsiteX0" fmla="*/ 0 w 1453487"/>
                <a:gd name="connsiteY0" fmla="*/ 1521726 h 2941093"/>
                <a:gd name="connsiteX1" fmla="*/ 361667 w 1453487"/>
                <a:gd name="connsiteY1" fmla="*/ 0 h 2941093"/>
                <a:gd name="connsiteX2" fmla="*/ 552735 w 1453487"/>
                <a:gd name="connsiteY2" fmla="*/ 252483 h 2941093"/>
                <a:gd name="connsiteX3" fmla="*/ 1000263 w 1453487"/>
                <a:gd name="connsiteY3" fmla="*/ 260435 h 2941093"/>
                <a:gd name="connsiteX4" fmla="*/ 1173708 w 1453487"/>
                <a:gd name="connsiteY4" fmla="*/ 6825 h 2941093"/>
                <a:gd name="connsiteX5" fmla="*/ 1453487 w 1453487"/>
                <a:gd name="connsiteY5" fmla="*/ 1514901 h 2941093"/>
                <a:gd name="connsiteX6" fmla="*/ 641445 w 1453487"/>
                <a:gd name="connsiteY6" fmla="*/ 2941093 h 2941093"/>
                <a:gd name="connsiteX7" fmla="*/ 0 w 1453487"/>
                <a:gd name="connsiteY7" fmla="*/ 1521726 h 2941093"/>
                <a:gd name="connsiteX0" fmla="*/ 0 w 1453487"/>
                <a:gd name="connsiteY0" fmla="*/ 1521726 h 2941093"/>
                <a:gd name="connsiteX1" fmla="*/ 361667 w 1453487"/>
                <a:gd name="connsiteY1" fmla="*/ 0 h 2941093"/>
                <a:gd name="connsiteX2" fmla="*/ 549886 w 1453487"/>
                <a:gd name="connsiteY2" fmla="*/ 252483 h 2941093"/>
                <a:gd name="connsiteX3" fmla="*/ 1000263 w 1453487"/>
                <a:gd name="connsiteY3" fmla="*/ 260435 h 2941093"/>
                <a:gd name="connsiteX4" fmla="*/ 1173708 w 1453487"/>
                <a:gd name="connsiteY4" fmla="*/ 6825 h 2941093"/>
                <a:gd name="connsiteX5" fmla="*/ 1453487 w 1453487"/>
                <a:gd name="connsiteY5" fmla="*/ 1514901 h 2941093"/>
                <a:gd name="connsiteX6" fmla="*/ 641445 w 1453487"/>
                <a:gd name="connsiteY6" fmla="*/ 2941093 h 2941093"/>
                <a:gd name="connsiteX7" fmla="*/ 0 w 1453487"/>
                <a:gd name="connsiteY7" fmla="*/ 1521726 h 2941093"/>
                <a:gd name="connsiteX0" fmla="*/ 0 w 1453487"/>
                <a:gd name="connsiteY0" fmla="*/ 1521726 h 2941093"/>
                <a:gd name="connsiteX1" fmla="*/ 361667 w 1453487"/>
                <a:gd name="connsiteY1" fmla="*/ 0 h 2941093"/>
                <a:gd name="connsiteX2" fmla="*/ 549886 w 1453487"/>
                <a:gd name="connsiteY2" fmla="*/ 252483 h 2941093"/>
                <a:gd name="connsiteX3" fmla="*/ 997414 w 1453487"/>
                <a:gd name="connsiteY3" fmla="*/ 257587 h 2941093"/>
                <a:gd name="connsiteX4" fmla="*/ 1173708 w 1453487"/>
                <a:gd name="connsiteY4" fmla="*/ 6825 h 2941093"/>
                <a:gd name="connsiteX5" fmla="*/ 1453487 w 1453487"/>
                <a:gd name="connsiteY5" fmla="*/ 1514901 h 2941093"/>
                <a:gd name="connsiteX6" fmla="*/ 641445 w 1453487"/>
                <a:gd name="connsiteY6" fmla="*/ 2941093 h 2941093"/>
                <a:gd name="connsiteX7" fmla="*/ 0 w 1453487"/>
                <a:gd name="connsiteY7" fmla="*/ 1521726 h 2941093"/>
                <a:gd name="connsiteX0" fmla="*/ 0 w 1453487"/>
                <a:gd name="connsiteY0" fmla="*/ 1521726 h 2941093"/>
                <a:gd name="connsiteX1" fmla="*/ 361667 w 1453487"/>
                <a:gd name="connsiteY1" fmla="*/ 0 h 2941093"/>
                <a:gd name="connsiteX2" fmla="*/ 549886 w 1453487"/>
                <a:gd name="connsiteY2" fmla="*/ 252483 h 2941093"/>
                <a:gd name="connsiteX3" fmla="*/ 997414 w 1453487"/>
                <a:gd name="connsiteY3" fmla="*/ 251890 h 2941093"/>
                <a:gd name="connsiteX4" fmla="*/ 1173708 w 1453487"/>
                <a:gd name="connsiteY4" fmla="*/ 6825 h 2941093"/>
                <a:gd name="connsiteX5" fmla="*/ 1453487 w 1453487"/>
                <a:gd name="connsiteY5" fmla="*/ 1514901 h 2941093"/>
                <a:gd name="connsiteX6" fmla="*/ 641445 w 1453487"/>
                <a:gd name="connsiteY6" fmla="*/ 2941093 h 2941093"/>
                <a:gd name="connsiteX7" fmla="*/ 0 w 1453487"/>
                <a:gd name="connsiteY7" fmla="*/ 1521726 h 2941093"/>
                <a:gd name="connsiteX0" fmla="*/ 0 w 1453487"/>
                <a:gd name="connsiteY0" fmla="*/ 1541666 h 2961033"/>
                <a:gd name="connsiteX1" fmla="*/ 364516 w 1453487"/>
                <a:gd name="connsiteY1" fmla="*/ 0 h 2961033"/>
                <a:gd name="connsiteX2" fmla="*/ 549886 w 1453487"/>
                <a:gd name="connsiteY2" fmla="*/ 272423 h 2961033"/>
                <a:gd name="connsiteX3" fmla="*/ 997414 w 1453487"/>
                <a:gd name="connsiteY3" fmla="*/ 271830 h 2961033"/>
                <a:gd name="connsiteX4" fmla="*/ 1173708 w 1453487"/>
                <a:gd name="connsiteY4" fmla="*/ 26765 h 2961033"/>
                <a:gd name="connsiteX5" fmla="*/ 1453487 w 1453487"/>
                <a:gd name="connsiteY5" fmla="*/ 1534841 h 2961033"/>
                <a:gd name="connsiteX6" fmla="*/ 641445 w 1453487"/>
                <a:gd name="connsiteY6" fmla="*/ 2961033 h 2961033"/>
                <a:gd name="connsiteX7" fmla="*/ 0 w 1453487"/>
                <a:gd name="connsiteY7" fmla="*/ 1541666 h 2961033"/>
                <a:gd name="connsiteX0" fmla="*/ 0 w 1453487"/>
                <a:gd name="connsiteY0" fmla="*/ 1541666 h 2961033"/>
                <a:gd name="connsiteX1" fmla="*/ 364516 w 1453487"/>
                <a:gd name="connsiteY1" fmla="*/ 0 h 2961033"/>
                <a:gd name="connsiteX2" fmla="*/ 547038 w 1453487"/>
                <a:gd name="connsiteY2" fmla="*/ 269574 h 2961033"/>
                <a:gd name="connsiteX3" fmla="*/ 997414 w 1453487"/>
                <a:gd name="connsiteY3" fmla="*/ 271830 h 2961033"/>
                <a:gd name="connsiteX4" fmla="*/ 1173708 w 1453487"/>
                <a:gd name="connsiteY4" fmla="*/ 26765 h 2961033"/>
                <a:gd name="connsiteX5" fmla="*/ 1453487 w 1453487"/>
                <a:gd name="connsiteY5" fmla="*/ 1534841 h 2961033"/>
                <a:gd name="connsiteX6" fmla="*/ 641445 w 1453487"/>
                <a:gd name="connsiteY6" fmla="*/ 2961033 h 2961033"/>
                <a:gd name="connsiteX7" fmla="*/ 0 w 1453487"/>
                <a:gd name="connsiteY7" fmla="*/ 1541666 h 2961033"/>
                <a:gd name="connsiteX0" fmla="*/ 0 w 1453487"/>
                <a:gd name="connsiteY0" fmla="*/ 1541666 h 2961033"/>
                <a:gd name="connsiteX1" fmla="*/ 364516 w 1453487"/>
                <a:gd name="connsiteY1" fmla="*/ 0 h 2961033"/>
                <a:gd name="connsiteX2" fmla="*/ 547038 w 1453487"/>
                <a:gd name="connsiteY2" fmla="*/ 269574 h 2961033"/>
                <a:gd name="connsiteX3" fmla="*/ 1000263 w 1453487"/>
                <a:gd name="connsiteY3" fmla="*/ 268982 h 2961033"/>
                <a:gd name="connsiteX4" fmla="*/ 1173708 w 1453487"/>
                <a:gd name="connsiteY4" fmla="*/ 26765 h 2961033"/>
                <a:gd name="connsiteX5" fmla="*/ 1453487 w 1453487"/>
                <a:gd name="connsiteY5" fmla="*/ 1534841 h 2961033"/>
                <a:gd name="connsiteX6" fmla="*/ 641445 w 1453487"/>
                <a:gd name="connsiteY6" fmla="*/ 2961033 h 2961033"/>
                <a:gd name="connsiteX7" fmla="*/ 0 w 1453487"/>
                <a:gd name="connsiteY7" fmla="*/ 1541666 h 2961033"/>
                <a:gd name="connsiteX0" fmla="*/ 0 w 1453487"/>
                <a:gd name="connsiteY0" fmla="*/ 1541666 h 2961033"/>
                <a:gd name="connsiteX1" fmla="*/ 364516 w 1453487"/>
                <a:gd name="connsiteY1" fmla="*/ 0 h 2961033"/>
                <a:gd name="connsiteX2" fmla="*/ 547038 w 1453487"/>
                <a:gd name="connsiteY2" fmla="*/ 269574 h 2961033"/>
                <a:gd name="connsiteX3" fmla="*/ 994566 w 1453487"/>
                <a:gd name="connsiteY3" fmla="*/ 271831 h 2961033"/>
                <a:gd name="connsiteX4" fmla="*/ 1173708 w 1453487"/>
                <a:gd name="connsiteY4" fmla="*/ 26765 h 2961033"/>
                <a:gd name="connsiteX5" fmla="*/ 1453487 w 1453487"/>
                <a:gd name="connsiteY5" fmla="*/ 1534841 h 2961033"/>
                <a:gd name="connsiteX6" fmla="*/ 641445 w 1453487"/>
                <a:gd name="connsiteY6" fmla="*/ 2961033 h 2961033"/>
                <a:gd name="connsiteX7" fmla="*/ 0 w 1453487"/>
                <a:gd name="connsiteY7" fmla="*/ 1541666 h 296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3487" h="2961033">
                  <a:moveTo>
                    <a:pt x="0" y="1541666"/>
                  </a:moveTo>
                  <a:lnTo>
                    <a:pt x="364516" y="0"/>
                  </a:lnTo>
                  <a:lnTo>
                    <a:pt x="547038" y="269574"/>
                  </a:lnTo>
                  <a:lnTo>
                    <a:pt x="994566" y="271831"/>
                  </a:lnTo>
                  <a:lnTo>
                    <a:pt x="1173708" y="26765"/>
                  </a:lnTo>
                  <a:lnTo>
                    <a:pt x="1453487" y="1534841"/>
                  </a:lnTo>
                  <a:lnTo>
                    <a:pt x="641445" y="2961033"/>
                  </a:lnTo>
                  <a:lnTo>
                    <a:pt x="0" y="1541666"/>
                  </a:ln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67539"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grpSp>
      <p:grpSp>
        <p:nvGrpSpPr>
          <p:cNvPr id="35" name="Group 383">
            <a:extLst>
              <a:ext uri="{FF2B5EF4-FFF2-40B4-BE49-F238E27FC236}">
                <a16:creationId xmlns:a16="http://schemas.microsoft.com/office/drawing/2014/main" id="{BA277025-1164-8448-7F82-FDD379D55EC3}"/>
              </a:ext>
            </a:extLst>
          </p:cNvPr>
          <p:cNvGrpSpPr/>
          <p:nvPr/>
        </p:nvGrpSpPr>
        <p:grpSpPr>
          <a:xfrm>
            <a:off x="11409784" y="3617526"/>
            <a:ext cx="330885" cy="291109"/>
            <a:chOff x="-2429678" y="-3238500"/>
            <a:chExt cx="13663209" cy="13417212"/>
          </a:xfrm>
          <a:solidFill>
            <a:srgbClr val="008789"/>
          </a:solidFill>
        </p:grpSpPr>
        <p:sp>
          <p:nvSpPr>
            <p:cNvPr id="36" name="Freeform 394">
              <a:extLst>
                <a:ext uri="{FF2B5EF4-FFF2-40B4-BE49-F238E27FC236}">
                  <a16:creationId xmlns:a16="http://schemas.microsoft.com/office/drawing/2014/main" id="{730D1DC2-74E2-64CD-ACA6-8BDC9A3B6F5E}"/>
                </a:ext>
              </a:extLst>
            </p:cNvPr>
            <p:cNvSpPr/>
            <p:nvPr/>
          </p:nvSpPr>
          <p:spPr>
            <a:xfrm>
              <a:off x="990599" y="-3238500"/>
              <a:ext cx="6825423" cy="7410594"/>
            </a:xfrm>
            <a:custGeom>
              <a:avLst/>
              <a:gdLst>
                <a:gd name="connsiteX0" fmla="*/ 3409950 w 6825423"/>
                <a:gd name="connsiteY0" fmla="*/ 0 h 7410594"/>
                <a:gd name="connsiteX1" fmla="*/ 6229951 w 6825423"/>
                <a:gd name="connsiteY1" fmla="*/ 2516401 h 7410594"/>
                <a:gd name="connsiteX2" fmla="*/ 6238704 w 6825423"/>
                <a:gd name="connsiteY2" fmla="*/ 2557692 h 7410594"/>
                <a:gd name="connsiteX3" fmla="*/ 6296533 w 6825423"/>
                <a:gd name="connsiteY3" fmla="*/ 2595147 h 7410594"/>
                <a:gd name="connsiteX4" fmla="*/ 6674736 w 6825423"/>
                <a:gd name="connsiteY4" fmla="*/ 2949584 h 7410594"/>
                <a:gd name="connsiteX5" fmla="*/ 6674736 w 6825423"/>
                <a:gd name="connsiteY5" fmla="*/ 4422766 h 7410594"/>
                <a:gd name="connsiteX6" fmla="*/ 6134530 w 6825423"/>
                <a:gd name="connsiteY6" fmla="*/ 4903781 h 7410594"/>
                <a:gd name="connsiteX7" fmla="*/ 6097506 w 6825423"/>
                <a:gd name="connsiteY7" fmla="*/ 4909551 h 7410594"/>
                <a:gd name="connsiteX8" fmla="*/ 6054756 w 6825423"/>
                <a:gd name="connsiteY8" fmla="*/ 5016817 h 7410594"/>
                <a:gd name="connsiteX9" fmla="*/ 3352800 w 6825423"/>
                <a:gd name="connsiteY9" fmla="*/ 7410450 h 7410594"/>
                <a:gd name="connsiteX10" fmla="*/ 799523 w 6825423"/>
                <a:gd name="connsiteY10" fmla="*/ 5059710 h 7410594"/>
                <a:gd name="connsiteX11" fmla="*/ 738130 w 6825423"/>
                <a:gd name="connsiteY11" fmla="*/ 4892092 h 7410594"/>
                <a:gd name="connsiteX12" fmla="*/ 690893 w 6825423"/>
                <a:gd name="connsiteY12" fmla="*/ 4884731 h 7410594"/>
                <a:gd name="connsiteX13" fmla="*/ 150687 w 6825423"/>
                <a:gd name="connsiteY13" fmla="*/ 4403716 h 7410594"/>
                <a:gd name="connsiteX14" fmla="*/ 150687 w 6825423"/>
                <a:gd name="connsiteY14" fmla="*/ 2930534 h 7410594"/>
                <a:gd name="connsiteX15" fmla="*/ 436548 w 6825423"/>
                <a:gd name="connsiteY15" fmla="*/ 2646152 h 7410594"/>
                <a:gd name="connsiteX16" fmla="*/ 522375 w 6825423"/>
                <a:gd name="connsiteY16" fmla="*/ 2581039 h 7410594"/>
                <a:gd name="connsiteX17" fmla="*/ 543969 w 6825423"/>
                <a:gd name="connsiteY17" fmla="*/ 2473931 h 7410594"/>
                <a:gd name="connsiteX18" fmla="*/ 3409950 w 6825423"/>
                <a:gd name="connsiteY18" fmla="*/ 0 h 7410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825423" h="7410594">
                  <a:moveTo>
                    <a:pt x="3409950" y="0"/>
                  </a:moveTo>
                  <a:cubicBezTo>
                    <a:pt x="4734941" y="0"/>
                    <a:pt x="5856099" y="1058526"/>
                    <a:pt x="6229951" y="2516401"/>
                  </a:cubicBezTo>
                  <a:lnTo>
                    <a:pt x="6238704" y="2557692"/>
                  </a:lnTo>
                  <a:lnTo>
                    <a:pt x="6296533" y="2595147"/>
                  </a:lnTo>
                  <a:cubicBezTo>
                    <a:pt x="6416937" y="2679806"/>
                    <a:pt x="6549956" y="2799961"/>
                    <a:pt x="6674736" y="2949584"/>
                  </a:cubicBezTo>
                  <a:cubicBezTo>
                    <a:pt x="6821179" y="3212045"/>
                    <a:pt x="6923689" y="3855505"/>
                    <a:pt x="6674736" y="4422766"/>
                  </a:cubicBezTo>
                  <a:cubicBezTo>
                    <a:pt x="6575328" y="4635424"/>
                    <a:pt x="6329416" y="4856355"/>
                    <a:pt x="6134530" y="4903781"/>
                  </a:cubicBezTo>
                  <a:lnTo>
                    <a:pt x="6097506" y="4909551"/>
                  </a:lnTo>
                  <a:lnTo>
                    <a:pt x="6054756" y="5016817"/>
                  </a:lnTo>
                  <a:cubicBezTo>
                    <a:pt x="5478809" y="6376352"/>
                    <a:pt x="4218682" y="7424738"/>
                    <a:pt x="3352800" y="7410450"/>
                  </a:cubicBezTo>
                  <a:cubicBezTo>
                    <a:pt x="2486918" y="7396163"/>
                    <a:pt x="1360736" y="6426399"/>
                    <a:pt x="799523" y="5059710"/>
                  </a:cubicBezTo>
                  <a:lnTo>
                    <a:pt x="738130" y="4892092"/>
                  </a:lnTo>
                  <a:lnTo>
                    <a:pt x="690893" y="4884731"/>
                  </a:lnTo>
                  <a:cubicBezTo>
                    <a:pt x="496007" y="4837305"/>
                    <a:pt x="250095" y="4616374"/>
                    <a:pt x="150687" y="4403716"/>
                  </a:cubicBezTo>
                  <a:cubicBezTo>
                    <a:pt x="-98266" y="3836455"/>
                    <a:pt x="4244" y="3192995"/>
                    <a:pt x="150687" y="2930534"/>
                  </a:cubicBezTo>
                  <a:cubicBezTo>
                    <a:pt x="244273" y="2818317"/>
                    <a:pt x="342492" y="2722675"/>
                    <a:pt x="436548" y="2646152"/>
                  </a:cubicBezTo>
                  <a:lnTo>
                    <a:pt x="522375" y="2581039"/>
                  </a:lnTo>
                  <a:lnTo>
                    <a:pt x="543969" y="2473931"/>
                  </a:lnTo>
                  <a:cubicBezTo>
                    <a:pt x="882058" y="983022"/>
                    <a:pt x="2084958" y="0"/>
                    <a:pt x="34099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67539"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37" name="Rectangle 92">
              <a:extLst>
                <a:ext uri="{FF2B5EF4-FFF2-40B4-BE49-F238E27FC236}">
                  <a16:creationId xmlns:a16="http://schemas.microsoft.com/office/drawing/2014/main" id="{C098A531-4206-5210-7F64-41149128CD1D}"/>
                </a:ext>
              </a:extLst>
            </p:cNvPr>
            <p:cNvSpPr/>
            <p:nvPr/>
          </p:nvSpPr>
          <p:spPr>
            <a:xfrm>
              <a:off x="-2429678" y="3891431"/>
              <a:ext cx="13663209" cy="6287281"/>
            </a:xfrm>
            <a:custGeom>
              <a:avLst/>
              <a:gdLst>
                <a:gd name="connsiteX0" fmla="*/ 0 w 13620364"/>
                <a:gd name="connsiteY0" fmla="*/ 0 h 6310100"/>
                <a:gd name="connsiteX1" fmla="*/ 13620364 w 13620364"/>
                <a:gd name="connsiteY1" fmla="*/ 0 h 6310100"/>
                <a:gd name="connsiteX2" fmla="*/ 13620364 w 13620364"/>
                <a:gd name="connsiteY2" fmla="*/ 6310100 h 6310100"/>
                <a:gd name="connsiteX3" fmla="*/ 0 w 13620364"/>
                <a:gd name="connsiteY3" fmla="*/ 6310100 h 6310100"/>
                <a:gd name="connsiteX4" fmla="*/ 0 w 13620364"/>
                <a:gd name="connsiteY4" fmla="*/ 0 h 6310100"/>
                <a:gd name="connsiteX0" fmla="*/ 0 w 13620364"/>
                <a:gd name="connsiteY0" fmla="*/ 1 h 6310101"/>
                <a:gd name="connsiteX1" fmla="*/ 6914764 w 13620364"/>
                <a:gd name="connsiteY1" fmla="*/ 0 h 6310101"/>
                <a:gd name="connsiteX2" fmla="*/ 13620364 w 13620364"/>
                <a:gd name="connsiteY2" fmla="*/ 1 h 6310101"/>
                <a:gd name="connsiteX3" fmla="*/ 13620364 w 13620364"/>
                <a:gd name="connsiteY3" fmla="*/ 6310101 h 6310101"/>
                <a:gd name="connsiteX4" fmla="*/ 0 w 13620364"/>
                <a:gd name="connsiteY4" fmla="*/ 6310101 h 6310101"/>
                <a:gd name="connsiteX5" fmla="*/ 0 w 13620364"/>
                <a:gd name="connsiteY5" fmla="*/ 1 h 6310101"/>
                <a:gd name="connsiteX0" fmla="*/ 0 w 13620364"/>
                <a:gd name="connsiteY0" fmla="*/ 0 h 6310100"/>
                <a:gd name="connsiteX1" fmla="*/ 6774087 w 13620364"/>
                <a:gd name="connsiteY1" fmla="*/ 5017476 h 6310100"/>
                <a:gd name="connsiteX2" fmla="*/ 13620364 w 13620364"/>
                <a:gd name="connsiteY2" fmla="*/ 0 h 6310100"/>
                <a:gd name="connsiteX3" fmla="*/ 13620364 w 13620364"/>
                <a:gd name="connsiteY3" fmla="*/ 6310100 h 6310100"/>
                <a:gd name="connsiteX4" fmla="*/ 0 w 13620364"/>
                <a:gd name="connsiteY4" fmla="*/ 6310100 h 6310100"/>
                <a:gd name="connsiteX5" fmla="*/ 0 w 13620364"/>
                <a:gd name="connsiteY5" fmla="*/ 0 h 6310100"/>
                <a:gd name="connsiteX0" fmla="*/ 0 w 13620364"/>
                <a:gd name="connsiteY0" fmla="*/ 0 h 6310100"/>
                <a:gd name="connsiteX1" fmla="*/ 6774087 w 13620364"/>
                <a:gd name="connsiteY1" fmla="*/ 5017476 h 6310100"/>
                <a:gd name="connsiteX2" fmla="*/ 10994394 w 13620364"/>
                <a:gd name="connsiteY2" fmla="*/ 1852246 h 6310100"/>
                <a:gd name="connsiteX3" fmla="*/ 13620364 w 13620364"/>
                <a:gd name="connsiteY3" fmla="*/ 0 h 6310100"/>
                <a:gd name="connsiteX4" fmla="*/ 13620364 w 13620364"/>
                <a:gd name="connsiteY4" fmla="*/ 6310100 h 6310100"/>
                <a:gd name="connsiteX5" fmla="*/ 0 w 13620364"/>
                <a:gd name="connsiteY5" fmla="*/ 6310100 h 6310100"/>
                <a:gd name="connsiteX6" fmla="*/ 0 w 13620364"/>
                <a:gd name="connsiteY6" fmla="*/ 0 h 6310100"/>
                <a:gd name="connsiteX0" fmla="*/ 0 w 13620364"/>
                <a:gd name="connsiteY0" fmla="*/ 0 h 6310100"/>
                <a:gd name="connsiteX1" fmla="*/ 6774087 w 13620364"/>
                <a:gd name="connsiteY1" fmla="*/ 5017476 h 6310100"/>
                <a:gd name="connsiteX2" fmla="*/ 9235932 w 13620364"/>
                <a:gd name="connsiteY2" fmla="*/ 23446 h 6310100"/>
                <a:gd name="connsiteX3" fmla="*/ 13620364 w 13620364"/>
                <a:gd name="connsiteY3" fmla="*/ 0 h 6310100"/>
                <a:gd name="connsiteX4" fmla="*/ 13620364 w 13620364"/>
                <a:gd name="connsiteY4" fmla="*/ 6310100 h 6310100"/>
                <a:gd name="connsiteX5" fmla="*/ 0 w 13620364"/>
                <a:gd name="connsiteY5" fmla="*/ 6310100 h 6310100"/>
                <a:gd name="connsiteX6" fmla="*/ 0 w 13620364"/>
                <a:gd name="connsiteY6" fmla="*/ 0 h 6310100"/>
                <a:gd name="connsiteX0" fmla="*/ 0 w 13620364"/>
                <a:gd name="connsiteY0" fmla="*/ 0 h 6310100"/>
                <a:gd name="connsiteX1" fmla="*/ 2108302 w 13620364"/>
                <a:gd name="connsiteY1" fmla="*/ 1547446 h 6310100"/>
                <a:gd name="connsiteX2" fmla="*/ 6774087 w 13620364"/>
                <a:gd name="connsiteY2" fmla="*/ 5017476 h 6310100"/>
                <a:gd name="connsiteX3" fmla="*/ 9235932 w 13620364"/>
                <a:gd name="connsiteY3" fmla="*/ 23446 h 6310100"/>
                <a:gd name="connsiteX4" fmla="*/ 13620364 w 13620364"/>
                <a:gd name="connsiteY4" fmla="*/ 0 h 6310100"/>
                <a:gd name="connsiteX5" fmla="*/ 13620364 w 13620364"/>
                <a:gd name="connsiteY5" fmla="*/ 6310100 h 6310100"/>
                <a:gd name="connsiteX6" fmla="*/ 0 w 13620364"/>
                <a:gd name="connsiteY6" fmla="*/ 6310100 h 6310100"/>
                <a:gd name="connsiteX7" fmla="*/ 0 w 13620364"/>
                <a:gd name="connsiteY7" fmla="*/ 0 h 6310100"/>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3620364 w 13620364"/>
                <a:gd name="connsiteY4" fmla="*/ 0 h 6310100"/>
                <a:gd name="connsiteX5" fmla="*/ 13620364 w 13620364"/>
                <a:gd name="connsiteY5" fmla="*/ 6310100 h 6310100"/>
                <a:gd name="connsiteX6" fmla="*/ 0 w 13620364"/>
                <a:gd name="connsiteY6" fmla="*/ 6310100 h 6310100"/>
                <a:gd name="connsiteX7" fmla="*/ 0 w 13620364"/>
                <a:gd name="connsiteY7" fmla="*/ 0 h 6310100"/>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3620364 w 13620364"/>
                <a:gd name="connsiteY4" fmla="*/ 0 h 6310100"/>
                <a:gd name="connsiteX5" fmla="*/ 13620364 w 13620364"/>
                <a:gd name="connsiteY5" fmla="*/ 6310100 h 6310100"/>
                <a:gd name="connsiteX6" fmla="*/ 10830271 w 13620364"/>
                <a:gd name="connsiteY6" fmla="*/ 6307015 h 6310100"/>
                <a:gd name="connsiteX7" fmla="*/ 0 w 13620364"/>
                <a:gd name="connsiteY7" fmla="*/ 6310100 h 6310100"/>
                <a:gd name="connsiteX8" fmla="*/ 0 w 13620364"/>
                <a:gd name="connsiteY8" fmla="*/ 0 h 6310100"/>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3620364 w 13620364"/>
                <a:gd name="connsiteY4" fmla="*/ 0 h 6310100"/>
                <a:gd name="connsiteX5" fmla="*/ 13620364 w 13620364"/>
                <a:gd name="connsiteY5" fmla="*/ 6310100 h 6310100"/>
                <a:gd name="connsiteX6" fmla="*/ 10830271 w 13620364"/>
                <a:gd name="connsiteY6" fmla="*/ 6307015 h 6310100"/>
                <a:gd name="connsiteX7" fmla="*/ 9681410 w 13620364"/>
                <a:gd name="connsiteY7" fmla="*/ 6283569 h 6310100"/>
                <a:gd name="connsiteX8" fmla="*/ 0 w 13620364"/>
                <a:gd name="connsiteY8" fmla="*/ 6310100 h 6310100"/>
                <a:gd name="connsiteX9" fmla="*/ 0 w 13620364"/>
                <a:gd name="connsiteY9" fmla="*/ 0 h 6310100"/>
                <a:gd name="connsiteX0" fmla="*/ 0 w 13620364"/>
                <a:gd name="connsiteY0" fmla="*/ 0 h 6330461"/>
                <a:gd name="connsiteX1" fmla="*/ 4406025 w 13620364"/>
                <a:gd name="connsiteY1" fmla="*/ 46892 h 6330461"/>
                <a:gd name="connsiteX2" fmla="*/ 6774087 w 13620364"/>
                <a:gd name="connsiteY2" fmla="*/ 5017476 h 6330461"/>
                <a:gd name="connsiteX3" fmla="*/ 9235932 w 13620364"/>
                <a:gd name="connsiteY3" fmla="*/ 23446 h 6330461"/>
                <a:gd name="connsiteX4" fmla="*/ 13620364 w 13620364"/>
                <a:gd name="connsiteY4" fmla="*/ 0 h 6330461"/>
                <a:gd name="connsiteX5" fmla="*/ 13620364 w 13620364"/>
                <a:gd name="connsiteY5" fmla="*/ 6310100 h 6330461"/>
                <a:gd name="connsiteX6" fmla="*/ 10830271 w 13620364"/>
                <a:gd name="connsiteY6" fmla="*/ 6307015 h 6330461"/>
                <a:gd name="connsiteX7" fmla="*/ 10220671 w 13620364"/>
                <a:gd name="connsiteY7" fmla="*/ 6330461 h 6330461"/>
                <a:gd name="connsiteX8" fmla="*/ 0 w 13620364"/>
                <a:gd name="connsiteY8" fmla="*/ 6310100 h 6330461"/>
                <a:gd name="connsiteX9" fmla="*/ 0 w 13620364"/>
                <a:gd name="connsiteY9" fmla="*/ 0 h 6330461"/>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3620364 w 13620364"/>
                <a:gd name="connsiteY4" fmla="*/ 0 h 6310100"/>
                <a:gd name="connsiteX5" fmla="*/ 13620364 w 13620364"/>
                <a:gd name="connsiteY5" fmla="*/ 6310100 h 6310100"/>
                <a:gd name="connsiteX6" fmla="*/ 10830271 w 13620364"/>
                <a:gd name="connsiteY6" fmla="*/ 6307015 h 6310100"/>
                <a:gd name="connsiteX7" fmla="*/ 7594702 w 13620364"/>
                <a:gd name="connsiteY7" fmla="*/ 6213230 h 6310100"/>
                <a:gd name="connsiteX8" fmla="*/ 0 w 13620364"/>
                <a:gd name="connsiteY8" fmla="*/ 6310100 h 6310100"/>
                <a:gd name="connsiteX9" fmla="*/ 0 w 13620364"/>
                <a:gd name="connsiteY9" fmla="*/ 0 h 6310100"/>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3620364 w 13620364"/>
                <a:gd name="connsiteY4" fmla="*/ 0 h 6310100"/>
                <a:gd name="connsiteX5" fmla="*/ 13620364 w 13620364"/>
                <a:gd name="connsiteY5" fmla="*/ 6310100 h 6310100"/>
                <a:gd name="connsiteX6" fmla="*/ 10830271 w 13620364"/>
                <a:gd name="connsiteY6" fmla="*/ 6307015 h 6310100"/>
                <a:gd name="connsiteX7" fmla="*/ 10384794 w 13620364"/>
                <a:gd name="connsiteY7" fmla="*/ 6283569 h 6310100"/>
                <a:gd name="connsiteX8" fmla="*/ 7594702 w 13620364"/>
                <a:gd name="connsiteY8" fmla="*/ 6213230 h 6310100"/>
                <a:gd name="connsiteX9" fmla="*/ 0 w 13620364"/>
                <a:gd name="connsiteY9" fmla="*/ 6310100 h 6310100"/>
                <a:gd name="connsiteX10" fmla="*/ 0 w 13620364"/>
                <a:gd name="connsiteY10" fmla="*/ 0 h 6310100"/>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3620364 w 13620364"/>
                <a:gd name="connsiteY4" fmla="*/ 0 h 6310100"/>
                <a:gd name="connsiteX5" fmla="*/ 13620364 w 13620364"/>
                <a:gd name="connsiteY5" fmla="*/ 6310100 h 6310100"/>
                <a:gd name="connsiteX6" fmla="*/ 10830271 w 13620364"/>
                <a:gd name="connsiteY6" fmla="*/ 6307015 h 6310100"/>
                <a:gd name="connsiteX7" fmla="*/ 10877164 w 13620364"/>
                <a:gd name="connsiteY7" fmla="*/ 4032738 h 6310100"/>
                <a:gd name="connsiteX8" fmla="*/ 7594702 w 13620364"/>
                <a:gd name="connsiteY8" fmla="*/ 6213230 h 6310100"/>
                <a:gd name="connsiteX9" fmla="*/ 0 w 13620364"/>
                <a:gd name="connsiteY9" fmla="*/ 6310100 h 6310100"/>
                <a:gd name="connsiteX10" fmla="*/ 0 w 13620364"/>
                <a:gd name="connsiteY10" fmla="*/ 0 h 6310100"/>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3620364 w 13620364"/>
                <a:gd name="connsiteY4" fmla="*/ 0 h 6310100"/>
                <a:gd name="connsiteX5" fmla="*/ 13620364 w 13620364"/>
                <a:gd name="connsiteY5" fmla="*/ 6310100 h 6310100"/>
                <a:gd name="connsiteX6" fmla="*/ 10830271 w 13620364"/>
                <a:gd name="connsiteY6" fmla="*/ 6307015 h 6310100"/>
                <a:gd name="connsiteX7" fmla="*/ 10783380 w 13620364"/>
                <a:gd name="connsiteY7" fmla="*/ 4056184 h 6310100"/>
                <a:gd name="connsiteX8" fmla="*/ 7594702 w 13620364"/>
                <a:gd name="connsiteY8" fmla="*/ 6213230 h 6310100"/>
                <a:gd name="connsiteX9" fmla="*/ 0 w 13620364"/>
                <a:gd name="connsiteY9" fmla="*/ 6310100 h 6310100"/>
                <a:gd name="connsiteX10" fmla="*/ 0 w 13620364"/>
                <a:gd name="connsiteY10" fmla="*/ 0 h 6310100"/>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3620364 w 13620364"/>
                <a:gd name="connsiteY4" fmla="*/ 0 h 6310100"/>
                <a:gd name="connsiteX5" fmla="*/ 13620364 w 13620364"/>
                <a:gd name="connsiteY5" fmla="*/ 6310100 h 6310100"/>
                <a:gd name="connsiteX6" fmla="*/ 10830271 w 13620364"/>
                <a:gd name="connsiteY6" fmla="*/ 6307015 h 6310100"/>
                <a:gd name="connsiteX7" fmla="*/ 10877165 w 13620364"/>
                <a:gd name="connsiteY7" fmla="*/ 4103077 h 6310100"/>
                <a:gd name="connsiteX8" fmla="*/ 7594702 w 13620364"/>
                <a:gd name="connsiteY8" fmla="*/ 6213230 h 6310100"/>
                <a:gd name="connsiteX9" fmla="*/ 0 w 13620364"/>
                <a:gd name="connsiteY9" fmla="*/ 6310100 h 6310100"/>
                <a:gd name="connsiteX10" fmla="*/ 0 w 13620364"/>
                <a:gd name="connsiteY10" fmla="*/ 0 h 6310100"/>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3620364 w 13620364"/>
                <a:gd name="connsiteY4" fmla="*/ 0 h 6310100"/>
                <a:gd name="connsiteX5" fmla="*/ 13620364 w 13620364"/>
                <a:gd name="connsiteY5" fmla="*/ 6310100 h 6310100"/>
                <a:gd name="connsiteX6" fmla="*/ 10830271 w 13620364"/>
                <a:gd name="connsiteY6" fmla="*/ 6307015 h 6310100"/>
                <a:gd name="connsiteX7" fmla="*/ 10877165 w 13620364"/>
                <a:gd name="connsiteY7" fmla="*/ 4103077 h 6310100"/>
                <a:gd name="connsiteX8" fmla="*/ 8931133 w 13620364"/>
                <a:gd name="connsiteY8" fmla="*/ 5322276 h 6310100"/>
                <a:gd name="connsiteX9" fmla="*/ 7594702 w 13620364"/>
                <a:gd name="connsiteY9" fmla="*/ 6213230 h 6310100"/>
                <a:gd name="connsiteX10" fmla="*/ 0 w 13620364"/>
                <a:gd name="connsiteY10" fmla="*/ 6310100 h 6310100"/>
                <a:gd name="connsiteX11" fmla="*/ 0 w 13620364"/>
                <a:gd name="connsiteY11" fmla="*/ 0 h 6310100"/>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3620364 w 13620364"/>
                <a:gd name="connsiteY4" fmla="*/ 0 h 6310100"/>
                <a:gd name="connsiteX5" fmla="*/ 13620364 w 13620364"/>
                <a:gd name="connsiteY5" fmla="*/ 6310100 h 6310100"/>
                <a:gd name="connsiteX6" fmla="*/ 10830271 w 13620364"/>
                <a:gd name="connsiteY6" fmla="*/ 6307015 h 6310100"/>
                <a:gd name="connsiteX7" fmla="*/ 10877165 w 13620364"/>
                <a:gd name="connsiteY7" fmla="*/ 4103077 h 6310100"/>
                <a:gd name="connsiteX8" fmla="*/ 10197225 w 13620364"/>
                <a:gd name="connsiteY8" fmla="*/ 4267200 h 6310100"/>
                <a:gd name="connsiteX9" fmla="*/ 7594702 w 13620364"/>
                <a:gd name="connsiteY9" fmla="*/ 6213230 h 6310100"/>
                <a:gd name="connsiteX10" fmla="*/ 0 w 13620364"/>
                <a:gd name="connsiteY10" fmla="*/ 6310100 h 6310100"/>
                <a:gd name="connsiteX11" fmla="*/ 0 w 13620364"/>
                <a:gd name="connsiteY11" fmla="*/ 0 h 6310100"/>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3620364 w 13620364"/>
                <a:gd name="connsiteY4" fmla="*/ 0 h 6310100"/>
                <a:gd name="connsiteX5" fmla="*/ 13620364 w 13620364"/>
                <a:gd name="connsiteY5" fmla="*/ 6310100 h 6310100"/>
                <a:gd name="connsiteX6" fmla="*/ 10830271 w 13620364"/>
                <a:gd name="connsiteY6" fmla="*/ 6307015 h 6310100"/>
                <a:gd name="connsiteX7" fmla="*/ 10877165 w 13620364"/>
                <a:gd name="connsiteY7" fmla="*/ 4103077 h 6310100"/>
                <a:gd name="connsiteX8" fmla="*/ 10197225 w 13620364"/>
                <a:gd name="connsiteY8" fmla="*/ 4267200 h 6310100"/>
                <a:gd name="connsiteX9" fmla="*/ 10173779 w 13620364"/>
                <a:gd name="connsiteY9" fmla="*/ 6307015 h 6310100"/>
                <a:gd name="connsiteX10" fmla="*/ 0 w 13620364"/>
                <a:gd name="connsiteY10" fmla="*/ 6310100 h 6310100"/>
                <a:gd name="connsiteX11" fmla="*/ 0 w 13620364"/>
                <a:gd name="connsiteY11" fmla="*/ 0 h 6310100"/>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3620364 w 13620364"/>
                <a:gd name="connsiteY4" fmla="*/ 0 h 6310100"/>
                <a:gd name="connsiteX5" fmla="*/ 13620364 w 13620364"/>
                <a:gd name="connsiteY5" fmla="*/ 6310100 h 6310100"/>
                <a:gd name="connsiteX6" fmla="*/ 10877164 w 13620364"/>
                <a:gd name="connsiteY6" fmla="*/ 6307015 h 6310100"/>
                <a:gd name="connsiteX7" fmla="*/ 10877165 w 13620364"/>
                <a:gd name="connsiteY7" fmla="*/ 4103077 h 6310100"/>
                <a:gd name="connsiteX8" fmla="*/ 10197225 w 13620364"/>
                <a:gd name="connsiteY8" fmla="*/ 4267200 h 6310100"/>
                <a:gd name="connsiteX9" fmla="*/ 10173779 w 13620364"/>
                <a:gd name="connsiteY9" fmla="*/ 6307015 h 6310100"/>
                <a:gd name="connsiteX10" fmla="*/ 0 w 13620364"/>
                <a:gd name="connsiteY10" fmla="*/ 6310100 h 6310100"/>
                <a:gd name="connsiteX11" fmla="*/ 0 w 13620364"/>
                <a:gd name="connsiteY11" fmla="*/ 0 h 6310100"/>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3620364 w 13620364"/>
                <a:gd name="connsiteY4" fmla="*/ 0 h 6310100"/>
                <a:gd name="connsiteX5" fmla="*/ 13620364 w 13620364"/>
                <a:gd name="connsiteY5" fmla="*/ 6310100 h 6310100"/>
                <a:gd name="connsiteX6" fmla="*/ 10877164 w 13620364"/>
                <a:gd name="connsiteY6" fmla="*/ 6307015 h 6310100"/>
                <a:gd name="connsiteX7" fmla="*/ 10877165 w 13620364"/>
                <a:gd name="connsiteY7" fmla="*/ 4103077 h 6310100"/>
                <a:gd name="connsiteX8" fmla="*/ 10197225 w 13620364"/>
                <a:gd name="connsiteY8" fmla="*/ 4267200 h 6310100"/>
                <a:gd name="connsiteX9" fmla="*/ 10173779 w 13620364"/>
                <a:gd name="connsiteY9" fmla="*/ 6307015 h 6310100"/>
                <a:gd name="connsiteX10" fmla="*/ 0 w 13620364"/>
                <a:gd name="connsiteY10" fmla="*/ 6310100 h 6310100"/>
                <a:gd name="connsiteX11" fmla="*/ 0 w 13620364"/>
                <a:gd name="connsiteY11" fmla="*/ 0 h 6310100"/>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3620364 w 13620364"/>
                <a:gd name="connsiteY4" fmla="*/ 0 h 6310100"/>
                <a:gd name="connsiteX5" fmla="*/ 13620364 w 13620364"/>
                <a:gd name="connsiteY5" fmla="*/ 6310100 h 6310100"/>
                <a:gd name="connsiteX6" fmla="*/ 10877164 w 13620364"/>
                <a:gd name="connsiteY6" fmla="*/ 6307015 h 6310100"/>
                <a:gd name="connsiteX7" fmla="*/ 10877165 w 13620364"/>
                <a:gd name="connsiteY7" fmla="*/ 4103077 h 6310100"/>
                <a:gd name="connsiteX8" fmla="*/ 10197225 w 13620364"/>
                <a:gd name="connsiteY8" fmla="*/ 4267200 h 6310100"/>
                <a:gd name="connsiteX9" fmla="*/ 10173779 w 13620364"/>
                <a:gd name="connsiteY9" fmla="*/ 6307015 h 6310100"/>
                <a:gd name="connsiteX10" fmla="*/ 0 w 13620364"/>
                <a:gd name="connsiteY10" fmla="*/ 6310100 h 6310100"/>
                <a:gd name="connsiteX11" fmla="*/ 0 w 13620364"/>
                <a:gd name="connsiteY11" fmla="*/ 0 h 6310100"/>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3620364 w 13620364"/>
                <a:gd name="connsiteY4" fmla="*/ 0 h 6310100"/>
                <a:gd name="connsiteX5" fmla="*/ 13620364 w 13620364"/>
                <a:gd name="connsiteY5" fmla="*/ 6310100 h 6310100"/>
                <a:gd name="connsiteX6" fmla="*/ 10877164 w 13620364"/>
                <a:gd name="connsiteY6" fmla="*/ 6307015 h 6310100"/>
                <a:gd name="connsiteX7" fmla="*/ 10877165 w 13620364"/>
                <a:gd name="connsiteY7" fmla="*/ 4103077 h 6310100"/>
                <a:gd name="connsiteX8" fmla="*/ 10197225 w 13620364"/>
                <a:gd name="connsiteY8" fmla="*/ 4267200 h 6310100"/>
                <a:gd name="connsiteX9" fmla="*/ 10173779 w 13620364"/>
                <a:gd name="connsiteY9" fmla="*/ 6307015 h 6310100"/>
                <a:gd name="connsiteX10" fmla="*/ 0 w 13620364"/>
                <a:gd name="connsiteY10" fmla="*/ 6310100 h 6310100"/>
                <a:gd name="connsiteX11" fmla="*/ 0 w 13620364"/>
                <a:gd name="connsiteY11" fmla="*/ 0 h 6310100"/>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3620364 w 13620364"/>
                <a:gd name="connsiteY4" fmla="*/ 0 h 6310100"/>
                <a:gd name="connsiteX5" fmla="*/ 13620364 w 13620364"/>
                <a:gd name="connsiteY5" fmla="*/ 6310100 h 6310100"/>
                <a:gd name="connsiteX6" fmla="*/ 10877164 w 13620364"/>
                <a:gd name="connsiteY6" fmla="*/ 6307015 h 6310100"/>
                <a:gd name="connsiteX7" fmla="*/ 10877165 w 13620364"/>
                <a:gd name="connsiteY7" fmla="*/ 4103077 h 6310100"/>
                <a:gd name="connsiteX8" fmla="*/ 10197225 w 13620364"/>
                <a:gd name="connsiteY8" fmla="*/ 4267200 h 6310100"/>
                <a:gd name="connsiteX9" fmla="*/ 10173779 w 13620364"/>
                <a:gd name="connsiteY9" fmla="*/ 6307015 h 6310100"/>
                <a:gd name="connsiteX10" fmla="*/ 0 w 13620364"/>
                <a:gd name="connsiteY10" fmla="*/ 6310100 h 6310100"/>
                <a:gd name="connsiteX11" fmla="*/ 0 w 13620364"/>
                <a:gd name="connsiteY11" fmla="*/ 0 h 6310100"/>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2213595 w 13620364"/>
                <a:gd name="connsiteY4" fmla="*/ 1430215 h 6310100"/>
                <a:gd name="connsiteX5" fmla="*/ 13620364 w 13620364"/>
                <a:gd name="connsiteY5" fmla="*/ 6310100 h 6310100"/>
                <a:gd name="connsiteX6" fmla="*/ 10877164 w 13620364"/>
                <a:gd name="connsiteY6" fmla="*/ 6307015 h 6310100"/>
                <a:gd name="connsiteX7" fmla="*/ 10877165 w 13620364"/>
                <a:gd name="connsiteY7" fmla="*/ 4103077 h 6310100"/>
                <a:gd name="connsiteX8" fmla="*/ 10197225 w 13620364"/>
                <a:gd name="connsiteY8" fmla="*/ 4267200 h 6310100"/>
                <a:gd name="connsiteX9" fmla="*/ 10173779 w 13620364"/>
                <a:gd name="connsiteY9" fmla="*/ 6307015 h 6310100"/>
                <a:gd name="connsiteX10" fmla="*/ 0 w 13620364"/>
                <a:gd name="connsiteY10" fmla="*/ 6310100 h 6310100"/>
                <a:gd name="connsiteX11" fmla="*/ 0 w 13620364"/>
                <a:gd name="connsiteY11" fmla="*/ 0 h 6310100"/>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2213595 w 13620364"/>
                <a:gd name="connsiteY4" fmla="*/ 1430215 h 6310100"/>
                <a:gd name="connsiteX5" fmla="*/ 13620364 w 13620364"/>
                <a:gd name="connsiteY5" fmla="*/ 6310100 h 6310100"/>
                <a:gd name="connsiteX6" fmla="*/ 10877164 w 13620364"/>
                <a:gd name="connsiteY6" fmla="*/ 6307015 h 6310100"/>
                <a:gd name="connsiteX7" fmla="*/ 10877165 w 13620364"/>
                <a:gd name="connsiteY7" fmla="*/ 4103077 h 6310100"/>
                <a:gd name="connsiteX8" fmla="*/ 10197225 w 13620364"/>
                <a:gd name="connsiteY8" fmla="*/ 4267200 h 6310100"/>
                <a:gd name="connsiteX9" fmla="*/ 10173779 w 13620364"/>
                <a:gd name="connsiteY9" fmla="*/ 6307015 h 6310100"/>
                <a:gd name="connsiteX10" fmla="*/ 0 w 13620364"/>
                <a:gd name="connsiteY10" fmla="*/ 6310100 h 6310100"/>
                <a:gd name="connsiteX11" fmla="*/ 0 w 13620364"/>
                <a:gd name="connsiteY11" fmla="*/ 0 h 6310100"/>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2213595 w 13620364"/>
                <a:gd name="connsiteY4" fmla="*/ 1430215 h 6310100"/>
                <a:gd name="connsiteX5" fmla="*/ 13620364 w 13620364"/>
                <a:gd name="connsiteY5" fmla="*/ 6310100 h 6310100"/>
                <a:gd name="connsiteX6" fmla="*/ 10877164 w 13620364"/>
                <a:gd name="connsiteY6" fmla="*/ 6307015 h 6310100"/>
                <a:gd name="connsiteX7" fmla="*/ 10877165 w 13620364"/>
                <a:gd name="connsiteY7" fmla="*/ 4103077 h 6310100"/>
                <a:gd name="connsiteX8" fmla="*/ 10197225 w 13620364"/>
                <a:gd name="connsiteY8" fmla="*/ 4267200 h 6310100"/>
                <a:gd name="connsiteX9" fmla="*/ 10173779 w 13620364"/>
                <a:gd name="connsiteY9" fmla="*/ 6307015 h 6310100"/>
                <a:gd name="connsiteX10" fmla="*/ 0 w 13620364"/>
                <a:gd name="connsiteY10" fmla="*/ 6310100 h 6310100"/>
                <a:gd name="connsiteX11" fmla="*/ 0 w 13620364"/>
                <a:gd name="connsiteY11" fmla="*/ 0 h 6310100"/>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2213595 w 13620364"/>
                <a:gd name="connsiteY4" fmla="*/ 1430215 h 6310100"/>
                <a:gd name="connsiteX5" fmla="*/ 13620364 w 13620364"/>
                <a:gd name="connsiteY5" fmla="*/ 6310100 h 6310100"/>
                <a:gd name="connsiteX6" fmla="*/ 10877164 w 13620364"/>
                <a:gd name="connsiteY6" fmla="*/ 6307015 h 6310100"/>
                <a:gd name="connsiteX7" fmla="*/ 10877165 w 13620364"/>
                <a:gd name="connsiteY7" fmla="*/ 4103077 h 6310100"/>
                <a:gd name="connsiteX8" fmla="*/ 10197225 w 13620364"/>
                <a:gd name="connsiteY8" fmla="*/ 4267200 h 6310100"/>
                <a:gd name="connsiteX9" fmla="*/ 10173779 w 13620364"/>
                <a:gd name="connsiteY9" fmla="*/ 6307015 h 6310100"/>
                <a:gd name="connsiteX10" fmla="*/ 0 w 13620364"/>
                <a:gd name="connsiteY10" fmla="*/ 6310100 h 6310100"/>
                <a:gd name="connsiteX11" fmla="*/ 0 w 13620364"/>
                <a:gd name="connsiteY11" fmla="*/ 0 h 6310100"/>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2213595 w 13620364"/>
                <a:gd name="connsiteY4" fmla="*/ 1430215 h 6310100"/>
                <a:gd name="connsiteX5" fmla="*/ 13620364 w 13620364"/>
                <a:gd name="connsiteY5" fmla="*/ 6310100 h 6310100"/>
                <a:gd name="connsiteX6" fmla="*/ 10877164 w 13620364"/>
                <a:gd name="connsiteY6" fmla="*/ 6307015 h 6310100"/>
                <a:gd name="connsiteX7" fmla="*/ 10877165 w 13620364"/>
                <a:gd name="connsiteY7" fmla="*/ 4103077 h 6310100"/>
                <a:gd name="connsiteX8" fmla="*/ 10197225 w 13620364"/>
                <a:gd name="connsiteY8" fmla="*/ 4267200 h 6310100"/>
                <a:gd name="connsiteX9" fmla="*/ 10173779 w 13620364"/>
                <a:gd name="connsiteY9" fmla="*/ 6307015 h 6310100"/>
                <a:gd name="connsiteX10" fmla="*/ 0 w 13620364"/>
                <a:gd name="connsiteY10" fmla="*/ 6310100 h 6310100"/>
                <a:gd name="connsiteX11" fmla="*/ 0 w 13620364"/>
                <a:gd name="connsiteY11" fmla="*/ 0 h 6310100"/>
                <a:gd name="connsiteX0" fmla="*/ 0 w 13620364"/>
                <a:gd name="connsiteY0" fmla="*/ 0 h 6310100"/>
                <a:gd name="connsiteX1" fmla="*/ 4406025 w 13620364"/>
                <a:gd name="connsiteY1" fmla="*/ 46892 h 6310100"/>
                <a:gd name="connsiteX2" fmla="*/ 6774087 w 13620364"/>
                <a:gd name="connsiteY2" fmla="*/ 5017476 h 6310100"/>
                <a:gd name="connsiteX3" fmla="*/ 9235932 w 13620364"/>
                <a:gd name="connsiteY3" fmla="*/ 23446 h 6310100"/>
                <a:gd name="connsiteX4" fmla="*/ 12213595 w 13620364"/>
                <a:gd name="connsiteY4" fmla="*/ 1430215 h 6310100"/>
                <a:gd name="connsiteX5" fmla="*/ 13620364 w 13620364"/>
                <a:gd name="connsiteY5" fmla="*/ 6310100 h 6310100"/>
                <a:gd name="connsiteX6" fmla="*/ 10877164 w 13620364"/>
                <a:gd name="connsiteY6" fmla="*/ 6307015 h 6310100"/>
                <a:gd name="connsiteX7" fmla="*/ 10877165 w 13620364"/>
                <a:gd name="connsiteY7" fmla="*/ 4103077 h 6310100"/>
                <a:gd name="connsiteX8" fmla="*/ 10197225 w 13620364"/>
                <a:gd name="connsiteY8" fmla="*/ 4267200 h 6310100"/>
                <a:gd name="connsiteX9" fmla="*/ 10173779 w 13620364"/>
                <a:gd name="connsiteY9" fmla="*/ 6307015 h 6310100"/>
                <a:gd name="connsiteX10" fmla="*/ 0 w 13620364"/>
                <a:gd name="connsiteY10" fmla="*/ 6310100 h 6310100"/>
                <a:gd name="connsiteX11" fmla="*/ 0 w 13620364"/>
                <a:gd name="connsiteY11" fmla="*/ 0 h 6310100"/>
                <a:gd name="connsiteX0" fmla="*/ 0 w 13656942"/>
                <a:gd name="connsiteY0" fmla="*/ 0 h 6310100"/>
                <a:gd name="connsiteX1" fmla="*/ 4406025 w 13656942"/>
                <a:gd name="connsiteY1" fmla="*/ 46892 h 6310100"/>
                <a:gd name="connsiteX2" fmla="*/ 6774087 w 13656942"/>
                <a:gd name="connsiteY2" fmla="*/ 5017476 h 6310100"/>
                <a:gd name="connsiteX3" fmla="*/ 9235932 w 13656942"/>
                <a:gd name="connsiteY3" fmla="*/ 23446 h 6310100"/>
                <a:gd name="connsiteX4" fmla="*/ 12213595 w 13656942"/>
                <a:gd name="connsiteY4" fmla="*/ 1430215 h 6310100"/>
                <a:gd name="connsiteX5" fmla="*/ 13620364 w 13656942"/>
                <a:gd name="connsiteY5" fmla="*/ 6310100 h 6310100"/>
                <a:gd name="connsiteX6" fmla="*/ 10877164 w 13656942"/>
                <a:gd name="connsiteY6" fmla="*/ 6307015 h 6310100"/>
                <a:gd name="connsiteX7" fmla="*/ 10877165 w 13656942"/>
                <a:gd name="connsiteY7" fmla="*/ 4103077 h 6310100"/>
                <a:gd name="connsiteX8" fmla="*/ 10197225 w 13656942"/>
                <a:gd name="connsiteY8" fmla="*/ 4267200 h 6310100"/>
                <a:gd name="connsiteX9" fmla="*/ 10173779 w 13656942"/>
                <a:gd name="connsiteY9" fmla="*/ 6307015 h 6310100"/>
                <a:gd name="connsiteX10" fmla="*/ 0 w 13656942"/>
                <a:gd name="connsiteY10" fmla="*/ 6310100 h 6310100"/>
                <a:gd name="connsiteX11" fmla="*/ 0 w 13656942"/>
                <a:gd name="connsiteY11" fmla="*/ 0 h 6310100"/>
                <a:gd name="connsiteX0" fmla="*/ 0 w 13688189"/>
                <a:gd name="connsiteY0" fmla="*/ 0 h 6310100"/>
                <a:gd name="connsiteX1" fmla="*/ 4406025 w 13688189"/>
                <a:gd name="connsiteY1" fmla="*/ 46892 h 6310100"/>
                <a:gd name="connsiteX2" fmla="*/ 6774087 w 13688189"/>
                <a:gd name="connsiteY2" fmla="*/ 5017476 h 6310100"/>
                <a:gd name="connsiteX3" fmla="*/ 9235932 w 13688189"/>
                <a:gd name="connsiteY3" fmla="*/ 23446 h 6310100"/>
                <a:gd name="connsiteX4" fmla="*/ 12213595 w 13688189"/>
                <a:gd name="connsiteY4" fmla="*/ 1430215 h 6310100"/>
                <a:gd name="connsiteX5" fmla="*/ 13620364 w 13688189"/>
                <a:gd name="connsiteY5" fmla="*/ 6310100 h 6310100"/>
                <a:gd name="connsiteX6" fmla="*/ 10877164 w 13688189"/>
                <a:gd name="connsiteY6" fmla="*/ 6307015 h 6310100"/>
                <a:gd name="connsiteX7" fmla="*/ 10877165 w 13688189"/>
                <a:gd name="connsiteY7" fmla="*/ 4103077 h 6310100"/>
                <a:gd name="connsiteX8" fmla="*/ 10197225 w 13688189"/>
                <a:gd name="connsiteY8" fmla="*/ 4267200 h 6310100"/>
                <a:gd name="connsiteX9" fmla="*/ 10173779 w 13688189"/>
                <a:gd name="connsiteY9" fmla="*/ 6307015 h 6310100"/>
                <a:gd name="connsiteX10" fmla="*/ 0 w 13688189"/>
                <a:gd name="connsiteY10" fmla="*/ 6310100 h 6310100"/>
                <a:gd name="connsiteX11" fmla="*/ 0 w 13688189"/>
                <a:gd name="connsiteY11" fmla="*/ 0 h 6310100"/>
                <a:gd name="connsiteX0" fmla="*/ 0 w 13623187"/>
                <a:gd name="connsiteY0" fmla="*/ 0 h 6310100"/>
                <a:gd name="connsiteX1" fmla="*/ 4406025 w 13623187"/>
                <a:gd name="connsiteY1" fmla="*/ 46892 h 6310100"/>
                <a:gd name="connsiteX2" fmla="*/ 6774087 w 13623187"/>
                <a:gd name="connsiteY2" fmla="*/ 5017476 h 6310100"/>
                <a:gd name="connsiteX3" fmla="*/ 9235932 w 13623187"/>
                <a:gd name="connsiteY3" fmla="*/ 23446 h 6310100"/>
                <a:gd name="connsiteX4" fmla="*/ 12213595 w 13623187"/>
                <a:gd name="connsiteY4" fmla="*/ 1430215 h 6310100"/>
                <a:gd name="connsiteX5" fmla="*/ 13620364 w 13623187"/>
                <a:gd name="connsiteY5" fmla="*/ 6310100 h 6310100"/>
                <a:gd name="connsiteX6" fmla="*/ 10877164 w 13623187"/>
                <a:gd name="connsiteY6" fmla="*/ 6307015 h 6310100"/>
                <a:gd name="connsiteX7" fmla="*/ 10877165 w 13623187"/>
                <a:gd name="connsiteY7" fmla="*/ 4103077 h 6310100"/>
                <a:gd name="connsiteX8" fmla="*/ 10197225 w 13623187"/>
                <a:gd name="connsiteY8" fmla="*/ 4267200 h 6310100"/>
                <a:gd name="connsiteX9" fmla="*/ 10173779 w 13623187"/>
                <a:gd name="connsiteY9" fmla="*/ 6307015 h 6310100"/>
                <a:gd name="connsiteX10" fmla="*/ 0 w 13623187"/>
                <a:gd name="connsiteY10" fmla="*/ 6310100 h 6310100"/>
                <a:gd name="connsiteX11" fmla="*/ 0 w 13623187"/>
                <a:gd name="connsiteY11" fmla="*/ 0 h 6310100"/>
                <a:gd name="connsiteX0" fmla="*/ 0 w 13623187"/>
                <a:gd name="connsiteY0" fmla="*/ 0 h 6310100"/>
                <a:gd name="connsiteX1" fmla="*/ 4406025 w 13623187"/>
                <a:gd name="connsiteY1" fmla="*/ 46892 h 6310100"/>
                <a:gd name="connsiteX2" fmla="*/ 6774087 w 13623187"/>
                <a:gd name="connsiteY2" fmla="*/ 5017476 h 6310100"/>
                <a:gd name="connsiteX3" fmla="*/ 9235932 w 13623187"/>
                <a:gd name="connsiteY3" fmla="*/ 23446 h 6310100"/>
                <a:gd name="connsiteX4" fmla="*/ 12213595 w 13623187"/>
                <a:gd name="connsiteY4" fmla="*/ 1430215 h 6310100"/>
                <a:gd name="connsiteX5" fmla="*/ 13620364 w 13623187"/>
                <a:gd name="connsiteY5" fmla="*/ 6310100 h 6310100"/>
                <a:gd name="connsiteX6" fmla="*/ 10877164 w 13623187"/>
                <a:gd name="connsiteY6" fmla="*/ 6307015 h 6310100"/>
                <a:gd name="connsiteX7" fmla="*/ 10877165 w 13623187"/>
                <a:gd name="connsiteY7" fmla="*/ 4103077 h 6310100"/>
                <a:gd name="connsiteX8" fmla="*/ 10197225 w 13623187"/>
                <a:gd name="connsiteY8" fmla="*/ 4267200 h 6310100"/>
                <a:gd name="connsiteX9" fmla="*/ 10173779 w 13623187"/>
                <a:gd name="connsiteY9" fmla="*/ 6307015 h 6310100"/>
                <a:gd name="connsiteX10" fmla="*/ 2600671 w 13623187"/>
                <a:gd name="connsiteY10" fmla="*/ 6283569 h 6310100"/>
                <a:gd name="connsiteX11" fmla="*/ 0 w 13623187"/>
                <a:gd name="connsiteY11" fmla="*/ 6310100 h 6310100"/>
                <a:gd name="connsiteX12" fmla="*/ 0 w 13623187"/>
                <a:gd name="connsiteY12" fmla="*/ 0 h 6310100"/>
                <a:gd name="connsiteX0" fmla="*/ 0 w 13623187"/>
                <a:gd name="connsiteY0" fmla="*/ 0 h 6310100"/>
                <a:gd name="connsiteX1" fmla="*/ 4406025 w 13623187"/>
                <a:gd name="connsiteY1" fmla="*/ 46892 h 6310100"/>
                <a:gd name="connsiteX2" fmla="*/ 6774087 w 13623187"/>
                <a:gd name="connsiteY2" fmla="*/ 5017476 h 6310100"/>
                <a:gd name="connsiteX3" fmla="*/ 9235932 w 13623187"/>
                <a:gd name="connsiteY3" fmla="*/ 23446 h 6310100"/>
                <a:gd name="connsiteX4" fmla="*/ 12213595 w 13623187"/>
                <a:gd name="connsiteY4" fmla="*/ 1430215 h 6310100"/>
                <a:gd name="connsiteX5" fmla="*/ 13620364 w 13623187"/>
                <a:gd name="connsiteY5" fmla="*/ 6310100 h 6310100"/>
                <a:gd name="connsiteX6" fmla="*/ 10877164 w 13623187"/>
                <a:gd name="connsiteY6" fmla="*/ 6307015 h 6310100"/>
                <a:gd name="connsiteX7" fmla="*/ 10877165 w 13623187"/>
                <a:gd name="connsiteY7" fmla="*/ 4103077 h 6310100"/>
                <a:gd name="connsiteX8" fmla="*/ 10197225 w 13623187"/>
                <a:gd name="connsiteY8" fmla="*/ 4267200 h 6310100"/>
                <a:gd name="connsiteX9" fmla="*/ 10173779 w 13623187"/>
                <a:gd name="connsiteY9" fmla="*/ 6307015 h 6310100"/>
                <a:gd name="connsiteX10" fmla="*/ 3374394 w 13623187"/>
                <a:gd name="connsiteY10" fmla="*/ 6283569 h 6310100"/>
                <a:gd name="connsiteX11" fmla="*/ 2600671 w 13623187"/>
                <a:gd name="connsiteY11" fmla="*/ 6283569 h 6310100"/>
                <a:gd name="connsiteX12" fmla="*/ 0 w 13623187"/>
                <a:gd name="connsiteY12" fmla="*/ 6310100 h 6310100"/>
                <a:gd name="connsiteX13" fmla="*/ 0 w 13623187"/>
                <a:gd name="connsiteY13" fmla="*/ 0 h 6310100"/>
                <a:gd name="connsiteX0" fmla="*/ 0 w 13623187"/>
                <a:gd name="connsiteY0" fmla="*/ 0 h 6310100"/>
                <a:gd name="connsiteX1" fmla="*/ 4406025 w 13623187"/>
                <a:gd name="connsiteY1" fmla="*/ 46892 h 6310100"/>
                <a:gd name="connsiteX2" fmla="*/ 6774087 w 13623187"/>
                <a:gd name="connsiteY2" fmla="*/ 5017476 h 6310100"/>
                <a:gd name="connsiteX3" fmla="*/ 9235932 w 13623187"/>
                <a:gd name="connsiteY3" fmla="*/ 23446 h 6310100"/>
                <a:gd name="connsiteX4" fmla="*/ 12213595 w 13623187"/>
                <a:gd name="connsiteY4" fmla="*/ 1430215 h 6310100"/>
                <a:gd name="connsiteX5" fmla="*/ 13620364 w 13623187"/>
                <a:gd name="connsiteY5" fmla="*/ 6310100 h 6310100"/>
                <a:gd name="connsiteX6" fmla="*/ 10877164 w 13623187"/>
                <a:gd name="connsiteY6" fmla="*/ 6307015 h 6310100"/>
                <a:gd name="connsiteX7" fmla="*/ 10877165 w 13623187"/>
                <a:gd name="connsiteY7" fmla="*/ 4103077 h 6310100"/>
                <a:gd name="connsiteX8" fmla="*/ 10197225 w 13623187"/>
                <a:gd name="connsiteY8" fmla="*/ 4267200 h 6310100"/>
                <a:gd name="connsiteX9" fmla="*/ 10173779 w 13623187"/>
                <a:gd name="connsiteY9" fmla="*/ 6307015 h 6310100"/>
                <a:gd name="connsiteX10" fmla="*/ 2647564 w 13623187"/>
                <a:gd name="connsiteY10" fmla="*/ 4220308 h 6310100"/>
                <a:gd name="connsiteX11" fmla="*/ 2600671 w 13623187"/>
                <a:gd name="connsiteY11" fmla="*/ 6283569 h 6310100"/>
                <a:gd name="connsiteX12" fmla="*/ 0 w 13623187"/>
                <a:gd name="connsiteY12" fmla="*/ 6310100 h 6310100"/>
                <a:gd name="connsiteX13" fmla="*/ 0 w 13623187"/>
                <a:gd name="connsiteY13" fmla="*/ 0 h 6310100"/>
                <a:gd name="connsiteX0" fmla="*/ 0 w 13623187"/>
                <a:gd name="connsiteY0" fmla="*/ 0 h 6310100"/>
                <a:gd name="connsiteX1" fmla="*/ 4406025 w 13623187"/>
                <a:gd name="connsiteY1" fmla="*/ 46892 h 6310100"/>
                <a:gd name="connsiteX2" fmla="*/ 6774087 w 13623187"/>
                <a:gd name="connsiteY2" fmla="*/ 5017476 h 6310100"/>
                <a:gd name="connsiteX3" fmla="*/ 9235932 w 13623187"/>
                <a:gd name="connsiteY3" fmla="*/ 23446 h 6310100"/>
                <a:gd name="connsiteX4" fmla="*/ 12213595 w 13623187"/>
                <a:gd name="connsiteY4" fmla="*/ 1430215 h 6310100"/>
                <a:gd name="connsiteX5" fmla="*/ 13620364 w 13623187"/>
                <a:gd name="connsiteY5" fmla="*/ 6310100 h 6310100"/>
                <a:gd name="connsiteX6" fmla="*/ 10877164 w 13623187"/>
                <a:gd name="connsiteY6" fmla="*/ 6307015 h 6310100"/>
                <a:gd name="connsiteX7" fmla="*/ 10877165 w 13623187"/>
                <a:gd name="connsiteY7" fmla="*/ 4103077 h 6310100"/>
                <a:gd name="connsiteX8" fmla="*/ 10197225 w 13623187"/>
                <a:gd name="connsiteY8" fmla="*/ 4267200 h 6310100"/>
                <a:gd name="connsiteX9" fmla="*/ 10173779 w 13623187"/>
                <a:gd name="connsiteY9" fmla="*/ 6307015 h 6310100"/>
                <a:gd name="connsiteX10" fmla="*/ 2647564 w 13623187"/>
                <a:gd name="connsiteY10" fmla="*/ 4220308 h 6310100"/>
                <a:gd name="connsiteX11" fmla="*/ 2647564 w 13623187"/>
                <a:gd name="connsiteY11" fmla="*/ 6283569 h 6310100"/>
                <a:gd name="connsiteX12" fmla="*/ 0 w 13623187"/>
                <a:gd name="connsiteY12" fmla="*/ 6310100 h 6310100"/>
                <a:gd name="connsiteX13" fmla="*/ 0 w 13623187"/>
                <a:gd name="connsiteY13" fmla="*/ 0 h 6310100"/>
                <a:gd name="connsiteX0" fmla="*/ 0 w 13623187"/>
                <a:gd name="connsiteY0" fmla="*/ 0 h 6310100"/>
                <a:gd name="connsiteX1" fmla="*/ 4406025 w 13623187"/>
                <a:gd name="connsiteY1" fmla="*/ 46892 h 6310100"/>
                <a:gd name="connsiteX2" fmla="*/ 6774087 w 13623187"/>
                <a:gd name="connsiteY2" fmla="*/ 5017476 h 6310100"/>
                <a:gd name="connsiteX3" fmla="*/ 9235932 w 13623187"/>
                <a:gd name="connsiteY3" fmla="*/ 23446 h 6310100"/>
                <a:gd name="connsiteX4" fmla="*/ 12213595 w 13623187"/>
                <a:gd name="connsiteY4" fmla="*/ 1430215 h 6310100"/>
                <a:gd name="connsiteX5" fmla="*/ 13620364 w 13623187"/>
                <a:gd name="connsiteY5" fmla="*/ 6310100 h 6310100"/>
                <a:gd name="connsiteX6" fmla="*/ 10877164 w 13623187"/>
                <a:gd name="connsiteY6" fmla="*/ 6307015 h 6310100"/>
                <a:gd name="connsiteX7" fmla="*/ 10877165 w 13623187"/>
                <a:gd name="connsiteY7" fmla="*/ 4103077 h 6310100"/>
                <a:gd name="connsiteX8" fmla="*/ 10197225 w 13623187"/>
                <a:gd name="connsiteY8" fmla="*/ 4267200 h 6310100"/>
                <a:gd name="connsiteX9" fmla="*/ 10173779 w 13623187"/>
                <a:gd name="connsiteY9" fmla="*/ 6307015 h 6310100"/>
                <a:gd name="connsiteX10" fmla="*/ 4570148 w 13623187"/>
                <a:gd name="connsiteY10" fmla="*/ 4759569 h 6310100"/>
                <a:gd name="connsiteX11" fmla="*/ 2647564 w 13623187"/>
                <a:gd name="connsiteY11" fmla="*/ 4220308 h 6310100"/>
                <a:gd name="connsiteX12" fmla="*/ 2647564 w 13623187"/>
                <a:gd name="connsiteY12" fmla="*/ 6283569 h 6310100"/>
                <a:gd name="connsiteX13" fmla="*/ 0 w 13623187"/>
                <a:gd name="connsiteY13" fmla="*/ 6310100 h 6310100"/>
                <a:gd name="connsiteX14" fmla="*/ 0 w 13623187"/>
                <a:gd name="connsiteY14" fmla="*/ 0 h 6310100"/>
                <a:gd name="connsiteX0" fmla="*/ 0 w 13623187"/>
                <a:gd name="connsiteY0" fmla="*/ 0 h 6310100"/>
                <a:gd name="connsiteX1" fmla="*/ 4406025 w 13623187"/>
                <a:gd name="connsiteY1" fmla="*/ 46892 h 6310100"/>
                <a:gd name="connsiteX2" fmla="*/ 6774087 w 13623187"/>
                <a:gd name="connsiteY2" fmla="*/ 5017476 h 6310100"/>
                <a:gd name="connsiteX3" fmla="*/ 9235932 w 13623187"/>
                <a:gd name="connsiteY3" fmla="*/ 23446 h 6310100"/>
                <a:gd name="connsiteX4" fmla="*/ 12213595 w 13623187"/>
                <a:gd name="connsiteY4" fmla="*/ 1430215 h 6310100"/>
                <a:gd name="connsiteX5" fmla="*/ 13620364 w 13623187"/>
                <a:gd name="connsiteY5" fmla="*/ 6310100 h 6310100"/>
                <a:gd name="connsiteX6" fmla="*/ 10877164 w 13623187"/>
                <a:gd name="connsiteY6" fmla="*/ 6307015 h 6310100"/>
                <a:gd name="connsiteX7" fmla="*/ 10877165 w 13623187"/>
                <a:gd name="connsiteY7" fmla="*/ 4103077 h 6310100"/>
                <a:gd name="connsiteX8" fmla="*/ 10197225 w 13623187"/>
                <a:gd name="connsiteY8" fmla="*/ 4267200 h 6310100"/>
                <a:gd name="connsiteX9" fmla="*/ 10173779 w 13623187"/>
                <a:gd name="connsiteY9" fmla="*/ 6307015 h 6310100"/>
                <a:gd name="connsiteX10" fmla="*/ 3327501 w 13623187"/>
                <a:gd name="connsiteY10" fmla="*/ 4243753 h 6310100"/>
                <a:gd name="connsiteX11" fmla="*/ 2647564 w 13623187"/>
                <a:gd name="connsiteY11" fmla="*/ 4220308 h 6310100"/>
                <a:gd name="connsiteX12" fmla="*/ 2647564 w 13623187"/>
                <a:gd name="connsiteY12" fmla="*/ 6283569 h 6310100"/>
                <a:gd name="connsiteX13" fmla="*/ 0 w 13623187"/>
                <a:gd name="connsiteY13" fmla="*/ 6310100 h 6310100"/>
                <a:gd name="connsiteX14" fmla="*/ 0 w 13623187"/>
                <a:gd name="connsiteY14" fmla="*/ 0 h 6310100"/>
                <a:gd name="connsiteX0" fmla="*/ 0 w 13623187"/>
                <a:gd name="connsiteY0" fmla="*/ 0 h 6310100"/>
                <a:gd name="connsiteX1" fmla="*/ 4406025 w 13623187"/>
                <a:gd name="connsiteY1" fmla="*/ 46892 h 6310100"/>
                <a:gd name="connsiteX2" fmla="*/ 6774087 w 13623187"/>
                <a:gd name="connsiteY2" fmla="*/ 5017476 h 6310100"/>
                <a:gd name="connsiteX3" fmla="*/ 9235932 w 13623187"/>
                <a:gd name="connsiteY3" fmla="*/ 23446 h 6310100"/>
                <a:gd name="connsiteX4" fmla="*/ 12213595 w 13623187"/>
                <a:gd name="connsiteY4" fmla="*/ 1430215 h 6310100"/>
                <a:gd name="connsiteX5" fmla="*/ 13620364 w 13623187"/>
                <a:gd name="connsiteY5" fmla="*/ 6310100 h 6310100"/>
                <a:gd name="connsiteX6" fmla="*/ 10877164 w 13623187"/>
                <a:gd name="connsiteY6" fmla="*/ 6307015 h 6310100"/>
                <a:gd name="connsiteX7" fmla="*/ 10877165 w 13623187"/>
                <a:gd name="connsiteY7" fmla="*/ 4103077 h 6310100"/>
                <a:gd name="connsiteX8" fmla="*/ 10197225 w 13623187"/>
                <a:gd name="connsiteY8" fmla="*/ 4267200 h 6310100"/>
                <a:gd name="connsiteX9" fmla="*/ 10173779 w 13623187"/>
                <a:gd name="connsiteY9" fmla="*/ 6307015 h 6310100"/>
                <a:gd name="connsiteX10" fmla="*/ 5976918 w 13623187"/>
                <a:gd name="connsiteY10" fmla="*/ 5040922 h 6310100"/>
                <a:gd name="connsiteX11" fmla="*/ 3327501 w 13623187"/>
                <a:gd name="connsiteY11" fmla="*/ 4243753 h 6310100"/>
                <a:gd name="connsiteX12" fmla="*/ 2647564 w 13623187"/>
                <a:gd name="connsiteY12" fmla="*/ 4220308 h 6310100"/>
                <a:gd name="connsiteX13" fmla="*/ 2647564 w 13623187"/>
                <a:gd name="connsiteY13" fmla="*/ 6283569 h 6310100"/>
                <a:gd name="connsiteX14" fmla="*/ 0 w 13623187"/>
                <a:gd name="connsiteY14" fmla="*/ 6310100 h 6310100"/>
                <a:gd name="connsiteX15" fmla="*/ 0 w 13623187"/>
                <a:gd name="connsiteY15" fmla="*/ 0 h 6310100"/>
                <a:gd name="connsiteX0" fmla="*/ 0 w 13623187"/>
                <a:gd name="connsiteY0" fmla="*/ 0 h 6310100"/>
                <a:gd name="connsiteX1" fmla="*/ 4406025 w 13623187"/>
                <a:gd name="connsiteY1" fmla="*/ 46892 h 6310100"/>
                <a:gd name="connsiteX2" fmla="*/ 6774087 w 13623187"/>
                <a:gd name="connsiteY2" fmla="*/ 5017476 h 6310100"/>
                <a:gd name="connsiteX3" fmla="*/ 9235932 w 13623187"/>
                <a:gd name="connsiteY3" fmla="*/ 23446 h 6310100"/>
                <a:gd name="connsiteX4" fmla="*/ 12213595 w 13623187"/>
                <a:gd name="connsiteY4" fmla="*/ 1430215 h 6310100"/>
                <a:gd name="connsiteX5" fmla="*/ 13620364 w 13623187"/>
                <a:gd name="connsiteY5" fmla="*/ 6310100 h 6310100"/>
                <a:gd name="connsiteX6" fmla="*/ 10877164 w 13623187"/>
                <a:gd name="connsiteY6" fmla="*/ 6307015 h 6310100"/>
                <a:gd name="connsiteX7" fmla="*/ 10877165 w 13623187"/>
                <a:gd name="connsiteY7" fmla="*/ 4103077 h 6310100"/>
                <a:gd name="connsiteX8" fmla="*/ 10197225 w 13623187"/>
                <a:gd name="connsiteY8" fmla="*/ 4267200 h 6310100"/>
                <a:gd name="connsiteX9" fmla="*/ 10173779 w 13623187"/>
                <a:gd name="connsiteY9" fmla="*/ 6307015 h 6310100"/>
                <a:gd name="connsiteX10" fmla="*/ 3374395 w 13623187"/>
                <a:gd name="connsiteY10" fmla="*/ 6236676 h 6310100"/>
                <a:gd name="connsiteX11" fmla="*/ 3327501 w 13623187"/>
                <a:gd name="connsiteY11" fmla="*/ 4243753 h 6310100"/>
                <a:gd name="connsiteX12" fmla="*/ 2647564 w 13623187"/>
                <a:gd name="connsiteY12" fmla="*/ 4220308 h 6310100"/>
                <a:gd name="connsiteX13" fmla="*/ 2647564 w 13623187"/>
                <a:gd name="connsiteY13" fmla="*/ 6283569 h 6310100"/>
                <a:gd name="connsiteX14" fmla="*/ 0 w 13623187"/>
                <a:gd name="connsiteY14" fmla="*/ 6310100 h 6310100"/>
                <a:gd name="connsiteX15" fmla="*/ 0 w 13623187"/>
                <a:gd name="connsiteY15" fmla="*/ 0 h 6310100"/>
                <a:gd name="connsiteX0" fmla="*/ 0 w 13623187"/>
                <a:gd name="connsiteY0" fmla="*/ 0 h 6353906"/>
                <a:gd name="connsiteX1" fmla="*/ 4406025 w 13623187"/>
                <a:gd name="connsiteY1" fmla="*/ 46892 h 6353906"/>
                <a:gd name="connsiteX2" fmla="*/ 6774087 w 13623187"/>
                <a:gd name="connsiteY2" fmla="*/ 5017476 h 6353906"/>
                <a:gd name="connsiteX3" fmla="*/ 9235932 w 13623187"/>
                <a:gd name="connsiteY3" fmla="*/ 23446 h 6353906"/>
                <a:gd name="connsiteX4" fmla="*/ 12213595 w 13623187"/>
                <a:gd name="connsiteY4" fmla="*/ 1430215 h 6353906"/>
                <a:gd name="connsiteX5" fmla="*/ 13620364 w 13623187"/>
                <a:gd name="connsiteY5" fmla="*/ 6310100 h 6353906"/>
                <a:gd name="connsiteX6" fmla="*/ 10877164 w 13623187"/>
                <a:gd name="connsiteY6" fmla="*/ 6307015 h 6353906"/>
                <a:gd name="connsiteX7" fmla="*/ 10877165 w 13623187"/>
                <a:gd name="connsiteY7" fmla="*/ 4103077 h 6353906"/>
                <a:gd name="connsiteX8" fmla="*/ 10197225 w 13623187"/>
                <a:gd name="connsiteY8" fmla="*/ 4267200 h 6353906"/>
                <a:gd name="connsiteX9" fmla="*/ 10173779 w 13623187"/>
                <a:gd name="connsiteY9" fmla="*/ 6307015 h 6353906"/>
                <a:gd name="connsiteX10" fmla="*/ 3374395 w 13623187"/>
                <a:gd name="connsiteY10" fmla="*/ 6353906 h 6353906"/>
                <a:gd name="connsiteX11" fmla="*/ 3327501 w 13623187"/>
                <a:gd name="connsiteY11" fmla="*/ 4243753 h 6353906"/>
                <a:gd name="connsiteX12" fmla="*/ 2647564 w 13623187"/>
                <a:gd name="connsiteY12" fmla="*/ 4220308 h 6353906"/>
                <a:gd name="connsiteX13" fmla="*/ 2647564 w 13623187"/>
                <a:gd name="connsiteY13" fmla="*/ 6283569 h 6353906"/>
                <a:gd name="connsiteX14" fmla="*/ 0 w 13623187"/>
                <a:gd name="connsiteY14" fmla="*/ 6310100 h 6353906"/>
                <a:gd name="connsiteX15" fmla="*/ 0 w 13623187"/>
                <a:gd name="connsiteY15" fmla="*/ 0 h 6353906"/>
                <a:gd name="connsiteX0" fmla="*/ 0 w 13623187"/>
                <a:gd name="connsiteY0" fmla="*/ 0 h 6377352"/>
                <a:gd name="connsiteX1" fmla="*/ 4406025 w 13623187"/>
                <a:gd name="connsiteY1" fmla="*/ 46892 h 6377352"/>
                <a:gd name="connsiteX2" fmla="*/ 6774087 w 13623187"/>
                <a:gd name="connsiteY2" fmla="*/ 5017476 h 6377352"/>
                <a:gd name="connsiteX3" fmla="*/ 9235932 w 13623187"/>
                <a:gd name="connsiteY3" fmla="*/ 23446 h 6377352"/>
                <a:gd name="connsiteX4" fmla="*/ 12213595 w 13623187"/>
                <a:gd name="connsiteY4" fmla="*/ 1430215 h 6377352"/>
                <a:gd name="connsiteX5" fmla="*/ 13620364 w 13623187"/>
                <a:gd name="connsiteY5" fmla="*/ 6310100 h 6377352"/>
                <a:gd name="connsiteX6" fmla="*/ 10877164 w 13623187"/>
                <a:gd name="connsiteY6" fmla="*/ 6307015 h 6377352"/>
                <a:gd name="connsiteX7" fmla="*/ 10877165 w 13623187"/>
                <a:gd name="connsiteY7" fmla="*/ 4103077 h 6377352"/>
                <a:gd name="connsiteX8" fmla="*/ 10197225 w 13623187"/>
                <a:gd name="connsiteY8" fmla="*/ 4267200 h 6377352"/>
                <a:gd name="connsiteX9" fmla="*/ 10173779 w 13623187"/>
                <a:gd name="connsiteY9" fmla="*/ 6307015 h 6377352"/>
                <a:gd name="connsiteX10" fmla="*/ 3350949 w 13623187"/>
                <a:gd name="connsiteY10" fmla="*/ 6377352 h 6377352"/>
                <a:gd name="connsiteX11" fmla="*/ 3327501 w 13623187"/>
                <a:gd name="connsiteY11" fmla="*/ 4243753 h 6377352"/>
                <a:gd name="connsiteX12" fmla="*/ 2647564 w 13623187"/>
                <a:gd name="connsiteY12" fmla="*/ 4220308 h 6377352"/>
                <a:gd name="connsiteX13" fmla="*/ 2647564 w 13623187"/>
                <a:gd name="connsiteY13" fmla="*/ 6283569 h 6377352"/>
                <a:gd name="connsiteX14" fmla="*/ 0 w 13623187"/>
                <a:gd name="connsiteY14" fmla="*/ 6310100 h 6377352"/>
                <a:gd name="connsiteX15" fmla="*/ 0 w 13623187"/>
                <a:gd name="connsiteY15" fmla="*/ 0 h 6377352"/>
                <a:gd name="connsiteX0" fmla="*/ 0 w 13623187"/>
                <a:gd name="connsiteY0" fmla="*/ 0 h 6330460"/>
                <a:gd name="connsiteX1" fmla="*/ 4406025 w 13623187"/>
                <a:gd name="connsiteY1" fmla="*/ 46892 h 6330460"/>
                <a:gd name="connsiteX2" fmla="*/ 6774087 w 13623187"/>
                <a:gd name="connsiteY2" fmla="*/ 5017476 h 6330460"/>
                <a:gd name="connsiteX3" fmla="*/ 9235932 w 13623187"/>
                <a:gd name="connsiteY3" fmla="*/ 23446 h 6330460"/>
                <a:gd name="connsiteX4" fmla="*/ 12213595 w 13623187"/>
                <a:gd name="connsiteY4" fmla="*/ 1430215 h 6330460"/>
                <a:gd name="connsiteX5" fmla="*/ 13620364 w 13623187"/>
                <a:gd name="connsiteY5" fmla="*/ 6310100 h 6330460"/>
                <a:gd name="connsiteX6" fmla="*/ 10877164 w 13623187"/>
                <a:gd name="connsiteY6" fmla="*/ 6307015 h 6330460"/>
                <a:gd name="connsiteX7" fmla="*/ 10877165 w 13623187"/>
                <a:gd name="connsiteY7" fmla="*/ 4103077 h 6330460"/>
                <a:gd name="connsiteX8" fmla="*/ 10197225 w 13623187"/>
                <a:gd name="connsiteY8" fmla="*/ 4267200 h 6330460"/>
                <a:gd name="connsiteX9" fmla="*/ 10173779 w 13623187"/>
                <a:gd name="connsiteY9" fmla="*/ 6307015 h 6330460"/>
                <a:gd name="connsiteX10" fmla="*/ 3397841 w 13623187"/>
                <a:gd name="connsiteY10" fmla="*/ 6330460 h 6330460"/>
                <a:gd name="connsiteX11" fmla="*/ 3327501 w 13623187"/>
                <a:gd name="connsiteY11" fmla="*/ 4243753 h 6330460"/>
                <a:gd name="connsiteX12" fmla="*/ 2647564 w 13623187"/>
                <a:gd name="connsiteY12" fmla="*/ 4220308 h 6330460"/>
                <a:gd name="connsiteX13" fmla="*/ 2647564 w 13623187"/>
                <a:gd name="connsiteY13" fmla="*/ 6283569 h 6330460"/>
                <a:gd name="connsiteX14" fmla="*/ 0 w 13623187"/>
                <a:gd name="connsiteY14" fmla="*/ 6310100 h 6330460"/>
                <a:gd name="connsiteX15" fmla="*/ 0 w 13623187"/>
                <a:gd name="connsiteY15" fmla="*/ 0 h 6330460"/>
                <a:gd name="connsiteX0" fmla="*/ 0 w 13623187"/>
                <a:gd name="connsiteY0" fmla="*/ 0 h 6330460"/>
                <a:gd name="connsiteX1" fmla="*/ 4406025 w 13623187"/>
                <a:gd name="connsiteY1" fmla="*/ 46892 h 6330460"/>
                <a:gd name="connsiteX2" fmla="*/ 6774087 w 13623187"/>
                <a:gd name="connsiteY2" fmla="*/ 5017476 h 6330460"/>
                <a:gd name="connsiteX3" fmla="*/ 9235932 w 13623187"/>
                <a:gd name="connsiteY3" fmla="*/ 23446 h 6330460"/>
                <a:gd name="connsiteX4" fmla="*/ 12213595 w 13623187"/>
                <a:gd name="connsiteY4" fmla="*/ 1430215 h 6330460"/>
                <a:gd name="connsiteX5" fmla="*/ 13620364 w 13623187"/>
                <a:gd name="connsiteY5" fmla="*/ 6310100 h 6330460"/>
                <a:gd name="connsiteX6" fmla="*/ 10877164 w 13623187"/>
                <a:gd name="connsiteY6" fmla="*/ 6307015 h 6330460"/>
                <a:gd name="connsiteX7" fmla="*/ 10877165 w 13623187"/>
                <a:gd name="connsiteY7" fmla="*/ 4103077 h 6330460"/>
                <a:gd name="connsiteX8" fmla="*/ 10197225 w 13623187"/>
                <a:gd name="connsiteY8" fmla="*/ 4267200 h 6330460"/>
                <a:gd name="connsiteX9" fmla="*/ 10173779 w 13623187"/>
                <a:gd name="connsiteY9" fmla="*/ 6307015 h 6330460"/>
                <a:gd name="connsiteX10" fmla="*/ 3397841 w 13623187"/>
                <a:gd name="connsiteY10" fmla="*/ 6330460 h 6330460"/>
                <a:gd name="connsiteX11" fmla="*/ 3421286 w 13623187"/>
                <a:gd name="connsiteY11" fmla="*/ 4220307 h 6330460"/>
                <a:gd name="connsiteX12" fmla="*/ 2647564 w 13623187"/>
                <a:gd name="connsiteY12" fmla="*/ 4220308 h 6330460"/>
                <a:gd name="connsiteX13" fmla="*/ 2647564 w 13623187"/>
                <a:gd name="connsiteY13" fmla="*/ 6283569 h 6330460"/>
                <a:gd name="connsiteX14" fmla="*/ 0 w 13623187"/>
                <a:gd name="connsiteY14" fmla="*/ 6310100 h 6330460"/>
                <a:gd name="connsiteX15" fmla="*/ 0 w 13623187"/>
                <a:gd name="connsiteY15" fmla="*/ 0 h 6330460"/>
                <a:gd name="connsiteX0" fmla="*/ 0 w 13623187"/>
                <a:gd name="connsiteY0" fmla="*/ 0 h 6330460"/>
                <a:gd name="connsiteX1" fmla="*/ 4406025 w 13623187"/>
                <a:gd name="connsiteY1" fmla="*/ 46892 h 6330460"/>
                <a:gd name="connsiteX2" fmla="*/ 6774087 w 13623187"/>
                <a:gd name="connsiteY2" fmla="*/ 5017476 h 6330460"/>
                <a:gd name="connsiteX3" fmla="*/ 9235932 w 13623187"/>
                <a:gd name="connsiteY3" fmla="*/ 23446 h 6330460"/>
                <a:gd name="connsiteX4" fmla="*/ 12213595 w 13623187"/>
                <a:gd name="connsiteY4" fmla="*/ 1430215 h 6330460"/>
                <a:gd name="connsiteX5" fmla="*/ 13620364 w 13623187"/>
                <a:gd name="connsiteY5" fmla="*/ 6310100 h 6330460"/>
                <a:gd name="connsiteX6" fmla="*/ 10877164 w 13623187"/>
                <a:gd name="connsiteY6" fmla="*/ 6307015 h 6330460"/>
                <a:gd name="connsiteX7" fmla="*/ 10877165 w 13623187"/>
                <a:gd name="connsiteY7" fmla="*/ 4103077 h 6330460"/>
                <a:gd name="connsiteX8" fmla="*/ 10197225 w 13623187"/>
                <a:gd name="connsiteY8" fmla="*/ 4267200 h 6330460"/>
                <a:gd name="connsiteX9" fmla="*/ 10173779 w 13623187"/>
                <a:gd name="connsiteY9" fmla="*/ 6307015 h 6330460"/>
                <a:gd name="connsiteX10" fmla="*/ 3397841 w 13623187"/>
                <a:gd name="connsiteY10" fmla="*/ 6330460 h 6330460"/>
                <a:gd name="connsiteX11" fmla="*/ 3421286 w 13623187"/>
                <a:gd name="connsiteY11" fmla="*/ 4220307 h 6330460"/>
                <a:gd name="connsiteX12" fmla="*/ 2647564 w 13623187"/>
                <a:gd name="connsiteY12" fmla="*/ 4220308 h 6330460"/>
                <a:gd name="connsiteX13" fmla="*/ 2647564 w 13623187"/>
                <a:gd name="connsiteY13" fmla="*/ 6283569 h 6330460"/>
                <a:gd name="connsiteX14" fmla="*/ 0 w 13623187"/>
                <a:gd name="connsiteY14" fmla="*/ 6310100 h 6330460"/>
                <a:gd name="connsiteX15" fmla="*/ 0 w 13623187"/>
                <a:gd name="connsiteY15" fmla="*/ 0 h 6330460"/>
                <a:gd name="connsiteX0" fmla="*/ 0 w 13623187"/>
                <a:gd name="connsiteY0" fmla="*/ 0 h 6330460"/>
                <a:gd name="connsiteX1" fmla="*/ 4406025 w 13623187"/>
                <a:gd name="connsiteY1" fmla="*/ 46892 h 6330460"/>
                <a:gd name="connsiteX2" fmla="*/ 6774087 w 13623187"/>
                <a:gd name="connsiteY2" fmla="*/ 5017476 h 6330460"/>
                <a:gd name="connsiteX3" fmla="*/ 9235932 w 13623187"/>
                <a:gd name="connsiteY3" fmla="*/ 23446 h 6330460"/>
                <a:gd name="connsiteX4" fmla="*/ 12213595 w 13623187"/>
                <a:gd name="connsiteY4" fmla="*/ 1430215 h 6330460"/>
                <a:gd name="connsiteX5" fmla="*/ 13620364 w 13623187"/>
                <a:gd name="connsiteY5" fmla="*/ 6310100 h 6330460"/>
                <a:gd name="connsiteX6" fmla="*/ 10877164 w 13623187"/>
                <a:gd name="connsiteY6" fmla="*/ 6307015 h 6330460"/>
                <a:gd name="connsiteX7" fmla="*/ 10877165 w 13623187"/>
                <a:gd name="connsiteY7" fmla="*/ 4103077 h 6330460"/>
                <a:gd name="connsiteX8" fmla="*/ 10197225 w 13623187"/>
                <a:gd name="connsiteY8" fmla="*/ 4267200 h 6330460"/>
                <a:gd name="connsiteX9" fmla="*/ 10173779 w 13623187"/>
                <a:gd name="connsiteY9" fmla="*/ 6307015 h 6330460"/>
                <a:gd name="connsiteX10" fmla="*/ 3397841 w 13623187"/>
                <a:gd name="connsiteY10" fmla="*/ 6330460 h 6330460"/>
                <a:gd name="connsiteX11" fmla="*/ 3421286 w 13623187"/>
                <a:gd name="connsiteY11" fmla="*/ 4220307 h 6330460"/>
                <a:gd name="connsiteX12" fmla="*/ 2647564 w 13623187"/>
                <a:gd name="connsiteY12" fmla="*/ 4220308 h 6330460"/>
                <a:gd name="connsiteX13" fmla="*/ 2647564 w 13623187"/>
                <a:gd name="connsiteY13" fmla="*/ 6283569 h 6330460"/>
                <a:gd name="connsiteX14" fmla="*/ 0 w 13623187"/>
                <a:gd name="connsiteY14" fmla="*/ 6310100 h 6330460"/>
                <a:gd name="connsiteX15" fmla="*/ 0 w 13623187"/>
                <a:gd name="connsiteY15" fmla="*/ 0 h 6330460"/>
                <a:gd name="connsiteX0" fmla="*/ 0 w 13623187"/>
                <a:gd name="connsiteY0" fmla="*/ 0 h 6330460"/>
                <a:gd name="connsiteX1" fmla="*/ 4406025 w 13623187"/>
                <a:gd name="connsiteY1" fmla="*/ 46892 h 6330460"/>
                <a:gd name="connsiteX2" fmla="*/ 6774087 w 13623187"/>
                <a:gd name="connsiteY2" fmla="*/ 5017476 h 6330460"/>
                <a:gd name="connsiteX3" fmla="*/ 9235932 w 13623187"/>
                <a:gd name="connsiteY3" fmla="*/ 23446 h 6330460"/>
                <a:gd name="connsiteX4" fmla="*/ 12213595 w 13623187"/>
                <a:gd name="connsiteY4" fmla="*/ 1430215 h 6330460"/>
                <a:gd name="connsiteX5" fmla="*/ 13620364 w 13623187"/>
                <a:gd name="connsiteY5" fmla="*/ 6310100 h 6330460"/>
                <a:gd name="connsiteX6" fmla="*/ 10877164 w 13623187"/>
                <a:gd name="connsiteY6" fmla="*/ 6307015 h 6330460"/>
                <a:gd name="connsiteX7" fmla="*/ 10877165 w 13623187"/>
                <a:gd name="connsiteY7" fmla="*/ 4103077 h 6330460"/>
                <a:gd name="connsiteX8" fmla="*/ 10197225 w 13623187"/>
                <a:gd name="connsiteY8" fmla="*/ 4267200 h 6330460"/>
                <a:gd name="connsiteX9" fmla="*/ 10173779 w 13623187"/>
                <a:gd name="connsiteY9" fmla="*/ 6307015 h 6330460"/>
                <a:gd name="connsiteX10" fmla="*/ 3397841 w 13623187"/>
                <a:gd name="connsiteY10" fmla="*/ 6330460 h 6330460"/>
                <a:gd name="connsiteX11" fmla="*/ 3421286 w 13623187"/>
                <a:gd name="connsiteY11" fmla="*/ 4220307 h 6330460"/>
                <a:gd name="connsiteX12" fmla="*/ 2647564 w 13623187"/>
                <a:gd name="connsiteY12" fmla="*/ 4220308 h 6330460"/>
                <a:gd name="connsiteX13" fmla="*/ 2647564 w 13623187"/>
                <a:gd name="connsiteY13" fmla="*/ 6283569 h 6330460"/>
                <a:gd name="connsiteX14" fmla="*/ 0 w 13623187"/>
                <a:gd name="connsiteY14" fmla="*/ 6310100 h 6330460"/>
                <a:gd name="connsiteX15" fmla="*/ 0 w 13623187"/>
                <a:gd name="connsiteY15" fmla="*/ 0 h 6330460"/>
                <a:gd name="connsiteX0" fmla="*/ 0 w 13623187"/>
                <a:gd name="connsiteY0" fmla="*/ 0 h 6330460"/>
                <a:gd name="connsiteX1" fmla="*/ 4406025 w 13623187"/>
                <a:gd name="connsiteY1" fmla="*/ 46892 h 6330460"/>
                <a:gd name="connsiteX2" fmla="*/ 6774087 w 13623187"/>
                <a:gd name="connsiteY2" fmla="*/ 5017476 h 6330460"/>
                <a:gd name="connsiteX3" fmla="*/ 9235932 w 13623187"/>
                <a:gd name="connsiteY3" fmla="*/ 23446 h 6330460"/>
                <a:gd name="connsiteX4" fmla="*/ 12213595 w 13623187"/>
                <a:gd name="connsiteY4" fmla="*/ 1430215 h 6330460"/>
                <a:gd name="connsiteX5" fmla="*/ 13620364 w 13623187"/>
                <a:gd name="connsiteY5" fmla="*/ 6310100 h 6330460"/>
                <a:gd name="connsiteX6" fmla="*/ 10877164 w 13623187"/>
                <a:gd name="connsiteY6" fmla="*/ 6307015 h 6330460"/>
                <a:gd name="connsiteX7" fmla="*/ 10877165 w 13623187"/>
                <a:gd name="connsiteY7" fmla="*/ 4103077 h 6330460"/>
                <a:gd name="connsiteX8" fmla="*/ 10197225 w 13623187"/>
                <a:gd name="connsiteY8" fmla="*/ 4267200 h 6330460"/>
                <a:gd name="connsiteX9" fmla="*/ 10173779 w 13623187"/>
                <a:gd name="connsiteY9" fmla="*/ 6307015 h 6330460"/>
                <a:gd name="connsiteX10" fmla="*/ 3397841 w 13623187"/>
                <a:gd name="connsiteY10" fmla="*/ 6330460 h 6330460"/>
                <a:gd name="connsiteX11" fmla="*/ 3421286 w 13623187"/>
                <a:gd name="connsiteY11" fmla="*/ 4220307 h 6330460"/>
                <a:gd name="connsiteX12" fmla="*/ 2647564 w 13623187"/>
                <a:gd name="connsiteY12" fmla="*/ 4220308 h 6330460"/>
                <a:gd name="connsiteX13" fmla="*/ 2647564 w 13623187"/>
                <a:gd name="connsiteY13" fmla="*/ 6283569 h 6330460"/>
                <a:gd name="connsiteX14" fmla="*/ 0 w 13623187"/>
                <a:gd name="connsiteY14" fmla="*/ 6310100 h 6330460"/>
                <a:gd name="connsiteX15" fmla="*/ 0 w 13623187"/>
                <a:gd name="connsiteY15" fmla="*/ 0 h 6330460"/>
                <a:gd name="connsiteX0" fmla="*/ 914400 w 13623187"/>
                <a:gd name="connsiteY0" fmla="*/ 1970108 h 6307645"/>
                <a:gd name="connsiteX1" fmla="*/ 4406025 w 13623187"/>
                <a:gd name="connsiteY1" fmla="*/ 24077 h 6307645"/>
                <a:gd name="connsiteX2" fmla="*/ 6774087 w 13623187"/>
                <a:gd name="connsiteY2" fmla="*/ 4994661 h 6307645"/>
                <a:gd name="connsiteX3" fmla="*/ 9235932 w 13623187"/>
                <a:gd name="connsiteY3" fmla="*/ 631 h 6307645"/>
                <a:gd name="connsiteX4" fmla="*/ 12213595 w 13623187"/>
                <a:gd name="connsiteY4" fmla="*/ 1407400 h 6307645"/>
                <a:gd name="connsiteX5" fmla="*/ 13620364 w 13623187"/>
                <a:gd name="connsiteY5" fmla="*/ 6287285 h 6307645"/>
                <a:gd name="connsiteX6" fmla="*/ 10877164 w 13623187"/>
                <a:gd name="connsiteY6" fmla="*/ 6284200 h 6307645"/>
                <a:gd name="connsiteX7" fmla="*/ 10877165 w 13623187"/>
                <a:gd name="connsiteY7" fmla="*/ 4080262 h 6307645"/>
                <a:gd name="connsiteX8" fmla="*/ 10197225 w 13623187"/>
                <a:gd name="connsiteY8" fmla="*/ 4244385 h 6307645"/>
                <a:gd name="connsiteX9" fmla="*/ 10173779 w 13623187"/>
                <a:gd name="connsiteY9" fmla="*/ 6284200 h 6307645"/>
                <a:gd name="connsiteX10" fmla="*/ 3397841 w 13623187"/>
                <a:gd name="connsiteY10" fmla="*/ 6307645 h 6307645"/>
                <a:gd name="connsiteX11" fmla="*/ 3421286 w 13623187"/>
                <a:gd name="connsiteY11" fmla="*/ 4197492 h 6307645"/>
                <a:gd name="connsiteX12" fmla="*/ 2647564 w 13623187"/>
                <a:gd name="connsiteY12" fmla="*/ 4197493 h 6307645"/>
                <a:gd name="connsiteX13" fmla="*/ 2647564 w 13623187"/>
                <a:gd name="connsiteY13" fmla="*/ 6260754 h 6307645"/>
                <a:gd name="connsiteX14" fmla="*/ 0 w 13623187"/>
                <a:gd name="connsiteY14" fmla="*/ 6287285 h 6307645"/>
                <a:gd name="connsiteX15" fmla="*/ 914400 w 13623187"/>
                <a:gd name="connsiteY15" fmla="*/ 1970108 h 6307645"/>
                <a:gd name="connsiteX0" fmla="*/ 914400 w 13623187"/>
                <a:gd name="connsiteY0" fmla="*/ 1970108 h 6307645"/>
                <a:gd name="connsiteX1" fmla="*/ 4406025 w 13623187"/>
                <a:gd name="connsiteY1" fmla="*/ 24077 h 6307645"/>
                <a:gd name="connsiteX2" fmla="*/ 6774087 w 13623187"/>
                <a:gd name="connsiteY2" fmla="*/ 4994661 h 6307645"/>
                <a:gd name="connsiteX3" fmla="*/ 9235932 w 13623187"/>
                <a:gd name="connsiteY3" fmla="*/ 631 h 6307645"/>
                <a:gd name="connsiteX4" fmla="*/ 12213595 w 13623187"/>
                <a:gd name="connsiteY4" fmla="*/ 1407400 h 6307645"/>
                <a:gd name="connsiteX5" fmla="*/ 13620364 w 13623187"/>
                <a:gd name="connsiteY5" fmla="*/ 6287285 h 6307645"/>
                <a:gd name="connsiteX6" fmla="*/ 10877164 w 13623187"/>
                <a:gd name="connsiteY6" fmla="*/ 6284200 h 6307645"/>
                <a:gd name="connsiteX7" fmla="*/ 10877165 w 13623187"/>
                <a:gd name="connsiteY7" fmla="*/ 4080262 h 6307645"/>
                <a:gd name="connsiteX8" fmla="*/ 10197225 w 13623187"/>
                <a:gd name="connsiteY8" fmla="*/ 4244385 h 6307645"/>
                <a:gd name="connsiteX9" fmla="*/ 10173779 w 13623187"/>
                <a:gd name="connsiteY9" fmla="*/ 6284200 h 6307645"/>
                <a:gd name="connsiteX10" fmla="*/ 3397841 w 13623187"/>
                <a:gd name="connsiteY10" fmla="*/ 6307645 h 6307645"/>
                <a:gd name="connsiteX11" fmla="*/ 3421286 w 13623187"/>
                <a:gd name="connsiteY11" fmla="*/ 4197492 h 6307645"/>
                <a:gd name="connsiteX12" fmla="*/ 2647564 w 13623187"/>
                <a:gd name="connsiteY12" fmla="*/ 4197493 h 6307645"/>
                <a:gd name="connsiteX13" fmla="*/ 2647564 w 13623187"/>
                <a:gd name="connsiteY13" fmla="*/ 6260754 h 6307645"/>
                <a:gd name="connsiteX14" fmla="*/ 0 w 13623187"/>
                <a:gd name="connsiteY14" fmla="*/ 6287285 h 6307645"/>
                <a:gd name="connsiteX15" fmla="*/ 914400 w 13623187"/>
                <a:gd name="connsiteY15" fmla="*/ 1970108 h 6307645"/>
                <a:gd name="connsiteX0" fmla="*/ 914400 w 13623187"/>
                <a:gd name="connsiteY0" fmla="*/ 1985552 h 6323089"/>
                <a:gd name="connsiteX1" fmla="*/ 4406025 w 13623187"/>
                <a:gd name="connsiteY1" fmla="*/ 39521 h 6323089"/>
                <a:gd name="connsiteX2" fmla="*/ 6774087 w 13623187"/>
                <a:gd name="connsiteY2" fmla="*/ 5010105 h 6323089"/>
                <a:gd name="connsiteX3" fmla="*/ 9235932 w 13623187"/>
                <a:gd name="connsiteY3" fmla="*/ 16075 h 6323089"/>
                <a:gd name="connsiteX4" fmla="*/ 12213595 w 13623187"/>
                <a:gd name="connsiteY4" fmla="*/ 1422844 h 6323089"/>
                <a:gd name="connsiteX5" fmla="*/ 13620364 w 13623187"/>
                <a:gd name="connsiteY5" fmla="*/ 6302729 h 6323089"/>
                <a:gd name="connsiteX6" fmla="*/ 10877164 w 13623187"/>
                <a:gd name="connsiteY6" fmla="*/ 6299644 h 6323089"/>
                <a:gd name="connsiteX7" fmla="*/ 10877165 w 13623187"/>
                <a:gd name="connsiteY7" fmla="*/ 4095706 h 6323089"/>
                <a:gd name="connsiteX8" fmla="*/ 10197225 w 13623187"/>
                <a:gd name="connsiteY8" fmla="*/ 4259829 h 6323089"/>
                <a:gd name="connsiteX9" fmla="*/ 10173779 w 13623187"/>
                <a:gd name="connsiteY9" fmla="*/ 6299644 h 6323089"/>
                <a:gd name="connsiteX10" fmla="*/ 3397841 w 13623187"/>
                <a:gd name="connsiteY10" fmla="*/ 6323089 h 6323089"/>
                <a:gd name="connsiteX11" fmla="*/ 3421286 w 13623187"/>
                <a:gd name="connsiteY11" fmla="*/ 4212936 h 6323089"/>
                <a:gd name="connsiteX12" fmla="*/ 2647564 w 13623187"/>
                <a:gd name="connsiteY12" fmla="*/ 4212937 h 6323089"/>
                <a:gd name="connsiteX13" fmla="*/ 2647564 w 13623187"/>
                <a:gd name="connsiteY13" fmla="*/ 6276198 h 6323089"/>
                <a:gd name="connsiteX14" fmla="*/ 0 w 13623187"/>
                <a:gd name="connsiteY14" fmla="*/ 6302729 h 6323089"/>
                <a:gd name="connsiteX15" fmla="*/ 914400 w 13623187"/>
                <a:gd name="connsiteY15" fmla="*/ 1985552 h 6323089"/>
                <a:gd name="connsiteX0" fmla="*/ 937847 w 13646634"/>
                <a:gd name="connsiteY0" fmla="*/ 1985552 h 6323089"/>
                <a:gd name="connsiteX1" fmla="*/ 4429472 w 13646634"/>
                <a:gd name="connsiteY1" fmla="*/ 39521 h 6323089"/>
                <a:gd name="connsiteX2" fmla="*/ 6797534 w 13646634"/>
                <a:gd name="connsiteY2" fmla="*/ 5010105 h 6323089"/>
                <a:gd name="connsiteX3" fmla="*/ 9259379 w 13646634"/>
                <a:gd name="connsiteY3" fmla="*/ 16075 h 6323089"/>
                <a:gd name="connsiteX4" fmla="*/ 12237042 w 13646634"/>
                <a:gd name="connsiteY4" fmla="*/ 1422844 h 6323089"/>
                <a:gd name="connsiteX5" fmla="*/ 13643811 w 13646634"/>
                <a:gd name="connsiteY5" fmla="*/ 6302729 h 6323089"/>
                <a:gd name="connsiteX6" fmla="*/ 10900611 w 13646634"/>
                <a:gd name="connsiteY6" fmla="*/ 6299644 h 6323089"/>
                <a:gd name="connsiteX7" fmla="*/ 10900612 w 13646634"/>
                <a:gd name="connsiteY7" fmla="*/ 4095706 h 6323089"/>
                <a:gd name="connsiteX8" fmla="*/ 10220672 w 13646634"/>
                <a:gd name="connsiteY8" fmla="*/ 4259829 h 6323089"/>
                <a:gd name="connsiteX9" fmla="*/ 10197226 w 13646634"/>
                <a:gd name="connsiteY9" fmla="*/ 6299644 h 6323089"/>
                <a:gd name="connsiteX10" fmla="*/ 3421288 w 13646634"/>
                <a:gd name="connsiteY10" fmla="*/ 6323089 h 6323089"/>
                <a:gd name="connsiteX11" fmla="*/ 3444733 w 13646634"/>
                <a:gd name="connsiteY11" fmla="*/ 4212936 h 6323089"/>
                <a:gd name="connsiteX12" fmla="*/ 2671011 w 13646634"/>
                <a:gd name="connsiteY12" fmla="*/ 4212937 h 6323089"/>
                <a:gd name="connsiteX13" fmla="*/ 2671011 w 13646634"/>
                <a:gd name="connsiteY13" fmla="*/ 6276198 h 6323089"/>
                <a:gd name="connsiteX14" fmla="*/ 0 w 13646634"/>
                <a:gd name="connsiteY14" fmla="*/ 6232390 h 6323089"/>
                <a:gd name="connsiteX15" fmla="*/ 937847 w 13646634"/>
                <a:gd name="connsiteY15" fmla="*/ 1985552 h 6323089"/>
                <a:gd name="connsiteX0" fmla="*/ 867509 w 13576296"/>
                <a:gd name="connsiteY0" fmla="*/ 1985552 h 6323089"/>
                <a:gd name="connsiteX1" fmla="*/ 4359134 w 13576296"/>
                <a:gd name="connsiteY1" fmla="*/ 39521 h 6323089"/>
                <a:gd name="connsiteX2" fmla="*/ 6727196 w 13576296"/>
                <a:gd name="connsiteY2" fmla="*/ 5010105 h 6323089"/>
                <a:gd name="connsiteX3" fmla="*/ 9189041 w 13576296"/>
                <a:gd name="connsiteY3" fmla="*/ 16075 h 6323089"/>
                <a:gd name="connsiteX4" fmla="*/ 12166704 w 13576296"/>
                <a:gd name="connsiteY4" fmla="*/ 1422844 h 6323089"/>
                <a:gd name="connsiteX5" fmla="*/ 13573473 w 13576296"/>
                <a:gd name="connsiteY5" fmla="*/ 6302729 h 6323089"/>
                <a:gd name="connsiteX6" fmla="*/ 10830273 w 13576296"/>
                <a:gd name="connsiteY6" fmla="*/ 6299644 h 6323089"/>
                <a:gd name="connsiteX7" fmla="*/ 10830274 w 13576296"/>
                <a:gd name="connsiteY7" fmla="*/ 4095706 h 6323089"/>
                <a:gd name="connsiteX8" fmla="*/ 10150334 w 13576296"/>
                <a:gd name="connsiteY8" fmla="*/ 4259829 h 6323089"/>
                <a:gd name="connsiteX9" fmla="*/ 10126888 w 13576296"/>
                <a:gd name="connsiteY9" fmla="*/ 6299644 h 6323089"/>
                <a:gd name="connsiteX10" fmla="*/ 3350950 w 13576296"/>
                <a:gd name="connsiteY10" fmla="*/ 6323089 h 6323089"/>
                <a:gd name="connsiteX11" fmla="*/ 3374395 w 13576296"/>
                <a:gd name="connsiteY11" fmla="*/ 4212936 h 6323089"/>
                <a:gd name="connsiteX12" fmla="*/ 2600673 w 13576296"/>
                <a:gd name="connsiteY12" fmla="*/ 4212937 h 6323089"/>
                <a:gd name="connsiteX13" fmla="*/ 2600673 w 13576296"/>
                <a:gd name="connsiteY13" fmla="*/ 6276198 h 6323089"/>
                <a:gd name="connsiteX14" fmla="*/ 0 w 13576296"/>
                <a:gd name="connsiteY14" fmla="*/ 6302729 h 6323089"/>
                <a:gd name="connsiteX15" fmla="*/ 867509 w 13576296"/>
                <a:gd name="connsiteY15" fmla="*/ 1985552 h 6323089"/>
                <a:gd name="connsiteX0" fmla="*/ 875123 w 13583910"/>
                <a:gd name="connsiteY0" fmla="*/ 1985552 h 6323089"/>
                <a:gd name="connsiteX1" fmla="*/ 4366748 w 13583910"/>
                <a:gd name="connsiteY1" fmla="*/ 39521 h 6323089"/>
                <a:gd name="connsiteX2" fmla="*/ 6734810 w 13583910"/>
                <a:gd name="connsiteY2" fmla="*/ 5010105 h 6323089"/>
                <a:gd name="connsiteX3" fmla="*/ 9196655 w 13583910"/>
                <a:gd name="connsiteY3" fmla="*/ 16075 h 6323089"/>
                <a:gd name="connsiteX4" fmla="*/ 12174318 w 13583910"/>
                <a:gd name="connsiteY4" fmla="*/ 1422844 h 6323089"/>
                <a:gd name="connsiteX5" fmla="*/ 13581087 w 13583910"/>
                <a:gd name="connsiteY5" fmla="*/ 6302729 h 6323089"/>
                <a:gd name="connsiteX6" fmla="*/ 10837887 w 13583910"/>
                <a:gd name="connsiteY6" fmla="*/ 6299644 h 6323089"/>
                <a:gd name="connsiteX7" fmla="*/ 10837888 w 13583910"/>
                <a:gd name="connsiteY7" fmla="*/ 4095706 h 6323089"/>
                <a:gd name="connsiteX8" fmla="*/ 10157948 w 13583910"/>
                <a:gd name="connsiteY8" fmla="*/ 4259829 h 6323089"/>
                <a:gd name="connsiteX9" fmla="*/ 10134502 w 13583910"/>
                <a:gd name="connsiteY9" fmla="*/ 6299644 h 6323089"/>
                <a:gd name="connsiteX10" fmla="*/ 3358564 w 13583910"/>
                <a:gd name="connsiteY10" fmla="*/ 6323089 h 6323089"/>
                <a:gd name="connsiteX11" fmla="*/ 3382009 w 13583910"/>
                <a:gd name="connsiteY11" fmla="*/ 4212936 h 6323089"/>
                <a:gd name="connsiteX12" fmla="*/ 2608287 w 13583910"/>
                <a:gd name="connsiteY12" fmla="*/ 4212937 h 6323089"/>
                <a:gd name="connsiteX13" fmla="*/ 2608287 w 13583910"/>
                <a:gd name="connsiteY13" fmla="*/ 6276198 h 6323089"/>
                <a:gd name="connsiteX14" fmla="*/ 7614 w 13583910"/>
                <a:gd name="connsiteY14" fmla="*/ 6302729 h 6323089"/>
                <a:gd name="connsiteX15" fmla="*/ 875123 w 13583910"/>
                <a:gd name="connsiteY15" fmla="*/ 1985552 h 6323089"/>
                <a:gd name="connsiteX0" fmla="*/ 1154365 w 13581798"/>
                <a:gd name="connsiteY0" fmla="*/ 1654535 h 6343764"/>
                <a:gd name="connsiteX1" fmla="*/ 4364636 w 13581798"/>
                <a:gd name="connsiteY1" fmla="*/ 60196 h 6343764"/>
                <a:gd name="connsiteX2" fmla="*/ 6732698 w 13581798"/>
                <a:gd name="connsiteY2" fmla="*/ 5030780 h 6343764"/>
                <a:gd name="connsiteX3" fmla="*/ 9194543 w 13581798"/>
                <a:gd name="connsiteY3" fmla="*/ 36750 h 6343764"/>
                <a:gd name="connsiteX4" fmla="*/ 12172206 w 13581798"/>
                <a:gd name="connsiteY4" fmla="*/ 1443519 h 6343764"/>
                <a:gd name="connsiteX5" fmla="*/ 13578975 w 13581798"/>
                <a:gd name="connsiteY5" fmla="*/ 6323404 h 6343764"/>
                <a:gd name="connsiteX6" fmla="*/ 10835775 w 13581798"/>
                <a:gd name="connsiteY6" fmla="*/ 6320319 h 6343764"/>
                <a:gd name="connsiteX7" fmla="*/ 10835776 w 13581798"/>
                <a:gd name="connsiteY7" fmla="*/ 4116381 h 6343764"/>
                <a:gd name="connsiteX8" fmla="*/ 10155836 w 13581798"/>
                <a:gd name="connsiteY8" fmla="*/ 4280504 h 6343764"/>
                <a:gd name="connsiteX9" fmla="*/ 10132390 w 13581798"/>
                <a:gd name="connsiteY9" fmla="*/ 6320319 h 6343764"/>
                <a:gd name="connsiteX10" fmla="*/ 3356452 w 13581798"/>
                <a:gd name="connsiteY10" fmla="*/ 6343764 h 6343764"/>
                <a:gd name="connsiteX11" fmla="*/ 3379897 w 13581798"/>
                <a:gd name="connsiteY11" fmla="*/ 4233611 h 6343764"/>
                <a:gd name="connsiteX12" fmla="*/ 2606175 w 13581798"/>
                <a:gd name="connsiteY12" fmla="*/ 4233612 h 6343764"/>
                <a:gd name="connsiteX13" fmla="*/ 2606175 w 13581798"/>
                <a:gd name="connsiteY13" fmla="*/ 6296873 h 6343764"/>
                <a:gd name="connsiteX14" fmla="*/ 5502 w 13581798"/>
                <a:gd name="connsiteY14" fmla="*/ 6323404 h 6343764"/>
                <a:gd name="connsiteX15" fmla="*/ 1154365 w 13581798"/>
                <a:gd name="connsiteY15" fmla="*/ 1654535 h 6343764"/>
                <a:gd name="connsiteX0" fmla="*/ 1154012 w 13581445"/>
                <a:gd name="connsiteY0" fmla="*/ 1654535 h 6343764"/>
                <a:gd name="connsiteX1" fmla="*/ 4364283 w 13581445"/>
                <a:gd name="connsiteY1" fmla="*/ 60196 h 6343764"/>
                <a:gd name="connsiteX2" fmla="*/ 6732345 w 13581445"/>
                <a:gd name="connsiteY2" fmla="*/ 5030780 h 6343764"/>
                <a:gd name="connsiteX3" fmla="*/ 9194190 w 13581445"/>
                <a:gd name="connsiteY3" fmla="*/ 36750 h 6343764"/>
                <a:gd name="connsiteX4" fmla="*/ 12171853 w 13581445"/>
                <a:gd name="connsiteY4" fmla="*/ 1443519 h 6343764"/>
                <a:gd name="connsiteX5" fmla="*/ 13578622 w 13581445"/>
                <a:gd name="connsiteY5" fmla="*/ 6323404 h 6343764"/>
                <a:gd name="connsiteX6" fmla="*/ 10835422 w 13581445"/>
                <a:gd name="connsiteY6" fmla="*/ 6320319 h 6343764"/>
                <a:gd name="connsiteX7" fmla="*/ 10835423 w 13581445"/>
                <a:gd name="connsiteY7" fmla="*/ 4116381 h 6343764"/>
                <a:gd name="connsiteX8" fmla="*/ 10155483 w 13581445"/>
                <a:gd name="connsiteY8" fmla="*/ 4280504 h 6343764"/>
                <a:gd name="connsiteX9" fmla="*/ 10132037 w 13581445"/>
                <a:gd name="connsiteY9" fmla="*/ 6320319 h 6343764"/>
                <a:gd name="connsiteX10" fmla="*/ 3356099 w 13581445"/>
                <a:gd name="connsiteY10" fmla="*/ 6343764 h 6343764"/>
                <a:gd name="connsiteX11" fmla="*/ 3379544 w 13581445"/>
                <a:gd name="connsiteY11" fmla="*/ 4233611 h 6343764"/>
                <a:gd name="connsiteX12" fmla="*/ 2605822 w 13581445"/>
                <a:gd name="connsiteY12" fmla="*/ 4233612 h 6343764"/>
                <a:gd name="connsiteX13" fmla="*/ 2605822 w 13581445"/>
                <a:gd name="connsiteY13" fmla="*/ 6296873 h 6343764"/>
                <a:gd name="connsiteX14" fmla="*/ 5149 w 13581445"/>
                <a:gd name="connsiteY14" fmla="*/ 6323404 h 6343764"/>
                <a:gd name="connsiteX15" fmla="*/ 1154012 w 13581445"/>
                <a:gd name="connsiteY15" fmla="*/ 1654535 h 6343764"/>
                <a:gd name="connsiteX0" fmla="*/ 1227606 w 13655039"/>
                <a:gd name="connsiteY0" fmla="*/ 1654535 h 6343764"/>
                <a:gd name="connsiteX1" fmla="*/ 4437877 w 13655039"/>
                <a:gd name="connsiteY1" fmla="*/ 60196 h 6343764"/>
                <a:gd name="connsiteX2" fmla="*/ 6805939 w 13655039"/>
                <a:gd name="connsiteY2" fmla="*/ 5030780 h 6343764"/>
                <a:gd name="connsiteX3" fmla="*/ 9267784 w 13655039"/>
                <a:gd name="connsiteY3" fmla="*/ 36750 h 6343764"/>
                <a:gd name="connsiteX4" fmla="*/ 12245447 w 13655039"/>
                <a:gd name="connsiteY4" fmla="*/ 1443519 h 6343764"/>
                <a:gd name="connsiteX5" fmla="*/ 13652216 w 13655039"/>
                <a:gd name="connsiteY5" fmla="*/ 6323404 h 6343764"/>
                <a:gd name="connsiteX6" fmla="*/ 10909016 w 13655039"/>
                <a:gd name="connsiteY6" fmla="*/ 6320319 h 6343764"/>
                <a:gd name="connsiteX7" fmla="*/ 10909017 w 13655039"/>
                <a:gd name="connsiteY7" fmla="*/ 4116381 h 6343764"/>
                <a:gd name="connsiteX8" fmla="*/ 10229077 w 13655039"/>
                <a:gd name="connsiteY8" fmla="*/ 4280504 h 6343764"/>
                <a:gd name="connsiteX9" fmla="*/ 10205631 w 13655039"/>
                <a:gd name="connsiteY9" fmla="*/ 6320319 h 6343764"/>
                <a:gd name="connsiteX10" fmla="*/ 3429693 w 13655039"/>
                <a:gd name="connsiteY10" fmla="*/ 6343764 h 6343764"/>
                <a:gd name="connsiteX11" fmla="*/ 3453138 w 13655039"/>
                <a:gd name="connsiteY11" fmla="*/ 4233611 h 6343764"/>
                <a:gd name="connsiteX12" fmla="*/ 2679416 w 13655039"/>
                <a:gd name="connsiteY12" fmla="*/ 4233612 h 6343764"/>
                <a:gd name="connsiteX13" fmla="*/ 2679416 w 13655039"/>
                <a:gd name="connsiteY13" fmla="*/ 6296873 h 6343764"/>
                <a:gd name="connsiteX14" fmla="*/ 78743 w 13655039"/>
                <a:gd name="connsiteY14" fmla="*/ 6323404 h 6343764"/>
                <a:gd name="connsiteX15" fmla="*/ 1227606 w 13655039"/>
                <a:gd name="connsiteY15" fmla="*/ 1654535 h 6343764"/>
                <a:gd name="connsiteX0" fmla="*/ 1227606 w 13655039"/>
                <a:gd name="connsiteY0" fmla="*/ 1626092 h 6315321"/>
                <a:gd name="connsiteX1" fmla="*/ 4437877 w 13655039"/>
                <a:gd name="connsiteY1" fmla="*/ 31753 h 6315321"/>
                <a:gd name="connsiteX2" fmla="*/ 6805939 w 13655039"/>
                <a:gd name="connsiteY2" fmla="*/ 5002337 h 6315321"/>
                <a:gd name="connsiteX3" fmla="*/ 9267784 w 13655039"/>
                <a:gd name="connsiteY3" fmla="*/ 8307 h 6315321"/>
                <a:gd name="connsiteX4" fmla="*/ 12245447 w 13655039"/>
                <a:gd name="connsiteY4" fmla="*/ 1415076 h 6315321"/>
                <a:gd name="connsiteX5" fmla="*/ 13652216 w 13655039"/>
                <a:gd name="connsiteY5" fmla="*/ 6294961 h 6315321"/>
                <a:gd name="connsiteX6" fmla="*/ 10909016 w 13655039"/>
                <a:gd name="connsiteY6" fmla="*/ 6291876 h 6315321"/>
                <a:gd name="connsiteX7" fmla="*/ 10909017 w 13655039"/>
                <a:gd name="connsiteY7" fmla="*/ 4087938 h 6315321"/>
                <a:gd name="connsiteX8" fmla="*/ 10229077 w 13655039"/>
                <a:gd name="connsiteY8" fmla="*/ 4252061 h 6315321"/>
                <a:gd name="connsiteX9" fmla="*/ 10205631 w 13655039"/>
                <a:gd name="connsiteY9" fmla="*/ 6291876 h 6315321"/>
                <a:gd name="connsiteX10" fmla="*/ 3429693 w 13655039"/>
                <a:gd name="connsiteY10" fmla="*/ 6315321 h 6315321"/>
                <a:gd name="connsiteX11" fmla="*/ 3453138 w 13655039"/>
                <a:gd name="connsiteY11" fmla="*/ 4205168 h 6315321"/>
                <a:gd name="connsiteX12" fmla="*/ 2679416 w 13655039"/>
                <a:gd name="connsiteY12" fmla="*/ 4205169 h 6315321"/>
                <a:gd name="connsiteX13" fmla="*/ 2679416 w 13655039"/>
                <a:gd name="connsiteY13" fmla="*/ 6268430 h 6315321"/>
                <a:gd name="connsiteX14" fmla="*/ 78743 w 13655039"/>
                <a:gd name="connsiteY14" fmla="*/ 6294961 h 6315321"/>
                <a:gd name="connsiteX15" fmla="*/ 1227606 w 13655039"/>
                <a:gd name="connsiteY15" fmla="*/ 1626092 h 6315321"/>
                <a:gd name="connsiteX0" fmla="*/ 1227606 w 13655039"/>
                <a:gd name="connsiteY0" fmla="*/ 1618416 h 6307645"/>
                <a:gd name="connsiteX1" fmla="*/ 4437877 w 13655039"/>
                <a:gd name="connsiteY1" fmla="*/ 24077 h 6307645"/>
                <a:gd name="connsiteX2" fmla="*/ 6805939 w 13655039"/>
                <a:gd name="connsiteY2" fmla="*/ 4994661 h 6307645"/>
                <a:gd name="connsiteX3" fmla="*/ 9267784 w 13655039"/>
                <a:gd name="connsiteY3" fmla="*/ 631 h 6307645"/>
                <a:gd name="connsiteX4" fmla="*/ 12245447 w 13655039"/>
                <a:gd name="connsiteY4" fmla="*/ 1407400 h 6307645"/>
                <a:gd name="connsiteX5" fmla="*/ 13652216 w 13655039"/>
                <a:gd name="connsiteY5" fmla="*/ 6287285 h 6307645"/>
                <a:gd name="connsiteX6" fmla="*/ 10909016 w 13655039"/>
                <a:gd name="connsiteY6" fmla="*/ 6284200 h 6307645"/>
                <a:gd name="connsiteX7" fmla="*/ 10909017 w 13655039"/>
                <a:gd name="connsiteY7" fmla="*/ 4080262 h 6307645"/>
                <a:gd name="connsiteX8" fmla="*/ 10229077 w 13655039"/>
                <a:gd name="connsiteY8" fmla="*/ 4244385 h 6307645"/>
                <a:gd name="connsiteX9" fmla="*/ 10205631 w 13655039"/>
                <a:gd name="connsiteY9" fmla="*/ 6284200 h 6307645"/>
                <a:gd name="connsiteX10" fmla="*/ 3429693 w 13655039"/>
                <a:gd name="connsiteY10" fmla="*/ 6307645 h 6307645"/>
                <a:gd name="connsiteX11" fmla="*/ 3453138 w 13655039"/>
                <a:gd name="connsiteY11" fmla="*/ 4197492 h 6307645"/>
                <a:gd name="connsiteX12" fmla="*/ 2679416 w 13655039"/>
                <a:gd name="connsiteY12" fmla="*/ 4197493 h 6307645"/>
                <a:gd name="connsiteX13" fmla="*/ 2679416 w 13655039"/>
                <a:gd name="connsiteY13" fmla="*/ 6260754 h 6307645"/>
                <a:gd name="connsiteX14" fmla="*/ 78743 w 13655039"/>
                <a:gd name="connsiteY14" fmla="*/ 6287285 h 6307645"/>
                <a:gd name="connsiteX15" fmla="*/ 1227606 w 13655039"/>
                <a:gd name="connsiteY15" fmla="*/ 1618416 h 6307645"/>
                <a:gd name="connsiteX0" fmla="*/ 1235776 w 13663209"/>
                <a:gd name="connsiteY0" fmla="*/ 1618416 h 6307645"/>
                <a:gd name="connsiteX1" fmla="*/ 4446047 w 13663209"/>
                <a:gd name="connsiteY1" fmla="*/ 24077 h 6307645"/>
                <a:gd name="connsiteX2" fmla="*/ 6814109 w 13663209"/>
                <a:gd name="connsiteY2" fmla="*/ 4994661 h 6307645"/>
                <a:gd name="connsiteX3" fmla="*/ 9275954 w 13663209"/>
                <a:gd name="connsiteY3" fmla="*/ 631 h 6307645"/>
                <a:gd name="connsiteX4" fmla="*/ 12253617 w 13663209"/>
                <a:gd name="connsiteY4" fmla="*/ 1407400 h 6307645"/>
                <a:gd name="connsiteX5" fmla="*/ 13660386 w 13663209"/>
                <a:gd name="connsiteY5" fmla="*/ 6287285 h 6307645"/>
                <a:gd name="connsiteX6" fmla="*/ 10917186 w 13663209"/>
                <a:gd name="connsiteY6" fmla="*/ 6284200 h 6307645"/>
                <a:gd name="connsiteX7" fmla="*/ 10917187 w 13663209"/>
                <a:gd name="connsiteY7" fmla="*/ 4080262 h 6307645"/>
                <a:gd name="connsiteX8" fmla="*/ 10237247 w 13663209"/>
                <a:gd name="connsiteY8" fmla="*/ 4244385 h 6307645"/>
                <a:gd name="connsiteX9" fmla="*/ 10213801 w 13663209"/>
                <a:gd name="connsiteY9" fmla="*/ 6284200 h 6307645"/>
                <a:gd name="connsiteX10" fmla="*/ 3437863 w 13663209"/>
                <a:gd name="connsiteY10" fmla="*/ 6307645 h 6307645"/>
                <a:gd name="connsiteX11" fmla="*/ 3461308 w 13663209"/>
                <a:gd name="connsiteY11" fmla="*/ 4197492 h 6307645"/>
                <a:gd name="connsiteX12" fmla="*/ 2687586 w 13663209"/>
                <a:gd name="connsiteY12" fmla="*/ 4197493 h 6307645"/>
                <a:gd name="connsiteX13" fmla="*/ 2687586 w 13663209"/>
                <a:gd name="connsiteY13" fmla="*/ 6260754 h 6307645"/>
                <a:gd name="connsiteX14" fmla="*/ 86913 w 13663209"/>
                <a:gd name="connsiteY14" fmla="*/ 6287285 h 6307645"/>
                <a:gd name="connsiteX15" fmla="*/ 1235776 w 13663209"/>
                <a:gd name="connsiteY15" fmla="*/ 1618416 h 6307645"/>
                <a:gd name="connsiteX0" fmla="*/ 1235776 w 13663209"/>
                <a:gd name="connsiteY0" fmla="*/ 1618416 h 6307645"/>
                <a:gd name="connsiteX1" fmla="*/ 4446047 w 13663209"/>
                <a:gd name="connsiteY1" fmla="*/ 24077 h 6307645"/>
                <a:gd name="connsiteX2" fmla="*/ 6814109 w 13663209"/>
                <a:gd name="connsiteY2" fmla="*/ 4994661 h 6307645"/>
                <a:gd name="connsiteX3" fmla="*/ 9275954 w 13663209"/>
                <a:gd name="connsiteY3" fmla="*/ 631 h 6307645"/>
                <a:gd name="connsiteX4" fmla="*/ 12253617 w 13663209"/>
                <a:gd name="connsiteY4" fmla="*/ 1407400 h 6307645"/>
                <a:gd name="connsiteX5" fmla="*/ 13660386 w 13663209"/>
                <a:gd name="connsiteY5" fmla="*/ 6287285 h 6307645"/>
                <a:gd name="connsiteX6" fmla="*/ 10917186 w 13663209"/>
                <a:gd name="connsiteY6" fmla="*/ 6284200 h 6307645"/>
                <a:gd name="connsiteX7" fmla="*/ 10917187 w 13663209"/>
                <a:gd name="connsiteY7" fmla="*/ 4080262 h 6307645"/>
                <a:gd name="connsiteX8" fmla="*/ 10237247 w 13663209"/>
                <a:gd name="connsiteY8" fmla="*/ 4244385 h 6307645"/>
                <a:gd name="connsiteX9" fmla="*/ 10213801 w 13663209"/>
                <a:gd name="connsiteY9" fmla="*/ 6284200 h 6307645"/>
                <a:gd name="connsiteX10" fmla="*/ 3437863 w 13663209"/>
                <a:gd name="connsiteY10" fmla="*/ 6307645 h 6307645"/>
                <a:gd name="connsiteX11" fmla="*/ 3461308 w 13663209"/>
                <a:gd name="connsiteY11" fmla="*/ 4197492 h 6307645"/>
                <a:gd name="connsiteX12" fmla="*/ 2687586 w 13663209"/>
                <a:gd name="connsiteY12" fmla="*/ 4197493 h 6307645"/>
                <a:gd name="connsiteX13" fmla="*/ 2687586 w 13663209"/>
                <a:gd name="connsiteY13" fmla="*/ 6260754 h 6307645"/>
                <a:gd name="connsiteX14" fmla="*/ 86913 w 13663209"/>
                <a:gd name="connsiteY14" fmla="*/ 6287285 h 6307645"/>
                <a:gd name="connsiteX15" fmla="*/ 1235776 w 13663209"/>
                <a:gd name="connsiteY15" fmla="*/ 1618416 h 6307645"/>
                <a:gd name="connsiteX0" fmla="*/ 1235776 w 13663209"/>
                <a:gd name="connsiteY0" fmla="*/ 1618416 h 6307645"/>
                <a:gd name="connsiteX1" fmla="*/ 4446047 w 13663209"/>
                <a:gd name="connsiteY1" fmla="*/ 24077 h 6307645"/>
                <a:gd name="connsiteX2" fmla="*/ 6814109 w 13663209"/>
                <a:gd name="connsiteY2" fmla="*/ 4994661 h 6307645"/>
                <a:gd name="connsiteX3" fmla="*/ 9275954 w 13663209"/>
                <a:gd name="connsiteY3" fmla="*/ 631 h 6307645"/>
                <a:gd name="connsiteX4" fmla="*/ 12253617 w 13663209"/>
                <a:gd name="connsiteY4" fmla="*/ 1407400 h 6307645"/>
                <a:gd name="connsiteX5" fmla="*/ 13660386 w 13663209"/>
                <a:gd name="connsiteY5" fmla="*/ 6287285 h 6307645"/>
                <a:gd name="connsiteX6" fmla="*/ 10917186 w 13663209"/>
                <a:gd name="connsiteY6" fmla="*/ 6284200 h 6307645"/>
                <a:gd name="connsiteX7" fmla="*/ 10917187 w 13663209"/>
                <a:gd name="connsiteY7" fmla="*/ 4080262 h 6307645"/>
                <a:gd name="connsiteX8" fmla="*/ 10237247 w 13663209"/>
                <a:gd name="connsiteY8" fmla="*/ 4244385 h 6307645"/>
                <a:gd name="connsiteX9" fmla="*/ 10213801 w 13663209"/>
                <a:gd name="connsiteY9" fmla="*/ 6284200 h 6307645"/>
                <a:gd name="connsiteX10" fmla="*/ 3437863 w 13663209"/>
                <a:gd name="connsiteY10" fmla="*/ 6307645 h 6307645"/>
                <a:gd name="connsiteX11" fmla="*/ 3433981 w 13663209"/>
                <a:gd name="connsiteY11" fmla="*/ 4197491 h 6307645"/>
                <a:gd name="connsiteX12" fmla="*/ 2687586 w 13663209"/>
                <a:gd name="connsiteY12" fmla="*/ 4197493 h 6307645"/>
                <a:gd name="connsiteX13" fmla="*/ 2687586 w 13663209"/>
                <a:gd name="connsiteY13" fmla="*/ 6260754 h 6307645"/>
                <a:gd name="connsiteX14" fmla="*/ 86913 w 13663209"/>
                <a:gd name="connsiteY14" fmla="*/ 6287285 h 6307645"/>
                <a:gd name="connsiteX15" fmla="*/ 1235776 w 13663209"/>
                <a:gd name="connsiteY15" fmla="*/ 1618416 h 6307645"/>
                <a:gd name="connsiteX0" fmla="*/ 1235776 w 13663209"/>
                <a:gd name="connsiteY0" fmla="*/ 1618416 h 6307645"/>
                <a:gd name="connsiteX1" fmla="*/ 4446047 w 13663209"/>
                <a:gd name="connsiteY1" fmla="*/ 24077 h 6307645"/>
                <a:gd name="connsiteX2" fmla="*/ 6814109 w 13663209"/>
                <a:gd name="connsiteY2" fmla="*/ 4994661 h 6307645"/>
                <a:gd name="connsiteX3" fmla="*/ 9275954 w 13663209"/>
                <a:gd name="connsiteY3" fmla="*/ 631 h 6307645"/>
                <a:gd name="connsiteX4" fmla="*/ 12253617 w 13663209"/>
                <a:gd name="connsiteY4" fmla="*/ 1407400 h 6307645"/>
                <a:gd name="connsiteX5" fmla="*/ 13660386 w 13663209"/>
                <a:gd name="connsiteY5" fmla="*/ 6287285 h 6307645"/>
                <a:gd name="connsiteX6" fmla="*/ 10917186 w 13663209"/>
                <a:gd name="connsiteY6" fmla="*/ 6284200 h 6307645"/>
                <a:gd name="connsiteX7" fmla="*/ 10917187 w 13663209"/>
                <a:gd name="connsiteY7" fmla="*/ 4080262 h 6307645"/>
                <a:gd name="connsiteX8" fmla="*/ 10237247 w 13663209"/>
                <a:gd name="connsiteY8" fmla="*/ 4244385 h 6307645"/>
                <a:gd name="connsiteX9" fmla="*/ 10213801 w 13663209"/>
                <a:gd name="connsiteY9" fmla="*/ 6284200 h 6307645"/>
                <a:gd name="connsiteX10" fmla="*/ 3437863 w 13663209"/>
                <a:gd name="connsiteY10" fmla="*/ 6307645 h 6307645"/>
                <a:gd name="connsiteX11" fmla="*/ 3433981 w 13663209"/>
                <a:gd name="connsiteY11" fmla="*/ 4197491 h 6307645"/>
                <a:gd name="connsiteX12" fmla="*/ 2687586 w 13663209"/>
                <a:gd name="connsiteY12" fmla="*/ 4197493 h 6307645"/>
                <a:gd name="connsiteX13" fmla="*/ 2687586 w 13663209"/>
                <a:gd name="connsiteY13" fmla="*/ 6274421 h 6307645"/>
                <a:gd name="connsiteX14" fmla="*/ 86913 w 13663209"/>
                <a:gd name="connsiteY14" fmla="*/ 6287285 h 6307645"/>
                <a:gd name="connsiteX15" fmla="*/ 1235776 w 13663209"/>
                <a:gd name="connsiteY15" fmla="*/ 1618416 h 6307645"/>
                <a:gd name="connsiteX0" fmla="*/ 1235776 w 13663209"/>
                <a:gd name="connsiteY0" fmla="*/ 1618416 h 6293981"/>
                <a:gd name="connsiteX1" fmla="*/ 4446047 w 13663209"/>
                <a:gd name="connsiteY1" fmla="*/ 24077 h 6293981"/>
                <a:gd name="connsiteX2" fmla="*/ 6814109 w 13663209"/>
                <a:gd name="connsiteY2" fmla="*/ 4994661 h 6293981"/>
                <a:gd name="connsiteX3" fmla="*/ 9275954 w 13663209"/>
                <a:gd name="connsiteY3" fmla="*/ 631 h 6293981"/>
                <a:gd name="connsiteX4" fmla="*/ 12253617 w 13663209"/>
                <a:gd name="connsiteY4" fmla="*/ 1407400 h 6293981"/>
                <a:gd name="connsiteX5" fmla="*/ 13660386 w 13663209"/>
                <a:gd name="connsiteY5" fmla="*/ 6287285 h 6293981"/>
                <a:gd name="connsiteX6" fmla="*/ 10917186 w 13663209"/>
                <a:gd name="connsiteY6" fmla="*/ 6284200 h 6293981"/>
                <a:gd name="connsiteX7" fmla="*/ 10917187 w 13663209"/>
                <a:gd name="connsiteY7" fmla="*/ 4080262 h 6293981"/>
                <a:gd name="connsiteX8" fmla="*/ 10237247 w 13663209"/>
                <a:gd name="connsiteY8" fmla="*/ 4244385 h 6293981"/>
                <a:gd name="connsiteX9" fmla="*/ 10213801 w 13663209"/>
                <a:gd name="connsiteY9" fmla="*/ 6284200 h 6293981"/>
                <a:gd name="connsiteX10" fmla="*/ 3437863 w 13663209"/>
                <a:gd name="connsiteY10" fmla="*/ 6293981 h 6293981"/>
                <a:gd name="connsiteX11" fmla="*/ 3433981 w 13663209"/>
                <a:gd name="connsiteY11" fmla="*/ 4197491 h 6293981"/>
                <a:gd name="connsiteX12" fmla="*/ 2687586 w 13663209"/>
                <a:gd name="connsiteY12" fmla="*/ 4197493 h 6293981"/>
                <a:gd name="connsiteX13" fmla="*/ 2687586 w 13663209"/>
                <a:gd name="connsiteY13" fmla="*/ 6274421 h 6293981"/>
                <a:gd name="connsiteX14" fmla="*/ 86913 w 13663209"/>
                <a:gd name="connsiteY14" fmla="*/ 6287285 h 6293981"/>
                <a:gd name="connsiteX15" fmla="*/ 1235776 w 13663209"/>
                <a:gd name="connsiteY15" fmla="*/ 1618416 h 6293981"/>
                <a:gd name="connsiteX0" fmla="*/ 1235776 w 13663209"/>
                <a:gd name="connsiteY0" fmla="*/ 1618416 h 6287284"/>
                <a:gd name="connsiteX1" fmla="*/ 4446047 w 13663209"/>
                <a:gd name="connsiteY1" fmla="*/ 24077 h 6287284"/>
                <a:gd name="connsiteX2" fmla="*/ 6814109 w 13663209"/>
                <a:gd name="connsiteY2" fmla="*/ 4994661 h 6287284"/>
                <a:gd name="connsiteX3" fmla="*/ 9275954 w 13663209"/>
                <a:gd name="connsiteY3" fmla="*/ 631 h 6287284"/>
                <a:gd name="connsiteX4" fmla="*/ 12253617 w 13663209"/>
                <a:gd name="connsiteY4" fmla="*/ 1407400 h 6287284"/>
                <a:gd name="connsiteX5" fmla="*/ 13660386 w 13663209"/>
                <a:gd name="connsiteY5" fmla="*/ 6287285 h 6287284"/>
                <a:gd name="connsiteX6" fmla="*/ 10917186 w 13663209"/>
                <a:gd name="connsiteY6" fmla="*/ 6284200 h 6287284"/>
                <a:gd name="connsiteX7" fmla="*/ 10917187 w 13663209"/>
                <a:gd name="connsiteY7" fmla="*/ 4080262 h 6287284"/>
                <a:gd name="connsiteX8" fmla="*/ 10237247 w 13663209"/>
                <a:gd name="connsiteY8" fmla="*/ 4244385 h 6287284"/>
                <a:gd name="connsiteX9" fmla="*/ 10213801 w 13663209"/>
                <a:gd name="connsiteY9" fmla="*/ 6284200 h 6287284"/>
                <a:gd name="connsiteX10" fmla="*/ 3437863 w 13663209"/>
                <a:gd name="connsiteY10" fmla="*/ 6280317 h 6287284"/>
                <a:gd name="connsiteX11" fmla="*/ 3433981 w 13663209"/>
                <a:gd name="connsiteY11" fmla="*/ 4197491 h 6287284"/>
                <a:gd name="connsiteX12" fmla="*/ 2687586 w 13663209"/>
                <a:gd name="connsiteY12" fmla="*/ 4197493 h 6287284"/>
                <a:gd name="connsiteX13" fmla="*/ 2687586 w 13663209"/>
                <a:gd name="connsiteY13" fmla="*/ 6274421 h 6287284"/>
                <a:gd name="connsiteX14" fmla="*/ 86913 w 13663209"/>
                <a:gd name="connsiteY14" fmla="*/ 6287285 h 6287284"/>
                <a:gd name="connsiteX15" fmla="*/ 1235776 w 13663209"/>
                <a:gd name="connsiteY15" fmla="*/ 1618416 h 6287284"/>
                <a:gd name="connsiteX0" fmla="*/ 1235776 w 13663209"/>
                <a:gd name="connsiteY0" fmla="*/ 1618416 h 6287284"/>
                <a:gd name="connsiteX1" fmla="*/ 4446047 w 13663209"/>
                <a:gd name="connsiteY1" fmla="*/ 24077 h 6287284"/>
                <a:gd name="connsiteX2" fmla="*/ 6814109 w 13663209"/>
                <a:gd name="connsiteY2" fmla="*/ 4994661 h 6287284"/>
                <a:gd name="connsiteX3" fmla="*/ 9275954 w 13663209"/>
                <a:gd name="connsiteY3" fmla="*/ 631 h 6287284"/>
                <a:gd name="connsiteX4" fmla="*/ 12253617 w 13663209"/>
                <a:gd name="connsiteY4" fmla="*/ 1407400 h 6287284"/>
                <a:gd name="connsiteX5" fmla="*/ 13660386 w 13663209"/>
                <a:gd name="connsiteY5" fmla="*/ 6287285 h 6287284"/>
                <a:gd name="connsiteX6" fmla="*/ 10917186 w 13663209"/>
                <a:gd name="connsiteY6" fmla="*/ 6284200 h 6287284"/>
                <a:gd name="connsiteX7" fmla="*/ 10917187 w 13663209"/>
                <a:gd name="connsiteY7" fmla="*/ 4080262 h 6287284"/>
                <a:gd name="connsiteX8" fmla="*/ 10237247 w 13663209"/>
                <a:gd name="connsiteY8" fmla="*/ 4244385 h 6287284"/>
                <a:gd name="connsiteX9" fmla="*/ 10227468 w 13663209"/>
                <a:gd name="connsiteY9" fmla="*/ 6284198 h 6287284"/>
                <a:gd name="connsiteX10" fmla="*/ 3437863 w 13663209"/>
                <a:gd name="connsiteY10" fmla="*/ 6280317 h 6287284"/>
                <a:gd name="connsiteX11" fmla="*/ 3433981 w 13663209"/>
                <a:gd name="connsiteY11" fmla="*/ 4197491 h 6287284"/>
                <a:gd name="connsiteX12" fmla="*/ 2687586 w 13663209"/>
                <a:gd name="connsiteY12" fmla="*/ 4197493 h 6287284"/>
                <a:gd name="connsiteX13" fmla="*/ 2687586 w 13663209"/>
                <a:gd name="connsiteY13" fmla="*/ 6274421 h 6287284"/>
                <a:gd name="connsiteX14" fmla="*/ 86913 w 13663209"/>
                <a:gd name="connsiteY14" fmla="*/ 6287285 h 6287284"/>
                <a:gd name="connsiteX15" fmla="*/ 1235776 w 13663209"/>
                <a:gd name="connsiteY15" fmla="*/ 1618416 h 6287284"/>
                <a:gd name="connsiteX0" fmla="*/ 1235776 w 13663209"/>
                <a:gd name="connsiteY0" fmla="*/ 1618416 h 6287284"/>
                <a:gd name="connsiteX1" fmla="*/ 4446047 w 13663209"/>
                <a:gd name="connsiteY1" fmla="*/ 24077 h 6287284"/>
                <a:gd name="connsiteX2" fmla="*/ 6814109 w 13663209"/>
                <a:gd name="connsiteY2" fmla="*/ 4994661 h 6287284"/>
                <a:gd name="connsiteX3" fmla="*/ 9275954 w 13663209"/>
                <a:gd name="connsiteY3" fmla="*/ 631 h 6287284"/>
                <a:gd name="connsiteX4" fmla="*/ 12253617 w 13663209"/>
                <a:gd name="connsiteY4" fmla="*/ 1407400 h 6287284"/>
                <a:gd name="connsiteX5" fmla="*/ 13660386 w 13663209"/>
                <a:gd name="connsiteY5" fmla="*/ 6287285 h 6287284"/>
                <a:gd name="connsiteX6" fmla="*/ 10917186 w 13663209"/>
                <a:gd name="connsiteY6" fmla="*/ 6284200 h 6287284"/>
                <a:gd name="connsiteX7" fmla="*/ 10917187 w 13663209"/>
                <a:gd name="connsiteY7" fmla="*/ 4080262 h 6287284"/>
                <a:gd name="connsiteX8" fmla="*/ 10237247 w 13663209"/>
                <a:gd name="connsiteY8" fmla="*/ 4244385 h 6287284"/>
                <a:gd name="connsiteX9" fmla="*/ 10241132 w 13663209"/>
                <a:gd name="connsiteY9" fmla="*/ 6270534 h 6287284"/>
                <a:gd name="connsiteX10" fmla="*/ 3437863 w 13663209"/>
                <a:gd name="connsiteY10" fmla="*/ 6280317 h 6287284"/>
                <a:gd name="connsiteX11" fmla="*/ 3433981 w 13663209"/>
                <a:gd name="connsiteY11" fmla="*/ 4197491 h 6287284"/>
                <a:gd name="connsiteX12" fmla="*/ 2687586 w 13663209"/>
                <a:gd name="connsiteY12" fmla="*/ 4197493 h 6287284"/>
                <a:gd name="connsiteX13" fmla="*/ 2687586 w 13663209"/>
                <a:gd name="connsiteY13" fmla="*/ 6274421 h 6287284"/>
                <a:gd name="connsiteX14" fmla="*/ 86913 w 13663209"/>
                <a:gd name="connsiteY14" fmla="*/ 6287285 h 6287284"/>
                <a:gd name="connsiteX15" fmla="*/ 1235776 w 13663209"/>
                <a:gd name="connsiteY15" fmla="*/ 1618416 h 6287284"/>
                <a:gd name="connsiteX0" fmla="*/ 1235776 w 13663209"/>
                <a:gd name="connsiteY0" fmla="*/ 1618416 h 6297862"/>
                <a:gd name="connsiteX1" fmla="*/ 4446047 w 13663209"/>
                <a:gd name="connsiteY1" fmla="*/ 24077 h 6297862"/>
                <a:gd name="connsiteX2" fmla="*/ 6814109 w 13663209"/>
                <a:gd name="connsiteY2" fmla="*/ 4994661 h 6297862"/>
                <a:gd name="connsiteX3" fmla="*/ 9275954 w 13663209"/>
                <a:gd name="connsiteY3" fmla="*/ 631 h 6297862"/>
                <a:gd name="connsiteX4" fmla="*/ 12253617 w 13663209"/>
                <a:gd name="connsiteY4" fmla="*/ 1407400 h 6297862"/>
                <a:gd name="connsiteX5" fmla="*/ 13660386 w 13663209"/>
                <a:gd name="connsiteY5" fmla="*/ 6287285 h 6297862"/>
                <a:gd name="connsiteX6" fmla="*/ 10917186 w 13663209"/>
                <a:gd name="connsiteY6" fmla="*/ 6284200 h 6297862"/>
                <a:gd name="connsiteX7" fmla="*/ 10917187 w 13663209"/>
                <a:gd name="connsiteY7" fmla="*/ 4080262 h 6297862"/>
                <a:gd name="connsiteX8" fmla="*/ 10237247 w 13663209"/>
                <a:gd name="connsiteY8" fmla="*/ 4244385 h 6297862"/>
                <a:gd name="connsiteX9" fmla="*/ 10254796 w 13663209"/>
                <a:gd name="connsiteY9" fmla="*/ 6297862 h 6297862"/>
                <a:gd name="connsiteX10" fmla="*/ 3437863 w 13663209"/>
                <a:gd name="connsiteY10" fmla="*/ 6280317 h 6297862"/>
                <a:gd name="connsiteX11" fmla="*/ 3433981 w 13663209"/>
                <a:gd name="connsiteY11" fmla="*/ 4197491 h 6297862"/>
                <a:gd name="connsiteX12" fmla="*/ 2687586 w 13663209"/>
                <a:gd name="connsiteY12" fmla="*/ 4197493 h 6297862"/>
                <a:gd name="connsiteX13" fmla="*/ 2687586 w 13663209"/>
                <a:gd name="connsiteY13" fmla="*/ 6274421 h 6297862"/>
                <a:gd name="connsiteX14" fmla="*/ 86913 w 13663209"/>
                <a:gd name="connsiteY14" fmla="*/ 6287285 h 6297862"/>
                <a:gd name="connsiteX15" fmla="*/ 1235776 w 13663209"/>
                <a:gd name="connsiteY15" fmla="*/ 1618416 h 6297862"/>
                <a:gd name="connsiteX0" fmla="*/ 1235776 w 13663209"/>
                <a:gd name="connsiteY0" fmla="*/ 1618416 h 6287284"/>
                <a:gd name="connsiteX1" fmla="*/ 4446047 w 13663209"/>
                <a:gd name="connsiteY1" fmla="*/ 24077 h 6287284"/>
                <a:gd name="connsiteX2" fmla="*/ 6814109 w 13663209"/>
                <a:gd name="connsiteY2" fmla="*/ 4994661 h 6287284"/>
                <a:gd name="connsiteX3" fmla="*/ 9275954 w 13663209"/>
                <a:gd name="connsiteY3" fmla="*/ 631 h 6287284"/>
                <a:gd name="connsiteX4" fmla="*/ 12253617 w 13663209"/>
                <a:gd name="connsiteY4" fmla="*/ 1407400 h 6287284"/>
                <a:gd name="connsiteX5" fmla="*/ 13660386 w 13663209"/>
                <a:gd name="connsiteY5" fmla="*/ 6287285 h 6287284"/>
                <a:gd name="connsiteX6" fmla="*/ 10917186 w 13663209"/>
                <a:gd name="connsiteY6" fmla="*/ 6284200 h 6287284"/>
                <a:gd name="connsiteX7" fmla="*/ 10917187 w 13663209"/>
                <a:gd name="connsiteY7" fmla="*/ 4080262 h 6287284"/>
                <a:gd name="connsiteX8" fmla="*/ 10237247 w 13663209"/>
                <a:gd name="connsiteY8" fmla="*/ 4244385 h 6287284"/>
                <a:gd name="connsiteX9" fmla="*/ 10241132 w 13663209"/>
                <a:gd name="connsiteY9" fmla="*/ 6270534 h 6287284"/>
                <a:gd name="connsiteX10" fmla="*/ 3437863 w 13663209"/>
                <a:gd name="connsiteY10" fmla="*/ 6280317 h 6287284"/>
                <a:gd name="connsiteX11" fmla="*/ 3433981 w 13663209"/>
                <a:gd name="connsiteY11" fmla="*/ 4197491 h 6287284"/>
                <a:gd name="connsiteX12" fmla="*/ 2687586 w 13663209"/>
                <a:gd name="connsiteY12" fmla="*/ 4197493 h 6287284"/>
                <a:gd name="connsiteX13" fmla="*/ 2687586 w 13663209"/>
                <a:gd name="connsiteY13" fmla="*/ 6274421 h 6287284"/>
                <a:gd name="connsiteX14" fmla="*/ 86913 w 13663209"/>
                <a:gd name="connsiteY14" fmla="*/ 6287285 h 6287284"/>
                <a:gd name="connsiteX15" fmla="*/ 1235776 w 13663209"/>
                <a:gd name="connsiteY15" fmla="*/ 1618416 h 6287284"/>
                <a:gd name="connsiteX0" fmla="*/ 1235776 w 13663209"/>
                <a:gd name="connsiteY0" fmla="*/ 1618416 h 6287284"/>
                <a:gd name="connsiteX1" fmla="*/ 4446047 w 13663209"/>
                <a:gd name="connsiteY1" fmla="*/ 24077 h 6287284"/>
                <a:gd name="connsiteX2" fmla="*/ 6814109 w 13663209"/>
                <a:gd name="connsiteY2" fmla="*/ 4994661 h 6287284"/>
                <a:gd name="connsiteX3" fmla="*/ 9275954 w 13663209"/>
                <a:gd name="connsiteY3" fmla="*/ 631 h 6287284"/>
                <a:gd name="connsiteX4" fmla="*/ 12253617 w 13663209"/>
                <a:gd name="connsiteY4" fmla="*/ 1407400 h 6287284"/>
                <a:gd name="connsiteX5" fmla="*/ 13660386 w 13663209"/>
                <a:gd name="connsiteY5" fmla="*/ 6287285 h 6287284"/>
                <a:gd name="connsiteX6" fmla="*/ 10917186 w 13663209"/>
                <a:gd name="connsiteY6" fmla="*/ 6284200 h 6287284"/>
                <a:gd name="connsiteX7" fmla="*/ 10917187 w 13663209"/>
                <a:gd name="connsiteY7" fmla="*/ 4080262 h 6287284"/>
                <a:gd name="connsiteX8" fmla="*/ 10237247 w 13663209"/>
                <a:gd name="connsiteY8" fmla="*/ 4244385 h 6287284"/>
                <a:gd name="connsiteX9" fmla="*/ 10227468 w 13663209"/>
                <a:gd name="connsiteY9" fmla="*/ 6284198 h 6287284"/>
                <a:gd name="connsiteX10" fmla="*/ 3437863 w 13663209"/>
                <a:gd name="connsiteY10" fmla="*/ 6280317 h 6287284"/>
                <a:gd name="connsiteX11" fmla="*/ 3433981 w 13663209"/>
                <a:gd name="connsiteY11" fmla="*/ 4197491 h 6287284"/>
                <a:gd name="connsiteX12" fmla="*/ 2687586 w 13663209"/>
                <a:gd name="connsiteY12" fmla="*/ 4197493 h 6287284"/>
                <a:gd name="connsiteX13" fmla="*/ 2687586 w 13663209"/>
                <a:gd name="connsiteY13" fmla="*/ 6274421 h 6287284"/>
                <a:gd name="connsiteX14" fmla="*/ 86913 w 13663209"/>
                <a:gd name="connsiteY14" fmla="*/ 6287285 h 6287284"/>
                <a:gd name="connsiteX15" fmla="*/ 1235776 w 13663209"/>
                <a:gd name="connsiteY15" fmla="*/ 1618416 h 6287284"/>
                <a:gd name="connsiteX0" fmla="*/ 1235776 w 13663209"/>
                <a:gd name="connsiteY0" fmla="*/ 1618416 h 6287284"/>
                <a:gd name="connsiteX1" fmla="*/ 4446047 w 13663209"/>
                <a:gd name="connsiteY1" fmla="*/ 24077 h 6287284"/>
                <a:gd name="connsiteX2" fmla="*/ 6814109 w 13663209"/>
                <a:gd name="connsiteY2" fmla="*/ 4994661 h 6287284"/>
                <a:gd name="connsiteX3" fmla="*/ 9275954 w 13663209"/>
                <a:gd name="connsiteY3" fmla="*/ 631 h 6287284"/>
                <a:gd name="connsiteX4" fmla="*/ 12253617 w 13663209"/>
                <a:gd name="connsiteY4" fmla="*/ 1407400 h 6287284"/>
                <a:gd name="connsiteX5" fmla="*/ 13660386 w 13663209"/>
                <a:gd name="connsiteY5" fmla="*/ 6287285 h 6287284"/>
                <a:gd name="connsiteX6" fmla="*/ 10917186 w 13663209"/>
                <a:gd name="connsiteY6" fmla="*/ 6284200 h 6287284"/>
                <a:gd name="connsiteX7" fmla="*/ 10917187 w 13663209"/>
                <a:gd name="connsiteY7" fmla="*/ 4080262 h 6287284"/>
                <a:gd name="connsiteX8" fmla="*/ 10223582 w 13663209"/>
                <a:gd name="connsiteY8" fmla="*/ 4230721 h 6287284"/>
                <a:gd name="connsiteX9" fmla="*/ 10227468 w 13663209"/>
                <a:gd name="connsiteY9" fmla="*/ 6284198 h 6287284"/>
                <a:gd name="connsiteX10" fmla="*/ 3437863 w 13663209"/>
                <a:gd name="connsiteY10" fmla="*/ 6280317 h 6287284"/>
                <a:gd name="connsiteX11" fmla="*/ 3433981 w 13663209"/>
                <a:gd name="connsiteY11" fmla="*/ 4197491 h 6287284"/>
                <a:gd name="connsiteX12" fmla="*/ 2687586 w 13663209"/>
                <a:gd name="connsiteY12" fmla="*/ 4197493 h 6287284"/>
                <a:gd name="connsiteX13" fmla="*/ 2687586 w 13663209"/>
                <a:gd name="connsiteY13" fmla="*/ 6274421 h 6287284"/>
                <a:gd name="connsiteX14" fmla="*/ 86913 w 13663209"/>
                <a:gd name="connsiteY14" fmla="*/ 6287285 h 6287284"/>
                <a:gd name="connsiteX15" fmla="*/ 1235776 w 13663209"/>
                <a:gd name="connsiteY15" fmla="*/ 1618416 h 6287284"/>
                <a:gd name="connsiteX0" fmla="*/ 1235776 w 13663209"/>
                <a:gd name="connsiteY0" fmla="*/ 1618416 h 6287284"/>
                <a:gd name="connsiteX1" fmla="*/ 4446047 w 13663209"/>
                <a:gd name="connsiteY1" fmla="*/ 24077 h 6287284"/>
                <a:gd name="connsiteX2" fmla="*/ 6814109 w 13663209"/>
                <a:gd name="connsiteY2" fmla="*/ 4994661 h 6287284"/>
                <a:gd name="connsiteX3" fmla="*/ 9275954 w 13663209"/>
                <a:gd name="connsiteY3" fmla="*/ 631 h 6287284"/>
                <a:gd name="connsiteX4" fmla="*/ 12253617 w 13663209"/>
                <a:gd name="connsiteY4" fmla="*/ 1407400 h 6287284"/>
                <a:gd name="connsiteX5" fmla="*/ 13660386 w 13663209"/>
                <a:gd name="connsiteY5" fmla="*/ 6287285 h 6287284"/>
                <a:gd name="connsiteX6" fmla="*/ 10917186 w 13663209"/>
                <a:gd name="connsiteY6" fmla="*/ 6284200 h 6287284"/>
                <a:gd name="connsiteX7" fmla="*/ 10917187 w 13663209"/>
                <a:gd name="connsiteY7" fmla="*/ 4080262 h 6287284"/>
                <a:gd name="connsiteX8" fmla="*/ 10223582 w 13663209"/>
                <a:gd name="connsiteY8" fmla="*/ 4230721 h 6287284"/>
                <a:gd name="connsiteX9" fmla="*/ 10227468 w 13663209"/>
                <a:gd name="connsiteY9" fmla="*/ 6284198 h 6287284"/>
                <a:gd name="connsiteX10" fmla="*/ 3437863 w 13663209"/>
                <a:gd name="connsiteY10" fmla="*/ 6280317 h 6287284"/>
                <a:gd name="connsiteX11" fmla="*/ 3433981 w 13663209"/>
                <a:gd name="connsiteY11" fmla="*/ 4197491 h 6287284"/>
                <a:gd name="connsiteX12" fmla="*/ 2687586 w 13663209"/>
                <a:gd name="connsiteY12" fmla="*/ 4197493 h 6287284"/>
                <a:gd name="connsiteX13" fmla="*/ 2687586 w 13663209"/>
                <a:gd name="connsiteY13" fmla="*/ 6274421 h 6287284"/>
                <a:gd name="connsiteX14" fmla="*/ 86913 w 13663209"/>
                <a:gd name="connsiteY14" fmla="*/ 6287285 h 6287284"/>
                <a:gd name="connsiteX15" fmla="*/ 1235776 w 13663209"/>
                <a:gd name="connsiteY15" fmla="*/ 1618416 h 6287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663209" h="6287284">
                  <a:moveTo>
                    <a:pt x="1235776" y="1618416"/>
                  </a:moveTo>
                  <a:cubicBezTo>
                    <a:pt x="2071405" y="758724"/>
                    <a:pt x="3727649" y="-30631"/>
                    <a:pt x="4446047" y="24077"/>
                  </a:cubicBezTo>
                  <a:lnTo>
                    <a:pt x="6814109" y="4994661"/>
                  </a:lnTo>
                  <a:lnTo>
                    <a:pt x="9275954" y="631"/>
                  </a:lnTo>
                  <a:cubicBezTo>
                    <a:pt x="9705800" y="-22816"/>
                    <a:pt x="11401739" y="610230"/>
                    <a:pt x="12253617" y="1407400"/>
                  </a:cubicBezTo>
                  <a:cubicBezTo>
                    <a:pt x="13590047" y="2776120"/>
                    <a:pt x="13683833" y="5176472"/>
                    <a:pt x="13660386" y="6287285"/>
                  </a:cubicBezTo>
                  <a:lnTo>
                    <a:pt x="10917186" y="6284200"/>
                  </a:lnTo>
                  <a:cubicBezTo>
                    <a:pt x="10917186" y="5549554"/>
                    <a:pt x="10917187" y="4814908"/>
                    <a:pt x="10917187" y="4080262"/>
                  </a:cubicBezTo>
                  <a:cubicBezTo>
                    <a:pt x="10901555" y="3759831"/>
                    <a:pt x="10256759" y="3449182"/>
                    <a:pt x="10223582" y="4230721"/>
                  </a:cubicBezTo>
                  <a:cubicBezTo>
                    <a:pt x="10220322" y="4910659"/>
                    <a:pt x="10230728" y="5604260"/>
                    <a:pt x="10227468" y="6284198"/>
                  </a:cubicBezTo>
                  <a:lnTo>
                    <a:pt x="3437863" y="6280317"/>
                  </a:lnTo>
                  <a:cubicBezTo>
                    <a:pt x="3432014" y="5535940"/>
                    <a:pt x="3426166" y="4900875"/>
                    <a:pt x="3433981" y="4197491"/>
                  </a:cubicBezTo>
                  <a:cubicBezTo>
                    <a:pt x="3340197" y="3540999"/>
                    <a:pt x="2617248" y="3869247"/>
                    <a:pt x="2687586" y="4197493"/>
                  </a:cubicBezTo>
                  <a:lnTo>
                    <a:pt x="2687586" y="6274421"/>
                  </a:lnTo>
                  <a:lnTo>
                    <a:pt x="86913" y="6287285"/>
                  </a:lnTo>
                  <a:cubicBezTo>
                    <a:pt x="-327301" y="3183549"/>
                    <a:pt x="852822" y="2189967"/>
                    <a:pt x="1235776" y="1618416"/>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67539"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38" name="Freeform 14">
              <a:extLst>
                <a:ext uri="{FF2B5EF4-FFF2-40B4-BE49-F238E27FC236}">
                  <a16:creationId xmlns:a16="http://schemas.microsoft.com/office/drawing/2014/main" id="{308E509B-9D02-5F9A-6B8E-7F6EDC1E12F3}"/>
                </a:ext>
              </a:extLst>
            </p:cNvPr>
            <p:cNvSpPr>
              <a:spLocks/>
            </p:cNvSpPr>
            <p:nvPr/>
          </p:nvSpPr>
          <p:spPr bwMode="auto">
            <a:xfrm>
              <a:off x="3828198" y="4385784"/>
              <a:ext cx="1081196" cy="1133975"/>
            </a:xfrm>
            <a:custGeom>
              <a:avLst/>
              <a:gdLst>
                <a:gd name="T0" fmla="*/ 7 w 7"/>
                <a:gd name="T1" fmla="*/ 2 h 7"/>
                <a:gd name="T2" fmla="*/ 7 w 7"/>
                <a:gd name="T3" fmla="*/ 2 h 7"/>
                <a:gd name="T4" fmla="*/ 7 w 7"/>
                <a:gd name="T5" fmla="*/ 4 h 7"/>
                <a:gd name="T6" fmla="*/ 4 w 7"/>
                <a:gd name="T7" fmla="*/ 7 h 7"/>
                <a:gd name="T8" fmla="*/ 2 w 7"/>
                <a:gd name="T9" fmla="*/ 7 h 7"/>
                <a:gd name="T10" fmla="*/ 2 w 7"/>
                <a:gd name="T11" fmla="*/ 5 h 7"/>
                <a:gd name="T12" fmla="*/ 0 w 7"/>
                <a:gd name="T13" fmla="*/ 2 h 7"/>
                <a:gd name="T14" fmla="*/ 0 w 7"/>
                <a:gd name="T15" fmla="*/ 2 h 7"/>
                <a:gd name="T16" fmla="*/ 0 w 7"/>
                <a:gd name="T17" fmla="*/ 0 h 7"/>
                <a:gd name="T18" fmla="*/ 7 w 7"/>
                <a:gd name="T19" fmla="*/ 2 h 7"/>
                <a:gd name="connsiteX0" fmla="*/ 10000 w 10000"/>
                <a:gd name="connsiteY0" fmla="*/ 2857 h 10000"/>
                <a:gd name="connsiteX1" fmla="*/ 10000 w 10000"/>
                <a:gd name="connsiteY1" fmla="*/ 2857 h 10000"/>
                <a:gd name="connsiteX2" fmla="*/ 10000 w 10000"/>
                <a:gd name="connsiteY2" fmla="*/ 5714 h 10000"/>
                <a:gd name="connsiteX3" fmla="*/ 5714 w 10000"/>
                <a:gd name="connsiteY3" fmla="*/ 10000 h 10000"/>
                <a:gd name="connsiteX4" fmla="*/ 2857 w 10000"/>
                <a:gd name="connsiteY4" fmla="*/ 10000 h 10000"/>
                <a:gd name="connsiteX5" fmla="*/ 2857 w 10000"/>
                <a:gd name="connsiteY5" fmla="*/ 7143 h 10000"/>
                <a:gd name="connsiteX6" fmla="*/ 0 w 10000"/>
                <a:gd name="connsiteY6" fmla="*/ 2857 h 10000"/>
                <a:gd name="connsiteX7" fmla="*/ 0 w 10000"/>
                <a:gd name="connsiteY7" fmla="*/ 0 h 10000"/>
                <a:gd name="connsiteX8" fmla="*/ 10000 w 10000"/>
                <a:gd name="connsiteY8" fmla="*/ 2857 h 10000"/>
                <a:gd name="connsiteX0" fmla="*/ 10495 w 10495"/>
                <a:gd name="connsiteY0" fmla="*/ 2857 h 10000"/>
                <a:gd name="connsiteX1" fmla="*/ 10495 w 10495"/>
                <a:gd name="connsiteY1" fmla="*/ 2857 h 10000"/>
                <a:gd name="connsiteX2" fmla="*/ 10495 w 10495"/>
                <a:gd name="connsiteY2" fmla="*/ 5714 h 10000"/>
                <a:gd name="connsiteX3" fmla="*/ 6209 w 10495"/>
                <a:gd name="connsiteY3" fmla="*/ 10000 h 10000"/>
                <a:gd name="connsiteX4" fmla="*/ 3352 w 10495"/>
                <a:gd name="connsiteY4" fmla="*/ 10000 h 10000"/>
                <a:gd name="connsiteX5" fmla="*/ 3352 w 10495"/>
                <a:gd name="connsiteY5" fmla="*/ 7143 h 10000"/>
                <a:gd name="connsiteX6" fmla="*/ 495 w 10495"/>
                <a:gd name="connsiteY6" fmla="*/ 2857 h 10000"/>
                <a:gd name="connsiteX7" fmla="*/ 495 w 10495"/>
                <a:gd name="connsiteY7" fmla="*/ 0 h 10000"/>
                <a:gd name="connsiteX8" fmla="*/ 10495 w 10495"/>
                <a:gd name="connsiteY8" fmla="*/ 2857 h 10000"/>
                <a:gd name="connsiteX0" fmla="*/ 10746 w 10746"/>
                <a:gd name="connsiteY0" fmla="*/ 2857 h 10000"/>
                <a:gd name="connsiteX1" fmla="*/ 10746 w 10746"/>
                <a:gd name="connsiteY1" fmla="*/ 2857 h 10000"/>
                <a:gd name="connsiteX2" fmla="*/ 10746 w 10746"/>
                <a:gd name="connsiteY2" fmla="*/ 5714 h 10000"/>
                <a:gd name="connsiteX3" fmla="*/ 6460 w 10746"/>
                <a:gd name="connsiteY3" fmla="*/ 10000 h 10000"/>
                <a:gd name="connsiteX4" fmla="*/ 3603 w 10746"/>
                <a:gd name="connsiteY4" fmla="*/ 10000 h 10000"/>
                <a:gd name="connsiteX5" fmla="*/ 3603 w 10746"/>
                <a:gd name="connsiteY5" fmla="*/ 7143 h 10000"/>
                <a:gd name="connsiteX6" fmla="*/ 746 w 10746"/>
                <a:gd name="connsiteY6" fmla="*/ 2857 h 10000"/>
                <a:gd name="connsiteX7" fmla="*/ 746 w 10746"/>
                <a:gd name="connsiteY7" fmla="*/ 0 h 10000"/>
                <a:gd name="connsiteX8" fmla="*/ 10746 w 10746"/>
                <a:gd name="connsiteY8" fmla="*/ 2857 h 10000"/>
                <a:gd name="connsiteX0" fmla="*/ 10746 w 10746"/>
                <a:gd name="connsiteY0" fmla="*/ 2998 h 10141"/>
                <a:gd name="connsiteX1" fmla="*/ 10746 w 10746"/>
                <a:gd name="connsiteY1" fmla="*/ 2998 h 10141"/>
                <a:gd name="connsiteX2" fmla="*/ 10746 w 10746"/>
                <a:gd name="connsiteY2" fmla="*/ 5855 h 10141"/>
                <a:gd name="connsiteX3" fmla="*/ 6460 w 10746"/>
                <a:gd name="connsiteY3" fmla="*/ 10141 h 10141"/>
                <a:gd name="connsiteX4" fmla="*/ 3603 w 10746"/>
                <a:gd name="connsiteY4" fmla="*/ 10141 h 10141"/>
                <a:gd name="connsiteX5" fmla="*/ 3603 w 10746"/>
                <a:gd name="connsiteY5" fmla="*/ 7284 h 10141"/>
                <a:gd name="connsiteX6" fmla="*/ 746 w 10746"/>
                <a:gd name="connsiteY6" fmla="*/ 2998 h 10141"/>
                <a:gd name="connsiteX7" fmla="*/ 746 w 10746"/>
                <a:gd name="connsiteY7" fmla="*/ 141 h 10141"/>
                <a:gd name="connsiteX8" fmla="*/ 10746 w 10746"/>
                <a:gd name="connsiteY8" fmla="*/ 2998 h 10141"/>
                <a:gd name="connsiteX0" fmla="*/ 746 w 10746"/>
                <a:gd name="connsiteY0" fmla="*/ 0 h 10000"/>
                <a:gd name="connsiteX1" fmla="*/ 10746 w 10746"/>
                <a:gd name="connsiteY1" fmla="*/ 2857 h 10000"/>
                <a:gd name="connsiteX2" fmla="*/ 10746 w 10746"/>
                <a:gd name="connsiteY2" fmla="*/ 5714 h 10000"/>
                <a:gd name="connsiteX3" fmla="*/ 6460 w 10746"/>
                <a:gd name="connsiteY3" fmla="*/ 10000 h 10000"/>
                <a:gd name="connsiteX4" fmla="*/ 3603 w 10746"/>
                <a:gd name="connsiteY4" fmla="*/ 10000 h 10000"/>
                <a:gd name="connsiteX5" fmla="*/ 3603 w 10746"/>
                <a:gd name="connsiteY5" fmla="*/ 7143 h 10000"/>
                <a:gd name="connsiteX6" fmla="*/ 746 w 10746"/>
                <a:gd name="connsiteY6" fmla="*/ 2857 h 10000"/>
                <a:gd name="connsiteX7" fmla="*/ 746 w 10746"/>
                <a:gd name="connsiteY7" fmla="*/ 0 h 10000"/>
                <a:gd name="connsiteX0" fmla="*/ 746 w 10746"/>
                <a:gd name="connsiteY0" fmla="*/ 0 h 10000"/>
                <a:gd name="connsiteX1" fmla="*/ 10746 w 10746"/>
                <a:gd name="connsiteY1" fmla="*/ 2857 h 10000"/>
                <a:gd name="connsiteX2" fmla="*/ 10746 w 10746"/>
                <a:gd name="connsiteY2" fmla="*/ 5714 h 10000"/>
                <a:gd name="connsiteX3" fmla="*/ 6460 w 10746"/>
                <a:gd name="connsiteY3" fmla="*/ 10000 h 10000"/>
                <a:gd name="connsiteX4" fmla="*/ 3603 w 10746"/>
                <a:gd name="connsiteY4" fmla="*/ 10000 h 10000"/>
                <a:gd name="connsiteX5" fmla="*/ 3603 w 10746"/>
                <a:gd name="connsiteY5" fmla="*/ 7143 h 10000"/>
                <a:gd name="connsiteX6" fmla="*/ 746 w 10746"/>
                <a:gd name="connsiteY6" fmla="*/ 2857 h 10000"/>
                <a:gd name="connsiteX7" fmla="*/ 746 w 10746"/>
                <a:gd name="connsiteY7" fmla="*/ 0 h 10000"/>
                <a:gd name="connsiteX0" fmla="*/ 746 w 10746"/>
                <a:gd name="connsiteY0" fmla="*/ 173 h 10173"/>
                <a:gd name="connsiteX1" fmla="*/ 10746 w 10746"/>
                <a:gd name="connsiteY1" fmla="*/ 3030 h 10173"/>
                <a:gd name="connsiteX2" fmla="*/ 10746 w 10746"/>
                <a:gd name="connsiteY2" fmla="*/ 5887 h 10173"/>
                <a:gd name="connsiteX3" fmla="*/ 6460 w 10746"/>
                <a:gd name="connsiteY3" fmla="*/ 10173 h 10173"/>
                <a:gd name="connsiteX4" fmla="*/ 3603 w 10746"/>
                <a:gd name="connsiteY4" fmla="*/ 10173 h 10173"/>
                <a:gd name="connsiteX5" fmla="*/ 3603 w 10746"/>
                <a:gd name="connsiteY5" fmla="*/ 7316 h 10173"/>
                <a:gd name="connsiteX6" fmla="*/ 746 w 10746"/>
                <a:gd name="connsiteY6" fmla="*/ 3030 h 10173"/>
                <a:gd name="connsiteX7" fmla="*/ 746 w 10746"/>
                <a:gd name="connsiteY7" fmla="*/ 173 h 10173"/>
                <a:gd name="connsiteX0" fmla="*/ 746 w 11186"/>
                <a:gd name="connsiteY0" fmla="*/ 173 h 10173"/>
                <a:gd name="connsiteX1" fmla="*/ 10746 w 11186"/>
                <a:gd name="connsiteY1" fmla="*/ 3030 h 10173"/>
                <a:gd name="connsiteX2" fmla="*/ 10746 w 11186"/>
                <a:gd name="connsiteY2" fmla="*/ 5887 h 10173"/>
                <a:gd name="connsiteX3" fmla="*/ 6460 w 11186"/>
                <a:gd name="connsiteY3" fmla="*/ 10173 h 10173"/>
                <a:gd name="connsiteX4" fmla="*/ 3603 w 11186"/>
                <a:gd name="connsiteY4" fmla="*/ 10173 h 10173"/>
                <a:gd name="connsiteX5" fmla="*/ 3603 w 11186"/>
                <a:gd name="connsiteY5" fmla="*/ 7316 h 10173"/>
                <a:gd name="connsiteX6" fmla="*/ 746 w 11186"/>
                <a:gd name="connsiteY6" fmla="*/ 3030 h 10173"/>
                <a:gd name="connsiteX7" fmla="*/ 746 w 11186"/>
                <a:gd name="connsiteY7" fmla="*/ 173 h 10173"/>
                <a:gd name="connsiteX0" fmla="*/ 746 w 11634"/>
                <a:gd name="connsiteY0" fmla="*/ 173 h 10173"/>
                <a:gd name="connsiteX1" fmla="*/ 10746 w 11634"/>
                <a:gd name="connsiteY1" fmla="*/ 3030 h 10173"/>
                <a:gd name="connsiteX2" fmla="*/ 10746 w 11634"/>
                <a:gd name="connsiteY2" fmla="*/ 5887 h 10173"/>
                <a:gd name="connsiteX3" fmla="*/ 6460 w 11634"/>
                <a:gd name="connsiteY3" fmla="*/ 10173 h 10173"/>
                <a:gd name="connsiteX4" fmla="*/ 3603 w 11634"/>
                <a:gd name="connsiteY4" fmla="*/ 10173 h 10173"/>
                <a:gd name="connsiteX5" fmla="*/ 3603 w 11634"/>
                <a:gd name="connsiteY5" fmla="*/ 7316 h 10173"/>
                <a:gd name="connsiteX6" fmla="*/ 746 w 11634"/>
                <a:gd name="connsiteY6" fmla="*/ 3030 h 10173"/>
                <a:gd name="connsiteX7" fmla="*/ 746 w 11634"/>
                <a:gd name="connsiteY7" fmla="*/ 173 h 10173"/>
                <a:gd name="connsiteX0" fmla="*/ 746 w 11634"/>
                <a:gd name="connsiteY0" fmla="*/ 173 h 10173"/>
                <a:gd name="connsiteX1" fmla="*/ 10746 w 11634"/>
                <a:gd name="connsiteY1" fmla="*/ 3030 h 10173"/>
                <a:gd name="connsiteX2" fmla="*/ 10746 w 11634"/>
                <a:gd name="connsiteY2" fmla="*/ 5887 h 10173"/>
                <a:gd name="connsiteX3" fmla="*/ 6460 w 11634"/>
                <a:gd name="connsiteY3" fmla="*/ 10173 h 10173"/>
                <a:gd name="connsiteX4" fmla="*/ 3603 w 11634"/>
                <a:gd name="connsiteY4" fmla="*/ 10173 h 10173"/>
                <a:gd name="connsiteX5" fmla="*/ 746 w 11634"/>
                <a:gd name="connsiteY5" fmla="*/ 3030 h 10173"/>
                <a:gd name="connsiteX6" fmla="*/ 746 w 11634"/>
                <a:gd name="connsiteY6" fmla="*/ 173 h 10173"/>
                <a:gd name="connsiteX0" fmla="*/ 746 w 11634"/>
                <a:gd name="connsiteY0" fmla="*/ 173 h 10173"/>
                <a:gd name="connsiteX1" fmla="*/ 10746 w 11634"/>
                <a:gd name="connsiteY1" fmla="*/ 3030 h 10173"/>
                <a:gd name="connsiteX2" fmla="*/ 10746 w 11634"/>
                <a:gd name="connsiteY2" fmla="*/ 5887 h 10173"/>
                <a:gd name="connsiteX3" fmla="*/ 6460 w 11634"/>
                <a:gd name="connsiteY3" fmla="*/ 10173 h 10173"/>
                <a:gd name="connsiteX4" fmla="*/ 3603 w 11634"/>
                <a:gd name="connsiteY4" fmla="*/ 10173 h 10173"/>
                <a:gd name="connsiteX5" fmla="*/ 746 w 11634"/>
                <a:gd name="connsiteY5" fmla="*/ 3030 h 10173"/>
                <a:gd name="connsiteX6" fmla="*/ 746 w 11634"/>
                <a:gd name="connsiteY6" fmla="*/ 173 h 10173"/>
                <a:gd name="connsiteX0" fmla="*/ 746 w 11634"/>
                <a:gd name="connsiteY0" fmla="*/ 173 h 10173"/>
                <a:gd name="connsiteX1" fmla="*/ 10746 w 11634"/>
                <a:gd name="connsiteY1" fmla="*/ 3030 h 10173"/>
                <a:gd name="connsiteX2" fmla="*/ 10746 w 11634"/>
                <a:gd name="connsiteY2" fmla="*/ 5887 h 10173"/>
                <a:gd name="connsiteX3" fmla="*/ 6460 w 11634"/>
                <a:gd name="connsiteY3" fmla="*/ 10173 h 10173"/>
                <a:gd name="connsiteX4" fmla="*/ 3603 w 11634"/>
                <a:gd name="connsiteY4" fmla="*/ 10173 h 10173"/>
                <a:gd name="connsiteX5" fmla="*/ 746 w 11634"/>
                <a:gd name="connsiteY5" fmla="*/ 3030 h 10173"/>
                <a:gd name="connsiteX6" fmla="*/ 746 w 11634"/>
                <a:gd name="connsiteY6" fmla="*/ 173 h 10173"/>
                <a:gd name="connsiteX0" fmla="*/ 746 w 11634"/>
                <a:gd name="connsiteY0" fmla="*/ 173 h 10173"/>
                <a:gd name="connsiteX1" fmla="*/ 10746 w 11634"/>
                <a:gd name="connsiteY1" fmla="*/ 3030 h 10173"/>
                <a:gd name="connsiteX2" fmla="*/ 10746 w 11634"/>
                <a:gd name="connsiteY2" fmla="*/ 5887 h 10173"/>
                <a:gd name="connsiteX3" fmla="*/ 6460 w 11634"/>
                <a:gd name="connsiteY3" fmla="*/ 10173 h 10173"/>
                <a:gd name="connsiteX4" fmla="*/ 5090 w 11634"/>
                <a:gd name="connsiteY4" fmla="*/ 10049 h 10173"/>
                <a:gd name="connsiteX5" fmla="*/ 746 w 11634"/>
                <a:gd name="connsiteY5" fmla="*/ 3030 h 10173"/>
                <a:gd name="connsiteX6" fmla="*/ 746 w 11634"/>
                <a:gd name="connsiteY6" fmla="*/ 173 h 10173"/>
                <a:gd name="connsiteX0" fmla="*/ 746 w 11634"/>
                <a:gd name="connsiteY0" fmla="*/ 173 h 10173"/>
                <a:gd name="connsiteX1" fmla="*/ 10746 w 11634"/>
                <a:gd name="connsiteY1" fmla="*/ 3030 h 10173"/>
                <a:gd name="connsiteX2" fmla="*/ 10746 w 11634"/>
                <a:gd name="connsiteY2" fmla="*/ 5887 h 10173"/>
                <a:gd name="connsiteX3" fmla="*/ 6460 w 11634"/>
                <a:gd name="connsiteY3" fmla="*/ 10173 h 10173"/>
                <a:gd name="connsiteX4" fmla="*/ 5090 w 11634"/>
                <a:gd name="connsiteY4" fmla="*/ 10049 h 10173"/>
                <a:gd name="connsiteX5" fmla="*/ 746 w 11634"/>
                <a:gd name="connsiteY5" fmla="*/ 3030 h 10173"/>
                <a:gd name="connsiteX6" fmla="*/ 746 w 11634"/>
                <a:gd name="connsiteY6" fmla="*/ 173 h 10173"/>
                <a:gd name="connsiteX0" fmla="*/ 746 w 11634"/>
                <a:gd name="connsiteY0" fmla="*/ 173 h 10173"/>
                <a:gd name="connsiteX1" fmla="*/ 10746 w 11634"/>
                <a:gd name="connsiteY1" fmla="*/ 3030 h 10173"/>
                <a:gd name="connsiteX2" fmla="*/ 10746 w 11634"/>
                <a:gd name="connsiteY2" fmla="*/ 5887 h 10173"/>
                <a:gd name="connsiteX3" fmla="*/ 6460 w 11634"/>
                <a:gd name="connsiteY3" fmla="*/ 10173 h 10173"/>
                <a:gd name="connsiteX4" fmla="*/ 5090 w 11634"/>
                <a:gd name="connsiteY4" fmla="*/ 10049 h 10173"/>
                <a:gd name="connsiteX5" fmla="*/ 746 w 11634"/>
                <a:gd name="connsiteY5" fmla="*/ 3030 h 10173"/>
                <a:gd name="connsiteX6" fmla="*/ 746 w 11634"/>
                <a:gd name="connsiteY6" fmla="*/ 173 h 10173"/>
                <a:gd name="connsiteX0" fmla="*/ 746 w 11781"/>
                <a:gd name="connsiteY0" fmla="*/ 278 h 10278"/>
                <a:gd name="connsiteX1" fmla="*/ 10994 w 11781"/>
                <a:gd name="connsiteY1" fmla="*/ 2143 h 10278"/>
                <a:gd name="connsiteX2" fmla="*/ 10746 w 11781"/>
                <a:gd name="connsiteY2" fmla="*/ 5992 h 10278"/>
                <a:gd name="connsiteX3" fmla="*/ 6460 w 11781"/>
                <a:gd name="connsiteY3" fmla="*/ 10278 h 10278"/>
                <a:gd name="connsiteX4" fmla="*/ 5090 w 11781"/>
                <a:gd name="connsiteY4" fmla="*/ 10154 h 10278"/>
                <a:gd name="connsiteX5" fmla="*/ 746 w 11781"/>
                <a:gd name="connsiteY5" fmla="*/ 3135 h 10278"/>
                <a:gd name="connsiteX6" fmla="*/ 746 w 11781"/>
                <a:gd name="connsiteY6" fmla="*/ 278 h 10278"/>
                <a:gd name="connsiteX0" fmla="*/ 746 w 11625"/>
                <a:gd name="connsiteY0" fmla="*/ 278 h 10278"/>
                <a:gd name="connsiteX1" fmla="*/ 10994 w 11625"/>
                <a:gd name="connsiteY1" fmla="*/ 2143 h 10278"/>
                <a:gd name="connsiteX2" fmla="*/ 10746 w 11625"/>
                <a:gd name="connsiteY2" fmla="*/ 5992 h 10278"/>
                <a:gd name="connsiteX3" fmla="*/ 6460 w 11625"/>
                <a:gd name="connsiteY3" fmla="*/ 10278 h 10278"/>
                <a:gd name="connsiteX4" fmla="*/ 5090 w 11625"/>
                <a:gd name="connsiteY4" fmla="*/ 10154 h 10278"/>
                <a:gd name="connsiteX5" fmla="*/ 746 w 11625"/>
                <a:gd name="connsiteY5" fmla="*/ 3135 h 10278"/>
                <a:gd name="connsiteX6" fmla="*/ 746 w 11625"/>
                <a:gd name="connsiteY6" fmla="*/ 278 h 10278"/>
                <a:gd name="connsiteX0" fmla="*/ 746 w 11625"/>
                <a:gd name="connsiteY0" fmla="*/ 278 h 10526"/>
                <a:gd name="connsiteX1" fmla="*/ 10994 w 11625"/>
                <a:gd name="connsiteY1" fmla="*/ 2143 h 10526"/>
                <a:gd name="connsiteX2" fmla="*/ 10746 w 11625"/>
                <a:gd name="connsiteY2" fmla="*/ 5992 h 10526"/>
                <a:gd name="connsiteX3" fmla="*/ 5964 w 11625"/>
                <a:gd name="connsiteY3" fmla="*/ 10526 h 10526"/>
                <a:gd name="connsiteX4" fmla="*/ 5090 w 11625"/>
                <a:gd name="connsiteY4" fmla="*/ 10154 h 10526"/>
                <a:gd name="connsiteX5" fmla="*/ 746 w 11625"/>
                <a:gd name="connsiteY5" fmla="*/ 3135 h 10526"/>
                <a:gd name="connsiteX6" fmla="*/ 746 w 11625"/>
                <a:gd name="connsiteY6" fmla="*/ 278 h 10526"/>
                <a:gd name="connsiteX0" fmla="*/ 746 w 11625"/>
                <a:gd name="connsiteY0" fmla="*/ 278 h 10526"/>
                <a:gd name="connsiteX1" fmla="*/ 10994 w 11625"/>
                <a:gd name="connsiteY1" fmla="*/ 2143 h 10526"/>
                <a:gd name="connsiteX2" fmla="*/ 10746 w 11625"/>
                <a:gd name="connsiteY2" fmla="*/ 5992 h 10526"/>
                <a:gd name="connsiteX3" fmla="*/ 5964 w 11625"/>
                <a:gd name="connsiteY3" fmla="*/ 10526 h 10526"/>
                <a:gd name="connsiteX4" fmla="*/ 5090 w 11625"/>
                <a:gd name="connsiteY4" fmla="*/ 10154 h 10526"/>
                <a:gd name="connsiteX5" fmla="*/ 746 w 11625"/>
                <a:gd name="connsiteY5" fmla="*/ 3135 h 10526"/>
                <a:gd name="connsiteX6" fmla="*/ 746 w 11625"/>
                <a:gd name="connsiteY6" fmla="*/ 278 h 10526"/>
                <a:gd name="connsiteX0" fmla="*/ 3086 w 13965"/>
                <a:gd name="connsiteY0" fmla="*/ 278 h 10526"/>
                <a:gd name="connsiteX1" fmla="*/ 13334 w 13965"/>
                <a:gd name="connsiteY1" fmla="*/ 2143 h 10526"/>
                <a:gd name="connsiteX2" fmla="*/ 13086 w 13965"/>
                <a:gd name="connsiteY2" fmla="*/ 5992 h 10526"/>
                <a:gd name="connsiteX3" fmla="*/ 8304 w 13965"/>
                <a:gd name="connsiteY3" fmla="*/ 10526 h 10526"/>
                <a:gd name="connsiteX4" fmla="*/ 7430 w 13965"/>
                <a:gd name="connsiteY4" fmla="*/ 10154 h 10526"/>
                <a:gd name="connsiteX5" fmla="*/ 239 w 13965"/>
                <a:gd name="connsiteY5" fmla="*/ 4287 h 10526"/>
                <a:gd name="connsiteX6" fmla="*/ 3086 w 13965"/>
                <a:gd name="connsiteY6" fmla="*/ 278 h 10526"/>
                <a:gd name="connsiteX0" fmla="*/ 3600 w 13937"/>
                <a:gd name="connsiteY0" fmla="*/ 135 h 12078"/>
                <a:gd name="connsiteX1" fmla="*/ 13306 w 13937"/>
                <a:gd name="connsiteY1" fmla="*/ 3695 h 12078"/>
                <a:gd name="connsiteX2" fmla="*/ 13058 w 13937"/>
                <a:gd name="connsiteY2" fmla="*/ 7544 h 12078"/>
                <a:gd name="connsiteX3" fmla="*/ 8276 w 13937"/>
                <a:gd name="connsiteY3" fmla="*/ 12078 h 12078"/>
                <a:gd name="connsiteX4" fmla="*/ 7402 w 13937"/>
                <a:gd name="connsiteY4" fmla="*/ 11706 h 12078"/>
                <a:gd name="connsiteX5" fmla="*/ 211 w 13937"/>
                <a:gd name="connsiteY5" fmla="*/ 5839 h 12078"/>
                <a:gd name="connsiteX6" fmla="*/ 3600 w 13937"/>
                <a:gd name="connsiteY6" fmla="*/ 135 h 12078"/>
                <a:gd name="connsiteX0" fmla="*/ 3600 w 14355"/>
                <a:gd name="connsiteY0" fmla="*/ 392 h 12335"/>
                <a:gd name="connsiteX1" fmla="*/ 13916 w 14355"/>
                <a:gd name="connsiteY1" fmla="*/ 1715 h 12335"/>
                <a:gd name="connsiteX2" fmla="*/ 13058 w 14355"/>
                <a:gd name="connsiteY2" fmla="*/ 7801 h 12335"/>
                <a:gd name="connsiteX3" fmla="*/ 8276 w 14355"/>
                <a:gd name="connsiteY3" fmla="*/ 12335 h 12335"/>
                <a:gd name="connsiteX4" fmla="*/ 7402 w 14355"/>
                <a:gd name="connsiteY4" fmla="*/ 11963 h 12335"/>
                <a:gd name="connsiteX5" fmla="*/ 211 w 14355"/>
                <a:gd name="connsiteY5" fmla="*/ 6096 h 12335"/>
                <a:gd name="connsiteX6" fmla="*/ 3600 w 14355"/>
                <a:gd name="connsiteY6" fmla="*/ 392 h 12335"/>
                <a:gd name="connsiteX0" fmla="*/ 3600 w 14355"/>
                <a:gd name="connsiteY0" fmla="*/ 392 h 14607"/>
                <a:gd name="connsiteX1" fmla="*/ 13916 w 14355"/>
                <a:gd name="connsiteY1" fmla="*/ 1715 h 14607"/>
                <a:gd name="connsiteX2" fmla="*/ 13058 w 14355"/>
                <a:gd name="connsiteY2" fmla="*/ 7801 h 14607"/>
                <a:gd name="connsiteX3" fmla="*/ 8276 w 14355"/>
                <a:gd name="connsiteY3" fmla="*/ 12335 h 14607"/>
                <a:gd name="connsiteX4" fmla="*/ 5911 w 14355"/>
                <a:gd name="connsiteY4" fmla="*/ 14607 h 14607"/>
                <a:gd name="connsiteX5" fmla="*/ 211 w 14355"/>
                <a:gd name="connsiteY5" fmla="*/ 6096 h 14607"/>
                <a:gd name="connsiteX6" fmla="*/ 3600 w 14355"/>
                <a:gd name="connsiteY6" fmla="*/ 392 h 14607"/>
                <a:gd name="connsiteX0" fmla="*/ 3600 w 14355"/>
                <a:gd name="connsiteY0" fmla="*/ 392 h 14607"/>
                <a:gd name="connsiteX1" fmla="*/ 13916 w 14355"/>
                <a:gd name="connsiteY1" fmla="*/ 1715 h 14607"/>
                <a:gd name="connsiteX2" fmla="*/ 13058 w 14355"/>
                <a:gd name="connsiteY2" fmla="*/ 7801 h 14607"/>
                <a:gd name="connsiteX3" fmla="*/ 9971 w 14355"/>
                <a:gd name="connsiteY3" fmla="*/ 13148 h 14607"/>
                <a:gd name="connsiteX4" fmla="*/ 5911 w 14355"/>
                <a:gd name="connsiteY4" fmla="*/ 14607 h 14607"/>
                <a:gd name="connsiteX5" fmla="*/ 211 w 14355"/>
                <a:gd name="connsiteY5" fmla="*/ 6096 h 14607"/>
                <a:gd name="connsiteX6" fmla="*/ 3600 w 14355"/>
                <a:gd name="connsiteY6" fmla="*/ 392 h 14607"/>
                <a:gd name="connsiteX0" fmla="*/ 3600 w 14355"/>
                <a:gd name="connsiteY0" fmla="*/ 392 h 13658"/>
                <a:gd name="connsiteX1" fmla="*/ 13916 w 14355"/>
                <a:gd name="connsiteY1" fmla="*/ 1715 h 13658"/>
                <a:gd name="connsiteX2" fmla="*/ 13058 w 14355"/>
                <a:gd name="connsiteY2" fmla="*/ 7801 h 13658"/>
                <a:gd name="connsiteX3" fmla="*/ 9971 w 14355"/>
                <a:gd name="connsiteY3" fmla="*/ 13148 h 13658"/>
                <a:gd name="connsiteX4" fmla="*/ 5504 w 14355"/>
                <a:gd name="connsiteY4" fmla="*/ 13658 h 13658"/>
                <a:gd name="connsiteX5" fmla="*/ 211 w 14355"/>
                <a:gd name="connsiteY5" fmla="*/ 6096 h 13658"/>
                <a:gd name="connsiteX6" fmla="*/ 3600 w 14355"/>
                <a:gd name="connsiteY6" fmla="*/ 392 h 13658"/>
                <a:gd name="connsiteX0" fmla="*/ 3600 w 14355"/>
                <a:gd name="connsiteY0" fmla="*/ 392 h 14551"/>
                <a:gd name="connsiteX1" fmla="*/ 13916 w 14355"/>
                <a:gd name="connsiteY1" fmla="*/ 1715 h 14551"/>
                <a:gd name="connsiteX2" fmla="*/ 13058 w 14355"/>
                <a:gd name="connsiteY2" fmla="*/ 7801 h 14551"/>
                <a:gd name="connsiteX3" fmla="*/ 9971 w 14355"/>
                <a:gd name="connsiteY3" fmla="*/ 13148 h 14551"/>
                <a:gd name="connsiteX4" fmla="*/ 5504 w 14355"/>
                <a:gd name="connsiteY4" fmla="*/ 13658 h 14551"/>
                <a:gd name="connsiteX5" fmla="*/ 211 w 14355"/>
                <a:gd name="connsiteY5" fmla="*/ 6096 h 14551"/>
                <a:gd name="connsiteX6" fmla="*/ 3600 w 14355"/>
                <a:gd name="connsiteY6" fmla="*/ 392 h 14551"/>
                <a:gd name="connsiteX0" fmla="*/ 3600 w 14355"/>
                <a:gd name="connsiteY0" fmla="*/ 392 h 14908"/>
                <a:gd name="connsiteX1" fmla="*/ 13916 w 14355"/>
                <a:gd name="connsiteY1" fmla="*/ 1715 h 14908"/>
                <a:gd name="connsiteX2" fmla="*/ 13058 w 14355"/>
                <a:gd name="connsiteY2" fmla="*/ 7801 h 14908"/>
                <a:gd name="connsiteX3" fmla="*/ 9971 w 14355"/>
                <a:gd name="connsiteY3" fmla="*/ 13148 h 14908"/>
                <a:gd name="connsiteX4" fmla="*/ 5504 w 14355"/>
                <a:gd name="connsiteY4" fmla="*/ 13658 h 14908"/>
                <a:gd name="connsiteX5" fmla="*/ 211 w 14355"/>
                <a:gd name="connsiteY5" fmla="*/ 6096 h 14908"/>
                <a:gd name="connsiteX6" fmla="*/ 3600 w 14355"/>
                <a:gd name="connsiteY6" fmla="*/ 392 h 14908"/>
                <a:gd name="connsiteX0" fmla="*/ 3600 w 14355"/>
                <a:gd name="connsiteY0" fmla="*/ 392 h 14908"/>
                <a:gd name="connsiteX1" fmla="*/ 13916 w 14355"/>
                <a:gd name="connsiteY1" fmla="*/ 1715 h 14908"/>
                <a:gd name="connsiteX2" fmla="*/ 13058 w 14355"/>
                <a:gd name="connsiteY2" fmla="*/ 7801 h 14908"/>
                <a:gd name="connsiteX3" fmla="*/ 9971 w 14355"/>
                <a:gd name="connsiteY3" fmla="*/ 13148 h 14908"/>
                <a:gd name="connsiteX4" fmla="*/ 5504 w 14355"/>
                <a:gd name="connsiteY4" fmla="*/ 13658 h 14908"/>
                <a:gd name="connsiteX5" fmla="*/ 211 w 14355"/>
                <a:gd name="connsiteY5" fmla="*/ 6096 h 14908"/>
                <a:gd name="connsiteX6" fmla="*/ 3600 w 14355"/>
                <a:gd name="connsiteY6" fmla="*/ 392 h 14908"/>
                <a:gd name="connsiteX0" fmla="*/ 3600 w 14605"/>
                <a:gd name="connsiteY0" fmla="*/ 392 h 14908"/>
                <a:gd name="connsiteX1" fmla="*/ 13916 w 14605"/>
                <a:gd name="connsiteY1" fmla="*/ 1715 h 14908"/>
                <a:gd name="connsiteX2" fmla="*/ 13804 w 14605"/>
                <a:gd name="connsiteY2" fmla="*/ 7462 h 14908"/>
                <a:gd name="connsiteX3" fmla="*/ 9971 w 14605"/>
                <a:gd name="connsiteY3" fmla="*/ 13148 h 14908"/>
                <a:gd name="connsiteX4" fmla="*/ 5504 w 14605"/>
                <a:gd name="connsiteY4" fmla="*/ 13658 h 14908"/>
                <a:gd name="connsiteX5" fmla="*/ 211 w 14605"/>
                <a:gd name="connsiteY5" fmla="*/ 6096 h 14908"/>
                <a:gd name="connsiteX6" fmla="*/ 3600 w 14605"/>
                <a:gd name="connsiteY6" fmla="*/ 392 h 14908"/>
                <a:gd name="connsiteX0" fmla="*/ 3600 w 14605"/>
                <a:gd name="connsiteY0" fmla="*/ 784 h 15300"/>
                <a:gd name="connsiteX1" fmla="*/ 13916 w 14605"/>
                <a:gd name="connsiteY1" fmla="*/ 2107 h 15300"/>
                <a:gd name="connsiteX2" fmla="*/ 13804 w 14605"/>
                <a:gd name="connsiteY2" fmla="*/ 7854 h 15300"/>
                <a:gd name="connsiteX3" fmla="*/ 9971 w 14605"/>
                <a:gd name="connsiteY3" fmla="*/ 13540 h 15300"/>
                <a:gd name="connsiteX4" fmla="*/ 5504 w 14605"/>
                <a:gd name="connsiteY4" fmla="*/ 14050 h 15300"/>
                <a:gd name="connsiteX5" fmla="*/ 211 w 14605"/>
                <a:gd name="connsiteY5" fmla="*/ 6488 h 15300"/>
                <a:gd name="connsiteX6" fmla="*/ 3600 w 14605"/>
                <a:gd name="connsiteY6" fmla="*/ 784 h 15300"/>
                <a:gd name="connsiteX0" fmla="*/ 3600 w 14630"/>
                <a:gd name="connsiteY0" fmla="*/ 784 h 15300"/>
                <a:gd name="connsiteX1" fmla="*/ 13916 w 14630"/>
                <a:gd name="connsiteY1" fmla="*/ 2107 h 15300"/>
                <a:gd name="connsiteX2" fmla="*/ 13804 w 14630"/>
                <a:gd name="connsiteY2" fmla="*/ 7854 h 15300"/>
                <a:gd name="connsiteX3" fmla="*/ 9971 w 14630"/>
                <a:gd name="connsiteY3" fmla="*/ 13540 h 15300"/>
                <a:gd name="connsiteX4" fmla="*/ 5504 w 14630"/>
                <a:gd name="connsiteY4" fmla="*/ 14050 h 15300"/>
                <a:gd name="connsiteX5" fmla="*/ 211 w 14630"/>
                <a:gd name="connsiteY5" fmla="*/ 6488 h 15300"/>
                <a:gd name="connsiteX6" fmla="*/ 3600 w 14630"/>
                <a:gd name="connsiteY6" fmla="*/ 784 h 15300"/>
                <a:gd name="connsiteX0" fmla="*/ 3738 w 14768"/>
                <a:gd name="connsiteY0" fmla="*/ 784 h 15300"/>
                <a:gd name="connsiteX1" fmla="*/ 14054 w 14768"/>
                <a:gd name="connsiteY1" fmla="*/ 2107 h 15300"/>
                <a:gd name="connsiteX2" fmla="*/ 13942 w 14768"/>
                <a:gd name="connsiteY2" fmla="*/ 7854 h 15300"/>
                <a:gd name="connsiteX3" fmla="*/ 10109 w 14768"/>
                <a:gd name="connsiteY3" fmla="*/ 13540 h 15300"/>
                <a:gd name="connsiteX4" fmla="*/ 5642 w 14768"/>
                <a:gd name="connsiteY4" fmla="*/ 14050 h 15300"/>
                <a:gd name="connsiteX5" fmla="*/ 349 w 14768"/>
                <a:gd name="connsiteY5" fmla="*/ 6488 h 15300"/>
                <a:gd name="connsiteX6" fmla="*/ 3738 w 14768"/>
                <a:gd name="connsiteY6" fmla="*/ 784 h 15300"/>
                <a:gd name="connsiteX0" fmla="*/ 3738 w 14768"/>
                <a:gd name="connsiteY0" fmla="*/ 784 h 15300"/>
                <a:gd name="connsiteX1" fmla="*/ 14054 w 14768"/>
                <a:gd name="connsiteY1" fmla="*/ 2107 h 15300"/>
                <a:gd name="connsiteX2" fmla="*/ 13942 w 14768"/>
                <a:gd name="connsiteY2" fmla="*/ 7854 h 15300"/>
                <a:gd name="connsiteX3" fmla="*/ 10109 w 14768"/>
                <a:gd name="connsiteY3" fmla="*/ 13540 h 15300"/>
                <a:gd name="connsiteX4" fmla="*/ 5642 w 14768"/>
                <a:gd name="connsiteY4" fmla="*/ 14050 h 15300"/>
                <a:gd name="connsiteX5" fmla="*/ 349 w 14768"/>
                <a:gd name="connsiteY5" fmla="*/ 6488 h 15300"/>
                <a:gd name="connsiteX6" fmla="*/ 3738 w 14768"/>
                <a:gd name="connsiteY6" fmla="*/ 784 h 15300"/>
                <a:gd name="connsiteX0" fmla="*/ 3738 w 14768"/>
                <a:gd name="connsiteY0" fmla="*/ 784 h 15300"/>
                <a:gd name="connsiteX1" fmla="*/ 14054 w 14768"/>
                <a:gd name="connsiteY1" fmla="*/ 2107 h 15300"/>
                <a:gd name="connsiteX2" fmla="*/ 13942 w 14768"/>
                <a:gd name="connsiteY2" fmla="*/ 7854 h 15300"/>
                <a:gd name="connsiteX3" fmla="*/ 10109 w 14768"/>
                <a:gd name="connsiteY3" fmla="*/ 13540 h 15300"/>
                <a:gd name="connsiteX4" fmla="*/ 5642 w 14768"/>
                <a:gd name="connsiteY4" fmla="*/ 14050 h 15300"/>
                <a:gd name="connsiteX5" fmla="*/ 349 w 14768"/>
                <a:gd name="connsiteY5" fmla="*/ 6488 h 15300"/>
                <a:gd name="connsiteX6" fmla="*/ 3738 w 14768"/>
                <a:gd name="connsiteY6" fmla="*/ 784 h 15300"/>
                <a:gd name="connsiteX0" fmla="*/ 3558 w 14588"/>
                <a:gd name="connsiteY0" fmla="*/ 784 h 15300"/>
                <a:gd name="connsiteX1" fmla="*/ 13874 w 14588"/>
                <a:gd name="connsiteY1" fmla="*/ 2107 h 15300"/>
                <a:gd name="connsiteX2" fmla="*/ 13762 w 14588"/>
                <a:gd name="connsiteY2" fmla="*/ 7854 h 15300"/>
                <a:gd name="connsiteX3" fmla="*/ 9929 w 14588"/>
                <a:gd name="connsiteY3" fmla="*/ 13540 h 15300"/>
                <a:gd name="connsiteX4" fmla="*/ 5462 w 14588"/>
                <a:gd name="connsiteY4" fmla="*/ 14050 h 15300"/>
                <a:gd name="connsiteX5" fmla="*/ 169 w 14588"/>
                <a:gd name="connsiteY5" fmla="*/ 6488 h 15300"/>
                <a:gd name="connsiteX6" fmla="*/ 3558 w 14588"/>
                <a:gd name="connsiteY6" fmla="*/ 784 h 1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88" h="15300">
                  <a:moveTo>
                    <a:pt x="3558" y="784"/>
                  </a:moveTo>
                  <a:cubicBezTo>
                    <a:pt x="5225" y="40"/>
                    <a:pt x="11719" y="-1001"/>
                    <a:pt x="13874" y="2107"/>
                  </a:cubicBezTo>
                  <a:cubicBezTo>
                    <a:pt x="14865" y="3679"/>
                    <a:pt x="14822" y="5908"/>
                    <a:pt x="13762" y="7854"/>
                  </a:cubicBezTo>
                  <a:cubicBezTo>
                    <a:pt x="12733" y="9636"/>
                    <a:pt x="11771" y="11283"/>
                    <a:pt x="9929" y="13540"/>
                  </a:cubicBezTo>
                  <a:cubicBezTo>
                    <a:pt x="8915" y="15201"/>
                    <a:pt x="6070" y="16253"/>
                    <a:pt x="5462" y="14050"/>
                  </a:cubicBezTo>
                  <a:cubicBezTo>
                    <a:pt x="4113" y="9698"/>
                    <a:pt x="1951" y="9841"/>
                    <a:pt x="169" y="6488"/>
                  </a:cubicBezTo>
                  <a:cubicBezTo>
                    <a:pt x="-471" y="3888"/>
                    <a:pt x="724" y="2189"/>
                    <a:pt x="3558" y="784"/>
                  </a:cubicBezTo>
                  <a:close/>
                </a:path>
              </a:pathLst>
            </a:custGeom>
            <a:grpFill/>
            <a:ln w="0">
              <a:noFill/>
              <a:prstDash val="solid"/>
              <a:round/>
              <a:headEnd/>
              <a:tailEnd/>
            </a:ln>
            <a:effectLst/>
          </p:spPr>
          <p:txBody>
            <a:bodyPr vert="horz" wrap="square" lIns="121920" tIns="60960" rIns="121920" bIns="60960" numCol="1" anchor="t" anchorCtr="0" compatLnSpc="1">
              <a:prstTxWarp prst="textNoShape">
                <a:avLst/>
              </a:prstTxWarp>
            </a:bodyPr>
            <a:lstStyle/>
            <a:p>
              <a:pPr marL="0" marR="0" lvl="0" indent="0" algn="l" defTabSz="467539"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a:ea typeface="+mn-ea"/>
                <a:cs typeface="+mn-cs"/>
              </a:endParaRPr>
            </a:p>
          </p:txBody>
        </p:sp>
        <p:sp>
          <p:nvSpPr>
            <p:cNvPr id="39" name="Diamond 100">
              <a:extLst>
                <a:ext uri="{FF2B5EF4-FFF2-40B4-BE49-F238E27FC236}">
                  <a16:creationId xmlns:a16="http://schemas.microsoft.com/office/drawing/2014/main" id="{4B2A9CF9-E9E8-40F3-2926-19DC18D0AC3D}"/>
                </a:ext>
              </a:extLst>
            </p:cNvPr>
            <p:cNvSpPr/>
            <p:nvPr/>
          </p:nvSpPr>
          <p:spPr>
            <a:xfrm>
              <a:off x="3637128" y="5289038"/>
              <a:ext cx="1453487" cy="2961033"/>
            </a:xfrm>
            <a:custGeom>
              <a:avLst/>
              <a:gdLst>
                <a:gd name="connsiteX0" fmla="*/ 0 w 1255594"/>
                <a:gd name="connsiteY0" fmla="*/ 1330657 h 2661314"/>
                <a:gd name="connsiteX1" fmla="*/ 627797 w 1255594"/>
                <a:gd name="connsiteY1" fmla="*/ 0 h 2661314"/>
                <a:gd name="connsiteX2" fmla="*/ 1255594 w 1255594"/>
                <a:gd name="connsiteY2" fmla="*/ 1330657 h 2661314"/>
                <a:gd name="connsiteX3" fmla="*/ 627797 w 1255594"/>
                <a:gd name="connsiteY3" fmla="*/ 2661314 h 2661314"/>
                <a:gd name="connsiteX4" fmla="*/ 0 w 1255594"/>
                <a:gd name="connsiteY4" fmla="*/ 1330657 h 2661314"/>
                <a:gd name="connsiteX0" fmla="*/ 0 w 1439839"/>
                <a:gd name="connsiteY0" fmla="*/ 1330657 h 2661314"/>
                <a:gd name="connsiteX1" fmla="*/ 627797 w 1439839"/>
                <a:gd name="connsiteY1" fmla="*/ 0 h 2661314"/>
                <a:gd name="connsiteX2" fmla="*/ 1439839 w 1439839"/>
                <a:gd name="connsiteY2" fmla="*/ 1235122 h 2661314"/>
                <a:gd name="connsiteX3" fmla="*/ 627797 w 1439839"/>
                <a:gd name="connsiteY3" fmla="*/ 2661314 h 2661314"/>
                <a:gd name="connsiteX4" fmla="*/ 0 w 1439839"/>
                <a:gd name="connsiteY4" fmla="*/ 1330657 h 2661314"/>
                <a:gd name="connsiteX0" fmla="*/ 0 w 1453487"/>
                <a:gd name="connsiteY0" fmla="*/ 1241947 h 2661314"/>
                <a:gd name="connsiteX1" fmla="*/ 641445 w 1453487"/>
                <a:gd name="connsiteY1" fmla="*/ 0 h 2661314"/>
                <a:gd name="connsiteX2" fmla="*/ 1453487 w 1453487"/>
                <a:gd name="connsiteY2" fmla="*/ 1235122 h 2661314"/>
                <a:gd name="connsiteX3" fmla="*/ 641445 w 1453487"/>
                <a:gd name="connsiteY3" fmla="*/ 2661314 h 2661314"/>
                <a:gd name="connsiteX4" fmla="*/ 0 w 1453487"/>
                <a:gd name="connsiteY4" fmla="*/ 1241947 h 2661314"/>
                <a:gd name="connsiteX0" fmla="*/ 0 w 1453487"/>
                <a:gd name="connsiteY0" fmla="*/ 1241947 h 2661314"/>
                <a:gd name="connsiteX1" fmla="*/ 641445 w 1453487"/>
                <a:gd name="connsiteY1" fmla="*/ 0 h 2661314"/>
                <a:gd name="connsiteX2" fmla="*/ 887105 w 1453487"/>
                <a:gd name="connsiteY2" fmla="*/ 368490 h 2661314"/>
                <a:gd name="connsiteX3" fmla="*/ 1453487 w 1453487"/>
                <a:gd name="connsiteY3" fmla="*/ 1235122 h 2661314"/>
                <a:gd name="connsiteX4" fmla="*/ 641445 w 1453487"/>
                <a:gd name="connsiteY4" fmla="*/ 2661314 h 2661314"/>
                <a:gd name="connsiteX5" fmla="*/ 0 w 1453487"/>
                <a:gd name="connsiteY5" fmla="*/ 1241947 h 2661314"/>
                <a:gd name="connsiteX0" fmla="*/ 0 w 1453487"/>
                <a:gd name="connsiteY0" fmla="*/ 1514901 h 2934268"/>
                <a:gd name="connsiteX1" fmla="*/ 641445 w 1453487"/>
                <a:gd name="connsiteY1" fmla="*/ 272954 h 2934268"/>
                <a:gd name="connsiteX2" fmla="*/ 1173708 w 1453487"/>
                <a:gd name="connsiteY2" fmla="*/ 0 h 2934268"/>
                <a:gd name="connsiteX3" fmla="*/ 1453487 w 1453487"/>
                <a:gd name="connsiteY3" fmla="*/ 1508076 h 2934268"/>
                <a:gd name="connsiteX4" fmla="*/ 641445 w 1453487"/>
                <a:gd name="connsiteY4" fmla="*/ 2934268 h 2934268"/>
                <a:gd name="connsiteX5" fmla="*/ 0 w 1453487"/>
                <a:gd name="connsiteY5" fmla="*/ 1514901 h 2934268"/>
                <a:gd name="connsiteX0" fmla="*/ 0 w 1453487"/>
                <a:gd name="connsiteY0" fmla="*/ 1514901 h 2934268"/>
                <a:gd name="connsiteX1" fmla="*/ 334371 w 1453487"/>
                <a:gd name="connsiteY1" fmla="*/ 859808 h 2934268"/>
                <a:gd name="connsiteX2" fmla="*/ 641445 w 1453487"/>
                <a:gd name="connsiteY2" fmla="*/ 272954 h 2934268"/>
                <a:gd name="connsiteX3" fmla="*/ 1173708 w 1453487"/>
                <a:gd name="connsiteY3" fmla="*/ 0 h 2934268"/>
                <a:gd name="connsiteX4" fmla="*/ 1453487 w 1453487"/>
                <a:gd name="connsiteY4" fmla="*/ 1508076 h 2934268"/>
                <a:gd name="connsiteX5" fmla="*/ 641445 w 1453487"/>
                <a:gd name="connsiteY5" fmla="*/ 2934268 h 2934268"/>
                <a:gd name="connsiteX6" fmla="*/ 0 w 1453487"/>
                <a:gd name="connsiteY6" fmla="*/ 1514901 h 2934268"/>
                <a:gd name="connsiteX0" fmla="*/ 0 w 1453487"/>
                <a:gd name="connsiteY0" fmla="*/ 1521726 h 2941093"/>
                <a:gd name="connsiteX1" fmla="*/ 361667 w 1453487"/>
                <a:gd name="connsiteY1" fmla="*/ 0 h 2941093"/>
                <a:gd name="connsiteX2" fmla="*/ 641445 w 1453487"/>
                <a:gd name="connsiteY2" fmla="*/ 279779 h 2941093"/>
                <a:gd name="connsiteX3" fmla="*/ 1173708 w 1453487"/>
                <a:gd name="connsiteY3" fmla="*/ 6825 h 2941093"/>
                <a:gd name="connsiteX4" fmla="*/ 1453487 w 1453487"/>
                <a:gd name="connsiteY4" fmla="*/ 1514901 h 2941093"/>
                <a:gd name="connsiteX5" fmla="*/ 641445 w 1453487"/>
                <a:gd name="connsiteY5" fmla="*/ 2941093 h 2941093"/>
                <a:gd name="connsiteX6" fmla="*/ 0 w 1453487"/>
                <a:gd name="connsiteY6" fmla="*/ 1521726 h 2941093"/>
                <a:gd name="connsiteX0" fmla="*/ 0 w 1453487"/>
                <a:gd name="connsiteY0" fmla="*/ 1521726 h 2941093"/>
                <a:gd name="connsiteX1" fmla="*/ 361667 w 1453487"/>
                <a:gd name="connsiteY1" fmla="*/ 0 h 2941093"/>
                <a:gd name="connsiteX2" fmla="*/ 552735 w 1453487"/>
                <a:gd name="connsiteY2" fmla="*/ 252483 h 2941093"/>
                <a:gd name="connsiteX3" fmla="*/ 1173708 w 1453487"/>
                <a:gd name="connsiteY3" fmla="*/ 6825 h 2941093"/>
                <a:gd name="connsiteX4" fmla="*/ 1453487 w 1453487"/>
                <a:gd name="connsiteY4" fmla="*/ 1514901 h 2941093"/>
                <a:gd name="connsiteX5" fmla="*/ 641445 w 1453487"/>
                <a:gd name="connsiteY5" fmla="*/ 2941093 h 2941093"/>
                <a:gd name="connsiteX6" fmla="*/ 0 w 1453487"/>
                <a:gd name="connsiteY6" fmla="*/ 1521726 h 2941093"/>
                <a:gd name="connsiteX0" fmla="*/ 0 w 1453487"/>
                <a:gd name="connsiteY0" fmla="*/ 1521726 h 2941093"/>
                <a:gd name="connsiteX1" fmla="*/ 361667 w 1453487"/>
                <a:gd name="connsiteY1" fmla="*/ 0 h 2941093"/>
                <a:gd name="connsiteX2" fmla="*/ 552735 w 1453487"/>
                <a:gd name="connsiteY2" fmla="*/ 252483 h 2941093"/>
                <a:gd name="connsiteX3" fmla="*/ 846162 w 1453487"/>
                <a:gd name="connsiteY3" fmla="*/ 143303 h 2941093"/>
                <a:gd name="connsiteX4" fmla="*/ 1173708 w 1453487"/>
                <a:gd name="connsiteY4" fmla="*/ 6825 h 2941093"/>
                <a:gd name="connsiteX5" fmla="*/ 1453487 w 1453487"/>
                <a:gd name="connsiteY5" fmla="*/ 1514901 h 2941093"/>
                <a:gd name="connsiteX6" fmla="*/ 641445 w 1453487"/>
                <a:gd name="connsiteY6" fmla="*/ 2941093 h 2941093"/>
                <a:gd name="connsiteX7" fmla="*/ 0 w 1453487"/>
                <a:gd name="connsiteY7" fmla="*/ 1521726 h 2941093"/>
                <a:gd name="connsiteX0" fmla="*/ 0 w 1453487"/>
                <a:gd name="connsiteY0" fmla="*/ 1521726 h 2941093"/>
                <a:gd name="connsiteX1" fmla="*/ 361667 w 1453487"/>
                <a:gd name="connsiteY1" fmla="*/ 0 h 2941093"/>
                <a:gd name="connsiteX2" fmla="*/ 552735 w 1453487"/>
                <a:gd name="connsiteY2" fmla="*/ 252483 h 2941093"/>
                <a:gd name="connsiteX3" fmla="*/ 1003112 w 1453487"/>
                <a:gd name="connsiteY3" fmla="*/ 266133 h 2941093"/>
                <a:gd name="connsiteX4" fmla="*/ 1173708 w 1453487"/>
                <a:gd name="connsiteY4" fmla="*/ 6825 h 2941093"/>
                <a:gd name="connsiteX5" fmla="*/ 1453487 w 1453487"/>
                <a:gd name="connsiteY5" fmla="*/ 1514901 h 2941093"/>
                <a:gd name="connsiteX6" fmla="*/ 641445 w 1453487"/>
                <a:gd name="connsiteY6" fmla="*/ 2941093 h 2941093"/>
                <a:gd name="connsiteX7" fmla="*/ 0 w 1453487"/>
                <a:gd name="connsiteY7" fmla="*/ 1521726 h 2941093"/>
                <a:gd name="connsiteX0" fmla="*/ 0 w 1453487"/>
                <a:gd name="connsiteY0" fmla="*/ 1521726 h 2941093"/>
                <a:gd name="connsiteX1" fmla="*/ 361667 w 1453487"/>
                <a:gd name="connsiteY1" fmla="*/ 0 h 2941093"/>
                <a:gd name="connsiteX2" fmla="*/ 552735 w 1453487"/>
                <a:gd name="connsiteY2" fmla="*/ 252483 h 2941093"/>
                <a:gd name="connsiteX3" fmla="*/ 1000263 w 1453487"/>
                <a:gd name="connsiteY3" fmla="*/ 260435 h 2941093"/>
                <a:gd name="connsiteX4" fmla="*/ 1173708 w 1453487"/>
                <a:gd name="connsiteY4" fmla="*/ 6825 h 2941093"/>
                <a:gd name="connsiteX5" fmla="*/ 1453487 w 1453487"/>
                <a:gd name="connsiteY5" fmla="*/ 1514901 h 2941093"/>
                <a:gd name="connsiteX6" fmla="*/ 641445 w 1453487"/>
                <a:gd name="connsiteY6" fmla="*/ 2941093 h 2941093"/>
                <a:gd name="connsiteX7" fmla="*/ 0 w 1453487"/>
                <a:gd name="connsiteY7" fmla="*/ 1521726 h 2941093"/>
                <a:gd name="connsiteX0" fmla="*/ 0 w 1453487"/>
                <a:gd name="connsiteY0" fmla="*/ 1521726 h 2941093"/>
                <a:gd name="connsiteX1" fmla="*/ 361667 w 1453487"/>
                <a:gd name="connsiteY1" fmla="*/ 0 h 2941093"/>
                <a:gd name="connsiteX2" fmla="*/ 549886 w 1453487"/>
                <a:gd name="connsiteY2" fmla="*/ 252483 h 2941093"/>
                <a:gd name="connsiteX3" fmla="*/ 1000263 w 1453487"/>
                <a:gd name="connsiteY3" fmla="*/ 260435 h 2941093"/>
                <a:gd name="connsiteX4" fmla="*/ 1173708 w 1453487"/>
                <a:gd name="connsiteY4" fmla="*/ 6825 h 2941093"/>
                <a:gd name="connsiteX5" fmla="*/ 1453487 w 1453487"/>
                <a:gd name="connsiteY5" fmla="*/ 1514901 h 2941093"/>
                <a:gd name="connsiteX6" fmla="*/ 641445 w 1453487"/>
                <a:gd name="connsiteY6" fmla="*/ 2941093 h 2941093"/>
                <a:gd name="connsiteX7" fmla="*/ 0 w 1453487"/>
                <a:gd name="connsiteY7" fmla="*/ 1521726 h 2941093"/>
                <a:gd name="connsiteX0" fmla="*/ 0 w 1453487"/>
                <a:gd name="connsiteY0" fmla="*/ 1521726 h 2941093"/>
                <a:gd name="connsiteX1" fmla="*/ 361667 w 1453487"/>
                <a:gd name="connsiteY1" fmla="*/ 0 h 2941093"/>
                <a:gd name="connsiteX2" fmla="*/ 549886 w 1453487"/>
                <a:gd name="connsiteY2" fmla="*/ 252483 h 2941093"/>
                <a:gd name="connsiteX3" fmla="*/ 997414 w 1453487"/>
                <a:gd name="connsiteY3" fmla="*/ 257587 h 2941093"/>
                <a:gd name="connsiteX4" fmla="*/ 1173708 w 1453487"/>
                <a:gd name="connsiteY4" fmla="*/ 6825 h 2941093"/>
                <a:gd name="connsiteX5" fmla="*/ 1453487 w 1453487"/>
                <a:gd name="connsiteY5" fmla="*/ 1514901 h 2941093"/>
                <a:gd name="connsiteX6" fmla="*/ 641445 w 1453487"/>
                <a:gd name="connsiteY6" fmla="*/ 2941093 h 2941093"/>
                <a:gd name="connsiteX7" fmla="*/ 0 w 1453487"/>
                <a:gd name="connsiteY7" fmla="*/ 1521726 h 2941093"/>
                <a:gd name="connsiteX0" fmla="*/ 0 w 1453487"/>
                <a:gd name="connsiteY0" fmla="*/ 1521726 h 2941093"/>
                <a:gd name="connsiteX1" fmla="*/ 361667 w 1453487"/>
                <a:gd name="connsiteY1" fmla="*/ 0 h 2941093"/>
                <a:gd name="connsiteX2" fmla="*/ 549886 w 1453487"/>
                <a:gd name="connsiteY2" fmla="*/ 252483 h 2941093"/>
                <a:gd name="connsiteX3" fmla="*/ 997414 w 1453487"/>
                <a:gd name="connsiteY3" fmla="*/ 251890 h 2941093"/>
                <a:gd name="connsiteX4" fmla="*/ 1173708 w 1453487"/>
                <a:gd name="connsiteY4" fmla="*/ 6825 h 2941093"/>
                <a:gd name="connsiteX5" fmla="*/ 1453487 w 1453487"/>
                <a:gd name="connsiteY5" fmla="*/ 1514901 h 2941093"/>
                <a:gd name="connsiteX6" fmla="*/ 641445 w 1453487"/>
                <a:gd name="connsiteY6" fmla="*/ 2941093 h 2941093"/>
                <a:gd name="connsiteX7" fmla="*/ 0 w 1453487"/>
                <a:gd name="connsiteY7" fmla="*/ 1521726 h 2941093"/>
                <a:gd name="connsiteX0" fmla="*/ 0 w 1453487"/>
                <a:gd name="connsiteY0" fmla="*/ 1541666 h 2961033"/>
                <a:gd name="connsiteX1" fmla="*/ 364516 w 1453487"/>
                <a:gd name="connsiteY1" fmla="*/ 0 h 2961033"/>
                <a:gd name="connsiteX2" fmla="*/ 549886 w 1453487"/>
                <a:gd name="connsiteY2" fmla="*/ 272423 h 2961033"/>
                <a:gd name="connsiteX3" fmla="*/ 997414 w 1453487"/>
                <a:gd name="connsiteY3" fmla="*/ 271830 h 2961033"/>
                <a:gd name="connsiteX4" fmla="*/ 1173708 w 1453487"/>
                <a:gd name="connsiteY4" fmla="*/ 26765 h 2961033"/>
                <a:gd name="connsiteX5" fmla="*/ 1453487 w 1453487"/>
                <a:gd name="connsiteY5" fmla="*/ 1534841 h 2961033"/>
                <a:gd name="connsiteX6" fmla="*/ 641445 w 1453487"/>
                <a:gd name="connsiteY6" fmla="*/ 2961033 h 2961033"/>
                <a:gd name="connsiteX7" fmla="*/ 0 w 1453487"/>
                <a:gd name="connsiteY7" fmla="*/ 1541666 h 2961033"/>
                <a:gd name="connsiteX0" fmla="*/ 0 w 1453487"/>
                <a:gd name="connsiteY0" fmla="*/ 1541666 h 2961033"/>
                <a:gd name="connsiteX1" fmla="*/ 364516 w 1453487"/>
                <a:gd name="connsiteY1" fmla="*/ 0 h 2961033"/>
                <a:gd name="connsiteX2" fmla="*/ 547038 w 1453487"/>
                <a:gd name="connsiteY2" fmla="*/ 269574 h 2961033"/>
                <a:gd name="connsiteX3" fmla="*/ 997414 w 1453487"/>
                <a:gd name="connsiteY3" fmla="*/ 271830 h 2961033"/>
                <a:gd name="connsiteX4" fmla="*/ 1173708 w 1453487"/>
                <a:gd name="connsiteY4" fmla="*/ 26765 h 2961033"/>
                <a:gd name="connsiteX5" fmla="*/ 1453487 w 1453487"/>
                <a:gd name="connsiteY5" fmla="*/ 1534841 h 2961033"/>
                <a:gd name="connsiteX6" fmla="*/ 641445 w 1453487"/>
                <a:gd name="connsiteY6" fmla="*/ 2961033 h 2961033"/>
                <a:gd name="connsiteX7" fmla="*/ 0 w 1453487"/>
                <a:gd name="connsiteY7" fmla="*/ 1541666 h 2961033"/>
                <a:gd name="connsiteX0" fmla="*/ 0 w 1453487"/>
                <a:gd name="connsiteY0" fmla="*/ 1541666 h 2961033"/>
                <a:gd name="connsiteX1" fmla="*/ 364516 w 1453487"/>
                <a:gd name="connsiteY1" fmla="*/ 0 h 2961033"/>
                <a:gd name="connsiteX2" fmla="*/ 547038 w 1453487"/>
                <a:gd name="connsiteY2" fmla="*/ 269574 h 2961033"/>
                <a:gd name="connsiteX3" fmla="*/ 1000263 w 1453487"/>
                <a:gd name="connsiteY3" fmla="*/ 268982 h 2961033"/>
                <a:gd name="connsiteX4" fmla="*/ 1173708 w 1453487"/>
                <a:gd name="connsiteY4" fmla="*/ 26765 h 2961033"/>
                <a:gd name="connsiteX5" fmla="*/ 1453487 w 1453487"/>
                <a:gd name="connsiteY5" fmla="*/ 1534841 h 2961033"/>
                <a:gd name="connsiteX6" fmla="*/ 641445 w 1453487"/>
                <a:gd name="connsiteY6" fmla="*/ 2961033 h 2961033"/>
                <a:gd name="connsiteX7" fmla="*/ 0 w 1453487"/>
                <a:gd name="connsiteY7" fmla="*/ 1541666 h 2961033"/>
                <a:gd name="connsiteX0" fmla="*/ 0 w 1453487"/>
                <a:gd name="connsiteY0" fmla="*/ 1541666 h 2961033"/>
                <a:gd name="connsiteX1" fmla="*/ 364516 w 1453487"/>
                <a:gd name="connsiteY1" fmla="*/ 0 h 2961033"/>
                <a:gd name="connsiteX2" fmla="*/ 547038 w 1453487"/>
                <a:gd name="connsiteY2" fmla="*/ 269574 h 2961033"/>
                <a:gd name="connsiteX3" fmla="*/ 994566 w 1453487"/>
                <a:gd name="connsiteY3" fmla="*/ 271831 h 2961033"/>
                <a:gd name="connsiteX4" fmla="*/ 1173708 w 1453487"/>
                <a:gd name="connsiteY4" fmla="*/ 26765 h 2961033"/>
                <a:gd name="connsiteX5" fmla="*/ 1453487 w 1453487"/>
                <a:gd name="connsiteY5" fmla="*/ 1534841 h 2961033"/>
                <a:gd name="connsiteX6" fmla="*/ 641445 w 1453487"/>
                <a:gd name="connsiteY6" fmla="*/ 2961033 h 2961033"/>
                <a:gd name="connsiteX7" fmla="*/ 0 w 1453487"/>
                <a:gd name="connsiteY7" fmla="*/ 1541666 h 296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3487" h="2961033">
                  <a:moveTo>
                    <a:pt x="0" y="1541666"/>
                  </a:moveTo>
                  <a:lnTo>
                    <a:pt x="364516" y="0"/>
                  </a:lnTo>
                  <a:lnTo>
                    <a:pt x="547038" y="269574"/>
                  </a:lnTo>
                  <a:lnTo>
                    <a:pt x="994566" y="271831"/>
                  </a:lnTo>
                  <a:lnTo>
                    <a:pt x="1173708" y="26765"/>
                  </a:lnTo>
                  <a:lnTo>
                    <a:pt x="1453487" y="1534841"/>
                  </a:lnTo>
                  <a:lnTo>
                    <a:pt x="641445" y="2961033"/>
                  </a:lnTo>
                  <a:lnTo>
                    <a:pt x="0" y="1541666"/>
                  </a:ln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67539"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grpSp>
      <p:grpSp>
        <p:nvGrpSpPr>
          <p:cNvPr id="40" name="Group 92">
            <a:extLst>
              <a:ext uri="{FF2B5EF4-FFF2-40B4-BE49-F238E27FC236}">
                <a16:creationId xmlns:a16="http://schemas.microsoft.com/office/drawing/2014/main" id="{2FCA0BEB-1000-2FDB-C375-873BED743196}"/>
              </a:ext>
            </a:extLst>
          </p:cNvPr>
          <p:cNvGrpSpPr/>
          <p:nvPr/>
        </p:nvGrpSpPr>
        <p:grpSpPr>
          <a:xfrm>
            <a:off x="6486159" y="2855339"/>
            <a:ext cx="307308" cy="333291"/>
            <a:chOff x="7730994" y="2660585"/>
            <a:chExt cx="574806" cy="571606"/>
          </a:xfrm>
          <a:solidFill>
            <a:srgbClr val="008789"/>
          </a:solidFill>
          <a:effectLst/>
        </p:grpSpPr>
        <p:sp>
          <p:nvSpPr>
            <p:cNvPr id="41" name="Rounded Rectangle 93">
              <a:extLst>
                <a:ext uri="{FF2B5EF4-FFF2-40B4-BE49-F238E27FC236}">
                  <a16:creationId xmlns:a16="http://schemas.microsoft.com/office/drawing/2014/main" id="{383A3BC7-09AB-3BD6-E94A-CFC34909D2E3}"/>
                </a:ext>
              </a:extLst>
            </p:cNvPr>
            <p:cNvSpPr/>
            <p:nvPr/>
          </p:nvSpPr>
          <p:spPr>
            <a:xfrm rot="3847631" flipH="1">
              <a:off x="8228241" y="2707001"/>
              <a:ext cx="30121" cy="59878"/>
            </a:xfrm>
            <a:prstGeom prst="roundRect">
              <a:avLst>
                <a:gd name="adj" fmla="val 37579"/>
              </a:avLst>
            </a:prstGeom>
            <a:grpFill/>
            <a:ln w="12700" cap="flat" cmpd="sng" algn="ctr">
              <a:noFill/>
              <a:prstDash val="solid"/>
              <a:miter lim="800000"/>
            </a:ln>
            <a:effectLst/>
          </p:spPr>
          <p:txBody>
            <a:bodyPr rtlCol="0" anchor="ctr"/>
            <a:lstStyle/>
            <a:p>
              <a:pPr marL="0" marR="0" lvl="0" indent="0" algn="ctr" defTabSz="467539"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white"/>
                </a:solidFill>
                <a:effectLst/>
                <a:uLnTx/>
                <a:uFillTx/>
                <a:latin typeface="Arial"/>
                <a:ea typeface="+mn-ea"/>
                <a:cs typeface="+mn-cs"/>
              </a:endParaRPr>
            </a:p>
          </p:txBody>
        </p:sp>
        <p:sp>
          <p:nvSpPr>
            <p:cNvPr id="42" name="Rounded Rectangle 94">
              <a:extLst>
                <a:ext uri="{FF2B5EF4-FFF2-40B4-BE49-F238E27FC236}">
                  <a16:creationId xmlns:a16="http://schemas.microsoft.com/office/drawing/2014/main" id="{85AFA0D2-0126-2EB9-83DD-877C5F184A55}"/>
                </a:ext>
              </a:extLst>
            </p:cNvPr>
            <p:cNvSpPr/>
            <p:nvPr/>
          </p:nvSpPr>
          <p:spPr>
            <a:xfrm rot="5400000" flipH="1">
              <a:off x="8261286" y="2837961"/>
              <a:ext cx="29150" cy="59878"/>
            </a:xfrm>
            <a:prstGeom prst="roundRect">
              <a:avLst>
                <a:gd name="adj" fmla="val 37579"/>
              </a:avLst>
            </a:prstGeom>
            <a:grpFill/>
            <a:ln w="12700" cap="flat" cmpd="sng" algn="ctr">
              <a:noFill/>
              <a:prstDash val="solid"/>
              <a:miter lim="800000"/>
            </a:ln>
            <a:effectLst/>
          </p:spPr>
          <p:txBody>
            <a:bodyPr rtlCol="0" anchor="ctr"/>
            <a:lstStyle/>
            <a:p>
              <a:pPr marL="0" marR="0" lvl="0" indent="0" algn="ctr" defTabSz="467539"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white"/>
                </a:solidFill>
                <a:effectLst/>
                <a:uLnTx/>
                <a:uFillTx/>
                <a:latin typeface="Arial"/>
                <a:ea typeface="+mn-ea"/>
                <a:cs typeface="+mn-cs"/>
              </a:endParaRPr>
            </a:p>
          </p:txBody>
        </p:sp>
        <p:sp>
          <p:nvSpPr>
            <p:cNvPr id="43" name="Rounded Rectangle 95">
              <a:extLst>
                <a:ext uri="{FF2B5EF4-FFF2-40B4-BE49-F238E27FC236}">
                  <a16:creationId xmlns:a16="http://schemas.microsoft.com/office/drawing/2014/main" id="{C9194E93-2279-2EED-FE37-B633FA07980F}"/>
                </a:ext>
              </a:extLst>
            </p:cNvPr>
            <p:cNvSpPr/>
            <p:nvPr/>
          </p:nvSpPr>
          <p:spPr>
            <a:xfrm rot="7100166" flipH="1">
              <a:off x="8229932" y="2966995"/>
              <a:ext cx="29150" cy="59878"/>
            </a:xfrm>
            <a:prstGeom prst="roundRect">
              <a:avLst>
                <a:gd name="adj" fmla="val 37579"/>
              </a:avLst>
            </a:prstGeom>
            <a:grpFill/>
            <a:ln w="12700" cap="flat" cmpd="sng" algn="ctr">
              <a:noFill/>
              <a:prstDash val="solid"/>
              <a:miter lim="800000"/>
            </a:ln>
            <a:effectLst/>
          </p:spPr>
          <p:txBody>
            <a:bodyPr rtlCol="0" anchor="ctr"/>
            <a:lstStyle/>
            <a:p>
              <a:pPr marL="0" marR="0" lvl="0" indent="0" algn="ctr" defTabSz="467539"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white"/>
                </a:solidFill>
                <a:effectLst/>
                <a:uLnTx/>
                <a:uFillTx/>
                <a:latin typeface="Arial"/>
                <a:ea typeface="+mn-ea"/>
                <a:cs typeface="+mn-cs"/>
              </a:endParaRPr>
            </a:p>
          </p:txBody>
        </p:sp>
        <p:sp>
          <p:nvSpPr>
            <p:cNvPr id="44" name="Rounded Rectangle 96">
              <a:extLst>
                <a:ext uri="{FF2B5EF4-FFF2-40B4-BE49-F238E27FC236}">
                  <a16:creationId xmlns:a16="http://schemas.microsoft.com/office/drawing/2014/main" id="{DAA14534-6870-6E9A-6658-39116DDF2057}"/>
                </a:ext>
              </a:extLst>
            </p:cNvPr>
            <p:cNvSpPr/>
            <p:nvPr/>
          </p:nvSpPr>
          <p:spPr>
            <a:xfrm rot="17752369">
              <a:off x="7779639" y="2707001"/>
              <a:ext cx="30121" cy="59878"/>
            </a:xfrm>
            <a:prstGeom prst="roundRect">
              <a:avLst>
                <a:gd name="adj" fmla="val 37579"/>
              </a:avLst>
            </a:prstGeom>
            <a:grpFill/>
            <a:ln w="12700" cap="flat" cmpd="sng" algn="ctr">
              <a:noFill/>
              <a:prstDash val="solid"/>
              <a:miter lim="800000"/>
            </a:ln>
            <a:effectLst/>
          </p:spPr>
          <p:txBody>
            <a:bodyPr rtlCol="0" anchor="ctr"/>
            <a:lstStyle/>
            <a:p>
              <a:pPr marL="0" marR="0" lvl="0" indent="0" algn="ctr" defTabSz="467539"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white"/>
                </a:solidFill>
                <a:effectLst/>
                <a:uLnTx/>
                <a:uFillTx/>
                <a:latin typeface="Arial"/>
                <a:ea typeface="+mn-ea"/>
                <a:cs typeface="+mn-cs"/>
              </a:endParaRPr>
            </a:p>
          </p:txBody>
        </p:sp>
        <p:sp>
          <p:nvSpPr>
            <p:cNvPr id="45" name="Freeform 97">
              <a:extLst>
                <a:ext uri="{FF2B5EF4-FFF2-40B4-BE49-F238E27FC236}">
                  <a16:creationId xmlns:a16="http://schemas.microsoft.com/office/drawing/2014/main" id="{D78FFA53-8648-AAE1-7772-795A9740DF93}"/>
                </a:ext>
              </a:extLst>
            </p:cNvPr>
            <p:cNvSpPr/>
            <p:nvPr/>
          </p:nvSpPr>
          <p:spPr>
            <a:xfrm flipH="1">
              <a:off x="7809882" y="2660585"/>
              <a:ext cx="418454" cy="571606"/>
            </a:xfrm>
            <a:custGeom>
              <a:avLst/>
              <a:gdLst>
                <a:gd name="connsiteX0" fmla="*/ 209227 w 418454"/>
                <a:gd name="connsiteY0" fmla="*/ 0 h 571606"/>
                <a:gd name="connsiteX1" fmla="*/ 0 w 418454"/>
                <a:gd name="connsiteY1" fmla="*/ 209830 h 571606"/>
                <a:gd name="connsiteX2" fmla="*/ 109497 w 418454"/>
                <a:gd name="connsiteY2" fmla="*/ 394335 h 571606"/>
                <a:gd name="connsiteX3" fmla="*/ 116134 w 418454"/>
                <a:gd name="connsiteY3" fmla="*/ 397541 h 571606"/>
                <a:gd name="connsiteX4" fmla="*/ 114408 w 418454"/>
                <a:gd name="connsiteY4" fmla="*/ 403104 h 571606"/>
                <a:gd name="connsiteX5" fmla="*/ 113356 w 418454"/>
                <a:gd name="connsiteY5" fmla="*/ 413535 h 571606"/>
                <a:gd name="connsiteX6" fmla="*/ 113356 w 418454"/>
                <a:gd name="connsiteY6" fmla="*/ 496934 h 571606"/>
                <a:gd name="connsiteX7" fmla="*/ 165115 w 418454"/>
                <a:gd name="connsiteY7" fmla="*/ 548693 h 571606"/>
                <a:gd name="connsiteX8" fmla="*/ 168300 w 418454"/>
                <a:gd name="connsiteY8" fmla="*/ 548693 h 571606"/>
                <a:gd name="connsiteX9" fmla="*/ 171522 w 418454"/>
                <a:gd name="connsiteY9" fmla="*/ 554061 h 571606"/>
                <a:gd name="connsiteX10" fmla="*/ 208021 w 418454"/>
                <a:gd name="connsiteY10" fmla="*/ 571606 h 571606"/>
                <a:gd name="connsiteX11" fmla="*/ 244520 w 418454"/>
                <a:gd name="connsiteY11" fmla="*/ 554061 h 571606"/>
                <a:gd name="connsiteX12" fmla="*/ 247742 w 418454"/>
                <a:gd name="connsiteY12" fmla="*/ 548693 h 571606"/>
                <a:gd name="connsiteX13" fmla="*/ 252132 w 418454"/>
                <a:gd name="connsiteY13" fmla="*/ 548693 h 571606"/>
                <a:gd name="connsiteX14" fmla="*/ 303891 w 418454"/>
                <a:gd name="connsiteY14" fmla="*/ 496934 h 571606"/>
                <a:gd name="connsiteX15" fmla="*/ 303891 w 418454"/>
                <a:gd name="connsiteY15" fmla="*/ 413535 h 571606"/>
                <a:gd name="connsiteX16" fmla="*/ 302840 w 418454"/>
                <a:gd name="connsiteY16" fmla="*/ 403104 h 571606"/>
                <a:gd name="connsiteX17" fmla="*/ 301270 w 418454"/>
                <a:gd name="connsiteY17" fmla="*/ 398048 h 571606"/>
                <a:gd name="connsiteX18" fmla="*/ 308957 w 418454"/>
                <a:gd name="connsiteY18" fmla="*/ 394335 h 571606"/>
                <a:gd name="connsiteX19" fmla="*/ 418454 w 418454"/>
                <a:gd name="connsiteY19" fmla="*/ 209830 h 571606"/>
                <a:gd name="connsiteX20" fmla="*/ 209227 w 418454"/>
                <a:gd name="connsiteY20" fmla="*/ 0 h 571606"/>
                <a:gd name="connsiteX21" fmla="*/ 208625 w 418454"/>
                <a:gd name="connsiteY21" fmla="*/ 39796 h 571606"/>
                <a:gd name="connsiteX22" fmla="*/ 377454 w 418454"/>
                <a:gd name="connsiteY22" fmla="*/ 209228 h 571606"/>
                <a:gd name="connsiteX23" fmla="*/ 289099 w 418454"/>
                <a:gd name="connsiteY23" fmla="*/ 358210 h 571606"/>
                <a:gd name="connsiteX24" fmla="*/ 268921 w 418454"/>
                <a:gd name="connsiteY24" fmla="*/ 376448 h 571606"/>
                <a:gd name="connsiteX25" fmla="*/ 234784 w 418454"/>
                <a:gd name="connsiteY25" fmla="*/ 417905 h 571606"/>
                <a:gd name="connsiteX26" fmla="*/ 182645 w 418454"/>
                <a:gd name="connsiteY26" fmla="*/ 417905 h 571606"/>
                <a:gd name="connsiteX27" fmla="*/ 144626 w 418454"/>
                <a:gd name="connsiteY27" fmla="*/ 374077 h 571606"/>
                <a:gd name="connsiteX28" fmla="*/ 128151 w 418454"/>
                <a:gd name="connsiteY28" fmla="*/ 358210 h 571606"/>
                <a:gd name="connsiteX29" fmla="*/ 39796 w 418454"/>
                <a:gd name="connsiteY29" fmla="*/ 209228 h 571606"/>
                <a:gd name="connsiteX30" fmla="*/ 208625 w 418454"/>
                <a:gd name="connsiteY30" fmla="*/ 39796 h 571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18454" h="571606">
                  <a:moveTo>
                    <a:pt x="209227" y="0"/>
                  </a:moveTo>
                  <a:cubicBezTo>
                    <a:pt x="93674" y="0"/>
                    <a:pt x="0" y="93944"/>
                    <a:pt x="0" y="209830"/>
                  </a:cubicBezTo>
                  <a:cubicBezTo>
                    <a:pt x="0" y="289502"/>
                    <a:pt x="44275" y="358802"/>
                    <a:pt x="109497" y="394335"/>
                  </a:cubicBezTo>
                  <a:lnTo>
                    <a:pt x="116134" y="397541"/>
                  </a:lnTo>
                  <a:lnTo>
                    <a:pt x="114408" y="403104"/>
                  </a:lnTo>
                  <a:cubicBezTo>
                    <a:pt x="113718" y="406473"/>
                    <a:pt x="113356" y="409962"/>
                    <a:pt x="113356" y="413535"/>
                  </a:cubicBezTo>
                  <a:lnTo>
                    <a:pt x="113356" y="496934"/>
                  </a:lnTo>
                  <a:cubicBezTo>
                    <a:pt x="113356" y="525520"/>
                    <a:pt x="136529" y="548693"/>
                    <a:pt x="165115" y="548693"/>
                  </a:cubicBezTo>
                  <a:lnTo>
                    <a:pt x="168300" y="548693"/>
                  </a:lnTo>
                  <a:lnTo>
                    <a:pt x="171522" y="554061"/>
                  </a:lnTo>
                  <a:cubicBezTo>
                    <a:pt x="179432" y="564646"/>
                    <a:pt x="192827" y="571606"/>
                    <a:pt x="208021" y="571606"/>
                  </a:cubicBezTo>
                  <a:cubicBezTo>
                    <a:pt x="223214" y="571606"/>
                    <a:pt x="236610" y="564646"/>
                    <a:pt x="244520" y="554061"/>
                  </a:cubicBezTo>
                  <a:lnTo>
                    <a:pt x="247742" y="548693"/>
                  </a:lnTo>
                  <a:lnTo>
                    <a:pt x="252132" y="548693"/>
                  </a:lnTo>
                  <a:cubicBezTo>
                    <a:pt x="280718" y="548693"/>
                    <a:pt x="303891" y="525520"/>
                    <a:pt x="303891" y="496934"/>
                  </a:cubicBezTo>
                  <a:lnTo>
                    <a:pt x="303891" y="413535"/>
                  </a:lnTo>
                  <a:cubicBezTo>
                    <a:pt x="303891" y="409962"/>
                    <a:pt x="303529" y="406473"/>
                    <a:pt x="302840" y="403104"/>
                  </a:cubicBezTo>
                  <a:lnTo>
                    <a:pt x="301270" y="398048"/>
                  </a:lnTo>
                  <a:lnTo>
                    <a:pt x="308957" y="394335"/>
                  </a:lnTo>
                  <a:cubicBezTo>
                    <a:pt x="374178" y="358802"/>
                    <a:pt x="418454" y="289502"/>
                    <a:pt x="418454" y="209830"/>
                  </a:cubicBezTo>
                  <a:cubicBezTo>
                    <a:pt x="418454" y="93944"/>
                    <a:pt x="324780" y="0"/>
                    <a:pt x="209227" y="0"/>
                  </a:cubicBezTo>
                  <a:close/>
                  <a:moveTo>
                    <a:pt x="208625" y="39796"/>
                  </a:moveTo>
                  <a:cubicBezTo>
                    <a:pt x="301866" y="39796"/>
                    <a:pt x="377454" y="115653"/>
                    <a:pt x="377454" y="209228"/>
                  </a:cubicBezTo>
                  <a:cubicBezTo>
                    <a:pt x="377454" y="273561"/>
                    <a:pt x="341727" y="328778"/>
                    <a:pt x="289099" y="358210"/>
                  </a:cubicBezTo>
                  <a:cubicBezTo>
                    <a:pt x="281262" y="363920"/>
                    <a:pt x="276387" y="364816"/>
                    <a:pt x="268921" y="376448"/>
                  </a:cubicBezTo>
                  <a:cubicBezTo>
                    <a:pt x="259273" y="407388"/>
                    <a:pt x="263312" y="417905"/>
                    <a:pt x="234784" y="417905"/>
                  </a:cubicBezTo>
                  <a:lnTo>
                    <a:pt x="182645" y="417905"/>
                  </a:lnTo>
                  <a:cubicBezTo>
                    <a:pt x="143366" y="417931"/>
                    <a:pt x="160608" y="389174"/>
                    <a:pt x="144626" y="374077"/>
                  </a:cubicBezTo>
                  <a:cubicBezTo>
                    <a:pt x="136049" y="363728"/>
                    <a:pt x="134877" y="363746"/>
                    <a:pt x="128151" y="358210"/>
                  </a:cubicBezTo>
                  <a:cubicBezTo>
                    <a:pt x="75523" y="329519"/>
                    <a:pt x="39796" y="273561"/>
                    <a:pt x="39796" y="209228"/>
                  </a:cubicBezTo>
                  <a:cubicBezTo>
                    <a:pt x="39796" y="115653"/>
                    <a:pt x="115383" y="39796"/>
                    <a:pt x="208625" y="39796"/>
                  </a:cubicBezTo>
                  <a:close/>
                </a:path>
              </a:pathLst>
            </a:custGeom>
            <a:grpFill/>
            <a:ln w="12700" cap="flat" cmpd="sng" algn="ctr">
              <a:noFill/>
              <a:prstDash val="solid"/>
              <a:miter lim="800000"/>
            </a:ln>
            <a:effectLst/>
          </p:spPr>
          <p:txBody>
            <a:bodyPr wrap="square" rtlCol="0" anchor="ctr">
              <a:noAutofit/>
            </a:bodyPr>
            <a:lstStyle/>
            <a:p>
              <a:pPr marL="0" marR="0" lvl="0" indent="0" algn="ctr" defTabSz="467539"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white"/>
                </a:solidFill>
                <a:effectLst/>
                <a:uLnTx/>
                <a:uFillTx/>
                <a:latin typeface="Arial"/>
                <a:ea typeface="+mn-ea"/>
                <a:cs typeface="+mn-cs"/>
              </a:endParaRPr>
            </a:p>
          </p:txBody>
        </p:sp>
        <p:sp>
          <p:nvSpPr>
            <p:cNvPr id="46" name="Rounded Rectangle 98">
              <a:extLst>
                <a:ext uri="{FF2B5EF4-FFF2-40B4-BE49-F238E27FC236}">
                  <a16:creationId xmlns:a16="http://schemas.microsoft.com/office/drawing/2014/main" id="{06DBF327-C316-9FEE-CA8A-4BFDC4FBAD20}"/>
                </a:ext>
              </a:extLst>
            </p:cNvPr>
            <p:cNvSpPr/>
            <p:nvPr/>
          </p:nvSpPr>
          <p:spPr>
            <a:xfrm rot="16200000">
              <a:off x="7746358" y="2837961"/>
              <a:ext cx="29150" cy="59878"/>
            </a:xfrm>
            <a:prstGeom prst="roundRect">
              <a:avLst>
                <a:gd name="adj" fmla="val 37579"/>
              </a:avLst>
            </a:prstGeom>
            <a:grpFill/>
            <a:ln w="12700" cap="flat" cmpd="sng" algn="ctr">
              <a:noFill/>
              <a:prstDash val="solid"/>
              <a:miter lim="800000"/>
            </a:ln>
            <a:effectLst/>
          </p:spPr>
          <p:txBody>
            <a:bodyPr rtlCol="0" anchor="ctr"/>
            <a:lstStyle/>
            <a:p>
              <a:pPr marL="0" marR="0" lvl="0" indent="0" algn="ctr" defTabSz="467539"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white"/>
                </a:solidFill>
                <a:effectLst/>
                <a:uLnTx/>
                <a:uFillTx/>
                <a:latin typeface="Arial"/>
                <a:ea typeface="+mn-ea"/>
                <a:cs typeface="+mn-cs"/>
              </a:endParaRPr>
            </a:p>
          </p:txBody>
        </p:sp>
        <p:sp>
          <p:nvSpPr>
            <p:cNvPr id="47" name="Rounded Rectangle 99">
              <a:extLst>
                <a:ext uri="{FF2B5EF4-FFF2-40B4-BE49-F238E27FC236}">
                  <a16:creationId xmlns:a16="http://schemas.microsoft.com/office/drawing/2014/main" id="{40A0C009-7E0D-5EC2-3BD4-D5860AA29189}"/>
                </a:ext>
              </a:extLst>
            </p:cNvPr>
            <p:cNvSpPr/>
            <p:nvPr/>
          </p:nvSpPr>
          <p:spPr>
            <a:xfrm rot="14499834">
              <a:off x="7781330" y="2966993"/>
              <a:ext cx="29150" cy="59878"/>
            </a:xfrm>
            <a:prstGeom prst="roundRect">
              <a:avLst>
                <a:gd name="adj" fmla="val 37579"/>
              </a:avLst>
            </a:prstGeom>
            <a:grpFill/>
            <a:ln w="12700" cap="flat" cmpd="sng" algn="ctr">
              <a:noFill/>
              <a:prstDash val="solid"/>
              <a:miter lim="800000"/>
            </a:ln>
            <a:effectLst/>
          </p:spPr>
          <p:txBody>
            <a:bodyPr rtlCol="0" anchor="ctr"/>
            <a:lstStyle/>
            <a:p>
              <a:pPr marL="0" marR="0" lvl="0" indent="0" algn="ctr" defTabSz="467539"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white"/>
                </a:solidFill>
                <a:effectLst/>
                <a:uLnTx/>
                <a:uFillTx/>
                <a:latin typeface="Arial"/>
                <a:ea typeface="+mn-ea"/>
                <a:cs typeface="+mn-cs"/>
              </a:endParaRPr>
            </a:p>
          </p:txBody>
        </p:sp>
        <p:sp>
          <p:nvSpPr>
            <p:cNvPr id="49" name="Rectangle 22">
              <a:extLst>
                <a:ext uri="{FF2B5EF4-FFF2-40B4-BE49-F238E27FC236}">
                  <a16:creationId xmlns:a16="http://schemas.microsoft.com/office/drawing/2014/main" id="{B24F4277-DDBD-AD45-504A-D13C33B010BC}"/>
                </a:ext>
              </a:extLst>
            </p:cNvPr>
            <p:cNvSpPr/>
            <p:nvPr/>
          </p:nvSpPr>
          <p:spPr>
            <a:xfrm flipH="1">
              <a:off x="7948561" y="2812761"/>
              <a:ext cx="147122" cy="45608"/>
            </a:xfrm>
            <a:custGeom>
              <a:avLst/>
              <a:gdLst>
                <a:gd name="connsiteX0" fmla="*/ 0 w 1658983"/>
                <a:gd name="connsiteY0" fmla="*/ 0 h 496389"/>
                <a:gd name="connsiteX1" fmla="*/ 1658983 w 1658983"/>
                <a:gd name="connsiteY1" fmla="*/ 0 h 496389"/>
                <a:gd name="connsiteX2" fmla="*/ 1658983 w 1658983"/>
                <a:gd name="connsiteY2" fmla="*/ 496389 h 496389"/>
                <a:gd name="connsiteX3" fmla="*/ 0 w 1658983"/>
                <a:gd name="connsiteY3" fmla="*/ 496389 h 496389"/>
                <a:gd name="connsiteX4" fmla="*/ 0 w 1658983"/>
                <a:gd name="connsiteY4" fmla="*/ 0 h 496389"/>
                <a:gd name="connsiteX0" fmla="*/ 0 w 1685109"/>
                <a:gd name="connsiteY0" fmla="*/ 0 h 496389"/>
                <a:gd name="connsiteX1" fmla="*/ 1685109 w 1685109"/>
                <a:gd name="connsiteY1" fmla="*/ 156754 h 496389"/>
                <a:gd name="connsiteX2" fmla="*/ 1658983 w 1685109"/>
                <a:gd name="connsiteY2" fmla="*/ 496389 h 496389"/>
                <a:gd name="connsiteX3" fmla="*/ 0 w 1685109"/>
                <a:gd name="connsiteY3" fmla="*/ 496389 h 496389"/>
                <a:gd name="connsiteX4" fmla="*/ 0 w 1685109"/>
                <a:gd name="connsiteY4" fmla="*/ 0 h 496389"/>
                <a:gd name="connsiteX0" fmla="*/ 91440 w 1685109"/>
                <a:gd name="connsiteY0" fmla="*/ 52252 h 339635"/>
                <a:gd name="connsiteX1" fmla="*/ 1685109 w 1685109"/>
                <a:gd name="connsiteY1" fmla="*/ 0 h 339635"/>
                <a:gd name="connsiteX2" fmla="*/ 1658983 w 1685109"/>
                <a:gd name="connsiteY2" fmla="*/ 339635 h 339635"/>
                <a:gd name="connsiteX3" fmla="*/ 0 w 1685109"/>
                <a:gd name="connsiteY3" fmla="*/ 339635 h 339635"/>
                <a:gd name="connsiteX4" fmla="*/ 91440 w 1685109"/>
                <a:gd name="connsiteY4" fmla="*/ 52252 h 339635"/>
                <a:gd name="connsiteX0" fmla="*/ 0 w 1593669"/>
                <a:gd name="connsiteY0" fmla="*/ 52252 h 352698"/>
                <a:gd name="connsiteX1" fmla="*/ 1593669 w 1593669"/>
                <a:gd name="connsiteY1" fmla="*/ 0 h 352698"/>
                <a:gd name="connsiteX2" fmla="*/ 1567543 w 1593669"/>
                <a:gd name="connsiteY2" fmla="*/ 339635 h 352698"/>
                <a:gd name="connsiteX3" fmla="*/ 91440 w 1593669"/>
                <a:gd name="connsiteY3" fmla="*/ 352698 h 352698"/>
                <a:gd name="connsiteX4" fmla="*/ 0 w 1593669"/>
                <a:gd name="connsiteY4" fmla="*/ 52252 h 352698"/>
                <a:gd name="connsiteX0" fmla="*/ 0 w 1593669"/>
                <a:gd name="connsiteY0" fmla="*/ 145960 h 446406"/>
                <a:gd name="connsiteX1" fmla="*/ 1593669 w 1593669"/>
                <a:gd name="connsiteY1" fmla="*/ 93708 h 446406"/>
                <a:gd name="connsiteX2" fmla="*/ 1567543 w 1593669"/>
                <a:gd name="connsiteY2" fmla="*/ 433343 h 446406"/>
                <a:gd name="connsiteX3" fmla="*/ 91440 w 1593669"/>
                <a:gd name="connsiteY3" fmla="*/ 446406 h 446406"/>
                <a:gd name="connsiteX4" fmla="*/ 0 w 1593669"/>
                <a:gd name="connsiteY4" fmla="*/ 145960 h 446406"/>
                <a:gd name="connsiteX0" fmla="*/ 0 w 1593669"/>
                <a:gd name="connsiteY0" fmla="*/ 193446 h 493892"/>
                <a:gd name="connsiteX1" fmla="*/ 1593669 w 1593669"/>
                <a:gd name="connsiteY1" fmla="*/ 141194 h 493892"/>
                <a:gd name="connsiteX2" fmla="*/ 1567543 w 1593669"/>
                <a:gd name="connsiteY2" fmla="*/ 480829 h 493892"/>
                <a:gd name="connsiteX3" fmla="*/ 91440 w 1593669"/>
                <a:gd name="connsiteY3" fmla="*/ 493892 h 493892"/>
                <a:gd name="connsiteX4" fmla="*/ 0 w 1593669"/>
                <a:gd name="connsiteY4" fmla="*/ 193446 h 493892"/>
                <a:gd name="connsiteX0" fmla="*/ 0 w 1593669"/>
                <a:gd name="connsiteY0" fmla="*/ 193446 h 493892"/>
                <a:gd name="connsiteX1" fmla="*/ 1593669 w 1593669"/>
                <a:gd name="connsiteY1" fmla="*/ 141194 h 493892"/>
                <a:gd name="connsiteX2" fmla="*/ 1567543 w 1593669"/>
                <a:gd name="connsiteY2" fmla="*/ 480829 h 493892"/>
                <a:gd name="connsiteX3" fmla="*/ 91440 w 1593669"/>
                <a:gd name="connsiteY3" fmla="*/ 493892 h 493892"/>
                <a:gd name="connsiteX4" fmla="*/ 0 w 1593669"/>
                <a:gd name="connsiteY4" fmla="*/ 193446 h 493892"/>
                <a:gd name="connsiteX0" fmla="*/ 0 w 1593669"/>
                <a:gd name="connsiteY0" fmla="*/ 193446 h 494033"/>
                <a:gd name="connsiteX1" fmla="*/ 1593669 w 1593669"/>
                <a:gd name="connsiteY1" fmla="*/ 141194 h 494033"/>
                <a:gd name="connsiteX2" fmla="*/ 1567543 w 1593669"/>
                <a:gd name="connsiteY2" fmla="*/ 480829 h 494033"/>
                <a:gd name="connsiteX3" fmla="*/ 91440 w 1593669"/>
                <a:gd name="connsiteY3" fmla="*/ 493892 h 494033"/>
                <a:gd name="connsiteX4" fmla="*/ 0 w 1593669"/>
                <a:gd name="connsiteY4" fmla="*/ 193446 h 4940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669" h="494033">
                  <a:moveTo>
                    <a:pt x="0" y="193446"/>
                  </a:moveTo>
                  <a:cubicBezTo>
                    <a:pt x="596538" y="-111354"/>
                    <a:pt x="1180011" y="1857"/>
                    <a:pt x="1593669" y="141194"/>
                  </a:cubicBezTo>
                  <a:lnTo>
                    <a:pt x="1567543" y="480829"/>
                  </a:lnTo>
                  <a:cubicBezTo>
                    <a:pt x="657498" y="106360"/>
                    <a:pt x="100148" y="502601"/>
                    <a:pt x="91440" y="493892"/>
                  </a:cubicBezTo>
                  <a:lnTo>
                    <a:pt x="0" y="193446"/>
                  </a:lnTo>
                  <a:close/>
                </a:path>
              </a:pathLst>
            </a:custGeom>
            <a:grpFill/>
            <a:ln w="12700" cap="flat" cmpd="sng" algn="ctr">
              <a:noFill/>
              <a:prstDash val="solid"/>
              <a:miter lim="800000"/>
            </a:ln>
            <a:effectLst/>
          </p:spPr>
          <p:txBody>
            <a:bodyPr rtlCol="0" anchor="ctr"/>
            <a:lstStyle/>
            <a:p>
              <a:pPr marL="0" marR="0" lvl="0" indent="0" algn="ctr" defTabSz="467539"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white"/>
                </a:solidFill>
                <a:effectLst/>
                <a:uLnTx/>
                <a:uFillTx/>
                <a:latin typeface="Arial"/>
                <a:ea typeface="+mn-ea"/>
                <a:cs typeface="+mn-cs"/>
              </a:endParaRPr>
            </a:p>
          </p:txBody>
        </p:sp>
        <p:sp>
          <p:nvSpPr>
            <p:cNvPr id="50" name="Rounded Rectangle 101">
              <a:extLst>
                <a:ext uri="{FF2B5EF4-FFF2-40B4-BE49-F238E27FC236}">
                  <a16:creationId xmlns:a16="http://schemas.microsoft.com/office/drawing/2014/main" id="{B8A2F1A8-251F-A6FC-5618-2F889C89E81D}"/>
                </a:ext>
              </a:extLst>
            </p:cNvPr>
            <p:cNvSpPr/>
            <p:nvPr/>
          </p:nvSpPr>
          <p:spPr>
            <a:xfrm rot="1017622" flipH="1">
              <a:off x="8067741" y="2788341"/>
              <a:ext cx="30121" cy="201211"/>
            </a:xfrm>
            <a:prstGeom prst="roundRect">
              <a:avLst>
                <a:gd name="adj" fmla="val 45238"/>
              </a:avLst>
            </a:prstGeom>
            <a:grpFill/>
            <a:ln w="12700" cap="flat" cmpd="sng" algn="ctr">
              <a:noFill/>
              <a:prstDash val="solid"/>
              <a:miter lim="800000"/>
            </a:ln>
            <a:effectLst/>
          </p:spPr>
          <p:txBody>
            <a:bodyPr rtlCol="0" anchor="ctr"/>
            <a:lstStyle/>
            <a:p>
              <a:pPr marL="0" marR="0" lvl="0" indent="0" algn="ctr" defTabSz="467539"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white"/>
                </a:solidFill>
                <a:effectLst/>
                <a:uLnTx/>
                <a:uFillTx/>
                <a:latin typeface="Arial"/>
                <a:ea typeface="+mn-ea"/>
                <a:cs typeface="+mn-cs"/>
              </a:endParaRPr>
            </a:p>
          </p:txBody>
        </p:sp>
        <p:sp>
          <p:nvSpPr>
            <p:cNvPr id="51" name="Rounded Rectangle 102">
              <a:extLst>
                <a:ext uri="{FF2B5EF4-FFF2-40B4-BE49-F238E27FC236}">
                  <a16:creationId xmlns:a16="http://schemas.microsoft.com/office/drawing/2014/main" id="{E3863335-59D1-7EB1-65B0-79D7926CECA2}"/>
                </a:ext>
              </a:extLst>
            </p:cNvPr>
            <p:cNvSpPr/>
            <p:nvPr/>
          </p:nvSpPr>
          <p:spPr>
            <a:xfrm rot="20661205" flipH="1">
              <a:off x="7939716" y="2787184"/>
              <a:ext cx="31107" cy="201211"/>
            </a:xfrm>
            <a:prstGeom prst="roundRect">
              <a:avLst>
                <a:gd name="adj" fmla="val 45238"/>
              </a:avLst>
            </a:prstGeom>
            <a:grpFill/>
            <a:ln w="12700" cap="flat" cmpd="sng" algn="ctr">
              <a:noFill/>
              <a:prstDash val="solid"/>
              <a:miter lim="800000"/>
            </a:ln>
            <a:effectLst/>
          </p:spPr>
          <p:txBody>
            <a:bodyPr rtlCol="0" anchor="ctr"/>
            <a:lstStyle/>
            <a:p>
              <a:pPr marL="0" marR="0" lvl="0" indent="0" algn="ctr" defTabSz="467539"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white"/>
                </a:solidFill>
                <a:effectLst/>
                <a:uLnTx/>
                <a:uFillTx/>
                <a:latin typeface="Arial"/>
                <a:ea typeface="+mn-ea"/>
                <a:cs typeface="+mn-cs"/>
              </a:endParaRPr>
            </a:p>
          </p:txBody>
        </p:sp>
        <p:sp>
          <p:nvSpPr>
            <p:cNvPr id="52" name="Rounded Rectangle 103">
              <a:extLst>
                <a:ext uri="{FF2B5EF4-FFF2-40B4-BE49-F238E27FC236}">
                  <a16:creationId xmlns:a16="http://schemas.microsoft.com/office/drawing/2014/main" id="{314EF2D3-D1C7-C313-F9DF-B730D18C36EA}"/>
                </a:ext>
              </a:extLst>
            </p:cNvPr>
            <p:cNvSpPr/>
            <p:nvPr/>
          </p:nvSpPr>
          <p:spPr>
            <a:xfrm flipH="1">
              <a:off x="8003824" y="2781103"/>
              <a:ext cx="30121" cy="104986"/>
            </a:xfrm>
            <a:prstGeom prst="roundRect">
              <a:avLst>
                <a:gd name="adj" fmla="val 45238"/>
              </a:avLst>
            </a:prstGeom>
            <a:grpFill/>
            <a:ln w="12700" cap="flat" cmpd="sng" algn="ctr">
              <a:noFill/>
              <a:prstDash val="solid"/>
              <a:miter lim="800000"/>
            </a:ln>
            <a:effectLst/>
          </p:spPr>
          <p:txBody>
            <a:bodyPr rtlCol="0" anchor="ctr"/>
            <a:lstStyle/>
            <a:p>
              <a:pPr marL="0" marR="0" lvl="0" indent="0" algn="ctr" defTabSz="467539"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white"/>
                </a:solidFill>
                <a:effectLst/>
                <a:uLnTx/>
                <a:uFillTx/>
                <a:latin typeface="Arial"/>
                <a:ea typeface="+mn-ea"/>
                <a:cs typeface="+mn-cs"/>
              </a:endParaRPr>
            </a:p>
          </p:txBody>
        </p:sp>
      </p:grpSp>
      <p:grpSp>
        <p:nvGrpSpPr>
          <p:cNvPr id="53" name="Group 236">
            <a:extLst>
              <a:ext uri="{FF2B5EF4-FFF2-40B4-BE49-F238E27FC236}">
                <a16:creationId xmlns:a16="http://schemas.microsoft.com/office/drawing/2014/main" id="{25DDC3ED-8B0B-1268-1D39-A0E443506465}"/>
              </a:ext>
            </a:extLst>
          </p:cNvPr>
          <p:cNvGrpSpPr>
            <a:grpSpLocks noChangeAspect="1"/>
          </p:cNvGrpSpPr>
          <p:nvPr/>
        </p:nvGrpSpPr>
        <p:grpSpPr>
          <a:xfrm>
            <a:off x="6456949" y="3541395"/>
            <a:ext cx="360347" cy="360000"/>
            <a:chOff x="5273675" y="2606675"/>
            <a:chExt cx="1646238" cy="1644650"/>
          </a:xfrm>
        </p:grpSpPr>
        <p:sp>
          <p:nvSpPr>
            <p:cNvPr id="54" name="AutoShape 3">
              <a:extLst>
                <a:ext uri="{FF2B5EF4-FFF2-40B4-BE49-F238E27FC236}">
                  <a16:creationId xmlns:a16="http://schemas.microsoft.com/office/drawing/2014/main" id="{AC1BB4A4-D45C-9272-C63A-D0642898BC5F}"/>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467539"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Arial" panose="020B0604020202020204" pitchFamily="34" charset="0"/>
              </a:endParaRPr>
            </a:p>
          </p:txBody>
        </p:sp>
        <p:grpSp>
          <p:nvGrpSpPr>
            <p:cNvPr id="55" name="Group 287">
              <a:extLst>
                <a:ext uri="{FF2B5EF4-FFF2-40B4-BE49-F238E27FC236}">
                  <a16:creationId xmlns:a16="http://schemas.microsoft.com/office/drawing/2014/main" id="{D425B654-EE90-A648-F065-E74F72E1E298}"/>
                </a:ext>
              </a:extLst>
            </p:cNvPr>
            <p:cNvGrpSpPr/>
            <p:nvPr/>
          </p:nvGrpSpPr>
          <p:grpSpPr>
            <a:xfrm>
              <a:off x="5578475" y="2889250"/>
              <a:ext cx="968375" cy="1192213"/>
              <a:chOff x="5578475" y="2889250"/>
              <a:chExt cx="968375" cy="1192213"/>
            </a:xfrm>
          </p:grpSpPr>
          <p:sp>
            <p:nvSpPr>
              <p:cNvPr id="56" name="Freeform 52">
                <a:extLst>
                  <a:ext uri="{FF2B5EF4-FFF2-40B4-BE49-F238E27FC236}">
                    <a16:creationId xmlns:a16="http://schemas.microsoft.com/office/drawing/2014/main" id="{C798198F-733F-529D-2DFF-39F8C2BA71ED}"/>
                  </a:ext>
                </a:extLst>
              </p:cNvPr>
              <p:cNvSpPr>
                <a:spLocks/>
              </p:cNvSpPr>
              <p:nvPr/>
            </p:nvSpPr>
            <p:spPr bwMode="auto">
              <a:xfrm>
                <a:off x="5578475" y="2889250"/>
                <a:ext cx="968375" cy="1192213"/>
              </a:xfrm>
              <a:custGeom>
                <a:avLst/>
                <a:gdLst>
                  <a:gd name="connsiteX0" fmla="*/ 7161 w 968375"/>
                  <a:gd name="connsiteY0" fmla="*/ 931863 h 1192213"/>
                  <a:gd name="connsiteX1" fmla="*/ 69458 w 968375"/>
                  <a:gd name="connsiteY1" fmla="*/ 931863 h 1192213"/>
                  <a:gd name="connsiteX2" fmla="*/ 84496 w 968375"/>
                  <a:gd name="connsiteY2" fmla="*/ 931863 h 1192213"/>
                  <a:gd name="connsiteX3" fmla="*/ 100249 w 968375"/>
                  <a:gd name="connsiteY3" fmla="*/ 931863 h 1192213"/>
                  <a:gd name="connsiteX4" fmla="*/ 100965 w 968375"/>
                  <a:gd name="connsiteY4" fmla="*/ 931863 h 1192213"/>
                  <a:gd name="connsiteX5" fmla="*/ 116003 w 968375"/>
                  <a:gd name="connsiteY5" fmla="*/ 931863 h 1192213"/>
                  <a:gd name="connsiteX6" fmla="*/ 132472 w 968375"/>
                  <a:gd name="connsiteY6" fmla="*/ 931863 h 1192213"/>
                  <a:gd name="connsiteX7" fmla="*/ 161115 w 968375"/>
                  <a:gd name="connsiteY7" fmla="*/ 931863 h 1192213"/>
                  <a:gd name="connsiteX8" fmla="*/ 168275 w 968375"/>
                  <a:gd name="connsiteY8" fmla="*/ 939022 h 1192213"/>
                  <a:gd name="connsiteX9" fmla="*/ 168275 w 968375"/>
                  <a:gd name="connsiteY9" fmla="*/ 1034242 h 1192213"/>
                  <a:gd name="connsiteX10" fmla="*/ 161115 w 968375"/>
                  <a:gd name="connsiteY10" fmla="*/ 1041401 h 1192213"/>
                  <a:gd name="connsiteX11" fmla="*/ 132472 w 968375"/>
                  <a:gd name="connsiteY11" fmla="*/ 1041401 h 1192213"/>
                  <a:gd name="connsiteX12" fmla="*/ 116003 w 968375"/>
                  <a:gd name="connsiteY12" fmla="*/ 1041401 h 1192213"/>
                  <a:gd name="connsiteX13" fmla="*/ 100965 w 968375"/>
                  <a:gd name="connsiteY13" fmla="*/ 1041401 h 1192213"/>
                  <a:gd name="connsiteX14" fmla="*/ 100249 w 968375"/>
                  <a:gd name="connsiteY14" fmla="*/ 1041401 h 1192213"/>
                  <a:gd name="connsiteX15" fmla="*/ 84496 w 968375"/>
                  <a:gd name="connsiteY15" fmla="*/ 1041401 h 1192213"/>
                  <a:gd name="connsiteX16" fmla="*/ 69458 w 968375"/>
                  <a:gd name="connsiteY16" fmla="*/ 1041401 h 1192213"/>
                  <a:gd name="connsiteX17" fmla="*/ 7161 w 968375"/>
                  <a:gd name="connsiteY17" fmla="*/ 1041401 h 1192213"/>
                  <a:gd name="connsiteX18" fmla="*/ 0 w 968375"/>
                  <a:gd name="connsiteY18" fmla="*/ 1034242 h 1192213"/>
                  <a:gd name="connsiteX19" fmla="*/ 0 w 968375"/>
                  <a:gd name="connsiteY19" fmla="*/ 939022 h 1192213"/>
                  <a:gd name="connsiteX20" fmla="*/ 7161 w 968375"/>
                  <a:gd name="connsiteY20" fmla="*/ 931863 h 1192213"/>
                  <a:gd name="connsiteX21" fmla="*/ 69850 w 968375"/>
                  <a:gd name="connsiteY21" fmla="*/ 811213 h 1192213"/>
                  <a:gd name="connsiteX22" fmla="*/ 84138 w 968375"/>
                  <a:gd name="connsiteY22" fmla="*/ 811213 h 1192213"/>
                  <a:gd name="connsiteX23" fmla="*/ 100013 w 968375"/>
                  <a:gd name="connsiteY23" fmla="*/ 811213 h 1192213"/>
                  <a:gd name="connsiteX24" fmla="*/ 101600 w 968375"/>
                  <a:gd name="connsiteY24" fmla="*/ 811213 h 1192213"/>
                  <a:gd name="connsiteX25" fmla="*/ 101600 w 968375"/>
                  <a:gd name="connsiteY25" fmla="*/ 900113 h 1192213"/>
                  <a:gd name="connsiteX26" fmla="*/ 100013 w 968375"/>
                  <a:gd name="connsiteY26" fmla="*/ 900113 h 1192213"/>
                  <a:gd name="connsiteX27" fmla="*/ 84138 w 968375"/>
                  <a:gd name="connsiteY27" fmla="*/ 900113 h 1192213"/>
                  <a:gd name="connsiteX28" fmla="*/ 69850 w 968375"/>
                  <a:gd name="connsiteY28" fmla="*/ 900113 h 1192213"/>
                  <a:gd name="connsiteX29" fmla="*/ 7161 w 968375"/>
                  <a:gd name="connsiteY29" fmla="*/ 671513 h 1192213"/>
                  <a:gd name="connsiteX30" fmla="*/ 69458 w 968375"/>
                  <a:gd name="connsiteY30" fmla="*/ 671513 h 1192213"/>
                  <a:gd name="connsiteX31" fmla="*/ 84496 w 968375"/>
                  <a:gd name="connsiteY31" fmla="*/ 671513 h 1192213"/>
                  <a:gd name="connsiteX32" fmla="*/ 100249 w 968375"/>
                  <a:gd name="connsiteY32" fmla="*/ 671513 h 1192213"/>
                  <a:gd name="connsiteX33" fmla="*/ 100965 w 968375"/>
                  <a:gd name="connsiteY33" fmla="*/ 671513 h 1192213"/>
                  <a:gd name="connsiteX34" fmla="*/ 116003 w 968375"/>
                  <a:gd name="connsiteY34" fmla="*/ 671513 h 1192213"/>
                  <a:gd name="connsiteX35" fmla="*/ 132472 w 968375"/>
                  <a:gd name="connsiteY35" fmla="*/ 671513 h 1192213"/>
                  <a:gd name="connsiteX36" fmla="*/ 161115 w 968375"/>
                  <a:gd name="connsiteY36" fmla="*/ 671513 h 1192213"/>
                  <a:gd name="connsiteX37" fmla="*/ 168275 w 968375"/>
                  <a:gd name="connsiteY37" fmla="*/ 678672 h 1192213"/>
                  <a:gd name="connsiteX38" fmla="*/ 168275 w 968375"/>
                  <a:gd name="connsiteY38" fmla="*/ 773892 h 1192213"/>
                  <a:gd name="connsiteX39" fmla="*/ 161115 w 968375"/>
                  <a:gd name="connsiteY39" fmla="*/ 781051 h 1192213"/>
                  <a:gd name="connsiteX40" fmla="*/ 132472 w 968375"/>
                  <a:gd name="connsiteY40" fmla="*/ 781051 h 1192213"/>
                  <a:gd name="connsiteX41" fmla="*/ 116003 w 968375"/>
                  <a:gd name="connsiteY41" fmla="*/ 781051 h 1192213"/>
                  <a:gd name="connsiteX42" fmla="*/ 100965 w 968375"/>
                  <a:gd name="connsiteY42" fmla="*/ 781051 h 1192213"/>
                  <a:gd name="connsiteX43" fmla="*/ 100249 w 968375"/>
                  <a:gd name="connsiteY43" fmla="*/ 781051 h 1192213"/>
                  <a:gd name="connsiteX44" fmla="*/ 84496 w 968375"/>
                  <a:gd name="connsiteY44" fmla="*/ 781051 h 1192213"/>
                  <a:gd name="connsiteX45" fmla="*/ 69458 w 968375"/>
                  <a:gd name="connsiteY45" fmla="*/ 781051 h 1192213"/>
                  <a:gd name="connsiteX46" fmla="*/ 7161 w 968375"/>
                  <a:gd name="connsiteY46" fmla="*/ 781051 h 1192213"/>
                  <a:gd name="connsiteX47" fmla="*/ 0 w 968375"/>
                  <a:gd name="connsiteY47" fmla="*/ 773892 h 1192213"/>
                  <a:gd name="connsiteX48" fmla="*/ 0 w 968375"/>
                  <a:gd name="connsiteY48" fmla="*/ 678672 h 1192213"/>
                  <a:gd name="connsiteX49" fmla="*/ 7161 w 968375"/>
                  <a:gd name="connsiteY49" fmla="*/ 671513 h 1192213"/>
                  <a:gd name="connsiteX50" fmla="*/ 69850 w 968375"/>
                  <a:gd name="connsiteY50" fmla="*/ 550863 h 1192213"/>
                  <a:gd name="connsiteX51" fmla="*/ 84138 w 968375"/>
                  <a:gd name="connsiteY51" fmla="*/ 550863 h 1192213"/>
                  <a:gd name="connsiteX52" fmla="*/ 100013 w 968375"/>
                  <a:gd name="connsiteY52" fmla="*/ 550863 h 1192213"/>
                  <a:gd name="connsiteX53" fmla="*/ 101600 w 968375"/>
                  <a:gd name="connsiteY53" fmla="*/ 550863 h 1192213"/>
                  <a:gd name="connsiteX54" fmla="*/ 101600 w 968375"/>
                  <a:gd name="connsiteY54" fmla="*/ 639763 h 1192213"/>
                  <a:gd name="connsiteX55" fmla="*/ 100013 w 968375"/>
                  <a:gd name="connsiteY55" fmla="*/ 639763 h 1192213"/>
                  <a:gd name="connsiteX56" fmla="*/ 84138 w 968375"/>
                  <a:gd name="connsiteY56" fmla="*/ 639763 h 1192213"/>
                  <a:gd name="connsiteX57" fmla="*/ 69850 w 968375"/>
                  <a:gd name="connsiteY57" fmla="*/ 639763 h 1192213"/>
                  <a:gd name="connsiteX58" fmla="*/ 7161 w 968375"/>
                  <a:gd name="connsiteY58" fmla="*/ 411163 h 1192213"/>
                  <a:gd name="connsiteX59" fmla="*/ 69458 w 968375"/>
                  <a:gd name="connsiteY59" fmla="*/ 411163 h 1192213"/>
                  <a:gd name="connsiteX60" fmla="*/ 84496 w 968375"/>
                  <a:gd name="connsiteY60" fmla="*/ 411163 h 1192213"/>
                  <a:gd name="connsiteX61" fmla="*/ 100249 w 968375"/>
                  <a:gd name="connsiteY61" fmla="*/ 411163 h 1192213"/>
                  <a:gd name="connsiteX62" fmla="*/ 100965 w 968375"/>
                  <a:gd name="connsiteY62" fmla="*/ 411163 h 1192213"/>
                  <a:gd name="connsiteX63" fmla="*/ 116003 w 968375"/>
                  <a:gd name="connsiteY63" fmla="*/ 411163 h 1192213"/>
                  <a:gd name="connsiteX64" fmla="*/ 132472 w 968375"/>
                  <a:gd name="connsiteY64" fmla="*/ 411163 h 1192213"/>
                  <a:gd name="connsiteX65" fmla="*/ 161115 w 968375"/>
                  <a:gd name="connsiteY65" fmla="*/ 411163 h 1192213"/>
                  <a:gd name="connsiteX66" fmla="*/ 168275 w 968375"/>
                  <a:gd name="connsiteY66" fmla="*/ 418218 h 1192213"/>
                  <a:gd name="connsiteX67" fmla="*/ 168275 w 968375"/>
                  <a:gd name="connsiteY67" fmla="*/ 512057 h 1192213"/>
                  <a:gd name="connsiteX68" fmla="*/ 161115 w 968375"/>
                  <a:gd name="connsiteY68" fmla="*/ 519113 h 1192213"/>
                  <a:gd name="connsiteX69" fmla="*/ 132472 w 968375"/>
                  <a:gd name="connsiteY69" fmla="*/ 519113 h 1192213"/>
                  <a:gd name="connsiteX70" fmla="*/ 116003 w 968375"/>
                  <a:gd name="connsiteY70" fmla="*/ 519113 h 1192213"/>
                  <a:gd name="connsiteX71" fmla="*/ 100965 w 968375"/>
                  <a:gd name="connsiteY71" fmla="*/ 519113 h 1192213"/>
                  <a:gd name="connsiteX72" fmla="*/ 100249 w 968375"/>
                  <a:gd name="connsiteY72" fmla="*/ 519113 h 1192213"/>
                  <a:gd name="connsiteX73" fmla="*/ 84496 w 968375"/>
                  <a:gd name="connsiteY73" fmla="*/ 519113 h 1192213"/>
                  <a:gd name="connsiteX74" fmla="*/ 69458 w 968375"/>
                  <a:gd name="connsiteY74" fmla="*/ 519113 h 1192213"/>
                  <a:gd name="connsiteX75" fmla="*/ 7161 w 968375"/>
                  <a:gd name="connsiteY75" fmla="*/ 519113 h 1192213"/>
                  <a:gd name="connsiteX76" fmla="*/ 0 w 968375"/>
                  <a:gd name="connsiteY76" fmla="*/ 512057 h 1192213"/>
                  <a:gd name="connsiteX77" fmla="*/ 0 w 968375"/>
                  <a:gd name="connsiteY77" fmla="*/ 418218 h 1192213"/>
                  <a:gd name="connsiteX78" fmla="*/ 7161 w 968375"/>
                  <a:gd name="connsiteY78" fmla="*/ 411163 h 1192213"/>
                  <a:gd name="connsiteX79" fmla="*/ 69850 w 968375"/>
                  <a:gd name="connsiteY79" fmla="*/ 290513 h 1192213"/>
                  <a:gd name="connsiteX80" fmla="*/ 84138 w 968375"/>
                  <a:gd name="connsiteY80" fmla="*/ 290513 h 1192213"/>
                  <a:gd name="connsiteX81" fmla="*/ 100013 w 968375"/>
                  <a:gd name="connsiteY81" fmla="*/ 290513 h 1192213"/>
                  <a:gd name="connsiteX82" fmla="*/ 101600 w 968375"/>
                  <a:gd name="connsiteY82" fmla="*/ 290513 h 1192213"/>
                  <a:gd name="connsiteX83" fmla="*/ 101600 w 968375"/>
                  <a:gd name="connsiteY83" fmla="*/ 379413 h 1192213"/>
                  <a:gd name="connsiteX84" fmla="*/ 100013 w 968375"/>
                  <a:gd name="connsiteY84" fmla="*/ 379413 h 1192213"/>
                  <a:gd name="connsiteX85" fmla="*/ 84138 w 968375"/>
                  <a:gd name="connsiteY85" fmla="*/ 379413 h 1192213"/>
                  <a:gd name="connsiteX86" fmla="*/ 69850 w 968375"/>
                  <a:gd name="connsiteY86" fmla="*/ 379413 h 1192213"/>
                  <a:gd name="connsiteX87" fmla="*/ 7161 w 968375"/>
                  <a:gd name="connsiteY87" fmla="*/ 150813 h 1192213"/>
                  <a:gd name="connsiteX88" fmla="*/ 69458 w 968375"/>
                  <a:gd name="connsiteY88" fmla="*/ 150813 h 1192213"/>
                  <a:gd name="connsiteX89" fmla="*/ 84496 w 968375"/>
                  <a:gd name="connsiteY89" fmla="*/ 150813 h 1192213"/>
                  <a:gd name="connsiteX90" fmla="*/ 100249 w 968375"/>
                  <a:gd name="connsiteY90" fmla="*/ 150813 h 1192213"/>
                  <a:gd name="connsiteX91" fmla="*/ 100965 w 968375"/>
                  <a:gd name="connsiteY91" fmla="*/ 150813 h 1192213"/>
                  <a:gd name="connsiteX92" fmla="*/ 116003 w 968375"/>
                  <a:gd name="connsiteY92" fmla="*/ 150813 h 1192213"/>
                  <a:gd name="connsiteX93" fmla="*/ 132472 w 968375"/>
                  <a:gd name="connsiteY93" fmla="*/ 150813 h 1192213"/>
                  <a:gd name="connsiteX94" fmla="*/ 161115 w 968375"/>
                  <a:gd name="connsiteY94" fmla="*/ 150813 h 1192213"/>
                  <a:gd name="connsiteX95" fmla="*/ 168275 w 968375"/>
                  <a:gd name="connsiteY95" fmla="*/ 157868 h 1192213"/>
                  <a:gd name="connsiteX96" fmla="*/ 168275 w 968375"/>
                  <a:gd name="connsiteY96" fmla="*/ 251707 h 1192213"/>
                  <a:gd name="connsiteX97" fmla="*/ 161115 w 968375"/>
                  <a:gd name="connsiteY97" fmla="*/ 258763 h 1192213"/>
                  <a:gd name="connsiteX98" fmla="*/ 132472 w 968375"/>
                  <a:gd name="connsiteY98" fmla="*/ 258763 h 1192213"/>
                  <a:gd name="connsiteX99" fmla="*/ 116003 w 968375"/>
                  <a:gd name="connsiteY99" fmla="*/ 258763 h 1192213"/>
                  <a:gd name="connsiteX100" fmla="*/ 100965 w 968375"/>
                  <a:gd name="connsiteY100" fmla="*/ 258763 h 1192213"/>
                  <a:gd name="connsiteX101" fmla="*/ 100249 w 968375"/>
                  <a:gd name="connsiteY101" fmla="*/ 258763 h 1192213"/>
                  <a:gd name="connsiteX102" fmla="*/ 84496 w 968375"/>
                  <a:gd name="connsiteY102" fmla="*/ 258763 h 1192213"/>
                  <a:gd name="connsiteX103" fmla="*/ 69458 w 968375"/>
                  <a:gd name="connsiteY103" fmla="*/ 258763 h 1192213"/>
                  <a:gd name="connsiteX104" fmla="*/ 7161 w 968375"/>
                  <a:gd name="connsiteY104" fmla="*/ 258763 h 1192213"/>
                  <a:gd name="connsiteX105" fmla="*/ 0 w 968375"/>
                  <a:gd name="connsiteY105" fmla="*/ 251707 h 1192213"/>
                  <a:gd name="connsiteX106" fmla="*/ 0 w 968375"/>
                  <a:gd name="connsiteY106" fmla="*/ 157868 h 1192213"/>
                  <a:gd name="connsiteX107" fmla="*/ 7161 w 968375"/>
                  <a:gd name="connsiteY107" fmla="*/ 150813 h 1192213"/>
                  <a:gd name="connsiteX108" fmla="*/ 133350 w 968375"/>
                  <a:gd name="connsiteY108" fmla="*/ 63500 h 1192213"/>
                  <a:gd name="connsiteX109" fmla="*/ 296863 w 968375"/>
                  <a:gd name="connsiteY109" fmla="*/ 63500 h 1192213"/>
                  <a:gd name="connsiteX110" fmla="*/ 296863 w 968375"/>
                  <a:gd name="connsiteY110" fmla="*/ 1128713 h 1192213"/>
                  <a:gd name="connsiteX111" fmla="*/ 133350 w 968375"/>
                  <a:gd name="connsiteY111" fmla="*/ 1128713 h 1192213"/>
                  <a:gd name="connsiteX112" fmla="*/ 133350 w 968375"/>
                  <a:gd name="connsiteY112" fmla="*/ 1071674 h 1192213"/>
                  <a:gd name="connsiteX113" fmla="*/ 161664 w 968375"/>
                  <a:gd name="connsiteY113" fmla="*/ 1071674 h 1192213"/>
                  <a:gd name="connsiteX114" fmla="*/ 199888 w 968375"/>
                  <a:gd name="connsiteY114" fmla="*/ 1033172 h 1192213"/>
                  <a:gd name="connsiteX115" fmla="*/ 199888 w 968375"/>
                  <a:gd name="connsiteY115" fmla="*/ 938344 h 1192213"/>
                  <a:gd name="connsiteX116" fmla="*/ 161664 w 968375"/>
                  <a:gd name="connsiteY116" fmla="*/ 899842 h 1192213"/>
                  <a:gd name="connsiteX117" fmla="*/ 133350 w 968375"/>
                  <a:gd name="connsiteY117" fmla="*/ 899842 h 1192213"/>
                  <a:gd name="connsiteX118" fmla="*/ 133350 w 968375"/>
                  <a:gd name="connsiteY118" fmla="*/ 811431 h 1192213"/>
                  <a:gd name="connsiteX119" fmla="*/ 161664 w 968375"/>
                  <a:gd name="connsiteY119" fmla="*/ 811431 h 1192213"/>
                  <a:gd name="connsiteX120" fmla="*/ 199888 w 968375"/>
                  <a:gd name="connsiteY120" fmla="*/ 772929 h 1192213"/>
                  <a:gd name="connsiteX121" fmla="*/ 199888 w 968375"/>
                  <a:gd name="connsiteY121" fmla="*/ 678101 h 1192213"/>
                  <a:gd name="connsiteX122" fmla="*/ 161664 w 968375"/>
                  <a:gd name="connsiteY122" fmla="*/ 639599 h 1192213"/>
                  <a:gd name="connsiteX123" fmla="*/ 133350 w 968375"/>
                  <a:gd name="connsiteY123" fmla="*/ 639599 h 1192213"/>
                  <a:gd name="connsiteX124" fmla="*/ 133350 w 968375"/>
                  <a:gd name="connsiteY124" fmla="*/ 551188 h 1192213"/>
                  <a:gd name="connsiteX125" fmla="*/ 161664 w 968375"/>
                  <a:gd name="connsiteY125" fmla="*/ 551188 h 1192213"/>
                  <a:gd name="connsiteX126" fmla="*/ 199888 w 968375"/>
                  <a:gd name="connsiteY126" fmla="*/ 512686 h 1192213"/>
                  <a:gd name="connsiteX127" fmla="*/ 199888 w 968375"/>
                  <a:gd name="connsiteY127" fmla="*/ 417858 h 1192213"/>
                  <a:gd name="connsiteX128" fmla="*/ 161664 w 968375"/>
                  <a:gd name="connsiteY128" fmla="*/ 379356 h 1192213"/>
                  <a:gd name="connsiteX129" fmla="*/ 133350 w 968375"/>
                  <a:gd name="connsiteY129" fmla="*/ 379356 h 1192213"/>
                  <a:gd name="connsiteX130" fmla="*/ 133350 w 968375"/>
                  <a:gd name="connsiteY130" fmla="*/ 290945 h 1192213"/>
                  <a:gd name="connsiteX131" fmla="*/ 161664 w 968375"/>
                  <a:gd name="connsiteY131" fmla="*/ 290945 h 1192213"/>
                  <a:gd name="connsiteX132" fmla="*/ 199888 w 968375"/>
                  <a:gd name="connsiteY132" fmla="*/ 252443 h 1192213"/>
                  <a:gd name="connsiteX133" fmla="*/ 199888 w 968375"/>
                  <a:gd name="connsiteY133" fmla="*/ 157615 h 1192213"/>
                  <a:gd name="connsiteX134" fmla="*/ 161664 w 968375"/>
                  <a:gd name="connsiteY134" fmla="*/ 119113 h 1192213"/>
                  <a:gd name="connsiteX135" fmla="*/ 133350 w 968375"/>
                  <a:gd name="connsiteY135" fmla="*/ 119113 h 1192213"/>
                  <a:gd name="connsiteX136" fmla="*/ 133350 w 968375"/>
                  <a:gd name="connsiteY136" fmla="*/ 63500 h 1192213"/>
                  <a:gd name="connsiteX137" fmla="*/ 85564 w 968375"/>
                  <a:gd name="connsiteY137" fmla="*/ 0 h 1192213"/>
                  <a:gd name="connsiteX138" fmla="*/ 952662 w 968375"/>
                  <a:gd name="connsiteY138" fmla="*/ 0 h 1192213"/>
                  <a:gd name="connsiteX139" fmla="*/ 968375 w 968375"/>
                  <a:gd name="connsiteY139" fmla="*/ 15706 h 1192213"/>
                  <a:gd name="connsiteX140" fmla="*/ 968375 w 968375"/>
                  <a:gd name="connsiteY140" fmla="*/ 1176507 h 1192213"/>
                  <a:gd name="connsiteX141" fmla="*/ 952662 w 968375"/>
                  <a:gd name="connsiteY141" fmla="*/ 1192213 h 1192213"/>
                  <a:gd name="connsiteX142" fmla="*/ 85564 w 968375"/>
                  <a:gd name="connsiteY142" fmla="*/ 1192213 h 1192213"/>
                  <a:gd name="connsiteX143" fmla="*/ 69850 w 968375"/>
                  <a:gd name="connsiteY143" fmla="*/ 1176507 h 1192213"/>
                  <a:gd name="connsiteX144" fmla="*/ 69850 w 968375"/>
                  <a:gd name="connsiteY144" fmla="*/ 1072278 h 1192213"/>
                  <a:gd name="connsiteX145" fmla="*/ 84849 w 968375"/>
                  <a:gd name="connsiteY145" fmla="*/ 1072278 h 1192213"/>
                  <a:gd name="connsiteX146" fmla="*/ 100563 w 968375"/>
                  <a:gd name="connsiteY146" fmla="*/ 1072278 h 1192213"/>
                  <a:gd name="connsiteX147" fmla="*/ 101277 w 968375"/>
                  <a:gd name="connsiteY147" fmla="*/ 1072278 h 1192213"/>
                  <a:gd name="connsiteX148" fmla="*/ 101277 w 968375"/>
                  <a:gd name="connsiteY148" fmla="*/ 1145096 h 1192213"/>
                  <a:gd name="connsiteX149" fmla="*/ 101277 w 968375"/>
                  <a:gd name="connsiteY149" fmla="*/ 1160802 h 1192213"/>
                  <a:gd name="connsiteX150" fmla="*/ 116991 w 968375"/>
                  <a:gd name="connsiteY150" fmla="*/ 1160802 h 1192213"/>
                  <a:gd name="connsiteX151" fmla="*/ 313409 w 968375"/>
                  <a:gd name="connsiteY151" fmla="*/ 1160802 h 1192213"/>
                  <a:gd name="connsiteX152" fmla="*/ 329123 w 968375"/>
                  <a:gd name="connsiteY152" fmla="*/ 1160802 h 1192213"/>
                  <a:gd name="connsiteX153" fmla="*/ 921235 w 968375"/>
                  <a:gd name="connsiteY153" fmla="*/ 1160802 h 1192213"/>
                  <a:gd name="connsiteX154" fmla="*/ 936948 w 968375"/>
                  <a:gd name="connsiteY154" fmla="*/ 1160802 h 1192213"/>
                  <a:gd name="connsiteX155" fmla="*/ 936948 w 968375"/>
                  <a:gd name="connsiteY155" fmla="*/ 1145096 h 1192213"/>
                  <a:gd name="connsiteX156" fmla="*/ 936948 w 968375"/>
                  <a:gd name="connsiteY156" fmla="*/ 47117 h 1192213"/>
                  <a:gd name="connsiteX157" fmla="*/ 936948 w 968375"/>
                  <a:gd name="connsiteY157" fmla="*/ 31411 h 1192213"/>
                  <a:gd name="connsiteX158" fmla="*/ 329123 w 968375"/>
                  <a:gd name="connsiteY158" fmla="*/ 31411 h 1192213"/>
                  <a:gd name="connsiteX159" fmla="*/ 313409 w 968375"/>
                  <a:gd name="connsiteY159" fmla="*/ 31411 h 1192213"/>
                  <a:gd name="connsiteX160" fmla="*/ 101277 w 968375"/>
                  <a:gd name="connsiteY160" fmla="*/ 31411 h 1192213"/>
                  <a:gd name="connsiteX161" fmla="*/ 101277 w 968375"/>
                  <a:gd name="connsiteY161" fmla="*/ 47117 h 1192213"/>
                  <a:gd name="connsiteX162" fmla="*/ 101277 w 968375"/>
                  <a:gd name="connsiteY162" fmla="*/ 118507 h 1192213"/>
                  <a:gd name="connsiteX163" fmla="*/ 100563 w 968375"/>
                  <a:gd name="connsiteY163" fmla="*/ 118507 h 1192213"/>
                  <a:gd name="connsiteX164" fmla="*/ 84849 w 968375"/>
                  <a:gd name="connsiteY164" fmla="*/ 118507 h 1192213"/>
                  <a:gd name="connsiteX165" fmla="*/ 69850 w 968375"/>
                  <a:gd name="connsiteY165" fmla="*/ 118507 h 1192213"/>
                  <a:gd name="connsiteX166" fmla="*/ 69850 w 968375"/>
                  <a:gd name="connsiteY166" fmla="*/ 15706 h 1192213"/>
                  <a:gd name="connsiteX167" fmla="*/ 85564 w 968375"/>
                  <a:gd name="connsiteY167" fmla="*/ 0 h 1192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968375" h="1192213">
                    <a:moveTo>
                      <a:pt x="7161" y="931863"/>
                    </a:moveTo>
                    <a:cubicBezTo>
                      <a:pt x="7161" y="931863"/>
                      <a:pt x="17186" y="931863"/>
                      <a:pt x="69458" y="931863"/>
                    </a:cubicBezTo>
                    <a:cubicBezTo>
                      <a:pt x="73755" y="931863"/>
                      <a:pt x="78767" y="931863"/>
                      <a:pt x="84496" y="931863"/>
                    </a:cubicBezTo>
                    <a:cubicBezTo>
                      <a:pt x="89508" y="931863"/>
                      <a:pt x="94521" y="931863"/>
                      <a:pt x="100249" y="931863"/>
                    </a:cubicBezTo>
                    <a:cubicBezTo>
                      <a:pt x="100249" y="931863"/>
                      <a:pt x="100249" y="931863"/>
                      <a:pt x="100965" y="931863"/>
                    </a:cubicBezTo>
                    <a:cubicBezTo>
                      <a:pt x="105262" y="931863"/>
                      <a:pt x="110274" y="931863"/>
                      <a:pt x="116003" y="931863"/>
                    </a:cubicBezTo>
                    <a:cubicBezTo>
                      <a:pt x="121015" y="931863"/>
                      <a:pt x="126744" y="931863"/>
                      <a:pt x="132472" y="931863"/>
                    </a:cubicBezTo>
                    <a:cubicBezTo>
                      <a:pt x="141065" y="931863"/>
                      <a:pt x="151090" y="931863"/>
                      <a:pt x="161115" y="931863"/>
                    </a:cubicBezTo>
                    <a:cubicBezTo>
                      <a:pt x="165411" y="931863"/>
                      <a:pt x="168275" y="934727"/>
                      <a:pt x="168275" y="939022"/>
                    </a:cubicBezTo>
                    <a:cubicBezTo>
                      <a:pt x="168275" y="939022"/>
                      <a:pt x="168275" y="939022"/>
                      <a:pt x="168275" y="1034242"/>
                    </a:cubicBezTo>
                    <a:cubicBezTo>
                      <a:pt x="168275" y="1038537"/>
                      <a:pt x="165411" y="1041401"/>
                      <a:pt x="161115" y="1041401"/>
                    </a:cubicBezTo>
                    <a:cubicBezTo>
                      <a:pt x="161115" y="1041401"/>
                      <a:pt x="156102" y="1041401"/>
                      <a:pt x="132472" y="1041401"/>
                    </a:cubicBezTo>
                    <a:cubicBezTo>
                      <a:pt x="127460" y="1041401"/>
                      <a:pt x="122447" y="1041401"/>
                      <a:pt x="116003" y="1041401"/>
                    </a:cubicBezTo>
                    <a:cubicBezTo>
                      <a:pt x="110990" y="1041401"/>
                      <a:pt x="105978" y="1041401"/>
                      <a:pt x="100965" y="1041401"/>
                    </a:cubicBezTo>
                    <a:cubicBezTo>
                      <a:pt x="100249" y="1041401"/>
                      <a:pt x="100249" y="1041401"/>
                      <a:pt x="100249" y="1041401"/>
                    </a:cubicBezTo>
                    <a:cubicBezTo>
                      <a:pt x="95237" y="1041401"/>
                      <a:pt x="90224" y="1041401"/>
                      <a:pt x="84496" y="1041401"/>
                    </a:cubicBezTo>
                    <a:cubicBezTo>
                      <a:pt x="79483" y="1041401"/>
                      <a:pt x="74471" y="1041401"/>
                      <a:pt x="69458" y="1041401"/>
                    </a:cubicBezTo>
                    <a:cubicBezTo>
                      <a:pt x="51557" y="1041401"/>
                      <a:pt x="31507" y="1041401"/>
                      <a:pt x="7161" y="1041401"/>
                    </a:cubicBezTo>
                    <a:cubicBezTo>
                      <a:pt x="2865" y="1041401"/>
                      <a:pt x="0" y="1038537"/>
                      <a:pt x="0" y="1034242"/>
                    </a:cubicBezTo>
                    <a:cubicBezTo>
                      <a:pt x="0" y="1034242"/>
                      <a:pt x="0" y="1034242"/>
                      <a:pt x="0" y="939022"/>
                    </a:cubicBezTo>
                    <a:cubicBezTo>
                      <a:pt x="0" y="934727"/>
                      <a:pt x="2865" y="931863"/>
                      <a:pt x="7161" y="931863"/>
                    </a:cubicBezTo>
                    <a:close/>
                    <a:moveTo>
                      <a:pt x="69850" y="811213"/>
                    </a:moveTo>
                    <a:lnTo>
                      <a:pt x="84138" y="811213"/>
                    </a:lnTo>
                    <a:lnTo>
                      <a:pt x="100013" y="811213"/>
                    </a:lnTo>
                    <a:lnTo>
                      <a:pt x="101600" y="811213"/>
                    </a:lnTo>
                    <a:lnTo>
                      <a:pt x="101600" y="900113"/>
                    </a:lnTo>
                    <a:lnTo>
                      <a:pt x="100013" y="900113"/>
                    </a:lnTo>
                    <a:lnTo>
                      <a:pt x="84138" y="900113"/>
                    </a:lnTo>
                    <a:lnTo>
                      <a:pt x="69850" y="900113"/>
                    </a:lnTo>
                    <a:close/>
                    <a:moveTo>
                      <a:pt x="7161" y="671513"/>
                    </a:moveTo>
                    <a:cubicBezTo>
                      <a:pt x="7161" y="671513"/>
                      <a:pt x="17186" y="671513"/>
                      <a:pt x="69458" y="671513"/>
                    </a:cubicBezTo>
                    <a:cubicBezTo>
                      <a:pt x="73755" y="671513"/>
                      <a:pt x="78767" y="671513"/>
                      <a:pt x="84496" y="671513"/>
                    </a:cubicBezTo>
                    <a:cubicBezTo>
                      <a:pt x="89508" y="671513"/>
                      <a:pt x="94521" y="671513"/>
                      <a:pt x="100249" y="671513"/>
                    </a:cubicBezTo>
                    <a:cubicBezTo>
                      <a:pt x="100249" y="671513"/>
                      <a:pt x="100249" y="671513"/>
                      <a:pt x="100965" y="671513"/>
                    </a:cubicBezTo>
                    <a:cubicBezTo>
                      <a:pt x="105262" y="671513"/>
                      <a:pt x="110274" y="671513"/>
                      <a:pt x="116003" y="671513"/>
                    </a:cubicBezTo>
                    <a:cubicBezTo>
                      <a:pt x="121015" y="671513"/>
                      <a:pt x="126744" y="671513"/>
                      <a:pt x="132472" y="671513"/>
                    </a:cubicBezTo>
                    <a:cubicBezTo>
                      <a:pt x="141065" y="671513"/>
                      <a:pt x="151090" y="671513"/>
                      <a:pt x="161115" y="671513"/>
                    </a:cubicBezTo>
                    <a:cubicBezTo>
                      <a:pt x="165411" y="671513"/>
                      <a:pt x="168275" y="675093"/>
                      <a:pt x="168275" y="678672"/>
                    </a:cubicBezTo>
                    <a:cubicBezTo>
                      <a:pt x="168275" y="678672"/>
                      <a:pt x="168275" y="678672"/>
                      <a:pt x="168275" y="773892"/>
                    </a:cubicBezTo>
                    <a:cubicBezTo>
                      <a:pt x="168275" y="777471"/>
                      <a:pt x="165411" y="781051"/>
                      <a:pt x="161115" y="781051"/>
                    </a:cubicBezTo>
                    <a:cubicBezTo>
                      <a:pt x="161115" y="781051"/>
                      <a:pt x="156102" y="781051"/>
                      <a:pt x="132472" y="781051"/>
                    </a:cubicBezTo>
                    <a:cubicBezTo>
                      <a:pt x="127460" y="781051"/>
                      <a:pt x="122447" y="781051"/>
                      <a:pt x="116003" y="781051"/>
                    </a:cubicBezTo>
                    <a:cubicBezTo>
                      <a:pt x="110990" y="781051"/>
                      <a:pt x="105978" y="781051"/>
                      <a:pt x="100965" y="781051"/>
                    </a:cubicBezTo>
                    <a:cubicBezTo>
                      <a:pt x="100249" y="781051"/>
                      <a:pt x="100249" y="781051"/>
                      <a:pt x="100249" y="781051"/>
                    </a:cubicBezTo>
                    <a:cubicBezTo>
                      <a:pt x="95237" y="781051"/>
                      <a:pt x="90224" y="781051"/>
                      <a:pt x="84496" y="781051"/>
                    </a:cubicBezTo>
                    <a:cubicBezTo>
                      <a:pt x="79483" y="781051"/>
                      <a:pt x="74471" y="781051"/>
                      <a:pt x="69458" y="781051"/>
                    </a:cubicBezTo>
                    <a:cubicBezTo>
                      <a:pt x="51557" y="781051"/>
                      <a:pt x="31507" y="781051"/>
                      <a:pt x="7161" y="781051"/>
                    </a:cubicBezTo>
                    <a:cubicBezTo>
                      <a:pt x="2865" y="781051"/>
                      <a:pt x="0" y="777471"/>
                      <a:pt x="0" y="773892"/>
                    </a:cubicBezTo>
                    <a:cubicBezTo>
                      <a:pt x="0" y="773892"/>
                      <a:pt x="0" y="773892"/>
                      <a:pt x="0" y="678672"/>
                    </a:cubicBezTo>
                    <a:cubicBezTo>
                      <a:pt x="0" y="675093"/>
                      <a:pt x="2865" y="671513"/>
                      <a:pt x="7161" y="671513"/>
                    </a:cubicBezTo>
                    <a:close/>
                    <a:moveTo>
                      <a:pt x="69850" y="550863"/>
                    </a:moveTo>
                    <a:lnTo>
                      <a:pt x="84138" y="550863"/>
                    </a:lnTo>
                    <a:lnTo>
                      <a:pt x="100013" y="550863"/>
                    </a:lnTo>
                    <a:lnTo>
                      <a:pt x="101600" y="550863"/>
                    </a:lnTo>
                    <a:lnTo>
                      <a:pt x="101600" y="639763"/>
                    </a:lnTo>
                    <a:lnTo>
                      <a:pt x="100013" y="639763"/>
                    </a:lnTo>
                    <a:lnTo>
                      <a:pt x="84138" y="639763"/>
                    </a:lnTo>
                    <a:lnTo>
                      <a:pt x="69850" y="639763"/>
                    </a:lnTo>
                    <a:close/>
                    <a:moveTo>
                      <a:pt x="7161" y="411163"/>
                    </a:moveTo>
                    <a:cubicBezTo>
                      <a:pt x="7161" y="411163"/>
                      <a:pt x="17186" y="411163"/>
                      <a:pt x="69458" y="411163"/>
                    </a:cubicBezTo>
                    <a:cubicBezTo>
                      <a:pt x="73755" y="411163"/>
                      <a:pt x="78767" y="411163"/>
                      <a:pt x="84496" y="411163"/>
                    </a:cubicBezTo>
                    <a:cubicBezTo>
                      <a:pt x="89508" y="411163"/>
                      <a:pt x="94521" y="411163"/>
                      <a:pt x="100249" y="411163"/>
                    </a:cubicBezTo>
                    <a:cubicBezTo>
                      <a:pt x="100249" y="411163"/>
                      <a:pt x="100249" y="411163"/>
                      <a:pt x="100965" y="411163"/>
                    </a:cubicBezTo>
                    <a:cubicBezTo>
                      <a:pt x="105262" y="411163"/>
                      <a:pt x="110274" y="411163"/>
                      <a:pt x="116003" y="411163"/>
                    </a:cubicBezTo>
                    <a:cubicBezTo>
                      <a:pt x="121015" y="411163"/>
                      <a:pt x="126744" y="411163"/>
                      <a:pt x="132472" y="411163"/>
                    </a:cubicBezTo>
                    <a:cubicBezTo>
                      <a:pt x="141065" y="411163"/>
                      <a:pt x="151090" y="411163"/>
                      <a:pt x="161115" y="411163"/>
                    </a:cubicBezTo>
                    <a:cubicBezTo>
                      <a:pt x="165411" y="411163"/>
                      <a:pt x="168275" y="414691"/>
                      <a:pt x="168275" y="418218"/>
                    </a:cubicBezTo>
                    <a:cubicBezTo>
                      <a:pt x="168275" y="418218"/>
                      <a:pt x="168275" y="418218"/>
                      <a:pt x="168275" y="512057"/>
                    </a:cubicBezTo>
                    <a:cubicBezTo>
                      <a:pt x="168275" y="515585"/>
                      <a:pt x="165411" y="519113"/>
                      <a:pt x="161115" y="519113"/>
                    </a:cubicBezTo>
                    <a:cubicBezTo>
                      <a:pt x="161115" y="519113"/>
                      <a:pt x="156102" y="519113"/>
                      <a:pt x="132472" y="519113"/>
                    </a:cubicBezTo>
                    <a:cubicBezTo>
                      <a:pt x="127460" y="519113"/>
                      <a:pt x="122447" y="519113"/>
                      <a:pt x="116003" y="519113"/>
                    </a:cubicBezTo>
                    <a:cubicBezTo>
                      <a:pt x="110990" y="519113"/>
                      <a:pt x="105978" y="519113"/>
                      <a:pt x="100965" y="519113"/>
                    </a:cubicBezTo>
                    <a:cubicBezTo>
                      <a:pt x="100249" y="519113"/>
                      <a:pt x="100249" y="519113"/>
                      <a:pt x="100249" y="519113"/>
                    </a:cubicBezTo>
                    <a:cubicBezTo>
                      <a:pt x="95237" y="519113"/>
                      <a:pt x="90224" y="519113"/>
                      <a:pt x="84496" y="519113"/>
                    </a:cubicBezTo>
                    <a:cubicBezTo>
                      <a:pt x="79483" y="519113"/>
                      <a:pt x="74471" y="519113"/>
                      <a:pt x="69458" y="519113"/>
                    </a:cubicBezTo>
                    <a:cubicBezTo>
                      <a:pt x="51557" y="519113"/>
                      <a:pt x="31507" y="519113"/>
                      <a:pt x="7161" y="519113"/>
                    </a:cubicBezTo>
                    <a:cubicBezTo>
                      <a:pt x="2865" y="519113"/>
                      <a:pt x="0" y="515585"/>
                      <a:pt x="0" y="512057"/>
                    </a:cubicBezTo>
                    <a:cubicBezTo>
                      <a:pt x="0" y="512057"/>
                      <a:pt x="0" y="512057"/>
                      <a:pt x="0" y="418218"/>
                    </a:cubicBezTo>
                    <a:cubicBezTo>
                      <a:pt x="0" y="414691"/>
                      <a:pt x="2865" y="411163"/>
                      <a:pt x="7161" y="411163"/>
                    </a:cubicBezTo>
                    <a:close/>
                    <a:moveTo>
                      <a:pt x="69850" y="290513"/>
                    </a:moveTo>
                    <a:lnTo>
                      <a:pt x="84138" y="290513"/>
                    </a:lnTo>
                    <a:lnTo>
                      <a:pt x="100013" y="290513"/>
                    </a:lnTo>
                    <a:lnTo>
                      <a:pt x="101600" y="290513"/>
                    </a:lnTo>
                    <a:lnTo>
                      <a:pt x="101600" y="379413"/>
                    </a:lnTo>
                    <a:lnTo>
                      <a:pt x="100013" y="379413"/>
                    </a:lnTo>
                    <a:lnTo>
                      <a:pt x="84138" y="379413"/>
                    </a:lnTo>
                    <a:lnTo>
                      <a:pt x="69850" y="379413"/>
                    </a:lnTo>
                    <a:close/>
                    <a:moveTo>
                      <a:pt x="7161" y="150813"/>
                    </a:moveTo>
                    <a:cubicBezTo>
                      <a:pt x="31507" y="150813"/>
                      <a:pt x="51557" y="150813"/>
                      <a:pt x="69458" y="150813"/>
                    </a:cubicBezTo>
                    <a:cubicBezTo>
                      <a:pt x="74471" y="150813"/>
                      <a:pt x="79483" y="150813"/>
                      <a:pt x="84496" y="150813"/>
                    </a:cubicBezTo>
                    <a:cubicBezTo>
                      <a:pt x="90224" y="150813"/>
                      <a:pt x="95237" y="150813"/>
                      <a:pt x="100249" y="150813"/>
                    </a:cubicBezTo>
                    <a:cubicBezTo>
                      <a:pt x="100249" y="150813"/>
                      <a:pt x="100249" y="150813"/>
                      <a:pt x="100965" y="150813"/>
                    </a:cubicBezTo>
                    <a:cubicBezTo>
                      <a:pt x="105978" y="150813"/>
                      <a:pt x="110990" y="150813"/>
                      <a:pt x="116003" y="150813"/>
                    </a:cubicBezTo>
                    <a:cubicBezTo>
                      <a:pt x="122447" y="150813"/>
                      <a:pt x="127460" y="150813"/>
                      <a:pt x="132472" y="150813"/>
                    </a:cubicBezTo>
                    <a:cubicBezTo>
                      <a:pt x="156102" y="150813"/>
                      <a:pt x="161115" y="150813"/>
                      <a:pt x="161115" y="150813"/>
                    </a:cubicBezTo>
                    <a:cubicBezTo>
                      <a:pt x="165411" y="150813"/>
                      <a:pt x="168275" y="153635"/>
                      <a:pt x="168275" y="157868"/>
                    </a:cubicBezTo>
                    <a:cubicBezTo>
                      <a:pt x="168275" y="251707"/>
                      <a:pt x="168275" y="251707"/>
                      <a:pt x="168275" y="251707"/>
                    </a:cubicBezTo>
                    <a:cubicBezTo>
                      <a:pt x="168275" y="255941"/>
                      <a:pt x="165411" y="258763"/>
                      <a:pt x="161115" y="258763"/>
                    </a:cubicBezTo>
                    <a:cubicBezTo>
                      <a:pt x="151090" y="258763"/>
                      <a:pt x="141065" y="258763"/>
                      <a:pt x="132472" y="258763"/>
                    </a:cubicBezTo>
                    <a:cubicBezTo>
                      <a:pt x="126744" y="258763"/>
                      <a:pt x="121015" y="258763"/>
                      <a:pt x="116003" y="258763"/>
                    </a:cubicBezTo>
                    <a:cubicBezTo>
                      <a:pt x="110274" y="258763"/>
                      <a:pt x="105262" y="258763"/>
                      <a:pt x="100965" y="258763"/>
                    </a:cubicBezTo>
                    <a:cubicBezTo>
                      <a:pt x="100249" y="258763"/>
                      <a:pt x="100249" y="258763"/>
                      <a:pt x="100249" y="258763"/>
                    </a:cubicBezTo>
                    <a:cubicBezTo>
                      <a:pt x="94521" y="258763"/>
                      <a:pt x="89508" y="258763"/>
                      <a:pt x="84496" y="258763"/>
                    </a:cubicBezTo>
                    <a:cubicBezTo>
                      <a:pt x="78767" y="258763"/>
                      <a:pt x="73755" y="258763"/>
                      <a:pt x="69458" y="258763"/>
                    </a:cubicBezTo>
                    <a:cubicBezTo>
                      <a:pt x="17186" y="258763"/>
                      <a:pt x="7161" y="258763"/>
                      <a:pt x="7161" y="258763"/>
                    </a:cubicBezTo>
                    <a:cubicBezTo>
                      <a:pt x="2865" y="258763"/>
                      <a:pt x="0" y="255941"/>
                      <a:pt x="0" y="251707"/>
                    </a:cubicBezTo>
                    <a:cubicBezTo>
                      <a:pt x="0" y="157868"/>
                      <a:pt x="0" y="157868"/>
                      <a:pt x="0" y="157868"/>
                    </a:cubicBezTo>
                    <a:cubicBezTo>
                      <a:pt x="0" y="153635"/>
                      <a:pt x="2865" y="150813"/>
                      <a:pt x="7161" y="150813"/>
                    </a:cubicBezTo>
                    <a:close/>
                    <a:moveTo>
                      <a:pt x="133350" y="63500"/>
                    </a:moveTo>
                    <a:cubicBezTo>
                      <a:pt x="133350" y="63500"/>
                      <a:pt x="133350" y="63500"/>
                      <a:pt x="296863" y="63500"/>
                    </a:cubicBezTo>
                    <a:cubicBezTo>
                      <a:pt x="296863" y="63500"/>
                      <a:pt x="296863" y="63500"/>
                      <a:pt x="296863" y="1128713"/>
                    </a:cubicBezTo>
                    <a:cubicBezTo>
                      <a:pt x="296863" y="1128713"/>
                      <a:pt x="296863" y="1128713"/>
                      <a:pt x="133350" y="1128713"/>
                    </a:cubicBezTo>
                    <a:cubicBezTo>
                      <a:pt x="133350" y="1128713"/>
                      <a:pt x="133350" y="1128713"/>
                      <a:pt x="133350" y="1071674"/>
                    </a:cubicBezTo>
                    <a:cubicBezTo>
                      <a:pt x="133350" y="1071674"/>
                      <a:pt x="133350" y="1071674"/>
                      <a:pt x="161664" y="1071674"/>
                    </a:cubicBezTo>
                    <a:cubicBezTo>
                      <a:pt x="183607" y="1071674"/>
                      <a:pt x="199888" y="1054562"/>
                      <a:pt x="199888" y="1033172"/>
                    </a:cubicBezTo>
                    <a:cubicBezTo>
                      <a:pt x="199888" y="1033172"/>
                      <a:pt x="199888" y="1033172"/>
                      <a:pt x="199888" y="938344"/>
                    </a:cubicBezTo>
                    <a:cubicBezTo>
                      <a:pt x="199888" y="916954"/>
                      <a:pt x="183607" y="899842"/>
                      <a:pt x="161664" y="899842"/>
                    </a:cubicBezTo>
                    <a:cubicBezTo>
                      <a:pt x="161664" y="899842"/>
                      <a:pt x="161664" y="899842"/>
                      <a:pt x="133350" y="899842"/>
                    </a:cubicBezTo>
                    <a:cubicBezTo>
                      <a:pt x="133350" y="899842"/>
                      <a:pt x="133350" y="899842"/>
                      <a:pt x="133350" y="811431"/>
                    </a:cubicBezTo>
                    <a:cubicBezTo>
                      <a:pt x="133350" y="811431"/>
                      <a:pt x="133350" y="811431"/>
                      <a:pt x="161664" y="811431"/>
                    </a:cubicBezTo>
                    <a:cubicBezTo>
                      <a:pt x="182900" y="811431"/>
                      <a:pt x="199888" y="794319"/>
                      <a:pt x="199888" y="772929"/>
                    </a:cubicBezTo>
                    <a:cubicBezTo>
                      <a:pt x="199888" y="772929"/>
                      <a:pt x="199888" y="772929"/>
                      <a:pt x="199888" y="678101"/>
                    </a:cubicBezTo>
                    <a:cubicBezTo>
                      <a:pt x="199888" y="656711"/>
                      <a:pt x="182900" y="639599"/>
                      <a:pt x="161664" y="639599"/>
                    </a:cubicBezTo>
                    <a:cubicBezTo>
                      <a:pt x="161664" y="639599"/>
                      <a:pt x="161664" y="639599"/>
                      <a:pt x="133350" y="639599"/>
                    </a:cubicBezTo>
                    <a:cubicBezTo>
                      <a:pt x="133350" y="639599"/>
                      <a:pt x="133350" y="639599"/>
                      <a:pt x="133350" y="551188"/>
                    </a:cubicBezTo>
                    <a:cubicBezTo>
                      <a:pt x="133350" y="551188"/>
                      <a:pt x="133350" y="551188"/>
                      <a:pt x="161664" y="551188"/>
                    </a:cubicBezTo>
                    <a:cubicBezTo>
                      <a:pt x="182900" y="551188"/>
                      <a:pt x="199888" y="534076"/>
                      <a:pt x="199888" y="512686"/>
                    </a:cubicBezTo>
                    <a:cubicBezTo>
                      <a:pt x="199888" y="512686"/>
                      <a:pt x="199888" y="512686"/>
                      <a:pt x="199888" y="417858"/>
                    </a:cubicBezTo>
                    <a:cubicBezTo>
                      <a:pt x="199888" y="396468"/>
                      <a:pt x="182900" y="379356"/>
                      <a:pt x="161664" y="379356"/>
                    </a:cubicBezTo>
                    <a:cubicBezTo>
                      <a:pt x="161664" y="379356"/>
                      <a:pt x="161664" y="379356"/>
                      <a:pt x="133350" y="379356"/>
                    </a:cubicBezTo>
                    <a:cubicBezTo>
                      <a:pt x="133350" y="379356"/>
                      <a:pt x="133350" y="379356"/>
                      <a:pt x="133350" y="290945"/>
                    </a:cubicBezTo>
                    <a:cubicBezTo>
                      <a:pt x="133350" y="290945"/>
                      <a:pt x="133350" y="290945"/>
                      <a:pt x="161664" y="290945"/>
                    </a:cubicBezTo>
                    <a:cubicBezTo>
                      <a:pt x="183607" y="290945"/>
                      <a:pt x="199888" y="273833"/>
                      <a:pt x="199888" y="252443"/>
                    </a:cubicBezTo>
                    <a:cubicBezTo>
                      <a:pt x="199888" y="252443"/>
                      <a:pt x="199888" y="252443"/>
                      <a:pt x="199888" y="157615"/>
                    </a:cubicBezTo>
                    <a:cubicBezTo>
                      <a:pt x="199888" y="136225"/>
                      <a:pt x="183607" y="119113"/>
                      <a:pt x="161664" y="119113"/>
                    </a:cubicBezTo>
                    <a:cubicBezTo>
                      <a:pt x="161664" y="119113"/>
                      <a:pt x="161664" y="119113"/>
                      <a:pt x="133350" y="119113"/>
                    </a:cubicBezTo>
                    <a:cubicBezTo>
                      <a:pt x="133350" y="119113"/>
                      <a:pt x="133350" y="119113"/>
                      <a:pt x="133350" y="63500"/>
                    </a:cubicBezTo>
                    <a:close/>
                    <a:moveTo>
                      <a:pt x="85564" y="0"/>
                    </a:moveTo>
                    <a:cubicBezTo>
                      <a:pt x="85564" y="0"/>
                      <a:pt x="85564" y="0"/>
                      <a:pt x="952662" y="0"/>
                    </a:cubicBezTo>
                    <a:cubicBezTo>
                      <a:pt x="961947" y="0"/>
                      <a:pt x="968375" y="7139"/>
                      <a:pt x="968375" y="15706"/>
                    </a:cubicBezTo>
                    <a:cubicBezTo>
                      <a:pt x="968375" y="15706"/>
                      <a:pt x="968375" y="15706"/>
                      <a:pt x="968375" y="1176507"/>
                    </a:cubicBezTo>
                    <a:cubicBezTo>
                      <a:pt x="968375" y="1185788"/>
                      <a:pt x="961947" y="1192213"/>
                      <a:pt x="952662" y="1192213"/>
                    </a:cubicBezTo>
                    <a:cubicBezTo>
                      <a:pt x="952662" y="1192213"/>
                      <a:pt x="952662" y="1192213"/>
                      <a:pt x="85564" y="1192213"/>
                    </a:cubicBezTo>
                    <a:cubicBezTo>
                      <a:pt x="76278" y="1192213"/>
                      <a:pt x="69850" y="1185788"/>
                      <a:pt x="69850" y="1176507"/>
                    </a:cubicBezTo>
                    <a:cubicBezTo>
                      <a:pt x="69850" y="1176507"/>
                      <a:pt x="69850" y="1176507"/>
                      <a:pt x="69850" y="1072278"/>
                    </a:cubicBezTo>
                    <a:cubicBezTo>
                      <a:pt x="69850" y="1072278"/>
                      <a:pt x="69850" y="1072278"/>
                      <a:pt x="84849" y="1072278"/>
                    </a:cubicBezTo>
                    <a:cubicBezTo>
                      <a:pt x="84849" y="1072278"/>
                      <a:pt x="84849" y="1072278"/>
                      <a:pt x="100563" y="1072278"/>
                    </a:cubicBezTo>
                    <a:cubicBezTo>
                      <a:pt x="100563" y="1072278"/>
                      <a:pt x="100563" y="1072278"/>
                      <a:pt x="101277" y="1072278"/>
                    </a:cubicBezTo>
                    <a:cubicBezTo>
                      <a:pt x="101277" y="1072278"/>
                      <a:pt x="101277" y="1072278"/>
                      <a:pt x="101277" y="1145096"/>
                    </a:cubicBezTo>
                    <a:cubicBezTo>
                      <a:pt x="101277" y="1145096"/>
                      <a:pt x="101277" y="1145096"/>
                      <a:pt x="101277" y="1160802"/>
                    </a:cubicBezTo>
                    <a:cubicBezTo>
                      <a:pt x="101277" y="1160802"/>
                      <a:pt x="101277" y="1160802"/>
                      <a:pt x="116991" y="1160802"/>
                    </a:cubicBezTo>
                    <a:cubicBezTo>
                      <a:pt x="116991" y="1160802"/>
                      <a:pt x="116991" y="1160802"/>
                      <a:pt x="313409" y="1160802"/>
                    </a:cubicBezTo>
                    <a:cubicBezTo>
                      <a:pt x="313409" y="1160802"/>
                      <a:pt x="313409" y="1160802"/>
                      <a:pt x="329123" y="1160802"/>
                    </a:cubicBezTo>
                    <a:cubicBezTo>
                      <a:pt x="329123" y="1160802"/>
                      <a:pt x="329123" y="1160802"/>
                      <a:pt x="921235" y="1160802"/>
                    </a:cubicBezTo>
                    <a:cubicBezTo>
                      <a:pt x="921235" y="1160802"/>
                      <a:pt x="921235" y="1160802"/>
                      <a:pt x="936948" y="1160802"/>
                    </a:cubicBezTo>
                    <a:cubicBezTo>
                      <a:pt x="936948" y="1160802"/>
                      <a:pt x="936948" y="1160802"/>
                      <a:pt x="936948" y="1145096"/>
                    </a:cubicBezTo>
                    <a:cubicBezTo>
                      <a:pt x="936948" y="1145096"/>
                      <a:pt x="936948" y="1145096"/>
                      <a:pt x="936948" y="47117"/>
                    </a:cubicBezTo>
                    <a:cubicBezTo>
                      <a:pt x="936948" y="47117"/>
                      <a:pt x="936948" y="47117"/>
                      <a:pt x="936948" y="31411"/>
                    </a:cubicBezTo>
                    <a:cubicBezTo>
                      <a:pt x="936948" y="31411"/>
                      <a:pt x="936948" y="31411"/>
                      <a:pt x="329123" y="31411"/>
                    </a:cubicBezTo>
                    <a:cubicBezTo>
                      <a:pt x="329123" y="31411"/>
                      <a:pt x="329123" y="31411"/>
                      <a:pt x="313409" y="31411"/>
                    </a:cubicBezTo>
                    <a:cubicBezTo>
                      <a:pt x="313409" y="31411"/>
                      <a:pt x="313409" y="31411"/>
                      <a:pt x="101277" y="31411"/>
                    </a:cubicBezTo>
                    <a:cubicBezTo>
                      <a:pt x="101277" y="31411"/>
                      <a:pt x="101277" y="31411"/>
                      <a:pt x="101277" y="47117"/>
                    </a:cubicBezTo>
                    <a:cubicBezTo>
                      <a:pt x="101277" y="47117"/>
                      <a:pt x="101277" y="47117"/>
                      <a:pt x="101277" y="118507"/>
                    </a:cubicBezTo>
                    <a:cubicBezTo>
                      <a:pt x="101277" y="118507"/>
                      <a:pt x="101277" y="118507"/>
                      <a:pt x="100563" y="118507"/>
                    </a:cubicBezTo>
                    <a:cubicBezTo>
                      <a:pt x="100563" y="118507"/>
                      <a:pt x="100563" y="118507"/>
                      <a:pt x="84849" y="118507"/>
                    </a:cubicBezTo>
                    <a:cubicBezTo>
                      <a:pt x="84849" y="118507"/>
                      <a:pt x="84849" y="118507"/>
                      <a:pt x="69850" y="118507"/>
                    </a:cubicBezTo>
                    <a:cubicBezTo>
                      <a:pt x="69850" y="118507"/>
                      <a:pt x="69850" y="118507"/>
                      <a:pt x="69850" y="15706"/>
                    </a:cubicBezTo>
                    <a:cubicBezTo>
                      <a:pt x="69850" y="7139"/>
                      <a:pt x="76278" y="0"/>
                      <a:pt x="85564"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noAutofit/>
              </a:bodyPr>
              <a:lstStyle/>
              <a:p>
                <a:pPr marL="0" marR="0" lvl="0" indent="0" algn="l" defTabSz="467539"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Arial" panose="020B0604020202020204" pitchFamily="34" charset="0"/>
                </a:endParaRPr>
              </a:p>
            </p:txBody>
          </p:sp>
          <p:sp>
            <p:nvSpPr>
              <p:cNvPr id="57" name="Freeform 53">
                <a:extLst>
                  <a:ext uri="{FF2B5EF4-FFF2-40B4-BE49-F238E27FC236}">
                    <a16:creationId xmlns:a16="http://schemas.microsoft.com/office/drawing/2014/main" id="{1057AF35-C48C-3E49-1617-C7FC760C83B4}"/>
                  </a:ext>
                </a:extLst>
              </p:cNvPr>
              <p:cNvSpPr>
                <a:spLocks noChangeArrowheads="1"/>
              </p:cNvSpPr>
              <p:nvPr/>
            </p:nvSpPr>
            <p:spPr bwMode="auto">
              <a:xfrm>
                <a:off x="5907088" y="2952750"/>
                <a:ext cx="577850" cy="1065213"/>
              </a:xfrm>
              <a:custGeom>
                <a:avLst/>
                <a:gdLst>
                  <a:gd name="connsiteX0" fmla="*/ 270868 w 577850"/>
                  <a:gd name="connsiteY0" fmla="*/ 314325 h 1065213"/>
                  <a:gd name="connsiteX1" fmla="*/ 110752 w 577850"/>
                  <a:gd name="connsiteY1" fmla="*/ 417046 h 1065213"/>
                  <a:gd name="connsiteX2" fmla="*/ 167936 w 577850"/>
                  <a:gd name="connsiteY2" fmla="*/ 618921 h 1065213"/>
                  <a:gd name="connsiteX3" fmla="*/ 167936 w 577850"/>
                  <a:gd name="connsiteY3" fmla="*/ 715221 h 1065213"/>
                  <a:gd name="connsiteX4" fmla="*/ 173655 w 577850"/>
                  <a:gd name="connsiteY4" fmla="*/ 724495 h 1065213"/>
                  <a:gd name="connsiteX5" fmla="*/ 325908 w 577850"/>
                  <a:gd name="connsiteY5" fmla="*/ 750888 h 1065213"/>
                  <a:gd name="connsiteX6" fmla="*/ 335201 w 577850"/>
                  <a:gd name="connsiteY6" fmla="*/ 741615 h 1065213"/>
                  <a:gd name="connsiteX7" fmla="*/ 335201 w 577850"/>
                  <a:gd name="connsiteY7" fmla="*/ 675274 h 1065213"/>
                  <a:gd name="connsiteX8" fmla="*/ 413115 w 577850"/>
                  <a:gd name="connsiteY8" fmla="*/ 670281 h 1065213"/>
                  <a:gd name="connsiteX9" fmla="*/ 425981 w 577850"/>
                  <a:gd name="connsiteY9" fmla="*/ 627481 h 1065213"/>
                  <a:gd name="connsiteX10" fmla="*/ 426696 w 577850"/>
                  <a:gd name="connsiteY10" fmla="*/ 624627 h 1065213"/>
                  <a:gd name="connsiteX11" fmla="*/ 423837 w 577850"/>
                  <a:gd name="connsiteY11" fmla="*/ 572554 h 1065213"/>
                  <a:gd name="connsiteX12" fmla="*/ 462436 w 577850"/>
                  <a:gd name="connsiteY12" fmla="*/ 551153 h 1065213"/>
                  <a:gd name="connsiteX13" fmla="*/ 445281 w 577850"/>
                  <a:gd name="connsiteY13" fmla="*/ 516200 h 1065213"/>
                  <a:gd name="connsiteX14" fmla="*/ 441707 w 577850"/>
                  <a:gd name="connsiteY14" fmla="*/ 512633 h 1065213"/>
                  <a:gd name="connsiteX15" fmla="*/ 425981 w 577850"/>
                  <a:gd name="connsiteY15" fmla="*/ 480533 h 1065213"/>
                  <a:gd name="connsiteX16" fmla="*/ 421692 w 577850"/>
                  <a:gd name="connsiteY16" fmla="*/ 464126 h 1065213"/>
                  <a:gd name="connsiteX17" fmla="*/ 415259 w 577850"/>
                  <a:gd name="connsiteY17" fmla="*/ 439873 h 1065213"/>
                  <a:gd name="connsiteX18" fmla="*/ 410256 w 577850"/>
                  <a:gd name="connsiteY18" fmla="*/ 394932 h 1065213"/>
                  <a:gd name="connsiteX19" fmla="*/ 414544 w 577850"/>
                  <a:gd name="connsiteY19" fmla="*/ 396359 h 1065213"/>
                  <a:gd name="connsiteX20" fmla="*/ 415974 w 577850"/>
                  <a:gd name="connsiteY20" fmla="*/ 394932 h 1065213"/>
                  <a:gd name="connsiteX21" fmla="*/ 442422 w 577850"/>
                  <a:gd name="connsiteY21" fmla="*/ 339292 h 1065213"/>
                  <a:gd name="connsiteX22" fmla="*/ 270868 w 577850"/>
                  <a:gd name="connsiteY22" fmla="*/ 314325 h 1065213"/>
                  <a:gd name="connsiteX23" fmla="*/ 0 w 577850"/>
                  <a:gd name="connsiteY23" fmla="*/ 0 h 1065213"/>
                  <a:gd name="connsiteX24" fmla="*/ 577850 w 577850"/>
                  <a:gd name="connsiteY24" fmla="*/ 0 h 1065213"/>
                  <a:gd name="connsiteX25" fmla="*/ 577850 w 577850"/>
                  <a:gd name="connsiteY25" fmla="*/ 1065213 h 1065213"/>
                  <a:gd name="connsiteX26" fmla="*/ 0 w 577850"/>
                  <a:gd name="connsiteY26" fmla="*/ 1065213 h 1065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77850" h="1065213">
                    <a:moveTo>
                      <a:pt x="270868" y="314325"/>
                    </a:moveTo>
                    <a:cubicBezTo>
                      <a:pt x="179373" y="314325"/>
                      <a:pt x="133625" y="369966"/>
                      <a:pt x="110752" y="417046"/>
                    </a:cubicBezTo>
                    <a:cubicBezTo>
                      <a:pt x="71437" y="501220"/>
                      <a:pt x="136485" y="585394"/>
                      <a:pt x="167936" y="618921"/>
                    </a:cubicBezTo>
                    <a:cubicBezTo>
                      <a:pt x="167936" y="618921"/>
                      <a:pt x="167936" y="618921"/>
                      <a:pt x="167936" y="715221"/>
                    </a:cubicBezTo>
                    <a:cubicBezTo>
                      <a:pt x="167936" y="719501"/>
                      <a:pt x="170081" y="723068"/>
                      <a:pt x="173655" y="724495"/>
                    </a:cubicBezTo>
                    <a:cubicBezTo>
                      <a:pt x="237272" y="750175"/>
                      <a:pt x="318760" y="750888"/>
                      <a:pt x="325908" y="750888"/>
                    </a:cubicBezTo>
                    <a:cubicBezTo>
                      <a:pt x="331627" y="750888"/>
                      <a:pt x="335201" y="745895"/>
                      <a:pt x="335201" y="741615"/>
                    </a:cubicBezTo>
                    <a:cubicBezTo>
                      <a:pt x="335201" y="741615"/>
                      <a:pt x="335201" y="741615"/>
                      <a:pt x="335201" y="675274"/>
                    </a:cubicBezTo>
                    <a:cubicBezTo>
                      <a:pt x="375230" y="678841"/>
                      <a:pt x="404537" y="675274"/>
                      <a:pt x="413115" y="670281"/>
                    </a:cubicBezTo>
                    <a:cubicBezTo>
                      <a:pt x="423837" y="664574"/>
                      <a:pt x="424552" y="651734"/>
                      <a:pt x="425981" y="627481"/>
                    </a:cubicBezTo>
                    <a:cubicBezTo>
                      <a:pt x="425981" y="627481"/>
                      <a:pt x="425981" y="627481"/>
                      <a:pt x="426696" y="624627"/>
                    </a:cubicBezTo>
                    <a:cubicBezTo>
                      <a:pt x="427411" y="608934"/>
                      <a:pt x="425266" y="586107"/>
                      <a:pt x="423837" y="572554"/>
                    </a:cubicBezTo>
                    <a:cubicBezTo>
                      <a:pt x="453144" y="571840"/>
                      <a:pt x="461722" y="556147"/>
                      <a:pt x="462436" y="551153"/>
                    </a:cubicBezTo>
                    <a:cubicBezTo>
                      <a:pt x="466725" y="539740"/>
                      <a:pt x="456003" y="528327"/>
                      <a:pt x="445281" y="516200"/>
                    </a:cubicBezTo>
                    <a:cubicBezTo>
                      <a:pt x="443851" y="514773"/>
                      <a:pt x="443137" y="514060"/>
                      <a:pt x="441707" y="512633"/>
                    </a:cubicBezTo>
                    <a:cubicBezTo>
                      <a:pt x="436703" y="506926"/>
                      <a:pt x="430270" y="495513"/>
                      <a:pt x="425981" y="480533"/>
                    </a:cubicBezTo>
                    <a:cubicBezTo>
                      <a:pt x="424552" y="476966"/>
                      <a:pt x="423122" y="471260"/>
                      <a:pt x="421692" y="464126"/>
                    </a:cubicBezTo>
                    <a:cubicBezTo>
                      <a:pt x="419548" y="456279"/>
                      <a:pt x="418118" y="447006"/>
                      <a:pt x="415259" y="439873"/>
                    </a:cubicBezTo>
                    <a:cubicBezTo>
                      <a:pt x="413115" y="432026"/>
                      <a:pt x="410970" y="407772"/>
                      <a:pt x="410256" y="394932"/>
                    </a:cubicBezTo>
                    <a:cubicBezTo>
                      <a:pt x="411685" y="394932"/>
                      <a:pt x="413830" y="396359"/>
                      <a:pt x="414544" y="396359"/>
                    </a:cubicBezTo>
                    <a:cubicBezTo>
                      <a:pt x="415259" y="396359"/>
                      <a:pt x="415259" y="395646"/>
                      <a:pt x="415974" y="394932"/>
                    </a:cubicBezTo>
                    <a:cubicBezTo>
                      <a:pt x="420978" y="373532"/>
                      <a:pt x="452429" y="339292"/>
                      <a:pt x="442422" y="339292"/>
                    </a:cubicBezTo>
                    <a:cubicBezTo>
                      <a:pt x="345208" y="340719"/>
                      <a:pt x="375945" y="314325"/>
                      <a:pt x="270868" y="314325"/>
                    </a:cubicBezTo>
                    <a:close/>
                    <a:moveTo>
                      <a:pt x="0" y="0"/>
                    </a:moveTo>
                    <a:lnTo>
                      <a:pt x="577850" y="0"/>
                    </a:lnTo>
                    <a:lnTo>
                      <a:pt x="577850" y="1065213"/>
                    </a:lnTo>
                    <a:lnTo>
                      <a:pt x="0" y="1065213"/>
                    </a:lnTo>
                    <a:close/>
                  </a:path>
                </a:pathLst>
              </a:custGeom>
              <a:solidFill>
                <a:srgbClr val="0087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noAutofit/>
              </a:bodyPr>
              <a:lstStyle/>
              <a:p>
                <a:pPr marL="0" marR="0" lvl="0" indent="0" algn="l" defTabSz="467539"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Arial" panose="020B0604020202020204" pitchFamily="34" charset="0"/>
                </a:endParaRPr>
              </a:p>
            </p:txBody>
          </p:sp>
        </p:grpSp>
      </p:grpSp>
      <p:sp>
        <p:nvSpPr>
          <p:cNvPr id="58" name="Chevron 10">
            <a:extLst>
              <a:ext uri="{FF2B5EF4-FFF2-40B4-BE49-F238E27FC236}">
                <a16:creationId xmlns:a16="http://schemas.microsoft.com/office/drawing/2014/main" id="{AD709CDC-E855-DD8A-A3DC-1B96C004B409}"/>
              </a:ext>
            </a:extLst>
          </p:cNvPr>
          <p:cNvSpPr/>
          <p:nvPr/>
        </p:nvSpPr>
        <p:spPr>
          <a:xfrm>
            <a:off x="968541" y="1201648"/>
            <a:ext cx="5163785" cy="291550"/>
          </a:xfrm>
          <a:prstGeom prst="chevron">
            <a:avLst>
              <a:gd name="adj" fmla="val 32323"/>
            </a:avLst>
          </a:prstGeom>
          <a:solidFill>
            <a:schemeClr val="accent2">
              <a:lumMod val="20000"/>
              <a:lumOff val="80000"/>
            </a:schemeClr>
          </a:solidFill>
          <a:ln w="381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pl-PL" sz="1200" b="1" i="0" u="none" strike="noStrike" kern="1200" cap="none" spc="0" normalizeH="0" baseline="0" noProof="0" dirty="0">
                <a:ln>
                  <a:noFill/>
                </a:ln>
                <a:solidFill>
                  <a:srgbClr val="7E93A5">
                    <a:lumMod val="75000"/>
                  </a:srgbClr>
                </a:solidFill>
                <a:effectLst/>
                <a:uLnTx/>
                <a:uFillTx/>
                <a:latin typeface="Open Sans Light"/>
                <a:ea typeface="+mn-ea"/>
                <a:cs typeface="+mn-cs"/>
              </a:rPr>
              <a:t>DIRECT TO THE CUSTOMER</a:t>
            </a:r>
            <a:endParaRPr kumimoji="0" lang="en-US" sz="1200" b="1" i="0" u="none" strike="noStrike" kern="1200" cap="none" spc="0" normalizeH="0" baseline="0" noProof="0" dirty="0">
              <a:ln>
                <a:noFill/>
              </a:ln>
              <a:solidFill>
                <a:srgbClr val="7E93A5">
                  <a:lumMod val="75000"/>
                </a:srgbClr>
              </a:solidFill>
              <a:effectLst/>
              <a:uLnTx/>
              <a:uFillTx/>
              <a:latin typeface="Open Sans Light"/>
              <a:ea typeface="+mn-ea"/>
              <a:cs typeface="+mn-cs"/>
            </a:endParaRPr>
          </a:p>
        </p:txBody>
      </p:sp>
      <p:sp>
        <p:nvSpPr>
          <p:cNvPr id="59" name="Chevron 10">
            <a:extLst>
              <a:ext uri="{FF2B5EF4-FFF2-40B4-BE49-F238E27FC236}">
                <a16:creationId xmlns:a16="http://schemas.microsoft.com/office/drawing/2014/main" id="{029A4DEA-9673-E599-EF36-EFF3E04B54F9}"/>
              </a:ext>
            </a:extLst>
          </p:cNvPr>
          <p:cNvSpPr/>
          <p:nvPr/>
        </p:nvSpPr>
        <p:spPr>
          <a:xfrm>
            <a:off x="6948603" y="1208208"/>
            <a:ext cx="4919418" cy="291550"/>
          </a:xfrm>
          <a:prstGeom prst="chevron">
            <a:avLst>
              <a:gd name="adj" fmla="val 32323"/>
            </a:avLst>
          </a:prstGeom>
          <a:solidFill>
            <a:schemeClr val="accent2">
              <a:lumMod val="20000"/>
              <a:lumOff val="80000"/>
            </a:schemeClr>
          </a:solidFill>
          <a:ln w="381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pl-PL" sz="1200" b="1" i="0" u="none" strike="noStrike" kern="1200" cap="none" spc="0" normalizeH="0" baseline="0" noProof="0" dirty="0">
                <a:ln>
                  <a:noFill/>
                </a:ln>
                <a:solidFill>
                  <a:srgbClr val="7E93A5">
                    <a:lumMod val="75000"/>
                  </a:srgbClr>
                </a:solidFill>
                <a:effectLst/>
                <a:uLnTx/>
                <a:uFillTx/>
                <a:latin typeface="Open Sans Light"/>
                <a:ea typeface="+mn-ea"/>
                <a:cs typeface="+mn-cs"/>
              </a:rPr>
              <a:t>PASSIVE CHANNELS</a:t>
            </a:r>
            <a:endParaRPr kumimoji="0" lang="en-US" sz="1200" b="1" i="0" u="none" strike="noStrike" kern="1200" cap="none" spc="0" normalizeH="0" baseline="0" noProof="0" dirty="0">
              <a:ln>
                <a:noFill/>
              </a:ln>
              <a:solidFill>
                <a:srgbClr val="7E93A5">
                  <a:lumMod val="75000"/>
                </a:srgbClr>
              </a:solidFill>
              <a:effectLst/>
              <a:uLnTx/>
              <a:uFillTx/>
              <a:latin typeface="Open Sans Light"/>
              <a:ea typeface="+mn-ea"/>
              <a:cs typeface="+mn-cs"/>
            </a:endParaRPr>
          </a:p>
        </p:txBody>
      </p:sp>
    </p:spTree>
    <p:extLst>
      <p:ext uri="{BB962C8B-B14F-4D97-AF65-F5344CB8AC3E}">
        <p14:creationId xmlns:p14="http://schemas.microsoft.com/office/powerpoint/2010/main" val="171882324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ymbol zastępczy numeru slajdu 2">
            <a:extLst>
              <a:ext uri="{FF2B5EF4-FFF2-40B4-BE49-F238E27FC236}">
                <a16:creationId xmlns:a16="http://schemas.microsoft.com/office/drawing/2014/main" id="{AA30C020-C667-4A02-80DD-CE9BCF5EE8F5}"/>
              </a:ext>
            </a:extLst>
          </p:cNvPr>
          <p:cNvSpPr>
            <a:spLocks noGrp="1"/>
          </p:cNvSpPr>
          <p:nvPr>
            <p:ph type="sldNum" sz="quarter" idx="10"/>
          </p:nvPr>
        </p:nvSpPr>
        <p:spPr>
          <a:xfrm>
            <a:off x="48673" y="6366239"/>
            <a:ext cx="943180" cy="366183"/>
          </a:xfrm>
        </p:spPr>
        <p:txBody>
          <a:bodyPr/>
          <a:lstStyle/>
          <a:p>
            <a:pPr marL="0" marR="0" lvl="0" indent="0" algn="l" defTabSz="467539" rtl="0" eaLnBrk="1" fontAlgn="auto" latinLnBrk="0" hangingPunct="1">
              <a:lnSpc>
                <a:spcPct val="100000"/>
              </a:lnSpc>
              <a:spcBef>
                <a:spcPts val="0"/>
              </a:spcBef>
              <a:spcAft>
                <a:spcPts val="0"/>
              </a:spcAft>
              <a:buClrTx/>
              <a:buSzTx/>
              <a:buFontTx/>
              <a:buNone/>
              <a:tabLst/>
              <a:defRPr/>
            </a:pPr>
            <a:fld id="{332DF002-2E43-485C-89F8-8DCEF59D6C4F}" type="slidenum">
              <a:rPr kumimoji="0" lang="pl-PL" sz="1067" b="0" i="0" u="none" strike="noStrike" kern="1200" cap="none" spc="0" normalizeH="0" baseline="0" noProof="0">
                <a:ln>
                  <a:noFill/>
                </a:ln>
                <a:solidFill>
                  <a:srgbClr val="7E93A5"/>
                </a:solidFill>
                <a:effectLst/>
                <a:uLnTx/>
                <a:uFillTx/>
                <a:latin typeface="Arial"/>
                <a:ea typeface="+mn-ea"/>
                <a:cs typeface="+mn-cs"/>
              </a:rPr>
              <a:pPr marL="0" marR="0" lvl="0" indent="0" algn="l" defTabSz="467539" rtl="0" eaLnBrk="1" fontAlgn="auto" latinLnBrk="0" hangingPunct="1">
                <a:lnSpc>
                  <a:spcPct val="100000"/>
                </a:lnSpc>
                <a:spcBef>
                  <a:spcPts val="0"/>
                </a:spcBef>
                <a:spcAft>
                  <a:spcPts val="0"/>
                </a:spcAft>
                <a:buClrTx/>
                <a:buSzTx/>
                <a:buFontTx/>
                <a:buNone/>
                <a:tabLst/>
                <a:defRPr/>
              </a:pPr>
              <a:t>29</a:t>
            </a:fld>
            <a:endParaRPr kumimoji="0" lang="pl-PL" sz="1067" b="0" i="0" u="none" strike="noStrike" kern="1200" cap="none" spc="0" normalizeH="0" baseline="0" noProof="0" dirty="0">
              <a:ln>
                <a:noFill/>
              </a:ln>
              <a:solidFill>
                <a:srgbClr val="7E93A5"/>
              </a:solidFill>
              <a:effectLst/>
              <a:uLnTx/>
              <a:uFillTx/>
              <a:latin typeface="Arial"/>
              <a:ea typeface="+mn-ea"/>
              <a:cs typeface="+mn-cs"/>
            </a:endParaRPr>
          </a:p>
        </p:txBody>
      </p:sp>
      <p:sp>
        <p:nvSpPr>
          <p:cNvPr id="4" name="Symbol zastępczy zawartości 2">
            <a:extLst>
              <a:ext uri="{FF2B5EF4-FFF2-40B4-BE49-F238E27FC236}">
                <a16:creationId xmlns:a16="http://schemas.microsoft.com/office/drawing/2014/main" id="{7EFB1F37-155E-4D79-B3D6-39B948470E00}"/>
              </a:ext>
            </a:extLst>
          </p:cNvPr>
          <p:cNvSpPr txBox="1">
            <a:spLocks/>
          </p:cNvSpPr>
          <p:nvPr/>
        </p:nvSpPr>
        <p:spPr bwMode="gray">
          <a:xfrm>
            <a:off x="6854887" y="788971"/>
            <a:ext cx="4526227" cy="4019532"/>
          </a:xfrm>
          <a:prstGeom prst="rect">
            <a:avLst/>
          </a:prstGeom>
        </p:spPr>
        <p:txBody>
          <a:bodyPr vert="horz" lIns="0" tIns="0" rIns="0" bIns="0" numCol="1" spcCol="180000" rtlCol="0" anchor="t" anchorCtr="0">
            <a:noAutofit/>
          </a:bodyPr>
          <a:lstStyle>
            <a:lvl1pPr marL="252000" indent="-252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b="0" kern="1200" cap="none" baseline="0">
                <a:solidFill>
                  <a:schemeClr val="accent3"/>
                </a:solidFill>
                <a:latin typeface="+mn-lt"/>
                <a:ea typeface="+mn-ea"/>
                <a:cs typeface="+mn-cs"/>
              </a:defRPr>
            </a:lvl1pPr>
            <a:lvl2pPr marL="234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2pPr>
            <a:lvl3pPr marL="342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3pPr>
            <a:lvl4pPr marL="432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b="0" kern="1200" cap="none" baseline="0">
                <a:solidFill>
                  <a:schemeClr val="accent3"/>
                </a:solidFill>
                <a:latin typeface="+mn-lt"/>
                <a:ea typeface="+mn-ea"/>
                <a:cs typeface="+mn-cs"/>
              </a:defRPr>
            </a:lvl4pPr>
            <a:lvl5pPr marL="540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kern="1200" cap="none">
                <a:solidFill>
                  <a:schemeClr val="accent3"/>
                </a:solidFill>
                <a:latin typeface="+mn-lt"/>
                <a:ea typeface="+mn-ea"/>
                <a:cs typeface="+mn-cs"/>
              </a:defRPr>
            </a:lvl5pPr>
            <a:lvl6pPr marL="1885874"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3"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l" defTabSz="914341" rtl="0" eaLnBrk="1" fontAlgn="auto" latinLnBrk="0" hangingPunct="1">
              <a:lnSpc>
                <a:spcPct val="95000"/>
              </a:lnSpc>
              <a:spcBef>
                <a:spcPts val="0"/>
              </a:spcBef>
              <a:spcAft>
                <a:spcPts val="1600"/>
              </a:spcAft>
              <a:buClr>
                <a:srgbClr val="7E93A5"/>
              </a:buClr>
              <a:buSzPct val="100000"/>
              <a:buFont typeface="Wingdings" pitchFamily="2" charset="2"/>
              <a:buNone/>
              <a:tabLst/>
              <a:defRPr/>
            </a:pPr>
            <a:endParaRPr kumimoji="0" lang="pl-PL" sz="1867" b="0" i="0" u="none" strike="noStrike" kern="1200" cap="none" spc="0" normalizeH="0" baseline="0" noProof="0">
              <a:ln>
                <a:noFill/>
              </a:ln>
              <a:solidFill>
                <a:srgbClr val="7E93A5"/>
              </a:solidFill>
              <a:effectLst/>
              <a:uLnTx/>
              <a:uFillTx/>
              <a:latin typeface="Arial"/>
              <a:ea typeface="+mn-ea"/>
              <a:cs typeface="+mn-cs"/>
            </a:endParaRPr>
          </a:p>
        </p:txBody>
      </p:sp>
      <p:grpSp>
        <p:nvGrpSpPr>
          <p:cNvPr id="5" name="Grupa 4">
            <a:extLst>
              <a:ext uri="{FF2B5EF4-FFF2-40B4-BE49-F238E27FC236}">
                <a16:creationId xmlns:a16="http://schemas.microsoft.com/office/drawing/2014/main" id="{0C1D911E-2469-48B5-9312-65E7C77A4346}"/>
              </a:ext>
            </a:extLst>
          </p:cNvPr>
          <p:cNvGrpSpPr/>
          <p:nvPr/>
        </p:nvGrpSpPr>
        <p:grpSpPr>
          <a:xfrm>
            <a:off x="6687785" y="1029202"/>
            <a:ext cx="623744" cy="614843"/>
            <a:chOff x="5376270" y="1867583"/>
            <a:chExt cx="467808" cy="461132"/>
          </a:xfrm>
        </p:grpSpPr>
        <p:sp>
          <p:nvSpPr>
            <p:cNvPr id="6" name="Oval 17">
              <a:extLst>
                <a:ext uri="{FF2B5EF4-FFF2-40B4-BE49-F238E27FC236}">
                  <a16:creationId xmlns:a16="http://schemas.microsoft.com/office/drawing/2014/main" id="{D01F7F68-4D5D-461B-973A-CBDB2D851C05}"/>
                </a:ext>
              </a:extLst>
            </p:cNvPr>
            <p:cNvSpPr/>
            <p:nvPr/>
          </p:nvSpPr>
          <p:spPr bwMode="auto">
            <a:xfrm>
              <a:off x="5376270" y="1867583"/>
              <a:ext cx="467808" cy="461132"/>
            </a:xfrm>
            <a:prstGeom prst="ellipse">
              <a:avLst/>
            </a:prstGeom>
            <a:solidFill>
              <a:srgbClr val="81BC00"/>
            </a:solidFill>
            <a:ln w="2857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7466" b="0" i="0" u="none" strike="noStrike" kern="1200" cap="none" spc="0" normalizeH="0" baseline="0" noProof="0" dirty="0">
                <a:ln>
                  <a:noFill/>
                </a:ln>
                <a:solidFill>
                  <a:srgbClr val="000000"/>
                </a:solidFill>
                <a:effectLst/>
                <a:uLnTx/>
                <a:uFillTx/>
                <a:latin typeface="Calibri"/>
                <a:ea typeface="ヒラギノ角ゴ ProN W3" charset="0"/>
                <a:cs typeface="Calibri"/>
                <a:sym typeface="Gill Sans" charset="0"/>
              </a:endParaRPr>
            </a:p>
          </p:txBody>
        </p:sp>
        <p:sp>
          <p:nvSpPr>
            <p:cNvPr id="7" name="Symbol zastępczy zawartości 2">
              <a:extLst>
                <a:ext uri="{FF2B5EF4-FFF2-40B4-BE49-F238E27FC236}">
                  <a16:creationId xmlns:a16="http://schemas.microsoft.com/office/drawing/2014/main" id="{6C4B6BE3-D021-494B-8236-270564B55970}"/>
                </a:ext>
              </a:extLst>
            </p:cNvPr>
            <p:cNvSpPr txBox="1">
              <a:spLocks/>
            </p:cNvSpPr>
            <p:nvPr/>
          </p:nvSpPr>
          <p:spPr bwMode="gray">
            <a:xfrm>
              <a:off x="5376270" y="2003559"/>
              <a:ext cx="467808" cy="273589"/>
            </a:xfrm>
            <a:prstGeom prst="rect">
              <a:avLst/>
            </a:prstGeom>
          </p:spPr>
          <p:txBody>
            <a:bodyPr vert="horz" lIns="0" tIns="0" rIns="0" bIns="0" rtlCol="0" anchor="t" anchorCtr="0">
              <a:noAutofit/>
            </a:bodyPr>
            <a:lstStyle>
              <a:lvl1pPr marL="252000" indent="-252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b="0" kern="1200" cap="none" baseline="0">
                  <a:solidFill>
                    <a:schemeClr val="accent3"/>
                  </a:solidFill>
                  <a:latin typeface="+mn-lt"/>
                  <a:ea typeface="+mn-ea"/>
                  <a:cs typeface="+mn-cs"/>
                </a:defRPr>
              </a:lvl1pPr>
              <a:lvl2pPr marL="234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2pPr>
              <a:lvl3pPr marL="342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3pPr>
              <a:lvl4pPr marL="432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b="0" kern="1200" cap="none" baseline="0">
                  <a:solidFill>
                    <a:schemeClr val="accent3"/>
                  </a:solidFill>
                  <a:latin typeface="+mn-lt"/>
                  <a:ea typeface="+mn-ea"/>
                  <a:cs typeface="+mn-cs"/>
                </a:defRPr>
              </a:lvl4pPr>
              <a:lvl5pPr marL="540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kern="1200" cap="none">
                  <a:solidFill>
                    <a:schemeClr val="accent3"/>
                  </a:solidFill>
                  <a:latin typeface="+mn-lt"/>
                  <a:ea typeface="+mn-ea"/>
                  <a:cs typeface="+mn-cs"/>
                </a:defRPr>
              </a:lvl5pPr>
              <a:lvl6pPr marL="1885874"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3"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ctr" defTabSz="914341" rtl="0" eaLnBrk="1" fontAlgn="auto" latinLnBrk="0" hangingPunct="1">
                <a:lnSpc>
                  <a:spcPct val="95000"/>
                </a:lnSpc>
                <a:spcBef>
                  <a:spcPts val="0"/>
                </a:spcBef>
                <a:spcAft>
                  <a:spcPts val="1600"/>
                </a:spcAft>
                <a:buClr>
                  <a:srgbClr val="7E93A5"/>
                </a:buClr>
                <a:buSzPct val="100000"/>
                <a:buFont typeface="Wingdings" pitchFamily="2" charset="2"/>
                <a:buNone/>
                <a:tabLst/>
                <a:defRPr/>
              </a:pPr>
              <a:endParaRPr kumimoji="0" lang="pl-PL" sz="1867"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8" name="Symbol zastępczy zawartości 2">
            <a:extLst>
              <a:ext uri="{FF2B5EF4-FFF2-40B4-BE49-F238E27FC236}">
                <a16:creationId xmlns:a16="http://schemas.microsoft.com/office/drawing/2014/main" id="{871268EE-2225-4585-A3A3-1B2EE159D270}"/>
              </a:ext>
            </a:extLst>
          </p:cNvPr>
          <p:cNvSpPr txBox="1">
            <a:spLocks/>
          </p:cNvSpPr>
          <p:nvPr/>
        </p:nvSpPr>
        <p:spPr bwMode="gray">
          <a:xfrm>
            <a:off x="1022914" y="832231"/>
            <a:ext cx="3384549" cy="594760"/>
          </a:xfrm>
          <a:prstGeom prst="rect">
            <a:avLst/>
          </a:prstGeom>
        </p:spPr>
        <p:txBody>
          <a:bodyPr vert="horz" lIns="0" tIns="0" rIns="0" bIns="0" rtlCol="0" anchor="t" anchorCtr="0">
            <a:noAutofit/>
          </a:bodyPr>
          <a:lstStyle>
            <a:lvl1pPr marL="252000" indent="-252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b="0" kern="1200" cap="none" baseline="0">
                <a:solidFill>
                  <a:schemeClr val="accent3"/>
                </a:solidFill>
                <a:latin typeface="+mn-lt"/>
                <a:ea typeface="+mn-ea"/>
                <a:cs typeface="+mn-cs"/>
              </a:defRPr>
            </a:lvl1pPr>
            <a:lvl2pPr marL="234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2pPr>
            <a:lvl3pPr marL="342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3pPr>
            <a:lvl4pPr marL="432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b="0" kern="1200" cap="none" baseline="0">
                <a:solidFill>
                  <a:schemeClr val="accent3"/>
                </a:solidFill>
                <a:latin typeface="+mn-lt"/>
                <a:ea typeface="+mn-ea"/>
                <a:cs typeface="+mn-cs"/>
              </a:defRPr>
            </a:lvl4pPr>
            <a:lvl5pPr marL="540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kern="1200" cap="none">
                <a:solidFill>
                  <a:schemeClr val="accent3"/>
                </a:solidFill>
                <a:latin typeface="+mn-lt"/>
                <a:ea typeface="+mn-ea"/>
                <a:cs typeface="+mn-cs"/>
              </a:defRPr>
            </a:lvl5pPr>
            <a:lvl6pPr marL="1885874"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3"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r" defTabSz="914341" rtl="0" eaLnBrk="1" fontAlgn="auto" latinLnBrk="0" hangingPunct="1">
              <a:lnSpc>
                <a:spcPct val="95000"/>
              </a:lnSpc>
              <a:spcBef>
                <a:spcPts val="0"/>
              </a:spcBef>
              <a:spcAft>
                <a:spcPts val="800"/>
              </a:spcAft>
              <a:buClr>
                <a:srgbClr val="7E93A5"/>
              </a:buClr>
              <a:buSzPct val="100000"/>
              <a:buFont typeface="Wingdings" pitchFamily="2" charset="2"/>
              <a:buNone/>
              <a:tabLst/>
              <a:defRPr/>
            </a:pPr>
            <a:r>
              <a:rPr kumimoji="0" lang="pl-PL" sz="1867" b="1" i="0" u="none" strike="noStrike" kern="1200" cap="none" spc="0" normalizeH="0" baseline="0" noProof="0" dirty="0">
                <a:ln>
                  <a:noFill/>
                </a:ln>
                <a:solidFill>
                  <a:srgbClr val="81BC00"/>
                </a:solidFill>
                <a:effectLst/>
                <a:uLnTx/>
                <a:uFillTx/>
                <a:latin typeface="Arial"/>
                <a:ea typeface="+mn-ea"/>
                <a:cs typeface="+mn-cs"/>
              </a:rPr>
              <a:t>Sales </a:t>
            </a:r>
            <a:r>
              <a:rPr kumimoji="0" lang="pl-PL" sz="1600" b="1" i="0" u="none" strike="noStrike" kern="1200" cap="none" spc="0" normalizeH="0" baseline="0" noProof="0" dirty="0" err="1">
                <a:ln>
                  <a:noFill/>
                </a:ln>
                <a:solidFill>
                  <a:srgbClr val="81BC00"/>
                </a:solidFill>
                <a:effectLst/>
                <a:uLnTx/>
                <a:uFillTx/>
                <a:latin typeface="Arial"/>
                <a:ea typeface="+mn-ea"/>
                <a:cs typeface="+mn-cs"/>
              </a:rPr>
              <a:t>campaings</a:t>
            </a:r>
            <a:endParaRPr kumimoji="0" lang="da-DK" sz="1600" b="1" i="0" u="none" strike="noStrike" kern="1200" cap="none" spc="0" normalizeH="0" baseline="0" noProof="0" dirty="0">
              <a:ln>
                <a:noFill/>
              </a:ln>
              <a:solidFill>
                <a:srgbClr val="81BC00"/>
              </a:solidFill>
              <a:effectLst/>
              <a:uLnTx/>
              <a:uFillTx/>
              <a:latin typeface="Arial"/>
              <a:ea typeface="+mn-ea"/>
              <a:cs typeface="+mn-cs"/>
            </a:endParaRPr>
          </a:p>
        </p:txBody>
      </p:sp>
      <p:grpSp>
        <p:nvGrpSpPr>
          <p:cNvPr id="9" name="Grupa 8">
            <a:extLst>
              <a:ext uri="{FF2B5EF4-FFF2-40B4-BE49-F238E27FC236}">
                <a16:creationId xmlns:a16="http://schemas.microsoft.com/office/drawing/2014/main" id="{E5240BED-C139-4154-A5F9-A21B72E576EC}"/>
              </a:ext>
            </a:extLst>
          </p:cNvPr>
          <p:cNvGrpSpPr/>
          <p:nvPr/>
        </p:nvGrpSpPr>
        <p:grpSpPr>
          <a:xfrm>
            <a:off x="7528954" y="2460626"/>
            <a:ext cx="623744" cy="614843"/>
            <a:chOff x="5844078" y="2781773"/>
            <a:chExt cx="467808" cy="461132"/>
          </a:xfrm>
        </p:grpSpPr>
        <p:sp>
          <p:nvSpPr>
            <p:cNvPr id="10" name="Oval 17">
              <a:extLst>
                <a:ext uri="{FF2B5EF4-FFF2-40B4-BE49-F238E27FC236}">
                  <a16:creationId xmlns:a16="http://schemas.microsoft.com/office/drawing/2014/main" id="{3242FC61-3338-4632-9530-84E18BB878E6}"/>
                </a:ext>
              </a:extLst>
            </p:cNvPr>
            <p:cNvSpPr/>
            <p:nvPr/>
          </p:nvSpPr>
          <p:spPr bwMode="auto">
            <a:xfrm>
              <a:off x="5844078" y="2781773"/>
              <a:ext cx="467808" cy="461132"/>
            </a:xfrm>
            <a:prstGeom prst="ellipse">
              <a:avLst/>
            </a:prstGeom>
            <a:solidFill>
              <a:srgbClr val="81BC00"/>
            </a:solidFill>
            <a:ln w="2857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7466" b="0" i="0" u="none" strike="noStrike" kern="1200" cap="none" spc="0" normalizeH="0" baseline="0" noProof="0" dirty="0">
                <a:ln>
                  <a:noFill/>
                </a:ln>
                <a:solidFill>
                  <a:srgbClr val="000000"/>
                </a:solidFill>
                <a:effectLst/>
                <a:uLnTx/>
                <a:uFillTx/>
                <a:latin typeface="Calibri"/>
                <a:ea typeface="ヒラギノ角ゴ ProN W3" charset="0"/>
                <a:cs typeface="Calibri"/>
                <a:sym typeface="Gill Sans" charset="0"/>
              </a:endParaRPr>
            </a:p>
          </p:txBody>
        </p:sp>
        <p:sp>
          <p:nvSpPr>
            <p:cNvPr id="11" name="Symbol zastępczy zawartości 2">
              <a:extLst>
                <a:ext uri="{FF2B5EF4-FFF2-40B4-BE49-F238E27FC236}">
                  <a16:creationId xmlns:a16="http://schemas.microsoft.com/office/drawing/2014/main" id="{8BAE97C1-DCF5-4F34-BB34-A4ED218220C4}"/>
                </a:ext>
              </a:extLst>
            </p:cNvPr>
            <p:cNvSpPr txBox="1">
              <a:spLocks/>
            </p:cNvSpPr>
            <p:nvPr/>
          </p:nvSpPr>
          <p:spPr bwMode="gray">
            <a:xfrm>
              <a:off x="5844078" y="2917749"/>
              <a:ext cx="467808" cy="273589"/>
            </a:xfrm>
            <a:prstGeom prst="rect">
              <a:avLst/>
            </a:prstGeom>
          </p:spPr>
          <p:txBody>
            <a:bodyPr vert="horz" lIns="0" tIns="0" rIns="0" bIns="0" rtlCol="0" anchor="t" anchorCtr="0">
              <a:noAutofit/>
            </a:bodyPr>
            <a:lstStyle>
              <a:lvl1pPr marL="252000" indent="-252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b="0" kern="1200" cap="none" baseline="0">
                  <a:solidFill>
                    <a:schemeClr val="accent3"/>
                  </a:solidFill>
                  <a:latin typeface="+mn-lt"/>
                  <a:ea typeface="+mn-ea"/>
                  <a:cs typeface="+mn-cs"/>
                </a:defRPr>
              </a:lvl1pPr>
              <a:lvl2pPr marL="234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2pPr>
              <a:lvl3pPr marL="342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3pPr>
              <a:lvl4pPr marL="432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b="0" kern="1200" cap="none" baseline="0">
                  <a:solidFill>
                    <a:schemeClr val="accent3"/>
                  </a:solidFill>
                  <a:latin typeface="+mn-lt"/>
                  <a:ea typeface="+mn-ea"/>
                  <a:cs typeface="+mn-cs"/>
                </a:defRPr>
              </a:lvl4pPr>
              <a:lvl5pPr marL="540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kern="1200" cap="none">
                  <a:solidFill>
                    <a:schemeClr val="accent3"/>
                  </a:solidFill>
                  <a:latin typeface="+mn-lt"/>
                  <a:ea typeface="+mn-ea"/>
                  <a:cs typeface="+mn-cs"/>
                </a:defRPr>
              </a:lvl5pPr>
              <a:lvl6pPr marL="1885874"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3"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ctr" defTabSz="914341" rtl="0" eaLnBrk="1" fontAlgn="auto" latinLnBrk="0" hangingPunct="1">
                <a:lnSpc>
                  <a:spcPct val="95000"/>
                </a:lnSpc>
                <a:spcBef>
                  <a:spcPts val="0"/>
                </a:spcBef>
                <a:spcAft>
                  <a:spcPts val="1600"/>
                </a:spcAft>
                <a:buClr>
                  <a:srgbClr val="7E93A5"/>
                </a:buClr>
                <a:buSzPct val="100000"/>
                <a:buFont typeface="Wingdings" pitchFamily="2" charset="2"/>
                <a:buNone/>
                <a:tabLst/>
                <a:defRPr/>
              </a:pPr>
              <a:endParaRPr kumimoji="0" lang="pl-PL" sz="1867"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12" name="Grupa 11">
            <a:extLst>
              <a:ext uri="{FF2B5EF4-FFF2-40B4-BE49-F238E27FC236}">
                <a16:creationId xmlns:a16="http://schemas.microsoft.com/office/drawing/2014/main" id="{DBA216F1-470E-457A-A0CF-2217702844F9}"/>
              </a:ext>
            </a:extLst>
          </p:cNvPr>
          <p:cNvGrpSpPr/>
          <p:nvPr/>
        </p:nvGrpSpPr>
        <p:grpSpPr>
          <a:xfrm>
            <a:off x="7202154" y="3812520"/>
            <a:ext cx="623744" cy="614843"/>
            <a:chOff x="5376270" y="3695963"/>
            <a:chExt cx="467808" cy="461132"/>
          </a:xfrm>
        </p:grpSpPr>
        <p:sp>
          <p:nvSpPr>
            <p:cNvPr id="13" name="Oval 17">
              <a:extLst>
                <a:ext uri="{FF2B5EF4-FFF2-40B4-BE49-F238E27FC236}">
                  <a16:creationId xmlns:a16="http://schemas.microsoft.com/office/drawing/2014/main" id="{74F7C162-E6A8-4C14-9521-8DB485D9878E}"/>
                </a:ext>
              </a:extLst>
            </p:cNvPr>
            <p:cNvSpPr/>
            <p:nvPr/>
          </p:nvSpPr>
          <p:spPr bwMode="auto">
            <a:xfrm>
              <a:off x="5376270" y="3695963"/>
              <a:ext cx="467808" cy="461132"/>
            </a:xfrm>
            <a:prstGeom prst="ellipse">
              <a:avLst/>
            </a:prstGeom>
            <a:solidFill>
              <a:srgbClr val="81BC00"/>
            </a:solidFill>
            <a:ln w="2857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7466" b="0" i="0" u="none" strike="noStrike" kern="1200" cap="none" spc="0" normalizeH="0" baseline="0" noProof="0" dirty="0">
                <a:ln>
                  <a:noFill/>
                </a:ln>
                <a:solidFill>
                  <a:srgbClr val="000000"/>
                </a:solidFill>
                <a:effectLst/>
                <a:uLnTx/>
                <a:uFillTx/>
                <a:latin typeface="Calibri"/>
                <a:ea typeface="ヒラギノ角ゴ ProN W3" charset="0"/>
                <a:cs typeface="Calibri"/>
                <a:sym typeface="Gill Sans" charset="0"/>
              </a:endParaRPr>
            </a:p>
          </p:txBody>
        </p:sp>
        <p:sp>
          <p:nvSpPr>
            <p:cNvPr id="14" name="Symbol zastępczy zawartości 2">
              <a:extLst>
                <a:ext uri="{FF2B5EF4-FFF2-40B4-BE49-F238E27FC236}">
                  <a16:creationId xmlns:a16="http://schemas.microsoft.com/office/drawing/2014/main" id="{F98D520B-AF78-4ECE-AE7F-E31AC8C00593}"/>
                </a:ext>
              </a:extLst>
            </p:cNvPr>
            <p:cNvSpPr txBox="1">
              <a:spLocks/>
            </p:cNvSpPr>
            <p:nvPr/>
          </p:nvSpPr>
          <p:spPr bwMode="gray">
            <a:xfrm>
              <a:off x="5376270" y="3831939"/>
              <a:ext cx="467808" cy="273589"/>
            </a:xfrm>
            <a:prstGeom prst="rect">
              <a:avLst/>
            </a:prstGeom>
          </p:spPr>
          <p:txBody>
            <a:bodyPr vert="horz" lIns="0" tIns="0" rIns="0" bIns="0" rtlCol="0" anchor="t" anchorCtr="0">
              <a:noAutofit/>
            </a:bodyPr>
            <a:lstStyle>
              <a:lvl1pPr marL="252000" indent="-252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b="0" kern="1200" cap="none" baseline="0">
                  <a:solidFill>
                    <a:schemeClr val="accent3"/>
                  </a:solidFill>
                  <a:latin typeface="+mn-lt"/>
                  <a:ea typeface="+mn-ea"/>
                  <a:cs typeface="+mn-cs"/>
                </a:defRPr>
              </a:lvl1pPr>
              <a:lvl2pPr marL="234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2pPr>
              <a:lvl3pPr marL="342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3pPr>
              <a:lvl4pPr marL="432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b="0" kern="1200" cap="none" baseline="0">
                  <a:solidFill>
                    <a:schemeClr val="accent3"/>
                  </a:solidFill>
                  <a:latin typeface="+mn-lt"/>
                  <a:ea typeface="+mn-ea"/>
                  <a:cs typeface="+mn-cs"/>
                </a:defRPr>
              </a:lvl4pPr>
              <a:lvl5pPr marL="540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kern="1200" cap="none">
                  <a:solidFill>
                    <a:schemeClr val="accent3"/>
                  </a:solidFill>
                  <a:latin typeface="+mn-lt"/>
                  <a:ea typeface="+mn-ea"/>
                  <a:cs typeface="+mn-cs"/>
                </a:defRPr>
              </a:lvl5pPr>
              <a:lvl6pPr marL="1885874"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3"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ctr" defTabSz="914341" rtl="0" eaLnBrk="1" fontAlgn="auto" latinLnBrk="0" hangingPunct="1">
                <a:lnSpc>
                  <a:spcPct val="95000"/>
                </a:lnSpc>
                <a:spcBef>
                  <a:spcPts val="0"/>
                </a:spcBef>
                <a:spcAft>
                  <a:spcPts val="1600"/>
                </a:spcAft>
                <a:buClr>
                  <a:srgbClr val="7E93A5"/>
                </a:buClr>
                <a:buSzPct val="100000"/>
                <a:buFont typeface="Wingdings" pitchFamily="2" charset="2"/>
                <a:buNone/>
                <a:tabLst/>
                <a:defRPr/>
              </a:pPr>
              <a:endParaRPr kumimoji="0" lang="pl-PL" sz="1867"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15" name="Oval 17">
            <a:extLst>
              <a:ext uri="{FF2B5EF4-FFF2-40B4-BE49-F238E27FC236}">
                <a16:creationId xmlns:a16="http://schemas.microsoft.com/office/drawing/2014/main" id="{2CA2BAD5-46E9-4CD7-BDDB-558BAA3DDD14}"/>
              </a:ext>
            </a:extLst>
          </p:cNvPr>
          <p:cNvSpPr/>
          <p:nvPr/>
        </p:nvSpPr>
        <p:spPr bwMode="auto">
          <a:xfrm>
            <a:off x="5144569" y="2019285"/>
            <a:ext cx="1597969" cy="1575164"/>
          </a:xfrm>
          <a:prstGeom prst="ellipse">
            <a:avLst/>
          </a:prstGeom>
          <a:solidFill>
            <a:srgbClr val="81BC00"/>
          </a:solidFill>
          <a:ln w="57150"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7466" b="0" i="0" u="none" strike="noStrike" kern="1200" cap="none" spc="0" normalizeH="0" baseline="0" noProof="0" dirty="0">
              <a:ln>
                <a:noFill/>
              </a:ln>
              <a:solidFill>
                <a:srgbClr val="000000"/>
              </a:solidFill>
              <a:effectLst/>
              <a:uLnTx/>
              <a:uFillTx/>
              <a:latin typeface="Calibri"/>
              <a:ea typeface="ヒラギノ角ゴ ProN W3" charset="0"/>
              <a:cs typeface="Calibri"/>
              <a:sym typeface="Gill Sans" charset="0"/>
            </a:endParaRPr>
          </a:p>
        </p:txBody>
      </p:sp>
      <p:grpSp>
        <p:nvGrpSpPr>
          <p:cNvPr id="16" name="Grupa 15">
            <a:extLst>
              <a:ext uri="{FF2B5EF4-FFF2-40B4-BE49-F238E27FC236}">
                <a16:creationId xmlns:a16="http://schemas.microsoft.com/office/drawing/2014/main" id="{0DECD943-32E4-484A-ABF4-E82726AB19D3}"/>
              </a:ext>
            </a:extLst>
          </p:cNvPr>
          <p:cNvGrpSpPr/>
          <p:nvPr/>
        </p:nvGrpSpPr>
        <p:grpSpPr>
          <a:xfrm>
            <a:off x="4693233" y="1006370"/>
            <a:ext cx="623744" cy="614843"/>
            <a:chOff x="3564186" y="1867583"/>
            <a:chExt cx="467808" cy="461132"/>
          </a:xfrm>
        </p:grpSpPr>
        <p:sp>
          <p:nvSpPr>
            <p:cNvPr id="17" name="Oval 17">
              <a:extLst>
                <a:ext uri="{FF2B5EF4-FFF2-40B4-BE49-F238E27FC236}">
                  <a16:creationId xmlns:a16="http://schemas.microsoft.com/office/drawing/2014/main" id="{0259D01E-8FB1-4D9A-890A-E96FDB0E8D3D}"/>
                </a:ext>
              </a:extLst>
            </p:cNvPr>
            <p:cNvSpPr/>
            <p:nvPr/>
          </p:nvSpPr>
          <p:spPr bwMode="auto">
            <a:xfrm>
              <a:off x="3564186" y="1867583"/>
              <a:ext cx="467808" cy="461132"/>
            </a:xfrm>
            <a:prstGeom prst="ellipse">
              <a:avLst/>
            </a:prstGeom>
            <a:solidFill>
              <a:srgbClr val="81BC00"/>
            </a:solidFill>
            <a:ln w="2857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7466" b="0" i="0" u="none" strike="noStrike" kern="1200" cap="none" spc="0" normalizeH="0" baseline="0" noProof="0" dirty="0">
                <a:ln>
                  <a:noFill/>
                </a:ln>
                <a:solidFill>
                  <a:srgbClr val="000000"/>
                </a:solidFill>
                <a:effectLst/>
                <a:uLnTx/>
                <a:uFillTx/>
                <a:latin typeface="Calibri"/>
                <a:ea typeface="ヒラギノ角ゴ ProN W3" charset="0"/>
                <a:cs typeface="Calibri"/>
                <a:sym typeface="Gill Sans" charset="0"/>
              </a:endParaRPr>
            </a:p>
          </p:txBody>
        </p:sp>
        <p:sp>
          <p:nvSpPr>
            <p:cNvPr id="18" name="Symbol zastępczy zawartości 2">
              <a:extLst>
                <a:ext uri="{FF2B5EF4-FFF2-40B4-BE49-F238E27FC236}">
                  <a16:creationId xmlns:a16="http://schemas.microsoft.com/office/drawing/2014/main" id="{8E4F4366-CA27-4D5B-A6A5-420E13076964}"/>
                </a:ext>
              </a:extLst>
            </p:cNvPr>
            <p:cNvSpPr txBox="1">
              <a:spLocks/>
            </p:cNvSpPr>
            <p:nvPr/>
          </p:nvSpPr>
          <p:spPr bwMode="gray">
            <a:xfrm>
              <a:off x="3564186" y="2003559"/>
              <a:ext cx="467808" cy="273589"/>
            </a:xfrm>
            <a:prstGeom prst="rect">
              <a:avLst/>
            </a:prstGeom>
          </p:spPr>
          <p:txBody>
            <a:bodyPr vert="horz" lIns="0" tIns="0" rIns="0" bIns="0" rtlCol="0" anchor="t" anchorCtr="0">
              <a:noAutofit/>
            </a:bodyPr>
            <a:lstStyle>
              <a:lvl1pPr marL="252000" indent="-252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b="0" kern="1200" cap="none" baseline="0">
                  <a:solidFill>
                    <a:schemeClr val="accent3"/>
                  </a:solidFill>
                  <a:latin typeface="+mn-lt"/>
                  <a:ea typeface="+mn-ea"/>
                  <a:cs typeface="+mn-cs"/>
                </a:defRPr>
              </a:lvl1pPr>
              <a:lvl2pPr marL="234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2pPr>
              <a:lvl3pPr marL="342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3pPr>
              <a:lvl4pPr marL="432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b="0" kern="1200" cap="none" baseline="0">
                  <a:solidFill>
                    <a:schemeClr val="accent3"/>
                  </a:solidFill>
                  <a:latin typeface="+mn-lt"/>
                  <a:ea typeface="+mn-ea"/>
                  <a:cs typeface="+mn-cs"/>
                </a:defRPr>
              </a:lvl4pPr>
              <a:lvl5pPr marL="540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kern="1200" cap="none">
                  <a:solidFill>
                    <a:schemeClr val="accent3"/>
                  </a:solidFill>
                  <a:latin typeface="+mn-lt"/>
                  <a:ea typeface="+mn-ea"/>
                  <a:cs typeface="+mn-cs"/>
                </a:defRPr>
              </a:lvl5pPr>
              <a:lvl6pPr marL="1885874"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3"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ctr" defTabSz="914341" rtl="0" eaLnBrk="1" fontAlgn="auto" latinLnBrk="0" hangingPunct="1">
                <a:lnSpc>
                  <a:spcPct val="95000"/>
                </a:lnSpc>
                <a:spcBef>
                  <a:spcPts val="0"/>
                </a:spcBef>
                <a:spcAft>
                  <a:spcPts val="1600"/>
                </a:spcAft>
                <a:buClr>
                  <a:srgbClr val="7E93A5"/>
                </a:buClr>
                <a:buSzPct val="100000"/>
                <a:buFont typeface="Wingdings" pitchFamily="2" charset="2"/>
                <a:buNone/>
                <a:tabLst/>
                <a:defRPr/>
              </a:pPr>
              <a:endParaRPr kumimoji="0" lang="pl-PL" sz="1867"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25" name="Symbol zastępczy zawartości 2">
            <a:extLst>
              <a:ext uri="{FF2B5EF4-FFF2-40B4-BE49-F238E27FC236}">
                <a16:creationId xmlns:a16="http://schemas.microsoft.com/office/drawing/2014/main" id="{96B5B9BF-E492-436C-B46F-B2908BBD672A}"/>
              </a:ext>
            </a:extLst>
          </p:cNvPr>
          <p:cNvSpPr txBox="1">
            <a:spLocks/>
          </p:cNvSpPr>
          <p:nvPr/>
        </p:nvSpPr>
        <p:spPr bwMode="gray">
          <a:xfrm>
            <a:off x="8380129" y="2509487"/>
            <a:ext cx="3384549" cy="594760"/>
          </a:xfrm>
          <a:prstGeom prst="rect">
            <a:avLst/>
          </a:prstGeom>
        </p:spPr>
        <p:txBody>
          <a:bodyPr vert="horz" lIns="0" tIns="0" rIns="0" bIns="0" rtlCol="0" anchor="t" anchorCtr="0">
            <a:noAutofit/>
          </a:bodyPr>
          <a:lstStyle>
            <a:lvl1pPr marL="252000" indent="-252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b="0" kern="1200" cap="none" baseline="0">
                <a:solidFill>
                  <a:schemeClr val="accent3"/>
                </a:solidFill>
                <a:latin typeface="+mn-lt"/>
                <a:ea typeface="+mn-ea"/>
                <a:cs typeface="+mn-cs"/>
              </a:defRPr>
            </a:lvl1pPr>
            <a:lvl2pPr marL="234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2pPr>
            <a:lvl3pPr marL="342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3pPr>
            <a:lvl4pPr marL="432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b="0" kern="1200" cap="none" baseline="0">
                <a:solidFill>
                  <a:schemeClr val="accent3"/>
                </a:solidFill>
                <a:latin typeface="+mn-lt"/>
                <a:ea typeface="+mn-ea"/>
                <a:cs typeface="+mn-cs"/>
              </a:defRPr>
            </a:lvl4pPr>
            <a:lvl5pPr marL="540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kern="1200" cap="none">
                <a:solidFill>
                  <a:schemeClr val="accent3"/>
                </a:solidFill>
                <a:latin typeface="+mn-lt"/>
                <a:ea typeface="+mn-ea"/>
                <a:cs typeface="+mn-cs"/>
              </a:defRPr>
            </a:lvl5pPr>
            <a:lvl6pPr marL="1885874"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3"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l" defTabSz="914341" rtl="0" eaLnBrk="1" fontAlgn="auto" latinLnBrk="0" hangingPunct="1">
              <a:lnSpc>
                <a:spcPct val="95000"/>
              </a:lnSpc>
              <a:spcBef>
                <a:spcPts val="0"/>
              </a:spcBef>
              <a:spcAft>
                <a:spcPts val="800"/>
              </a:spcAft>
              <a:buClr>
                <a:srgbClr val="7E93A5"/>
              </a:buClr>
              <a:buSzPct val="100000"/>
              <a:buFont typeface="Wingdings" pitchFamily="2" charset="2"/>
              <a:buNone/>
              <a:tabLst/>
              <a:defRPr/>
            </a:pPr>
            <a:r>
              <a:rPr kumimoji="0" lang="da-DK" sz="1600" b="1" i="0" u="none" strike="noStrike" kern="1200" cap="none" spc="0" normalizeH="0" baseline="0" noProof="0" dirty="0">
                <a:ln>
                  <a:noFill/>
                </a:ln>
                <a:solidFill>
                  <a:srgbClr val="81BC00"/>
                </a:solidFill>
                <a:effectLst/>
                <a:uLnTx/>
                <a:uFillTx/>
                <a:latin typeface="Arial"/>
                <a:ea typeface="+mn-ea"/>
                <a:cs typeface="+mn-cs"/>
              </a:rPr>
              <a:t>Mandatory</a:t>
            </a:r>
            <a:r>
              <a:rPr kumimoji="0" lang="pl-PL" sz="1600" b="1" i="0" u="none" strike="noStrike" kern="1200" cap="none" spc="0" normalizeH="0" baseline="0" noProof="0" dirty="0">
                <a:ln>
                  <a:noFill/>
                </a:ln>
                <a:solidFill>
                  <a:srgbClr val="81BC00"/>
                </a:solidFill>
                <a:effectLst/>
                <a:uLnTx/>
                <a:uFillTx/>
                <a:latin typeface="Arial"/>
                <a:ea typeface="+mn-ea"/>
                <a:cs typeface="+mn-cs"/>
              </a:rPr>
              <a:t> </a:t>
            </a:r>
            <a:r>
              <a:rPr kumimoji="0" lang="pl-PL" sz="1600" b="1" i="0" u="none" strike="noStrike" kern="1200" cap="none" spc="0" normalizeH="0" baseline="0" noProof="0" dirty="0" err="1">
                <a:ln>
                  <a:noFill/>
                </a:ln>
                <a:solidFill>
                  <a:srgbClr val="81BC00"/>
                </a:solidFill>
                <a:effectLst/>
                <a:uLnTx/>
                <a:uFillTx/>
                <a:latin typeface="Arial"/>
                <a:ea typeface="+mn-ea"/>
                <a:cs typeface="+mn-cs"/>
              </a:rPr>
              <a:t>communication</a:t>
            </a:r>
            <a:endParaRPr kumimoji="0" lang="da-DK" sz="1600" b="1" i="0" u="none" strike="noStrike" kern="1200" cap="none" spc="0" normalizeH="0" baseline="0" noProof="0" dirty="0">
              <a:ln>
                <a:noFill/>
              </a:ln>
              <a:solidFill>
                <a:srgbClr val="81BC00"/>
              </a:solidFill>
              <a:effectLst/>
              <a:uLnTx/>
              <a:uFillTx/>
              <a:latin typeface="Arial"/>
              <a:ea typeface="+mn-ea"/>
              <a:cs typeface="+mn-cs"/>
            </a:endParaRPr>
          </a:p>
        </p:txBody>
      </p:sp>
      <p:sp>
        <p:nvSpPr>
          <p:cNvPr id="26" name="Symbol zastępczy zawartości 2">
            <a:extLst>
              <a:ext uri="{FF2B5EF4-FFF2-40B4-BE49-F238E27FC236}">
                <a16:creationId xmlns:a16="http://schemas.microsoft.com/office/drawing/2014/main" id="{EAE1FB9B-95B5-42CD-869D-0BAF44C468BE}"/>
              </a:ext>
            </a:extLst>
          </p:cNvPr>
          <p:cNvSpPr txBox="1">
            <a:spLocks/>
          </p:cNvSpPr>
          <p:nvPr/>
        </p:nvSpPr>
        <p:spPr bwMode="gray">
          <a:xfrm>
            <a:off x="8051009" y="4108833"/>
            <a:ext cx="3903079" cy="594760"/>
          </a:xfrm>
          <a:prstGeom prst="rect">
            <a:avLst/>
          </a:prstGeom>
        </p:spPr>
        <p:txBody>
          <a:bodyPr vert="horz" lIns="0" tIns="0" rIns="0" bIns="0" rtlCol="0" anchor="t" anchorCtr="0">
            <a:noAutofit/>
          </a:bodyPr>
          <a:lstStyle>
            <a:lvl1pPr marL="252000" indent="-252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b="0" kern="1200" cap="none" baseline="0">
                <a:solidFill>
                  <a:schemeClr val="accent3"/>
                </a:solidFill>
                <a:latin typeface="+mn-lt"/>
                <a:ea typeface="+mn-ea"/>
                <a:cs typeface="+mn-cs"/>
              </a:defRPr>
            </a:lvl1pPr>
            <a:lvl2pPr marL="234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2pPr>
            <a:lvl3pPr marL="342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3pPr>
            <a:lvl4pPr marL="432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b="0" kern="1200" cap="none" baseline="0">
                <a:solidFill>
                  <a:schemeClr val="accent3"/>
                </a:solidFill>
                <a:latin typeface="+mn-lt"/>
                <a:ea typeface="+mn-ea"/>
                <a:cs typeface="+mn-cs"/>
              </a:defRPr>
            </a:lvl4pPr>
            <a:lvl5pPr marL="540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kern="1200" cap="none">
                <a:solidFill>
                  <a:schemeClr val="accent3"/>
                </a:solidFill>
                <a:latin typeface="+mn-lt"/>
                <a:ea typeface="+mn-ea"/>
                <a:cs typeface="+mn-cs"/>
              </a:defRPr>
            </a:lvl5pPr>
            <a:lvl6pPr marL="1885874"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3"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l" defTabSz="914341" rtl="0" eaLnBrk="1" fontAlgn="auto" latinLnBrk="0" hangingPunct="1">
              <a:lnSpc>
                <a:spcPct val="95000"/>
              </a:lnSpc>
              <a:spcBef>
                <a:spcPts val="0"/>
              </a:spcBef>
              <a:spcAft>
                <a:spcPts val="800"/>
              </a:spcAft>
              <a:buClr>
                <a:srgbClr val="7E93A5"/>
              </a:buClr>
              <a:buSzPct val="100000"/>
              <a:buFont typeface="Wingdings" pitchFamily="2" charset="2"/>
              <a:buNone/>
              <a:tabLst/>
              <a:defRPr/>
            </a:pPr>
            <a:r>
              <a:rPr kumimoji="0" lang="da-DK" sz="1600" b="1" i="0" u="none" strike="noStrike" kern="1200" cap="none" spc="0" normalizeH="0" baseline="0" noProof="0" dirty="0">
                <a:ln>
                  <a:noFill/>
                </a:ln>
                <a:solidFill>
                  <a:srgbClr val="81BC00"/>
                </a:solidFill>
                <a:effectLst/>
                <a:uLnTx/>
                <a:uFillTx/>
                <a:latin typeface="Arial"/>
                <a:ea typeface="+mn-ea"/>
                <a:cs typeface="+mn-cs"/>
              </a:rPr>
              <a:t>Informational</a:t>
            </a:r>
          </a:p>
        </p:txBody>
      </p:sp>
      <p:sp>
        <p:nvSpPr>
          <p:cNvPr id="27" name="Symbol zastępczy zawartości 2">
            <a:extLst>
              <a:ext uri="{FF2B5EF4-FFF2-40B4-BE49-F238E27FC236}">
                <a16:creationId xmlns:a16="http://schemas.microsoft.com/office/drawing/2014/main" id="{CD4FE938-7B59-4C0F-83CD-02B8D7DF8ACA}"/>
              </a:ext>
            </a:extLst>
          </p:cNvPr>
          <p:cNvSpPr txBox="1">
            <a:spLocks/>
          </p:cNvSpPr>
          <p:nvPr/>
        </p:nvSpPr>
        <p:spPr bwMode="gray">
          <a:xfrm>
            <a:off x="7478630" y="749507"/>
            <a:ext cx="3384549" cy="594760"/>
          </a:xfrm>
          <a:prstGeom prst="rect">
            <a:avLst/>
          </a:prstGeom>
        </p:spPr>
        <p:txBody>
          <a:bodyPr vert="horz" lIns="0" tIns="0" rIns="0" bIns="0" rtlCol="0" anchor="t" anchorCtr="0">
            <a:noAutofit/>
          </a:bodyPr>
          <a:lstStyle>
            <a:lvl1pPr marL="252000" indent="-252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b="0" kern="1200" cap="none" baseline="0">
                <a:solidFill>
                  <a:schemeClr val="accent3"/>
                </a:solidFill>
                <a:latin typeface="+mn-lt"/>
                <a:ea typeface="+mn-ea"/>
                <a:cs typeface="+mn-cs"/>
              </a:defRPr>
            </a:lvl1pPr>
            <a:lvl2pPr marL="234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2pPr>
            <a:lvl3pPr marL="342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3pPr>
            <a:lvl4pPr marL="432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b="0" kern="1200" cap="none" baseline="0">
                <a:solidFill>
                  <a:schemeClr val="accent3"/>
                </a:solidFill>
                <a:latin typeface="+mn-lt"/>
                <a:ea typeface="+mn-ea"/>
                <a:cs typeface="+mn-cs"/>
              </a:defRPr>
            </a:lvl4pPr>
            <a:lvl5pPr marL="540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kern="1200" cap="none">
                <a:solidFill>
                  <a:schemeClr val="accent3"/>
                </a:solidFill>
                <a:latin typeface="+mn-lt"/>
                <a:ea typeface="+mn-ea"/>
                <a:cs typeface="+mn-cs"/>
              </a:defRPr>
            </a:lvl5pPr>
            <a:lvl6pPr marL="1885874"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3"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l" defTabSz="914341" rtl="0" eaLnBrk="1" fontAlgn="auto" latinLnBrk="0" hangingPunct="1">
              <a:lnSpc>
                <a:spcPct val="95000"/>
              </a:lnSpc>
              <a:spcBef>
                <a:spcPts val="0"/>
              </a:spcBef>
              <a:spcAft>
                <a:spcPts val="800"/>
              </a:spcAft>
              <a:buClr>
                <a:srgbClr val="7E93A5"/>
              </a:buClr>
              <a:buSzPct val="100000"/>
              <a:buFont typeface="Wingdings" pitchFamily="2" charset="2"/>
              <a:buNone/>
              <a:tabLst/>
              <a:defRPr/>
            </a:pPr>
            <a:r>
              <a:rPr kumimoji="0" lang="da-DK" sz="1600" b="1" i="0" u="none" strike="noStrike" kern="1200" cap="none" spc="0" normalizeH="0" baseline="0" noProof="0" dirty="0">
                <a:ln>
                  <a:noFill/>
                </a:ln>
                <a:solidFill>
                  <a:srgbClr val="81BC00"/>
                </a:solidFill>
                <a:effectLst/>
                <a:uLnTx/>
                <a:uFillTx/>
                <a:latin typeface="Arial"/>
                <a:ea typeface="+mn-ea"/>
                <a:cs typeface="+mn-cs"/>
              </a:rPr>
              <a:t>Activation</a:t>
            </a:r>
            <a:r>
              <a:rPr kumimoji="0" lang="pl-PL" sz="1600" b="1" i="0" u="none" strike="noStrike" kern="1200" cap="none" spc="0" normalizeH="0" baseline="0" noProof="0" dirty="0">
                <a:ln>
                  <a:noFill/>
                </a:ln>
                <a:solidFill>
                  <a:srgbClr val="81BC00"/>
                </a:solidFill>
                <a:effectLst/>
                <a:uLnTx/>
                <a:uFillTx/>
                <a:latin typeface="Arial"/>
                <a:ea typeface="+mn-ea"/>
                <a:cs typeface="+mn-cs"/>
              </a:rPr>
              <a:t> </a:t>
            </a:r>
            <a:r>
              <a:rPr kumimoji="0" lang="pl-PL" sz="1600" b="1" i="0" u="none" strike="noStrike" kern="1200" cap="none" spc="0" normalizeH="0" baseline="0" noProof="0" dirty="0" err="1">
                <a:ln>
                  <a:noFill/>
                </a:ln>
                <a:solidFill>
                  <a:srgbClr val="81BC00"/>
                </a:solidFill>
                <a:effectLst/>
                <a:uLnTx/>
                <a:uFillTx/>
                <a:latin typeface="Arial"/>
                <a:ea typeface="+mn-ea"/>
                <a:cs typeface="+mn-cs"/>
              </a:rPr>
              <a:t>campaignes</a:t>
            </a:r>
            <a:endParaRPr kumimoji="0" lang="da-DK" sz="1600" b="1" i="0" u="none" strike="noStrike" kern="1200" cap="none" spc="0" normalizeH="0" baseline="0" noProof="0" dirty="0">
              <a:ln>
                <a:noFill/>
              </a:ln>
              <a:solidFill>
                <a:srgbClr val="81BC00"/>
              </a:solidFill>
              <a:effectLst/>
              <a:uLnTx/>
              <a:uFillTx/>
              <a:latin typeface="Arial"/>
              <a:ea typeface="+mn-ea"/>
              <a:cs typeface="+mn-cs"/>
            </a:endParaRPr>
          </a:p>
        </p:txBody>
      </p:sp>
      <p:cxnSp>
        <p:nvCxnSpPr>
          <p:cNvPr id="30" name="Łącznik prosty 29">
            <a:extLst>
              <a:ext uri="{FF2B5EF4-FFF2-40B4-BE49-F238E27FC236}">
                <a16:creationId xmlns:a16="http://schemas.microsoft.com/office/drawing/2014/main" id="{263C7588-4DF3-48B2-9D9B-EA8D483E19BD}"/>
              </a:ext>
            </a:extLst>
          </p:cNvPr>
          <p:cNvCxnSpPr>
            <a:cxnSpLocks/>
          </p:cNvCxnSpPr>
          <p:nvPr/>
        </p:nvCxnSpPr>
        <p:spPr>
          <a:xfrm flipV="1">
            <a:off x="6502535" y="1738551"/>
            <a:ext cx="246902" cy="348308"/>
          </a:xfrm>
          <a:prstGeom prst="line">
            <a:avLst/>
          </a:prstGeom>
          <a:ln>
            <a:solidFill>
              <a:srgbClr val="009597"/>
            </a:solidFill>
            <a:headEnd type="oval"/>
          </a:ln>
        </p:spPr>
        <p:style>
          <a:lnRef idx="1">
            <a:schemeClr val="accent1"/>
          </a:lnRef>
          <a:fillRef idx="0">
            <a:schemeClr val="accent1"/>
          </a:fillRef>
          <a:effectRef idx="0">
            <a:schemeClr val="accent1"/>
          </a:effectRef>
          <a:fontRef idx="minor">
            <a:schemeClr val="tx1"/>
          </a:fontRef>
        </p:style>
      </p:cxnSp>
      <p:cxnSp>
        <p:nvCxnSpPr>
          <p:cNvPr id="31" name="Łącznik prosty 30">
            <a:extLst>
              <a:ext uri="{FF2B5EF4-FFF2-40B4-BE49-F238E27FC236}">
                <a16:creationId xmlns:a16="http://schemas.microsoft.com/office/drawing/2014/main" id="{1A3A867C-604D-40AD-ACCA-0C6C81C625D9}"/>
              </a:ext>
            </a:extLst>
          </p:cNvPr>
          <p:cNvCxnSpPr>
            <a:cxnSpLocks/>
          </p:cNvCxnSpPr>
          <p:nvPr/>
        </p:nvCxnSpPr>
        <p:spPr>
          <a:xfrm>
            <a:off x="6951604" y="2793216"/>
            <a:ext cx="444318" cy="0"/>
          </a:xfrm>
          <a:prstGeom prst="line">
            <a:avLst/>
          </a:prstGeom>
          <a:ln>
            <a:solidFill>
              <a:srgbClr val="009597"/>
            </a:solidFill>
            <a:headEnd type="oval"/>
          </a:ln>
        </p:spPr>
        <p:style>
          <a:lnRef idx="1">
            <a:schemeClr val="accent1"/>
          </a:lnRef>
          <a:fillRef idx="0">
            <a:schemeClr val="accent1"/>
          </a:fillRef>
          <a:effectRef idx="0">
            <a:schemeClr val="accent1"/>
          </a:effectRef>
          <a:fontRef idx="minor">
            <a:schemeClr val="tx1"/>
          </a:fontRef>
        </p:style>
      </p:cxnSp>
      <p:cxnSp>
        <p:nvCxnSpPr>
          <p:cNvPr id="32" name="Łącznik prosty 31">
            <a:extLst>
              <a:ext uri="{FF2B5EF4-FFF2-40B4-BE49-F238E27FC236}">
                <a16:creationId xmlns:a16="http://schemas.microsoft.com/office/drawing/2014/main" id="{D69DF436-66FF-4C5C-9E5F-D787287E6755}"/>
              </a:ext>
            </a:extLst>
          </p:cNvPr>
          <p:cNvCxnSpPr>
            <a:cxnSpLocks/>
          </p:cNvCxnSpPr>
          <p:nvPr/>
        </p:nvCxnSpPr>
        <p:spPr>
          <a:xfrm>
            <a:off x="6687785" y="3584748"/>
            <a:ext cx="437754" cy="328251"/>
          </a:xfrm>
          <a:prstGeom prst="line">
            <a:avLst/>
          </a:prstGeom>
          <a:ln>
            <a:solidFill>
              <a:srgbClr val="009597"/>
            </a:solidFill>
            <a:headEnd type="oval"/>
          </a:ln>
        </p:spPr>
        <p:style>
          <a:lnRef idx="1">
            <a:schemeClr val="accent1"/>
          </a:lnRef>
          <a:fillRef idx="0">
            <a:schemeClr val="accent1"/>
          </a:fillRef>
          <a:effectRef idx="0">
            <a:schemeClr val="accent1"/>
          </a:effectRef>
          <a:fontRef idx="minor">
            <a:schemeClr val="tx1"/>
          </a:fontRef>
        </p:style>
      </p:cxnSp>
      <p:cxnSp>
        <p:nvCxnSpPr>
          <p:cNvPr id="33" name="Łącznik prosty 32">
            <a:extLst>
              <a:ext uri="{FF2B5EF4-FFF2-40B4-BE49-F238E27FC236}">
                <a16:creationId xmlns:a16="http://schemas.microsoft.com/office/drawing/2014/main" id="{9C8F8503-FAA9-4727-8BB4-042BD9A55F98}"/>
              </a:ext>
            </a:extLst>
          </p:cNvPr>
          <p:cNvCxnSpPr>
            <a:cxnSpLocks/>
          </p:cNvCxnSpPr>
          <p:nvPr/>
        </p:nvCxnSpPr>
        <p:spPr>
          <a:xfrm flipH="1" flipV="1">
            <a:off x="5316977" y="1689664"/>
            <a:ext cx="242239" cy="262323"/>
          </a:xfrm>
          <a:prstGeom prst="line">
            <a:avLst/>
          </a:prstGeom>
          <a:ln>
            <a:solidFill>
              <a:srgbClr val="009597"/>
            </a:solidFill>
            <a:headEnd type="oval"/>
          </a:ln>
        </p:spPr>
        <p:style>
          <a:lnRef idx="1">
            <a:schemeClr val="accent1"/>
          </a:lnRef>
          <a:fillRef idx="0">
            <a:schemeClr val="accent1"/>
          </a:fillRef>
          <a:effectRef idx="0">
            <a:schemeClr val="accent1"/>
          </a:effectRef>
          <a:fontRef idx="minor">
            <a:schemeClr val="tx1"/>
          </a:fontRef>
        </p:style>
      </p:cxnSp>
      <p:grpSp>
        <p:nvGrpSpPr>
          <p:cNvPr id="40" name="Grupa 39">
            <a:extLst>
              <a:ext uri="{FF2B5EF4-FFF2-40B4-BE49-F238E27FC236}">
                <a16:creationId xmlns:a16="http://schemas.microsoft.com/office/drawing/2014/main" id="{126CE282-44B3-4085-9920-07F1B060E033}"/>
              </a:ext>
            </a:extLst>
          </p:cNvPr>
          <p:cNvGrpSpPr/>
          <p:nvPr/>
        </p:nvGrpSpPr>
        <p:grpSpPr>
          <a:xfrm>
            <a:off x="4949785" y="4200053"/>
            <a:ext cx="623744" cy="614843"/>
            <a:chOff x="5376270" y="3695963"/>
            <a:chExt cx="467808" cy="461132"/>
          </a:xfrm>
        </p:grpSpPr>
        <p:sp>
          <p:nvSpPr>
            <p:cNvPr id="41" name="Oval 17">
              <a:extLst>
                <a:ext uri="{FF2B5EF4-FFF2-40B4-BE49-F238E27FC236}">
                  <a16:creationId xmlns:a16="http://schemas.microsoft.com/office/drawing/2014/main" id="{0D269DBA-E034-48E4-8159-001614A57928}"/>
                </a:ext>
              </a:extLst>
            </p:cNvPr>
            <p:cNvSpPr/>
            <p:nvPr/>
          </p:nvSpPr>
          <p:spPr bwMode="auto">
            <a:xfrm>
              <a:off x="5376270" y="3695963"/>
              <a:ext cx="467808" cy="461132"/>
            </a:xfrm>
            <a:prstGeom prst="ellipse">
              <a:avLst/>
            </a:prstGeom>
            <a:solidFill>
              <a:srgbClr val="81BC00"/>
            </a:solidFill>
            <a:ln w="2857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7466" b="0" i="0" u="none" strike="noStrike" kern="1200" cap="none" spc="0" normalizeH="0" baseline="0" noProof="0" dirty="0">
                <a:ln>
                  <a:noFill/>
                </a:ln>
                <a:solidFill>
                  <a:srgbClr val="000000"/>
                </a:solidFill>
                <a:effectLst/>
                <a:uLnTx/>
                <a:uFillTx/>
                <a:latin typeface="Calibri"/>
                <a:ea typeface="ヒラギノ角ゴ ProN W3" charset="0"/>
                <a:cs typeface="Calibri"/>
                <a:sym typeface="Gill Sans" charset="0"/>
              </a:endParaRPr>
            </a:p>
          </p:txBody>
        </p:sp>
        <p:sp>
          <p:nvSpPr>
            <p:cNvPr id="42" name="Symbol zastępczy zawartości 2">
              <a:extLst>
                <a:ext uri="{FF2B5EF4-FFF2-40B4-BE49-F238E27FC236}">
                  <a16:creationId xmlns:a16="http://schemas.microsoft.com/office/drawing/2014/main" id="{C358F14E-2318-4B6A-9AE6-6924093B4669}"/>
                </a:ext>
              </a:extLst>
            </p:cNvPr>
            <p:cNvSpPr txBox="1">
              <a:spLocks/>
            </p:cNvSpPr>
            <p:nvPr/>
          </p:nvSpPr>
          <p:spPr bwMode="gray">
            <a:xfrm>
              <a:off x="5376270" y="3831939"/>
              <a:ext cx="467808" cy="273589"/>
            </a:xfrm>
            <a:prstGeom prst="rect">
              <a:avLst/>
            </a:prstGeom>
          </p:spPr>
          <p:txBody>
            <a:bodyPr vert="horz" lIns="0" tIns="0" rIns="0" bIns="0" rtlCol="0" anchor="t" anchorCtr="0">
              <a:noAutofit/>
            </a:bodyPr>
            <a:lstStyle>
              <a:lvl1pPr marL="252000" indent="-252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b="0" kern="1200" cap="none" baseline="0">
                  <a:solidFill>
                    <a:schemeClr val="accent3"/>
                  </a:solidFill>
                  <a:latin typeface="+mn-lt"/>
                  <a:ea typeface="+mn-ea"/>
                  <a:cs typeface="+mn-cs"/>
                </a:defRPr>
              </a:lvl1pPr>
              <a:lvl2pPr marL="234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2pPr>
              <a:lvl3pPr marL="342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3pPr>
              <a:lvl4pPr marL="432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b="0" kern="1200" cap="none" baseline="0">
                  <a:solidFill>
                    <a:schemeClr val="accent3"/>
                  </a:solidFill>
                  <a:latin typeface="+mn-lt"/>
                  <a:ea typeface="+mn-ea"/>
                  <a:cs typeface="+mn-cs"/>
                </a:defRPr>
              </a:lvl4pPr>
              <a:lvl5pPr marL="540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kern="1200" cap="none">
                  <a:solidFill>
                    <a:schemeClr val="accent3"/>
                  </a:solidFill>
                  <a:latin typeface="+mn-lt"/>
                  <a:ea typeface="+mn-ea"/>
                  <a:cs typeface="+mn-cs"/>
                </a:defRPr>
              </a:lvl5pPr>
              <a:lvl6pPr marL="1885874"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3"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ctr" defTabSz="914341" rtl="0" eaLnBrk="1" fontAlgn="auto" latinLnBrk="0" hangingPunct="1">
                <a:lnSpc>
                  <a:spcPct val="95000"/>
                </a:lnSpc>
                <a:spcBef>
                  <a:spcPts val="0"/>
                </a:spcBef>
                <a:spcAft>
                  <a:spcPts val="1600"/>
                </a:spcAft>
                <a:buClr>
                  <a:srgbClr val="7E93A5"/>
                </a:buClr>
                <a:buSzPct val="100000"/>
                <a:buFont typeface="Wingdings" pitchFamily="2" charset="2"/>
                <a:buNone/>
                <a:tabLst/>
                <a:defRPr/>
              </a:pPr>
              <a:endParaRPr kumimoji="0" lang="pl-PL" sz="1867"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43" name="Symbol zastępczy zawartości 2">
            <a:extLst>
              <a:ext uri="{FF2B5EF4-FFF2-40B4-BE49-F238E27FC236}">
                <a16:creationId xmlns:a16="http://schemas.microsoft.com/office/drawing/2014/main" id="{FC2ABEE7-7E7E-4C68-8096-B41C39BD11A6}"/>
              </a:ext>
            </a:extLst>
          </p:cNvPr>
          <p:cNvSpPr txBox="1">
            <a:spLocks/>
          </p:cNvSpPr>
          <p:nvPr/>
        </p:nvSpPr>
        <p:spPr bwMode="gray">
          <a:xfrm>
            <a:off x="5686084" y="4634922"/>
            <a:ext cx="3384549" cy="594760"/>
          </a:xfrm>
          <a:prstGeom prst="rect">
            <a:avLst/>
          </a:prstGeom>
        </p:spPr>
        <p:txBody>
          <a:bodyPr vert="horz" lIns="0" tIns="0" rIns="0" bIns="0" rtlCol="0" anchor="t" anchorCtr="0">
            <a:noAutofit/>
          </a:bodyPr>
          <a:lstStyle>
            <a:lvl1pPr marL="252000" indent="-252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b="0" kern="1200" cap="none" baseline="0">
                <a:solidFill>
                  <a:schemeClr val="accent3"/>
                </a:solidFill>
                <a:latin typeface="+mn-lt"/>
                <a:ea typeface="+mn-ea"/>
                <a:cs typeface="+mn-cs"/>
              </a:defRPr>
            </a:lvl1pPr>
            <a:lvl2pPr marL="234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2pPr>
            <a:lvl3pPr marL="342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3pPr>
            <a:lvl4pPr marL="432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b="0" kern="1200" cap="none" baseline="0">
                <a:solidFill>
                  <a:schemeClr val="accent3"/>
                </a:solidFill>
                <a:latin typeface="+mn-lt"/>
                <a:ea typeface="+mn-ea"/>
                <a:cs typeface="+mn-cs"/>
              </a:defRPr>
            </a:lvl4pPr>
            <a:lvl5pPr marL="540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kern="1200" cap="none">
                <a:solidFill>
                  <a:schemeClr val="accent3"/>
                </a:solidFill>
                <a:latin typeface="+mn-lt"/>
                <a:ea typeface="+mn-ea"/>
                <a:cs typeface="+mn-cs"/>
              </a:defRPr>
            </a:lvl5pPr>
            <a:lvl6pPr marL="1885874"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3"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l" defTabSz="914341" rtl="0" eaLnBrk="1" fontAlgn="auto" latinLnBrk="0" hangingPunct="1">
              <a:lnSpc>
                <a:spcPct val="95000"/>
              </a:lnSpc>
              <a:spcBef>
                <a:spcPts val="0"/>
              </a:spcBef>
              <a:spcAft>
                <a:spcPts val="800"/>
              </a:spcAft>
              <a:buClr>
                <a:srgbClr val="7E93A5"/>
              </a:buClr>
              <a:buSzPct val="100000"/>
              <a:buFont typeface="Wingdings" pitchFamily="2" charset="2"/>
              <a:buNone/>
              <a:tabLst/>
              <a:defRPr/>
            </a:pPr>
            <a:r>
              <a:rPr kumimoji="0" lang="da-DK" sz="1600" b="1" i="0" u="none" strike="noStrike" kern="1200" cap="none" spc="0" normalizeH="0" baseline="0" noProof="0" dirty="0">
                <a:ln>
                  <a:noFill/>
                </a:ln>
                <a:solidFill>
                  <a:srgbClr val="81BC00"/>
                </a:solidFill>
                <a:effectLst/>
                <a:uLnTx/>
                <a:uFillTx/>
                <a:latin typeface="Arial"/>
                <a:ea typeface="+mn-ea"/>
                <a:cs typeface="+mn-cs"/>
              </a:rPr>
              <a:t>Relational</a:t>
            </a:r>
          </a:p>
        </p:txBody>
      </p:sp>
      <p:cxnSp>
        <p:nvCxnSpPr>
          <p:cNvPr id="44" name="Łącznik prosty 43">
            <a:extLst>
              <a:ext uri="{FF2B5EF4-FFF2-40B4-BE49-F238E27FC236}">
                <a16:creationId xmlns:a16="http://schemas.microsoft.com/office/drawing/2014/main" id="{D4A3E6D5-0D1D-46B6-83FD-0E15B261B60B}"/>
              </a:ext>
            </a:extLst>
          </p:cNvPr>
          <p:cNvCxnSpPr>
            <a:cxnSpLocks/>
          </p:cNvCxnSpPr>
          <p:nvPr/>
        </p:nvCxnSpPr>
        <p:spPr>
          <a:xfrm flipH="1">
            <a:off x="5438096" y="3812520"/>
            <a:ext cx="169740" cy="363694"/>
          </a:xfrm>
          <a:prstGeom prst="line">
            <a:avLst/>
          </a:prstGeom>
          <a:ln>
            <a:solidFill>
              <a:srgbClr val="009597"/>
            </a:solidFill>
            <a:headEnd type="oval"/>
          </a:ln>
        </p:spPr>
        <p:style>
          <a:lnRef idx="1">
            <a:schemeClr val="accent1"/>
          </a:lnRef>
          <a:fillRef idx="0">
            <a:schemeClr val="accent1"/>
          </a:fillRef>
          <a:effectRef idx="0">
            <a:schemeClr val="accent1"/>
          </a:effectRef>
          <a:fontRef idx="minor">
            <a:schemeClr val="tx1"/>
          </a:fontRef>
        </p:style>
      </p:cxnSp>
      <p:sp>
        <p:nvSpPr>
          <p:cNvPr id="48" name="pole tekstowe 47">
            <a:extLst>
              <a:ext uri="{FF2B5EF4-FFF2-40B4-BE49-F238E27FC236}">
                <a16:creationId xmlns:a16="http://schemas.microsoft.com/office/drawing/2014/main" id="{6E85890F-F0EE-4BDD-9AE0-BAC4B80F6388}"/>
              </a:ext>
            </a:extLst>
          </p:cNvPr>
          <p:cNvSpPr txBox="1"/>
          <p:nvPr/>
        </p:nvSpPr>
        <p:spPr>
          <a:xfrm>
            <a:off x="177881" y="1198367"/>
            <a:ext cx="4403003" cy="1785104"/>
          </a:xfrm>
          <a:prstGeom prst="rect">
            <a:avLst/>
          </a:prstGeom>
          <a:noFill/>
        </p:spPr>
        <p:txBody>
          <a:bodyPr wrap="square">
            <a:spAutoFit/>
          </a:bodyPr>
          <a:lstStyle/>
          <a:p>
            <a:pPr marL="228594" marR="0" lvl="0" indent="-228594" algn="l" defTabSz="46753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000" b="1" i="0" u="none" strike="noStrike" kern="1200" cap="none" spc="0" normalizeH="0" baseline="0" noProof="0" dirty="0">
                <a:ln>
                  <a:noFill/>
                </a:ln>
                <a:solidFill>
                  <a:srgbClr val="7E93A5">
                    <a:lumMod val="75000"/>
                  </a:srgbClr>
                </a:solidFill>
                <a:effectLst/>
                <a:uLnTx/>
                <a:uFillTx/>
                <a:latin typeface="Arial"/>
                <a:ea typeface="+mn-ea"/>
                <a:cs typeface="+mn-cs"/>
              </a:rPr>
              <a:t>Business </a:t>
            </a:r>
            <a:r>
              <a:rPr kumimoji="0" lang="en-AU" sz="1000" b="1" i="0" u="none" strike="noStrike" kern="1200" cap="none" spc="0" normalizeH="0" baseline="0" noProof="0" dirty="0" err="1">
                <a:ln>
                  <a:noFill/>
                </a:ln>
                <a:solidFill>
                  <a:srgbClr val="7E93A5">
                    <a:lumMod val="75000"/>
                  </a:srgbClr>
                </a:solidFill>
                <a:effectLst/>
                <a:uLnTx/>
                <a:uFillTx/>
                <a:latin typeface="Arial"/>
                <a:ea typeface="+mn-ea"/>
                <a:cs typeface="+mn-cs"/>
              </a:rPr>
              <a:t>Acoount</a:t>
            </a:r>
            <a:r>
              <a:rPr kumimoji="0" lang="en-AU" sz="1000" b="0" i="0" u="none" strike="noStrike" kern="1200" cap="none" spc="0" normalizeH="0" baseline="0" noProof="0" dirty="0">
                <a:ln>
                  <a:noFill/>
                </a:ln>
                <a:solidFill>
                  <a:srgbClr val="7E93A5">
                    <a:lumMod val="75000"/>
                  </a:srgbClr>
                </a:solidFill>
                <a:effectLst/>
                <a:uLnTx/>
                <a:uFillTx/>
                <a:latin typeface="Arial"/>
                <a:ea typeface="+mn-ea"/>
                <a:cs typeface="+mn-cs"/>
              </a:rPr>
              <a:t>, Business Account in Company set-up </a:t>
            </a:r>
            <a:r>
              <a:rPr kumimoji="0" lang="en-AU" sz="1000" b="0" i="0" u="none" strike="noStrike" kern="1200" cap="none" spc="0" normalizeH="0" baseline="0" noProof="0" dirty="0" err="1">
                <a:ln>
                  <a:noFill/>
                </a:ln>
                <a:solidFill>
                  <a:srgbClr val="7E93A5">
                    <a:lumMod val="75000"/>
                  </a:srgbClr>
                </a:solidFill>
                <a:effectLst/>
                <a:uLnTx/>
                <a:uFillTx/>
                <a:latin typeface="Arial"/>
                <a:ea typeface="+mn-ea"/>
                <a:cs typeface="+mn-cs"/>
              </a:rPr>
              <a:t>proces</a:t>
            </a:r>
            <a:endParaRPr kumimoji="0" lang="en-AU" sz="1000" b="0" i="0" u="none" strike="noStrike" kern="1200" cap="none" spc="0" normalizeH="0" baseline="0" noProof="0" dirty="0">
              <a:ln>
                <a:noFill/>
              </a:ln>
              <a:solidFill>
                <a:srgbClr val="7E93A5">
                  <a:lumMod val="75000"/>
                </a:srgbClr>
              </a:solidFill>
              <a:effectLst/>
              <a:uLnTx/>
              <a:uFillTx/>
              <a:latin typeface="Arial"/>
              <a:ea typeface="+mn-ea"/>
              <a:cs typeface="+mn-cs"/>
            </a:endParaRPr>
          </a:p>
          <a:p>
            <a:pPr marL="228594" marR="0" lvl="0" indent="-228594" algn="l" defTabSz="46753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000" b="1" i="0" u="none" strike="noStrike" kern="1200" cap="none" spc="0" normalizeH="0" baseline="0" noProof="0" dirty="0">
                <a:ln>
                  <a:noFill/>
                </a:ln>
                <a:solidFill>
                  <a:srgbClr val="7E93A5">
                    <a:lumMod val="75000"/>
                  </a:srgbClr>
                </a:solidFill>
                <a:effectLst/>
                <a:uLnTx/>
                <a:uFillTx/>
                <a:latin typeface="Arial"/>
                <a:ea typeface="+mn-ea"/>
                <a:cs typeface="+mn-cs"/>
              </a:rPr>
              <a:t>Pre Approved credit</a:t>
            </a:r>
          </a:p>
          <a:p>
            <a:pPr marL="228594" marR="0" lvl="0" indent="-228594" algn="l" defTabSz="46753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000" b="1" i="0" u="none" strike="noStrike" kern="1200" cap="none" spc="0" normalizeH="0" baseline="0" noProof="0" dirty="0">
                <a:ln>
                  <a:noFill/>
                </a:ln>
                <a:solidFill>
                  <a:srgbClr val="7E93A5">
                    <a:lumMod val="75000"/>
                  </a:srgbClr>
                </a:solidFill>
                <a:effectLst/>
                <a:uLnTx/>
                <a:uFillTx/>
                <a:latin typeface="Arial"/>
                <a:ea typeface="+mn-ea"/>
                <a:cs typeface="+mn-cs"/>
              </a:rPr>
              <a:t>Overdraft</a:t>
            </a:r>
            <a:r>
              <a:rPr kumimoji="0" lang="en-AU" sz="1000" b="0" i="0" u="none" strike="noStrike" kern="1200" cap="none" spc="0" normalizeH="0" baseline="0" noProof="0" dirty="0">
                <a:ln>
                  <a:noFill/>
                </a:ln>
                <a:solidFill>
                  <a:srgbClr val="7E93A5">
                    <a:lumMod val="75000"/>
                  </a:srgbClr>
                </a:solidFill>
                <a:effectLst/>
                <a:uLnTx/>
                <a:uFillTx/>
                <a:latin typeface="Arial"/>
                <a:ea typeface="+mn-ea"/>
                <a:cs typeface="+mn-cs"/>
              </a:rPr>
              <a:t> renewals - end of contract</a:t>
            </a:r>
          </a:p>
          <a:p>
            <a:pPr marL="228594" marR="0" lvl="0" indent="-228594" algn="l" defTabSz="46753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000" b="0" i="0" u="none" strike="noStrike" kern="1200" cap="none" spc="0" normalizeH="0" baseline="0" noProof="0" dirty="0">
                <a:ln>
                  <a:noFill/>
                </a:ln>
                <a:solidFill>
                  <a:srgbClr val="7E93A5">
                    <a:lumMod val="75000"/>
                  </a:srgbClr>
                </a:solidFill>
                <a:effectLst/>
                <a:uLnTx/>
                <a:uFillTx/>
                <a:latin typeface="Arial"/>
                <a:ea typeface="+mn-ea"/>
                <a:cs typeface="+mn-cs"/>
              </a:rPr>
              <a:t>Cross sell </a:t>
            </a:r>
            <a:r>
              <a:rPr kumimoji="0" lang="en-AU" sz="1000" b="1" i="0" u="none" strike="noStrike" kern="1200" cap="none" spc="0" normalizeH="0" baseline="0" noProof="0" dirty="0" err="1">
                <a:ln>
                  <a:noFill/>
                </a:ln>
                <a:solidFill>
                  <a:srgbClr val="7E93A5">
                    <a:lumMod val="75000"/>
                  </a:srgbClr>
                </a:solidFill>
                <a:effectLst/>
                <a:uLnTx/>
                <a:uFillTx/>
                <a:latin typeface="Arial"/>
                <a:ea typeface="+mn-ea"/>
                <a:cs typeface="+mn-cs"/>
              </a:rPr>
              <a:t>VASes</a:t>
            </a:r>
            <a:r>
              <a:rPr kumimoji="0" lang="en-AU" sz="1000" b="0" i="0" u="none" strike="noStrike" kern="1200" cap="none" spc="0" normalizeH="0" baseline="0" noProof="0" dirty="0">
                <a:ln>
                  <a:noFill/>
                </a:ln>
                <a:solidFill>
                  <a:srgbClr val="7E93A5">
                    <a:lumMod val="75000"/>
                  </a:srgbClr>
                </a:solidFill>
                <a:effectLst/>
                <a:uLnTx/>
                <a:uFillTx/>
                <a:latin typeface="Arial"/>
                <a:ea typeface="+mn-ea"/>
                <a:cs typeface="+mn-cs"/>
              </a:rPr>
              <a:t>, e.g. POS</a:t>
            </a:r>
          </a:p>
          <a:p>
            <a:pPr marL="228594" marR="0" lvl="0" indent="-228594" algn="l" defTabSz="46753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000" b="1" i="0" u="none" strike="noStrike" kern="1200" cap="none" spc="0" normalizeH="0" baseline="0" noProof="0" dirty="0">
                <a:ln>
                  <a:noFill/>
                </a:ln>
                <a:solidFill>
                  <a:srgbClr val="7E93A5">
                    <a:lumMod val="75000"/>
                  </a:srgbClr>
                </a:solidFill>
                <a:effectLst/>
                <a:uLnTx/>
                <a:uFillTx/>
                <a:latin typeface="Arial"/>
                <a:ea typeface="+mn-ea"/>
                <a:cs typeface="+mn-cs"/>
              </a:rPr>
              <a:t>Transfer to advance/pro form –</a:t>
            </a:r>
            <a:r>
              <a:rPr kumimoji="0" lang="en-AU" sz="1000" b="0" i="0" u="none" strike="noStrike" kern="1200" cap="none" spc="0" normalizeH="0" baseline="0" noProof="0" dirty="0">
                <a:ln>
                  <a:noFill/>
                </a:ln>
                <a:solidFill>
                  <a:srgbClr val="7E93A5">
                    <a:lumMod val="75000"/>
                  </a:srgbClr>
                </a:solidFill>
                <a:effectLst/>
                <a:uLnTx/>
                <a:uFillTx/>
                <a:latin typeface="Arial"/>
                <a:ea typeface="+mn-ea"/>
                <a:cs typeface="+mn-cs"/>
              </a:rPr>
              <a:t> the aim of the campaign is to identify the client’s needs and propose financing at CA</a:t>
            </a:r>
          </a:p>
          <a:p>
            <a:pPr marL="228594" marR="0" lvl="0" indent="-228594" algn="l" defTabSz="46753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000" b="1" i="0" u="none" strike="noStrike" kern="1200" cap="none" spc="0" normalizeH="0" baseline="0" noProof="0" dirty="0">
                <a:ln>
                  <a:noFill/>
                </a:ln>
                <a:solidFill>
                  <a:srgbClr val="7E93A5">
                    <a:lumMod val="75000"/>
                  </a:srgbClr>
                </a:solidFill>
                <a:effectLst/>
                <a:uLnTx/>
                <a:uFillTx/>
                <a:latin typeface="Arial"/>
                <a:ea typeface="+mn-ea"/>
                <a:cs typeface="+mn-cs"/>
              </a:rPr>
              <a:t>Collapsing Credit </a:t>
            </a:r>
            <a:r>
              <a:rPr kumimoji="0" lang="en-AU" sz="1000" b="0" i="0" u="none" strike="noStrike" kern="1200" cap="none" spc="0" normalizeH="0" baseline="0" noProof="0" dirty="0">
                <a:ln>
                  <a:noFill/>
                </a:ln>
                <a:solidFill>
                  <a:srgbClr val="7E93A5">
                    <a:lumMod val="75000"/>
                  </a:srgbClr>
                </a:solidFill>
                <a:effectLst/>
                <a:uLnTx/>
                <a:uFillTx/>
                <a:latin typeface="Arial"/>
                <a:ea typeface="+mn-ea"/>
                <a:cs typeface="+mn-cs"/>
              </a:rPr>
              <a:t>- the campaign aimed at customers whose credit is about to expire</a:t>
            </a:r>
          </a:p>
          <a:p>
            <a:pPr marL="228594" marR="0" lvl="0" indent="-228594" algn="l" defTabSz="46753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000" b="1" i="0" u="none" strike="noStrike" kern="1200" cap="none" spc="0" normalizeH="0" baseline="0" noProof="0" dirty="0">
                <a:ln>
                  <a:noFill/>
                </a:ln>
                <a:solidFill>
                  <a:srgbClr val="7E93A5">
                    <a:lumMod val="75000"/>
                  </a:srgbClr>
                </a:solidFill>
                <a:effectLst/>
                <a:uLnTx/>
                <a:uFillTx/>
                <a:latin typeface="Arial"/>
                <a:ea typeface="+mn-ea"/>
                <a:cs typeface="+mn-cs"/>
              </a:rPr>
              <a:t>Projects</a:t>
            </a:r>
            <a:r>
              <a:rPr kumimoji="0" lang="en-AU" sz="1000" b="0" i="0" u="none" strike="noStrike" kern="1200" cap="none" spc="0" normalizeH="0" baseline="0" noProof="0" dirty="0">
                <a:ln>
                  <a:noFill/>
                </a:ln>
                <a:solidFill>
                  <a:srgbClr val="7E93A5">
                    <a:lumMod val="75000"/>
                  </a:srgbClr>
                </a:solidFill>
                <a:effectLst/>
                <a:uLnTx/>
                <a:uFillTx/>
                <a:latin typeface="Arial"/>
                <a:ea typeface="+mn-ea"/>
                <a:cs typeface="+mn-cs"/>
              </a:rPr>
              <a:t> - an action initiated by an advisor at a bank branch, based on a conversation with a customer and identification of their needs. At the appropriate time, a task is issued to the advisor</a:t>
            </a:r>
          </a:p>
        </p:txBody>
      </p:sp>
      <p:sp>
        <p:nvSpPr>
          <p:cNvPr id="50" name="pole tekstowe 49">
            <a:extLst>
              <a:ext uri="{FF2B5EF4-FFF2-40B4-BE49-F238E27FC236}">
                <a16:creationId xmlns:a16="http://schemas.microsoft.com/office/drawing/2014/main" id="{8AE94FA8-3CA6-49D5-AABF-3F8B0D863EEF}"/>
              </a:ext>
            </a:extLst>
          </p:cNvPr>
          <p:cNvSpPr txBox="1"/>
          <p:nvPr/>
        </p:nvSpPr>
        <p:spPr>
          <a:xfrm>
            <a:off x="7590980" y="1008467"/>
            <a:ext cx="4638576" cy="1477328"/>
          </a:xfrm>
          <a:prstGeom prst="rect">
            <a:avLst/>
          </a:prstGeom>
          <a:noFill/>
        </p:spPr>
        <p:txBody>
          <a:bodyPr wrap="square">
            <a:spAutoFit/>
          </a:bodyPr>
          <a:lstStyle/>
          <a:p>
            <a:pPr marL="228594" marR="0" lvl="0" indent="-228594" algn="l" defTabSz="46753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l-PL" sz="1000" b="1" i="0" u="none" strike="noStrike" kern="1200" cap="none" spc="0" normalizeH="0" baseline="0" noProof="0" dirty="0" err="1">
                <a:ln>
                  <a:noFill/>
                </a:ln>
                <a:solidFill>
                  <a:srgbClr val="7E93A5">
                    <a:lumMod val="75000"/>
                  </a:srgbClr>
                </a:solidFill>
                <a:effectLst/>
                <a:uLnTx/>
                <a:uFillTx/>
                <a:latin typeface="Arial"/>
                <a:ea typeface="+mn-ea"/>
                <a:cs typeface="+mn-cs"/>
              </a:rPr>
              <a:t>Onboarding</a:t>
            </a:r>
            <a:r>
              <a:rPr kumimoji="0" lang="pl-PL" sz="1000" b="1" i="0" u="none" strike="noStrike" kern="1200" cap="none" spc="0" normalizeH="0" baseline="0" noProof="0" dirty="0">
                <a:ln>
                  <a:noFill/>
                </a:ln>
                <a:solidFill>
                  <a:srgbClr val="7E93A5">
                    <a:lumMod val="75000"/>
                  </a:srgbClr>
                </a:solidFill>
                <a:effectLst/>
                <a:uLnTx/>
                <a:uFillTx/>
                <a:latin typeface="Arial"/>
                <a:ea typeface="+mn-ea"/>
                <a:cs typeface="+mn-cs"/>
              </a:rPr>
              <a:t> </a:t>
            </a:r>
            <a:r>
              <a:rPr kumimoji="0" lang="pl-PL" sz="1000" b="1" i="0" u="none" strike="noStrike" kern="1200" cap="none" spc="0" normalizeH="0" baseline="0" noProof="0" dirty="0" err="1">
                <a:ln>
                  <a:noFill/>
                </a:ln>
                <a:solidFill>
                  <a:srgbClr val="7E93A5">
                    <a:lumMod val="75000"/>
                  </a:srgbClr>
                </a:solidFill>
                <a:effectLst/>
                <a:uLnTx/>
                <a:uFillTx/>
                <a:latin typeface="Arial"/>
                <a:ea typeface="+mn-ea"/>
                <a:cs typeface="+mn-cs"/>
              </a:rPr>
              <a:t>campaign</a:t>
            </a:r>
            <a:endParaRPr kumimoji="0" lang="pl-PL" sz="1000" b="1" i="0" u="none" strike="noStrike" kern="1200" cap="none" spc="0" normalizeH="0" baseline="0" noProof="0" dirty="0">
              <a:ln>
                <a:noFill/>
              </a:ln>
              <a:solidFill>
                <a:srgbClr val="7E93A5">
                  <a:lumMod val="75000"/>
                </a:srgbClr>
              </a:solidFill>
              <a:effectLst/>
              <a:uLnTx/>
              <a:uFillTx/>
              <a:latin typeface="Arial"/>
              <a:ea typeface="+mn-ea"/>
              <a:cs typeface="+mn-cs"/>
            </a:endParaRPr>
          </a:p>
          <a:p>
            <a:pPr marL="228594" marR="0" lvl="0" indent="-228594" algn="l" defTabSz="46753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7E93A5">
                    <a:lumMod val="75000"/>
                  </a:srgbClr>
                </a:solidFill>
                <a:effectLst/>
                <a:uLnTx/>
                <a:uFillTx/>
                <a:latin typeface="Arial"/>
                <a:ea typeface="+mn-ea"/>
                <a:cs typeface="+mn-cs"/>
              </a:rPr>
              <a:t>campaign to </a:t>
            </a:r>
            <a:r>
              <a:rPr kumimoji="0" lang="en-US" sz="1000" b="1" i="0" u="none" strike="noStrike" kern="1200" cap="none" spc="0" normalizeH="0" baseline="0" noProof="0" dirty="0">
                <a:ln>
                  <a:noFill/>
                </a:ln>
                <a:solidFill>
                  <a:srgbClr val="7E93A5">
                    <a:lumMod val="75000"/>
                  </a:srgbClr>
                </a:solidFill>
                <a:effectLst/>
                <a:uLnTx/>
                <a:uFillTx/>
                <a:latin typeface="Arial"/>
                <a:ea typeface="+mn-ea"/>
                <a:cs typeface="+mn-cs"/>
              </a:rPr>
              <a:t>activate new inactive customers </a:t>
            </a:r>
            <a:r>
              <a:rPr kumimoji="0" lang="pl-PL" sz="1000" b="0" i="0" u="none" strike="noStrike" kern="1200" cap="none" spc="0" normalizeH="0" baseline="0" noProof="0" dirty="0">
                <a:ln>
                  <a:noFill/>
                </a:ln>
                <a:solidFill>
                  <a:srgbClr val="7E93A5">
                    <a:lumMod val="75000"/>
                  </a:srgbClr>
                </a:solidFill>
                <a:effectLst/>
                <a:uLnTx/>
                <a:uFillTx/>
                <a:latin typeface="Arial"/>
                <a:ea typeface="+mn-ea"/>
                <a:cs typeface="+mn-cs"/>
              </a:rPr>
              <a:t>C</a:t>
            </a:r>
            <a:r>
              <a:rPr kumimoji="0" lang="en-US" sz="1000" b="0" i="0" u="none" strike="noStrike" kern="1200" cap="none" spc="0" normalizeH="0" baseline="0" noProof="0" dirty="0" err="1">
                <a:ln>
                  <a:noFill/>
                </a:ln>
                <a:solidFill>
                  <a:srgbClr val="7E93A5">
                    <a:lumMod val="75000"/>
                  </a:srgbClr>
                </a:solidFill>
                <a:effectLst/>
                <a:uLnTx/>
                <a:uFillTx/>
                <a:latin typeface="Arial"/>
                <a:ea typeface="+mn-ea"/>
                <a:cs typeface="+mn-cs"/>
              </a:rPr>
              <a:t>ommunication</a:t>
            </a:r>
            <a:r>
              <a:rPr kumimoji="0" lang="en-US" sz="1000" b="0" i="0" u="none" strike="noStrike" kern="1200" cap="none" spc="0" normalizeH="0" baseline="0" noProof="0" dirty="0">
                <a:ln>
                  <a:noFill/>
                </a:ln>
                <a:solidFill>
                  <a:srgbClr val="7E93A5">
                    <a:lumMod val="75000"/>
                  </a:srgbClr>
                </a:solidFill>
                <a:effectLst/>
                <a:uLnTx/>
                <a:uFillTx/>
                <a:latin typeface="Arial"/>
                <a:ea typeface="+mn-ea"/>
                <a:cs typeface="+mn-cs"/>
              </a:rPr>
              <a:t> encouraging users to </a:t>
            </a:r>
            <a:r>
              <a:rPr kumimoji="0" lang="en-US" sz="1000" b="1" i="0" u="none" strike="noStrike" kern="1200" cap="none" spc="0" normalizeH="0" baseline="0" noProof="0" dirty="0">
                <a:ln>
                  <a:noFill/>
                </a:ln>
                <a:solidFill>
                  <a:srgbClr val="7E93A5">
                    <a:lumMod val="75000"/>
                  </a:srgbClr>
                </a:solidFill>
                <a:effectLst/>
                <a:uLnTx/>
                <a:uFillTx/>
                <a:latin typeface="Arial"/>
                <a:ea typeface="+mn-ea"/>
                <a:cs typeface="+mn-cs"/>
              </a:rPr>
              <a:t>log in to the </a:t>
            </a:r>
            <a:r>
              <a:rPr kumimoji="0" lang="pl-PL" sz="1000" b="1" i="0" u="none" strike="noStrike" kern="1200" cap="none" spc="0" normalizeH="0" baseline="0" noProof="0" dirty="0">
                <a:ln>
                  <a:noFill/>
                </a:ln>
                <a:solidFill>
                  <a:srgbClr val="7E93A5">
                    <a:lumMod val="75000"/>
                  </a:srgbClr>
                </a:solidFill>
                <a:effectLst/>
                <a:uLnTx/>
                <a:uFillTx/>
                <a:latin typeface="Arial"/>
                <a:ea typeface="+mn-ea"/>
                <a:cs typeface="+mn-cs"/>
              </a:rPr>
              <a:t>Strefa Biznesu</a:t>
            </a:r>
          </a:p>
          <a:p>
            <a:pPr marL="228594" marR="0" lvl="0" indent="-228594" algn="l" defTabSz="46753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7E93A5">
                    <a:lumMod val="75000"/>
                  </a:srgbClr>
                </a:solidFill>
                <a:effectLst/>
                <a:uLnTx/>
                <a:uFillTx/>
                <a:latin typeface="Arial"/>
                <a:ea typeface="+mn-ea"/>
                <a:cs typeface="+mn-cs"/>
              </a:rPr>
              <a:t>Passive event on customers without consent with an agreed meeting – </a:t>
            </a:r>
            <a:r>
              <a:rPr kumimoji="0" lang="pl-PL" sz="1000" b="0" i="0" u="none" strike="noStrike" kern="1200" cap="none" spc="0" normalizeH="0" baseline="0" noProof="0" dirty="0">
                <a:ln>
                  <a:noFill/>
                </a:ln>
                <a:solidFill>
                  <a:srgbClr val="7E93A5">
                    <a:lumMod val="75000"/>
                  </a:srgbClr>
                </a:solidFill>
                <a:effectLst/>
                <a:uLnTx/>
                <a:uFillTx/>
                <a:latin typeface="Arial"/>
                <a:ea typeface="+mn-ea"/>
                <a:cs typeface="+mn-cs"/>
              </a:rPr>
              <a:t>the </a:t>
            </a:r>
            <a:r>
              <a:rPr kumimoji="0" lang="en-US" sz="1000" b="0" i="0" u="none" strike="noStrike" kern="1200" cap="none" spc="0" normalizeH="0" baseline="0" noProof="0" dirty="0">
                <a:ln>
                  <a:noFill/>
                </a:ln>
                <a:solidFill>
                  <a:srgbClr val="7E93A5">
                    <a:lumMod val="75000"/>
                  </a:srgbClr>
                </a:solidFill>
                <a:effectLst/>
                <a:uLnTx/>
                <a:uFillTx/>
                <a:latin typeface="Arial"/>
                <a:ea typeface="+mn-ea"/>
                <a:cs typeface="+mn-cs"/>
              </a:rPr>
              <a:t>aim of the campaign is </a:t>
            </a:r>
            <a:r>
              <a:rPr kumimoji="0" lang="en-US" sz="1000" b="1" i="0" u="none" strike="noStrike" kern="1200" cap="none" spc="0" normalizeH="0" baseline="0" noProof="0" dirty="0">
                <a:ln>
                  <a:noFill/>
                </a:ln>
                <a:solidFill>
                  <a:srgbClr val="7E93A5">
                    <a:lumMod val="75000"/>
                  </a:srgbClr>
                </a:solidFill>
                <a:effectLst/>
                <a:uLnTx/>
                <a:uFillTx/>
                <a:latin typeface="Arial"/>
                <a:ea typeface="+mn-ea"/>
                <a:cs typeface="+mn-cs"/>
              </a:rPr>
              <a:t>to collect marketing consents</a:t>
            </a:r>
            <a:r>
              <a:rPr kumimoji="0" lang="en-US" sz="1000" b="0" i="0" u="none" strike="noStrike" kern="1200" cap="none" spc="0" normalizeH="0" baseline="0" noProof="0" dirty="0">
                <a:ln>
                  <a:noFill/>
                </a:ln>
                <a:solidFill>
                  <a:srgbClr val="7E93A5">
                    <a:lumMod val="75000"/>
                  </a:srgbClr>
                </a:solidFill>
                <a:effectLst/>
                <a:uLnTx/>
                <a:uFillTx/>
                <a:latin typeface="Arial"/>
                <a:ea typeface="+mn-ea"/>
                <a:cs typeface="+mn-cs"/>
              </a:rPr>
              <a:t> by a client advisor during the meeting</a:t>
            </a:r>
            <a:endParaRPr kumimoji="0" lang="pl-PL" sz="1000" b="0" i="0" u="none" strike="noStrike" kern="1200" cap="none" spc="0" normalizeH="0" baseline="0" noProof="0" dirty="0">
              <a:ln>
                <a:noFill/>
              </a:ln>
              <a:solidFill>
                <a:srgbClr val="7E93A5">
                  <a:lumMod val="75000"/>
                </a:srgbClr>
              </a:solidFill>
              <a:effectLst/>
              <a:uLnTx/>
              <a:uFillTx/>
              <a:latin typeface="Arial"/>
              <a:ea typeface="+mn-ea"/>
              <a:cs typeface="+mn-cs"/>
            </a:endParaRPr>
          </a:p>
          <a:p>
            <a:pPr marL="228594" marR="0" lvl="0" indent="-228594" algn="l" defTabSz="46753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1200" cap="none" spc="0" normalizeH="0" baseline="0" noProof="0" dirty="0">
                <a:ln>
                  <a:noFill/>
                </a:ln>
                <a:solidFill>
                  <a:srgbClr val="7E93A5">
                    <a:lumMod val="75000"/>
                  </a:srgbClr>
                </a:solidFill>
                <a:effectLst/>
                <a:uLnTx/>
                <a:uFillTx/>
                <a:latin typeface="Arial"/>
                <a:ea typeface="+mn-ea"/>
                <a:cs typeface="+mn-cs"/>
              </a:rPr>
              <a:t>Customer Retention </a:t>
            </a:r>
            <a:r>
              <a:rPr kumimoji="0" lang="en-US" sz="1000" b="0" i="0" u="none" strike="noStrike" kern="1200" cap="none" spc="0" normalizeH="0" baseline="0" noProof="0" dirty="0">
                <a:ln>
                  <a:noFill/>
                </a:ln>
                <a:solidFill>
                  <a:srgbClr val="7E93A5">
                    <a:lumMod val="75000"/>
                  </a:srgbClr>
                </a:solidFill>
                <a:effectLst/>
                <a:uLnTx/>
                <a:uFillTx/>
                <a:latin typeface="Arial"/>
                <a:ea typeface="+mn-ea"/>
                <a:cs typeface="+mn-cs"/>
              </a:rPr>
              <a:t>- the campaign aimed at customers from the BVIP portfolio who have requested to close their accounts.</a:t>
            </a:r>
          </a:p>
          <a:p>
            <a:pPr marL="228594" marR="0" lvl="0" indent="-228594" algn="l" defTabSz="46753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pl-PL" sz="1000" b="1" i="0" u="none" strike="noStrike" kern="1200" cap="none" spc="0" normalizeH="0" baseline="0" noProof="0" dirty="0">
              <a:ln>
                <a:noFill/>
              </a:ln>
              <a:solidFill>
                <a:srgbClr val="7E93A5">
                  <a:lumMod val="75000"/>
                </a:srgbClr>
              </a:solidFill>
              <a:effectLst/>
              <a:uLnTx/>
              <a:uFillTx/>
              <a:latin typeface="Arial"/>
              <a:ea typeface="+mn-ea"/>
              <a:cs typeface="+mn-cs"/>
            </a:endParaRPr>
          </a:p>
        </p:txBody>
      </p:sp>
      <p:sp>
        <p:nvSpPr>
          <p:cNvPr id="54" name="pole tekstowe 53">
            <a:extLst>
              <a:ext uri="{FF2B5EF4-FFF2-40B4-BE49-F238E27FC236}">
                <a16:creationId xmlns:a16="http://schemas.microsoft.com/office/drawing/2014/main" id="{DA1FF8AB-FD72-49FE-841D-C5381EDB684B}"/>
              </a:ext>
            </a:extLst>
          </p:cNvPr>
          <p:cNvSpPr txBox="1"/>
          <p:nvPr/>
        </p:nvSpPr>
        <p:spPr>
          <a:xfrm>
            <a:off x="8152698" y="2824320"/>
            <a:ext cx="3900065" cy="1015663"/>
          </a:xfrm>
          <a:prstGeom prst="rect">
            <a:avLst/>
          </a:prstGeom>
          <a:noFill/>
        </p:spPr>
        <p:txBody>
          <a:bodyPr wrap="square">
            <a:spAutoFit/>
          </a:bodyPr>
          <a:lstStyle/>
          <a:p>
            <a:pPr marL="228594" marR="0" lvl="0" indent="-228594" algn="l" defTabSz="46753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1200" cap="none" spc="0" normalizeH="0" baseline="0" noProof="0" dirty="0">
                <a:ln>
                  <a:noFill/>
                </a:ln>
                <a:solidFill>
                  <a:srgbClr val="7E93A5">
                    <a:lumMod val="75000"/>
                  </a:srgbClr>
                </a:solidFill>
                <a:effectLst/>
                <a:uLnTx/>
                <a:uFillTx/>
                <a:latin typeface="Arial"/>
                <a:ea typeface="+mn-ea"/>
                <a:cs typeface="+mn-cs"/>
              </a:rPr>
              <a:t>Mandatory social security payment</a:t>
            </a:r>
            <a:r>
              <a:rPr kumimoji="0" lang="pl-PL" sz="1000" b="0" i="0" u="none" strike="noStrike" kern="1200" cap="none" spc="0" normalizeH="0" baseline="0" noProof="0" dirty="0">
                <a:ln>
                  <a:noFill/>
                </a:ln>
                <a:solidFill>
                  <a:srgbClr val="7E93A5">
                    <a:lumMod val="75000"/>
                  </a:srgbClr>
                </a:solidFill>
                <a:effectLst/>
                <a:uLnTx/>
                <a:uFillTx/>
                <a:latin typeface="Arial"/>
                <a:ea typeface="+mn-ea"/>
                <a:cs typeface="+mn-cs"/>
              </a:rPr>
              <a:t> - </a:t>
            </a:r>
            <a:r>
              <a:rPr kumimoji="0" lang="en-US" sz="1000" b="0" i="0" u="none" strike="noStrike" kern="1200" cap="none" spc="0" normalizeH="0" baseline="0" noProof="0" dirty="0">
                <a:ln>
                  <a:noFill/>
                </a:ln>
                <a:solidFill>
                  <a:srgbClr val="7E93A5">
                    <a:lumMod val="75000"/>
                  </a:srgbClr>
                </a:solidFill>
                <a:effectLst/>
                <a:uLnTx/>
                <a:uFillTx/>
                <a:latin typeface="Arial"/>
                <a:ea typeface="+mn-ea"/>
                <a:cs typeface="+mn-cs"/>
              </a:rPr>
              <a:t>Customers who have a BGK de minimis guarantee- sent 5 days before the anniversary date of the BGK guarantee establishment</a:t>
            </a:r>
            <a:endParaRPr kumimoji="0" lang="pl-PL" sz="1000" b="0" i="0" u="none" strike="noStrike" kern="1200" cap="none" spc="0" normalizeH="0" baseline="0" noProof="0" dirty="0">
              <a:ln>
                <a:noFill/>
              </a:ln>
              <a:solidFill>
                <a:srgbClr val="7E93A5">
                  <a:lumMod val="75000"/>
                </a:srgbClr>
              </a:solidFill>
              <a:effectLst/>
              <a:uLnTx/>
              <a:uFillTx/>
              <a:latin typeface="Arial"/>
              <a:ea typeface="+mn-ea"/>
              <a:cs typeface="+mn-cs"/>
            </a:endParaRPr>
          </a:p>
          <a:p>
            <a:pPr marL="228594" marR="0" lvl="0" indent="-228594" algn="l" defTabSz="46753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l-PL" sz="1000" b="1" i="0" u="none" strike="noStrike" kern="1200" cap="none" spc="0" normalizeH="0" baseline="0" noProof="0" dirty="0">
                <a:ln>
                  <a:noFill/>
                </a:ln>
                <a:solidFill>
                  <a:srgbClr val="7E93A5">
                    <a:lumMod val="75000"/>
                  </a:srgbClr>
                </a:solidFill>
                <a:effectLst/>
                <a:uLnTx/>
                <a:uFillTx/>
                <a:latin typeface="Arial"/>
                <a:ea typeface="+mn-ea"/>
                <a:cs typeface="+mn-cs"/>
              </a:rPr>
              <a:t>SWO </a:t>
            </a:r>
            <a:r>
              <a:rPr kumimoji="0" lang="pl-PL" sz="1000" b="1" i="0" u="none" strike="noStrike" kern="1200" cap="none" spc="0" normalizeH="0" baseline="0" noProof="0" dirty="0" err="1">
                <a:ln>
                  <a:noFill/>
                </a:ln>
                <a:solidFill>
                  <a:srgbClr val="7E93A5">
                    <a:lumMod val="75000"/>
                  </a:srgbClr>
                </a:solidFill>
                <a:effectLst/>
                <a:uLnTx/>
                <a:uFillTx/>
                <a:latin typeface="Arial"/>
                <a:ea typeface="+mn-ea"/>
                <a:cs typeface="+mn-cs"/>
              </a:rPr>
              <a:t>Process</a:t>
            </a:r>
            <a:r>
              <a:rPr kumimoji="0" lang="pl-PL" sz="1000" b="1" i="0" u="none" strike="noStrike" kern="1200" cap="none" spc="0" normalizeH="0" baseline="0" noProof="0" dirty="0">
                <a:ln>
                  <a:noFill/>
                </a:ln>
                <a:solidFill>
                  <a:srgbClr val="7E93A5">
                    <a:lumMod val="75000"/>
                  </a:srgbClr>
                </a:solidFill>
                <a:effectLst/>
                <a:uLnTx/>
                <a:uFillTx/>
                <a:latin typeface="Arial"/>
                <a:ea typeface="+mn-ea"/>
                <a:cs typeface="+mn-cs"/>
              </a:rPr>
              <a:t> - </a:t>
            </a:r>
            <a:r>
              <a:rPr kumimoji="0" lang="en-US" sz="1000" b="0" i="0" u="none" strike="noStrike" kern="1200" cap="none" spc="0" normalizeH="0" baseline="0" noProof="0" dirty="0">
                <a:ln>
                  <a:noFill/>
                </a:ln>
                <a:solidFill>
                  <a:srgbClr val="7E93A5">
                    <a:lumMod val="75000"/>
                  </a:srgbClr>
                </a:solidFill>
                <a:effectLst/>
                <a:uLnTx/>
                <a:uFillTx/>
                <a:latin typeface="Arial"/>
                <a:ea typeface="+mn-ea"/>
                <a:cs typeface="+mn-cs"/>
              </a:rPr>
              <a:t>campaign dedicated to customers referred for full monitoring. The purpose of contact is to obtain financial documents, BIK reports and a completed START_MSP form</a:t>
            </a:r>
            <a:endParaRPr kumimoji="0" lang="pl-PL" sz="1000" b="0" i="0" u="none" strike="noStrike" kern="1200" cap="none" spc="0" normalizeH="0" baseline="0" noProof="0" dirty="0">
              <a:ln>
                <a:noFill/>
              </a:ln>
              <a:solidFill>
                <a:srgbClr val="7E93A5">
                  <a:lumMod val="75000"/>
                </a:srgbClr>
              </a:solidFill>
              <a:effectLst/>
              <a:uLnTx/>
              <a:uFillTx/>
              <a:latin typeface="Arial"/>
              <a:ea typeface="+mn-ea"/>
              <a:cs typeface="+mn-cs"/>
            </a:endParaRPr>
          </a:p>
        </p:txBody>
      </p:sp>
      <p:sp>
        <p:nvSpPr>
          <p:cNvPr id="58" name="pole tekstowe 57">
            <a:extLst>
              <a:ext uri="{FF2B5EF4-FFF2-40B4-BE49-F238E27FC236}">
                <a16:creationId xmlns:a16="http://schemas.microsoft.com/office/drawing/2014/main" id="{4ADFB5F5-1B02-4D79-8FCE-26CD49D0A4C8}"/>
              </a:ext>
            </a:extLst>
          </p:cNvPr>
          <p:cNvSpPr txBox="1"/>
          <p:nvPr/>
        </p:nvSpPr>
        <p:spPr>
          <a:xfrm>
            <a:off x="7767773" y="4415633"/>
            <a:ext cx="4284990" cy="1015663"/>
          </a:xfrm>
          <a:prstGeom prst="rect">
            <a:avLst/>
          </a:prstGeom>
          <a:noFill/>
        </p:spPr>
        <p:txBody>
          <a:bodyPr wrap="square">
            <a:spAutoFit/>
          </a:bodyPr>
          <a:lstStyle/>
          <a:p>
            <a:pPr marL="228594" marR="0" lvl="0" indent="-228594" algn="l" defTabSz="46753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1200" cap="none" spc="0" normalizeH="0" baseline="0" noProof="0" dirty="0">
                <a:ln>
                  <a:noFill/>
                </a:ln>
                <a:solidFill>
                  <a:srgbClr val="7E93A5">
                    <a:lumMod val="75000"/>
                  </a:srgbClr>
                </a:solidFill>
                <a:effectLst/>
                <a:uLnTx/>
                <a:uFillTx/>
                <a:latin typeface="Arial"/>
                <a:ea typeface="+mn-ea"/>
                <a:cs typeface="+mn-cs"/>
              </a:rPr>
              <a:t>Margin increase </a:t>
            </a:r>
            <a:r>
              <a:rPr kumimoji="0" lang="en-US" sz="1000" b="0" i="0" u="none" strike="noStrike" kern="1200" cap="none" spc="0" normalizeH="0" baseline="0" noProof="0" dirty="0">
                <a:ln>
                  <a:noFill/>
                </a:ln>
                <a:solidFill>
                  <a:srgbClr val="7E93A5">
                    <a:lumMod val="75000"/>
                  </a:srgbClr>
                </a:solidFill>
                <a:effectLst/>
                <a:uLnTx/>
                <a:uFillTx/>
                <a:latin typeface="Arial"/>
                <a:ea typeface="+mn-ea"/>
                <a:cs typeface="+mn-cs"/>
              </a:rPr>
              <a:t>- the campaign covers SME customers who did not achieve the minimum monthly revenue in the previous month</a:t>
            </a:r>
            <a:r>
              <a:rPr kumimoji="0" lang="pl-PL" sz="1000" b="0" i="0" u="none" strike="noStrike" kern="1200" cap="none" spc="0" normalizeH="0" baseline="0" noProof="0" dirty="0">
                <a:ln>
                  <a:noFill/>
                </a:ln>
                <a:solidFill>
                  <a:srgbClr val="7E93A5">
                    <a:lumMod val="75000"/>
                  </a:srgbClr>
                </a:solidFill>
                <a:effectLst/>
                <a:uLnTx/>
                <a:uFillTx/>
                <a:latin typeface="Arial"/>
                <a:ea typeface="+mn-ea"/>
                <a:cs typeface="+mn-cs"/>
              </a:rPr>
              <a:t>, </a:t>
            </a:r>
            <a:r>
              <a:rPr kumimoji="0" lang="en-US" sz="1000" b="0" i="0" u="none" strike="noStrike" kern="1200" cap="none" spc="0" normalizeH="0" baseline="0" noProof="0" dirty="0">
                <a:ln>
                  <a:noFill/>
                </a:ln>
                <a:solidFill>
                  <a:srgbClr val="7E93A5">
                    <a:lumMod val="75000"/>
                  </a:srgbClr>
                </a:solidFill>
                <a:effectLst/>
                <a:uLnTx/>
                <a:uFillTx/>
                <a:latin typeface="Arial"/>
                <a:ea typeface="+mn-ea"/>
                <a:cs typeface="+mn-cs"/>
              </a:rPr>
              <a:t>to inform customers about the margin increase</a:t>
            </a:r>
            <a:endParaRPr kumimoji="0" lang="pl-PL" sz="1000" b="0" i="0" u="none" strike="noStrike" kern="1200" cap="none" spc="0" normalizeH="0" baseline="0" noProof="0" dirty="0">
              <a:ln>
                <a:noFill/>
              </a:ln>
              <a:solidFill>
                <a:srgbClr val="7E93A5">
                  <a:lumMod val="75000"/>
                </a:srgbClr>
              </a:solidFill>
              <a:effectLst/>
              <a:uLnTx/>
              <a:uFillTx/>
              <a:latin typeface="Arial"/>
              <a:ea typeface="+mn-ea"/>
              <a:cs typeface="+mn-cs"/>
            </a:endParaRPr>
          </a:p>
          <a:p>
            <a:pPr marL="228594" marR="0" lvl="0" indent="-228594" algn="l" defTabSz="46753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1200" cap="none" spc="0" normalizeH="0" baseline="0" noProof="0" dirty="0">
                <a:ln>
                  <a:noFill/>
                </a:ln>
                <a:solidFill>
                  <a:srgbClr val="7E93A5">
                    <a:lumMod val="75000"/>
                  </a:srgbClr>
                </a:solidFill>
                <a:effectLst/>
                <a:uLnTx/>
                <a:uFillTx/>
                <a:latin typeface="Arial"/>
                <a:ea typeface="+mn-ea"/>
                <a:cs typeface="+mn-cs"/>
              </a:rPr>
              <a:t>Loan installment </a:t>
            </a:r>
            <a:r>
              <a:rPr kumimoji="0" lang="en-US" sz="1000" b="0" i="0" u="none" strike="noStrike" kern="1200" cap="none" spc="0" normalizeH="0" baseline="0" noProof="0" dirty="0">
                <a:ln>
                  <a:noFill/>
                </a:ln>
                <a:solidFill>
                  <a:srgbClr val="7E93A5">
                    <a:lumMod val="75000"/>
                  </a:srgbClr>
                </a:solidFill>
                <a:effectLst/>
                <a:uLnTx/>
                <a:uFillTx/>
                <a:latin typeface="Arial"/>
                <a:ea typeface="+mn-ea"/>
                <a:cs typeface="+mn-cs"/>
              </a:rPr>
              <a:t>- reminder about an upcoming loan installment</a:t>
            </a:r>
            <a:endParaRPr kumimoji="0" lang="pl-PL" sz="1000" b="0" i="0" u="none" strike="noStrike" kern="1200" cap="none" spc="0" normalizeH="0" baseline="0" noProof="0" dirty="0">
              <a:ln>
                <a:noFill/>
              </a:ln>
              <a:solidFill>
                <a:srgbClr val="7E93A5">
                  <a:lumMod val="75000"/>
                </a:srgbClr>
              </a:solidFill>
              <a:effectLst/>
              <a:uLnTx/>
              <a:uFillTx/>
              <a:latin typeface="Arial"/>
              <a:ea typeface="+mn-ea"/>
              <a:cs typeface="+mn-cs"/>
            </a:endParaRPr>
          </a:p>
          <a:p>
            <a:pPr marL="228594" marR="0" lvl="0" indent="-228594" algn="l" defTabSz="46753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l-PL" sz="1000" b="0" i="0" u="none" strike="noStrike" kern="1200" cap="none" spc="0" normalizeH="0" baseline="0" noProof="0" dirty="0">
                <a:ln>
                  <a:noFill/>
                </a:ln>
                <a:solidFill>
                  <a:srgbClr val="7E93A5">
                    <a:lumMod val="75000"/>
                  </a:srgbClr>
                </a:solidFill>
                <a:effectLst/>
                <a:uLnTx/>
                <a:uFillTx/>
                <a:latin typeface="Arial"/>
                <a:ea typeface="+mn-ea"/>
                <a:cs typeface="+mn-cs"/>
              </a:rPr>
              <a:t>C</a:t>
            </a:r>
            <a:r>
              <a:rPr kumimoji="0" lang="en-US" sz="1000" b="0" i="0" u="none" strike="noStrike" kern="1200" cap="none" spc="0" normalizeH="0" baseline="0" noProof="0" dirty="0" err="1">
                <a:ln>
                  <a:noFill/>
                </a:ln>
                <a:solidFill>
                  <a:srgbClr val="7E93A5">
                    <a:lumMod val="75000"/>
                  </a:srgbClr>
                </a:solidFill>
                <a:effectLst/>
                <a:uLnTx/>
                <a:uFillTx/>
                <a:latin typeface="Arial"/>
                <a:ea typeface="+mn-ea"/>
                <a:cs typeface="+mn-cs"/>
              </a:rPr>
              <a:t>hanges</a:t>
            </a:r>
            <a:r>
              <a:rPr kumimoji="0" lang="en-US" sz="1000" b="0" i="0" u="none" strike="noStrike" kern="1200" cap="none" spc="0" normalizeH="0" baseline="0" noProof="0" dirty="0">
                <a:ln>
                  <a:noFill/>
                </a:ln>
                <a:solidFill>
                  <a:srgbClr val="7E93A5">
                    <a:lumMod val="75000"/>
                  </a:srgbClr>
                </a:solidFill>
                <a:effectLst/>
                <a:uLnTx/>
                <a:uFillTx/>
                <a:latin typeface="Arial"/>
                <a:ea typeface="+mn-ea"/>
                <a:cs typeface="+mn-cs"/>
              </a:rPr>
              <a:t> to regulations, tables of fees and commissions</a:t>
            </a:r>
          </a:p>
          <a:p>
            <a:pPr marL="228594" marR="0" lvl="0" indent="-228594" algn="l" defTabSz="46753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dirty="0">
              <a:ln>
                <a:noFill/>
              </a:ln>
              <a:solidFill>
                <a:srgbClr val="7E93A5">
                  <a:lumMod val="75000"/>
                </a:srgbClr>
              </a:solidFill>
              <a:effectLst/>
              <a:uLnTx/>
              <a:uFillTx/>
              <a:latin typeface="Arial"/>
              <a:ea typeface="+mn-ea"/>
              <a:cs typeface="+mn-cs"/>
            </a:endParaRPr>
          </a:p>
        </p:txBody>
      </p:sp>
      <p:sp>
        <p:nvSpPr>
          <p:cNvPr id="60" name="pole tekstowe 59">
            <a:extLst>
              <a:ext uri="{FF2B5EF4-FFF2-40B4-BE49-F238E27FC236}">
                <a16:creationId xmlns:a16="http://schemas.microsoft.com/office/drawing/2014/main" id="{8754D82B-6223-4AA7-9820-09F678E18CC5}"/>
              </a:ext>
            </a:extLst>
          </p:cNvPr>
          <p:cNvSpPr txBox="1"/>
          <p:nvPr/>
        </p:nvSpPr>
        <p:spPr>
          <a:xfrm>
            <a:off x="4668003" y="5178119"/>
            <a:ext cx="3245014" cy="400110"/>
          </a:xfrm>
          <a:prstGeom prst="rect">
            <a:avLst/>
          </a:prstGeom>
          <a:noFill/>
        </p:spPr>
        <p:txBody>
          <a:bodyPr wrap="square">
            <a:spAutoFit/>
          </a:bodyPr>
          <a:lstStyle/>
          <a:p>
            <a:pPr marL="228594" marR="0" lvl="0" indent="-228594" algn="l" defTabSz="46753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l-PL" sz="1000" b="0" i="0" u="none" strike="noStrike" kern="1200" cap="none" spc="0" normalizeH="0" baseline="0" noProof="0" dirty="0">
                <a:ln>
                  <a:noFill/>
                </a:ln>
                <a:solidFill>
                  <a:srgbClr val="7E93A5">
                    <a:lumMod val="75000"/>
                  </a:srgbClr>
                </a:solidFill>
                <a:effectLst/>
                <a:uLnTx/>
                <a:uFillTx/>
                <a:latin typeface="Arial"/>
                <a:ea typeface="+mn-ea"/>
                <a:cs typeface="+mn-cs"/>
              </a:rPr>
              <a:t>N</a:t>
            </a:r>
            <a:r>
              <a:rPr kumimoji="0" lang="en-US" sz="1000" b="0" i="0" u="none" strike="noStrike" kern="1200" cap="none" spc="0" normalizeH="0" baseline="0" noProof="0" dirty="0" err="1">
                <a:ln>
                  <a:noFill/>
                </a:ln>
                <a:solidFill>
                  <a:srgbClr val="7E93A5">
                    <a:lumMod val="75000"/>
                  </a:srgbClr>
                </a:solidFill>
                <a:effectLst/>
                <a:uLnTx/>
                <a:uFillTx/>
                <a:latin typeface="Arial"/>
                <a:ea typeface="+mn-ea"/>
                <a:cs typeface="+mn-cs"/>
              </a:rPr>
              <a:t>ewsletter</a:t>
            </a:r>
            <a:r>
              <a:rPr kumimoji="0" lang="en-US" sz="1000" b="0" i="0" u="none" strike="noStrike" kern="1200" cap="none" spc="0" normalizeH="0" baseline="0" noProof="0" dirty="0">
                <a:ln>
                  <a:noFill/>
                </a:ln>
                <a:solidFill>
                  <a:srgbClr val="7E93A5">
                    <a:lumMod val="75000"/>
                  </a:srgbClr>
                </a:solidFill>
                <a:effectLst/>
                <a:uLnTx/>
                <a:uFillTx/>
                <a:latin typeface="Arial"/>
                <a:ea typeface="+mn-ea"/>
                <a:cs typeface="+mn-cs"/>
              </a:rPr>
              <a:t> with recommended economic reports, invitations to webinars</a:t>
            </a:r>
          </a:p>
        </p:txBody>
      </p:sp>
      <p:sp>
        <p:nvSpPr>
          <p:cNvPr id="49" name="Tytuł 1">
            <a:extLst>
              <a:ext uri="{FF2B5EF4-FFF2-40B4-BE49-F238E27FC236}">
                <a16:creationId xmlns:a16="http://schemas.microsoft.com/office/drawing/2014/main" id="{3BF9F851-854C-4D17-A5AF-20ABECEDDC9E}"/>
              </a:ext>
            </a:extLst>
          </p:cNvPr>
          <p:cNvSpPr>
            <a:spLocks noGrp="1"/>
          </p:cNvSpPr>
          <p:nvPr>
            <p:ph type="title"/>
          </p:nvPr>
        </p:nvSpPr>
        <p:spPr>
          <a:xfrm>
            <a:off x="215936" y="-120453"/>
            <a:ext cx="10824633" cy="753532"/>
          </a:xfrm>
        </p:spPr>
        <p:txBody>
          <a:bodyPr/>
          <a:lstStyle/>
          <a:p>
            <a:r>
              <a:rPr lang="pl-PL" sz="3200" dirty="0">
                <a:latin typeface="Arial Black" panose="020B0A04020102020204" pitchFamily="34" charset="0"/>
                <a:ea typeface="Calibri" panose="020F0502020204030204" pitchFamily="34" charset="0"/>
                <a:cs typeface="Calibri" panose="020F0502020204030204" pitchFamily="34" charset="0"/>
              </a:rPr>
              <a:t>Classic CRM - </a:t>
            </a:r>
            <a:r>
              <a:rPr lang="pl-PL" sz="3200" dirty="0" err="1">
                <a:latin typeface="Arial Black" panose="020B0A04020102020204" pitchFamily="34" charset="0"/>
                <a:ea typeface="Calibri" panose="020F0502020204030204" pitchFamily="34" charset="0"/>
                <a:cs typeface="Calibri" panose="020F0502020204030204" pitchFamily="34" charset="0"/>
              </a:rPr>
              <a:t>events</a:t>
            </a:r>
            <a:endParaRPr lang="pl-PL" sz="3200" dirty="0">
              <a:latin typeface="Arial Black" panose="020B0A04020102020204" pitchFamily="34" charset="0"/>
              <a:ea typeface="Calibri" panose="020F0502020204030204" pitchFamily="34" charset="0"/>
              <a:cs typeface="Calibri" panose="020F0502020204030204" pitchFamily="34" charset="0"/>
            </a:endParaRPr>
          </a:p>
        </p:txBody>
      </p:sp>
      <p:sp>
        <p:nvSpPr>
          <p:cNvPr id="53" name="Oval 50">
            <a:extLst>
              <a:ext uri="{FF2B5EF4-FFF2-40B4-BE49-F238E27FC236}">
                <a16:creationId xmlns:a16="http://schemas.microsoft.com/office/drawing/2014/main" id="{AD96A885-8812-439F-BE70-AFA7ADC59FCC}"/>
              </a:ext>
            </a:extLst>
          </p:cNvPr>
          <p:cNvSpPr/>
          <p:nvPr/>
        </p:nvSpPr>
        <p:spPr>
          <a:xfrm>
            <a:off x="8249323" y="5437241"/>
            <a:ext cx="1259019" cy="1201996"/>
          </a:xfrm>
          <a:prstGeom prst="ellipse">
            <a:avLst/>
          </a:prstGeom>
          <a:solidFill>
            <a:schemeClr val="accent2">
              <a:lumMod val="20000"/>
              <a:lumOff val="80000"/>
            </a:schemeClr>
          </a:solidFill>
          <a:ln w="3175">
            <a:solidFill>
              <a:srgbClr val="F2F4F6"/>
            </a:solidFill>
          </a:ln>
          <a:effectLst>
            <a:innerShdw blurRad="114300">
              <a:schemeClr val="bg1">
                <a:lumMod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67515" rtl="0" eaLnBrk="1" fontAlgn="auto" latinLnBrk="0" hangingPunct="1">
              <a:lnSpc>
                <a:spcPct val="100000"/>
              </a:lnSpc>
              <a:spcBef>
                <a:spcPts val="0"/>
              </a:spcBef>
              <a:spcAft>
                <a:spcPts val="0"/>
              </a:spcAft>
              <a:buClrTx/>
              <a:buSzTx/>
              <a:buFontTx/>
              <a:buNone/>
              <a:tabLst/>
              <a:defRPr/>
            </a:pPr>
            <a:r>
              <a:rPr kumimoji="0" lang="pl-PL" sz="2400" b="1" i="0" u="none" strike="noStrike" kern="1200" cap="none" spc="0" normalizeH="0" baseline="0" noProof="0" dirty="0">
                <a:ln>
                  <a:noFill/>
                </a:ln>
                <a:solidFill>
                  <a:srgbClr val="008789"/>
                </a:solidFill>
                <a:effectLst/>
                <a:uLnTx/>
                <a:uFillTx/>
                <a:latin typeface="Arial"/>
                <a:ea typeface="+mn-ea"/>
                <a:cs typeface="+mn-cs"/>
              </a:rPr>
              <a:t>18</a:t>
            </a:r>
            <a:r>
              <a:rPr kumimoji="0" lang="pl-PL" sz="2667" b="1" i="0" u="none" strike="noStrike" kern="1200" cap="none" spc="0" normalizeH="0" baseline="0" noProof="0" dirty="0">
                <a:ln>
                  <a:noFill/>
                </a:ln>
                <a:solidFill>
                  <a:srgbClr val="008789"/>
                </a:solidFill>
                <a:effectLst/>
                <a:uLnTx/>
                <a:uFillTx/>
                <a:latin typeface="Arial"/>
                <a:ea typeface="+mn-ea"/>
                <a:cs typeface="+mn-cs"/>
              </a:rPr>
              <a:t> </a:t>
            </a:r>
            <a:endParaRPr kumimoji="0" lang="en-US" sz="2667" b="1" i="0" u="none" strike="noStrike" kern="1200" cap="none" spc="0" normalizeH="0" baseline="0" noProof="0" dirty="0">
              <a:ln>
                <a:noFill/>
              </a:ln>
              <a:solidFill>
                <a:srgbClr val="008789"/>
              </a:solidFill>
              <a:effectLst/>
              <a:uLnTx/>
              <a:uFillTx/>
              <a:latin typeface="Arial"/>
              <a:ea typeface="+mn-ea"/>
              <a:cs typeface="+mn-cs"/>
            </a:endParaRPr>
          </a:p>
          <a:p>
            <a:pPr marL="0" marR="0" lvl="0" indent="0" algn="ctr" defTabSz="467515" rtl="0" eaLnBrk="1" fontAlgn="auto" latinLnBrk="0" hangingPunct="1">
              <a:lnSpc>
                <a:spcPct val="100000"/>
              </a:lnSpc>
              <a:spcBef>
                <a:spcPts val="0"/>
              </a:spcBef>
              <a:spcAft>
                <a:spcPts val="0"/>
              </a:spcAft>
              <a:buClrTx/>
              <a:buSzTx/>
              <a:buFontTx/>
              <a:buNone/>
              <a:tabLst/>
              <a:defRPr/>
            </a:pPr>
            <a:r>
              <a:rPr kumimoji="0" lang="pl-PL" sz="1200" b="1" i="0" u="none" strike="noStrike" kern="1200" cap="none" spc="0" normalizeH="0" baseline="0" noProof="0" dirty="0" err="1">
                <a:ln>
                  <a:noFill/>
                </a:ln>
                <a:solidFill>
                  <a:srgbClr val="008789"/>
                </a:solidFill>
                <a:effectLst/>
                <a:uLnTx/>
                <a:uFillTx/>
                <a:latin typeface="Arial"/>
                <a:ea typeface="+mn-ea"/>
                <a:cs typeface="+mn-cs"/>
              </a:rPr>
              <a:t>regular</a:t>
            </a:r>
            <a:r>
              <a:rPr kumimoji="0" lang="pl-PL" sz="1200" b="1" i="0" u="none" strike="noStrike" kern="1200" cap="none" spc="0" normalizeH="0" baseline="0" noProof="0" dirty="0">
                <a:ln>
                  <a:noFill/>
                </a:ln>
                <a:solidFill>
                  <a:srgbClr val="008789"/>
                </a:solidFill>
                <a:effectLst/>
                <a:uLnTx/>
                <a:uFillTx/>
                <a:latin typeface="Arial"/>
                <a:ea typeface="+mn-ea"/>
                <a:cs typeface="+mn-cs"/>
              </a:rPr>
              <a:t> </a:t>
            </a:r>
            <a:r>
              <a:rPr kumimoji="0" lang="pl-PL" sz="1200" b="1" i="0" u="none" strike="noStrike" kern="1200" cap="none" spc="0" normalizeH="0" baseline="0" noProof="0" dirty="0" err="1">
                <a:ln>
                  <a:noFill/>
                </a:ln>
                <a:solidFill>
                  <a:srgbClr val="008789"/>
                </a:solidFill>
                <a:effectLst/>
                <a:uLnTx/>
                <a:uFillTx/>
                <a:latin typeface="Arial"/>
                <a:ea typeface="+mn-ea"/>
                <a:cs typeface="+mn-cs"/>
              </a:rPr>
              <a:t>events</a:t>
            </a:r>
            <a:endParaRPr kumimoji="0" lang="en-US" sz="1200" b="1" i="0" u="none" strike="noStrike" kern="1200" cap="none" spc="0" normalizeH="0" baseline="0" noProof="0" dirty="0">
              <a:ln>
                <a:noFill/>
              </a:ln>
              <a:solidFill>
                <a:srgbClr val="008789"/>
              </a:solidFill>
              <a:effectLst/>
              <a:uLnTx/>
              <a:uFillTx/>
              <a:latin typeface="Arial"/>
              <a:ea typeface="+mn-ea"/>
              <a:cs typeface="+mn-cs"/>
            </a:endParaRPr>
          </a:p>
        </p:txBody>
      </p:sp>
      <p:sp>
        <p:nvSpPr>
          <p:cNvPr id="52" name="Oval 50">
            <a:extLst>
              <a:ext uri="{FF2B5EF4-FFF2-40B4-BE49-F238E27FC236}">
                <a16:creationId xmlns:a16="http://schemas.microsoft.com/office/drawing/2014/main" id="{4C36B45B-827D-4325-AD0F-65BD06F5EC72}"/>
              </a:ext>
            </a:extLst>
          </p:cNvPr>
          <p:cNvSpPr/>
          <p:nvPr/>
        </p:nvSpPr>
        <p:spPr>
          <a:xfrm>
            <a:off x="9378475" y="5633634"/>
            <a:ext cx="1144874" cy="1098787"/>
          </a:xfrm>
          <a:prstGeom prst="ellipse">
            <a:avLst/>
          </a:prstGeom>
          <a:solidFill>
            <a:schemeClr val="accent2">
              <a:lumMod val="20000"/>
              <a:lumOff val="80000"/>
            </a:schemeClr>
          </a:solidFill>
          <a:ln w="38100">
            <a:solidFill>
              <a:schemeClr val="accent2">
                <a:lumMod val="20000"/>
                <a:lumOff val="80000"/>
              </a:schemeClr>
            </a:solidFill>
          </a:ln>
          <a:effectLst>
            <a:innerShdw blurRad="114300">
              <a:schemeClr val="bg1">
                <a:lumMod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67515" rtl="0" eaLnBrk="1" fontAlgn="auto" latinLnBrk="0" hangingPunct="1">
              <a:lnSpc>
                <a:spcPct val="100000"/>
              </a:lnSpc>
              <a:spcBef>
                <a:spcPts val="0"/>
              </a:spcBef>
              <a:spcAft>
                <a:spcPts val="0"/>
              </a:spcAft>
              <a:buClrTx/>
              <a:buSzTx/>
              <a:buFontTx/>
              <a:buNone/>
              <a:tabLst/>
              <a:defRPr/>
            </a:pPr>
            <a:r>
              <a:rPr kumimoji="0" lang="pl-PL" sz="2400" b="1" i="0" u="none" strike="noStrike" kern="1200" cap="none" spc="0" normalizeH="0" baseline="0" noProof="0" dirty="0">
                <a:ln>
                  <a:noFill/>
                </a:ln>
                <a:solidFill>
                  <a:srgbClr val="008789"/>
                </a:solidFill>
                <a:effectLst/>
                <a:uLnTx/>
                <a:uFillTx/>
                <a:latin typeface="Arial"/>
                <a:ea typeface="+mn-ea"/>
                <a:cs typeface="+mn-cs"/>
              </a:rPr>
              <a:t>6</a:t>
            </a:r>
            <a:r>
              <a:rPr kumimoji="0" lang="pl-PL" sz="2667" b="1" i="0" u="none" strike="noStrike" kern="1200" cap="none" spc="0" normalizeH="0" baseline="0" noProof="0" dirty="0">
                <a:ln>
                  <a:noFill/>
                </a:ln>
                <a:solidFill>
                  <a:srgbClr val="008789"/>
                </a:solidFill>
                <a:effectLst/>
                <a:uLnTx/>
                <a:uFillTx/>
                <a:latin typeface="Arial"/>
                <a:ea typeface="+mn-ea"/>
                <a:cs typeface="+mn-cs"/>
              </a:rPr>
              <a:t> </a:t>
            </a:r>
            <a:endParaRPr kumimoji="0" lang="en-US" sz="2667" b="1" i="0" u="none" strike="noStrike" kern="1200" cap="none" spc="0" normalizeH="0" baseline="0" noProof="0" dirty="0">
              <a:ln>
                <a:noFill/>
              </a:ln>
              <a:solidFill>
                <a:srgbClr val="008789"/>
              </a:solidFill>
              <a:effectLst/>
              <a:uLnTx/>
              <a:uFillTx/>
              <a:latin typeface="Arial"/>
              <a:ea typeface="+mn-ea"/>
              <a:cs typeface="+mn-cs"/>
            </a:endParaRPr>
          </a:p>
          <a:p>
            <a:pPr marL="0" marR="0" lvl="0" indent="0" algn="ctr" defTabSz="467515" rtl="0" eaLnBrk="1" fontAlgn="auto" latinLnBrk="0" hangingPunct="1">
              <a:lnSpc>
                <a:spcPct val="100000"/>
              </a:lnSpc>
              <a:spcBef>
                <a:spcPts val="0"/>
              </a:spcBef>
              <a:spcAft>
                <a:spcPts val="0"/>
              </a:spcAft>
              <a:buClrTx/>
              <a:buSzTx/>
              <a:buFontTx/>
              <a:buNone/>
              <a:tabLst/>
              <a:defRPr/>
            </a:pPr>
            <a:r>
              <a:rPr kumimoji="0" lang="pl-PL" sz="1200" b="1" i="0" u="none" strike="noStrike" kern="1200" cap="none" spc="0" normalizeH="0" baseline="0" noProof="0" dirty="0">
                <a:ln>
                  <a:noFill/>
                </a:ln>
                <a:solidFill>
                  <a:srgbClr val="008789"/>
                </a:solidFill>
                <a:effectLst/>
                <a:uLnTx/>
                <a:uFillTx/>
                <a:latin typeface="Arial"/>
                <a:ea typeface="+mn-ea"/>
                <a:cs typeface="+mn-cs"/>
              </a:rPr>
              <a:t>real </a:t>
            </a:r>
            <a:r>
              <a:rPr kumimoji="0" lang="pl-PL" sz="1200" b="1" i="0" u="none" strike="noStrike" kern="1200" cap="none" spc="0" normalizeH="0" baseline="0" noProof="0" dirty="0" err="1">
                <a:ln>
                  <a:noFill/>
                </a:ln>
                <a:solidFill>
                  <a:srgbClr val="008789"/>
                </a:solidFill>
                <a:effectLst/>
                <a:uLnTx/>
                <a:uFillTx/>
                <a:latin typeface="Arial"/>
                <a:ea typeface="+mn-ea"/>
                <a:cs typeface="+mn-cs"/>
              </a:rPr>
              <a:t>time</a:t>
            </a:r>
            <a:r>
              <a:rPr kumimoji="0" lang="pl-PL" sz="1200" b="1" i="0" u="none" strike="noStrike" kern="1200" cap="none" spc="0" normalizeH="0" baseline="0" noProof="0" dirty="0">
                <a:ln>
                  <a:noFill/>
                </a:ln>
                <a:solidFill>
                  <a:srgbClr val="008789"/>
                </a:solidFill>
                <a:effectLst/>
                <a:uLnTx/>
                <a:uFillTx/>
                <a:latin typeface="Arial"/>
                <a:ea typeface="+mn-ea"/>
                <a:cs typeface="+mn-cs"/>
              </a:rPr>
              <a:t> </a:t>
            </a:r>
            <a:r>
              <a:rPr kumimoji="0" lang="pl-PL" sz="1200" b="1" i="0" u="none" strike="noStrike" kern="1200" cap="none" spc="0" normalizeH="0" baseline="0" noProof="0" dirty="0" err="1">
                <a:ln>
                  <a:noFill/>
                </a:ln>
                <a:solidFill>
                  <a:srgbClr val="008789"/>
                </a:solidFill>
                <a:effectLst/>
                <a:uLnTx/>
                <a:uFillTx/>
                <a:latin typeface="Arial"/>
                <a:ea typeface="+mn-ea"/>
                <a:cs typeface="+mn-cs"/>
              </a:rPr>
              <a:t>events</a:t>
            </a:r>
            <a:endParaRPr kumimoji="0" lang="en-US" sz="1200" b="1" i="0" u="none" strike="noStrike" kern="1200" cap="none" spc="0" normalizeH="0" baseline="0" noProof="0" dirty="0">
              <a:ln>
                <a:noFill/>
              </a:ln>
              <a:solidFill>
                <a:srgbClr val="008789"/>
              </a:solidFill>
              <a:effectLst/>
              <a:uLnTx/>
              <a:uFillTx/>
              <a:latin typeface="Arial"/>
              <a:ea typeface="+mn-ea"/>
              <a:cs typeface="+mn-cs"/>
            </a:endParaRPr>
          </a:p>
        </p:txBody>
      </p:sp>
      <p:sp>
        <p:nvSpPr>
          <p:cNvPr id="71" name="Symbol zastępczy zawartości 2">
            <a:extLst>
              <a:ext uri="{FF2B5EF4-FFF2-40B4-BE49-F238E27FC236}">
                <a16:creationId xmlns:a16="http://schemas.microsoft.com/office/drawing/2014/main" id="{F42A2BEC-EE67-449F-8817-4BB5824CCF03}"/>
              </a:ext>
            </a:extLst>
          </p:cNvPr>
          <p:cNvSpPr txBox="1">
            <a:spLocks/>
          </p:cNvSpPr>
          <p:nvPr/>
        </p:nvSpPr>
        <p:spPr bwMode="gray">
          <a:xfrm>
            <a:off x="3588951" y="3519884"/>
            <a:ext cx="779250" cy="460651"/>
          </a:xfrm>
          <a:prstGeom prst="rect">
            <a:avLst/>
          </a:prstGeom>
        </p:spPr>
        <p:txBody>
          <a:bodyPr vert="horz" lIns="0" tIns="0" rIns="0" bIns="0" rtlCol="0" anchor="t" anchorCtr="0">
            <a:noAutofit/>
          </a:bodyPr>
          <a:lstStyle>
            <a:lvl1pPr marL="252000" indent="-252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b="0" kern="1200" cap="none" baseline="0">
                <a:solidFill>
                  <a:schemeClr val="accent3"/>
                </a:solidFill>
                <a:latin typeface="+mn-lt"/>
                <a:ea typeface="+mn-ea"/>
                <a:cs typeface="+mn-cs"/>
              </a:defRPr>
            </a:lvl1pPr>
            <a:lvl2pPr marL="234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2pPr>
            <a:lvl3pPr marL="342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3pPr>
            <a:lvl4pPr marL="432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b="0" kern="1200" cap="none" baseline="0">
                <a:solidFill>
                  <a:schemeClr val="accent3"/>
                </a:solidFill>
                <a:latin typeface="+mn-lt"/>
                <a:ea typeface="+mn-ea"/>
                <a:cs typeface="+mn-cs"/>
              </a:defRPr>
            </a:lvl4pPr>
            <a:lvl5pPr marL="540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kern="1200" cap="none">
                <a:solidFill>
                  <a:schemeClr val="accent3"/>
                </a:solidFill>
                <a:latin typeface="+mn-lt"/>
                <a:ea typeface="+mn-ea"/>
                <a:cs typeface="+mn-cs"/>
              </a:defRPr>
            </a:lvl5pPr>
            <a:lvl6pPr marL="1885874"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3"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ctr" defTabSz="914341" rtl="0" eaLnBrk="1" fontAlgn="auto" latinLnBrk="0" hangingPunct="1">
              <a:lnSpc>
                <a:spcPct val="95000"/>
              </a:lnSpc>
              <a:spcBef>
                <a:spcPts val="0"/>
              </a:spcBef>
              <a:spcAft>
                <a:spcPts val="1600"/>
              </a:spcAft>
              <a:buClr>
                <a:srgbClr val="7E93A5"/>
              </a:buClr>
              <a:buSzPct val="100000"/>
              <a:buFont typeface="Wingdings" pitchFamily="2" charset="2"/>
              <a:buNone/>
              <a:tabLst/>
              <a:defRPr/>
            </a:pPr>
            <a:endParaRPr kumimoji="0" lang="pl-PL" sz="900" b="1" i="0" u="none" strike="noStrike" kern="1200" cap="none" spc="0" normalizeH="0" baseline="0" noProof="0" dirty="0">
              <a:ln>
                <a:noFill/>
              </a:ln>
              <a:solidFill>
                <a:srgbClr val="FFFFFF"/>
              </a:solidFill>
              <a:effectLst/>
              <a:uLnTx/>
              <a:uFillTx/>
              <a:latin typeface="Arial"/>
              <a:ea typeface="+mn-ea"/>
              <a:cs typeface="+mn-cs"/>
            </a:endParaRPr>
          </a:p>
        </p:txBody>
      </p:sp>
      <p:cxnSp>
        <p:nvCxnSpPr>
          <p:cNvPr id="72" name="Łącznik prosty 71">
            <a:extLst>
              <a:ext uri="{FF2B5EF4-FFF2-40B4-BE49-F238E27FC236}">
                <a16:creationId xmlns:a16="http://schemas.microsoft.com/office/drawing/2014/main" id="{FC4B7EDE-5151-4DE9-AB21-C8F13391B9E1}"/>
              </a:ext>
            </a:extLst>
          </p:cNvPr>
          <p:cNvCxnSpPr>
            <a:cxnSpLocks/>
          </p:cNvCxnSpPr>
          <p:nvPr/>
        </p:nvCxnSpPr>
        <p:spPr>
          <a:xfrm flipH="1">
            <a:off x="4543677" y="3204482"/>
            <a:ext cx="362532" cy="204613"/>
          </a:xfrm>
          <a:prstGeom prst="line">
            <a:avLst/>
          </a:prstGeom>
          <a:ln>
            <a:solidFill>
              <a:srgbClr val="009597"/>
            </a:solidFill>
            <a:headEnd type="oval"/>
          </a:ln>
        </p:spPr>
        <p:style>
          <a:lnRef idx="1">
            <a:schemeClr val="accent1"/>
          </a:lnRef>
          <a:fillRef idx="0">
            <a:schemeClr val="accent1"/>
          </a:fillRef>
          <a:effectRef idx="0">
            <a:schemeClr val="accent1"/>
          </a:effectRef>
          <a:fontRef idx="minor">
            <a:schemeClr val="tx1"/>
          </a:fontRef>
        </p:style>
      </p:cxnSp>
      <p:sp>
        <p:nvSpPr>
          <p:cNvPr id="74" name="Symbol zastępczy zawartości 2">
            <a:extLst>
              <a:ext uri="{FF2B5EF4-FFF2-40B4-BE49-F238E27FC236}">
                <a16:creationId xmlns:a16="http://schemas.microsoft.com/office/drawing/2014/main" id="{70176B48-C549-4188-B259-352A5DC6820F}"/>
              </a:ext>
            </a:extLst>
          </p:cNvPr>
          <p:cNvSpPr txBox="1">
            <a:spLocks/>
          </p:cNvSpPr>
          <p:nvPr/>
        </p:nvSpPr>
        <p:spPr bwMode="gray">
          <a:xfrm>
            <a:off x="1911929" y="3507194"/>
            <a:ext cx="3384549" cy="594760"/>
          </a:xfrm>
          <a:prstGeom prst="rect">
            <a:avLst/>
          </a:prstGeom>
        </p:spPr>
        <p:txBody>
          <a:bodyPr vert="horz" lIns="0" tIns="0" rIns="0" bIns="0" rtlCol="0" anchor="t" anchorCtr="0">
            <a:noAutofit/>
          </a:bodyPr>
          <a:lstStyle>
            <a:lvl1pPr marL="252000" indent="-252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b="0" kern="1200" cap="none" baseline="0">
                <a:solidFill>
                  <a:schemeClr val="accent3"/>
                </a:solidFill>
                <a:latin typeface="+mn-lt"/>
                <a:ea typeface="+mn-ea"/>
                <a:cs typeface="+mn-cs"/>
              </a:defRPr>
            </a:lvl1pPr>
            <a:lvl2pPr marL="234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2pPr>
            <a:lvl3pPr marL="342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3pPr>
            <a:lvl4pPr marL="432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b="0" kern="1200" cap="none" baseline="0">
                <a:solidFill>
                  <a:schemeClr val="accent3"/>
                </a:solidFill>
                <a:latin typeface="+mn-lt"/>
                <a:ea typeface="+mn-ea"/>
                <a:cs typeface="+mn-cs"/>
              </a:defRPr>
            </a:lvl4pPr>
            <a:lvl5pPr marL="540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kern="1200" cap="none">
                <a:solidFill>
                  <a:schemeClr val="accent3"/>
                </a:solidFill>
                <a:latin typeface="+mn-lt"/>
                <a:ea typeface="+mn-ea"/>
                <a:cs typeface="+mn-cs"/>
              </a:defRPr>
            </a:lvl5pPr>
            <a:lvl6pPr marL="1885874"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3"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l" defTabSz="914341" rtl="0" eaLnBrk="1" fontAlgn="auto" latinLnBrk="0" hangingPunct="1">
              <a:lnSpc>
                <a:spcPct val="95000"/>
              </a:lnSpc>
              <a:spcBef>
                <a:spcPts val="0"/>
              </a:spcBef>
              <a:spcAft>
                <a:spcPts val="800"/>
              </a:spcAft>
              <a:buClr>
                <a:srgbClr val="7E93A5"/>
              </a:buClr>
              <a:buSzPct val="100000"/>
              <a:buFont typeface="Wingdings" pitchFamily="2" charset="2"/>
              <a:buNone/>
              <a:tabLst/>
              <a:defRPr/>
            </a:pPr>
            <a:r>
              <a:rPr kumimoji="0" lang="pl-PL" sz="1600" b="1" i="0" u="none" strike="noStrike" kern="1200" cap="none" spc="0" normalizeH="0" baseline="0" noProof="0" dirty="0">
                <a:ln>
                  <a:noFill/>
                </a:ln>
                <a:solidFill>
                  <a:srgbClr val="009597">
                    <a:lumMod val="75000"/>
                  </a:srgbClr>
                </a:solidFill>
                <a:effectLst/>
                <a:uLnTx/>
                <a:uFillTx/>
                <a:latin typeface="Arial"/>
                <a:ea typeface="+mn-ea"/>
                <a:cs typeface="+mn-cs"/>
              </a:rPr>
              <a:t>Real </a:t>
            </a:r>
            <a:r>
              <a:rPr kumimoji="0" lang="pl-PL" sz="1600" b="1" i="0" u="none" strike="noStrike" kern="1200" cap="none" spc="0" normalizeH="0" baseline="0" noProof="0" dirty="0" err="1">
                <a:ln>
                  <a:noFill/>
                </a:ln>
                <a:solidFill>
                  <a:srgbClr val="009597">
                    <a:lumMod val="75000"/>
                  </a:srgbClr>
                </a:solidFill>
                <a:effectLst/>
                <a:uLnTx/>
                <a:uFillTx/>
                <a:latin typeface="Arial"/>
                <a:ea typeface="+mn-ea"/>
                <a:cs typeface="+mn-cs"/>
              </a:rPr>
              <a:t>time</a:t>
            </a:r>
            <a:r>
              <a:rPr kumimoji="0" lang="pl-PL" sz="1600" b="1" i="0" u="none" strike="noStrike" kern="1200" cap="none" spc="0" normalizeH="0" baseline="0" noProof="0" dirty="0">
                <a:ln>
                  <a:noFill/>
                </a:ln>
                <a:solidFill>
                  <a:srgbClr val="009597">
                    <a:lumMod val="75000"/>
                  </a:srgbClr>
                </a:solidFill>
                <a:effectLst/>
                <a:uLnTx/>
                <a:uFillTx/>
                <a:latin typeface="Arial"/>
                <a:ea typeface="+mn-ea"/>
                <a:cs typeface="+mn-cs"/>
              </a:rPr>
              <a:t> </a:t>
            </a:r>
            <a:r>
              <a:rPr kumimoji="0" lang="pl-PL" sz="1600" b="1" i="0" u="none" strike="noStrike" kern="1200" cap="none" spc="0" normalizeH="0" baseline="0" noProof="0" dirty="0" err="1">
                <a:ln>
                  <a:noFill/>
                </a:ln>
                <a:solidFill>
                  <a:srgbClr val="009597">
                    <a:lumMod val="75000"/>
                  </a:srgbClr>
                </a:solidFill>
                <a:effectLst/>
                <a:uLnTx/>
                <a:uFillTx/>
                <a:latin typeface="Arial"/>
                <a:ea typeface="+mn-ea"/>
                <a:cs typeface="+mn-cs"/>
              </a:rPr>
              <a:t>events</a:t>
            </a:r>
            <a:endParaRPr kumimoji="0" lang="da-DK" sz="1600" b="1" i="0" u="none" strike="noStrike" kern="1200" cap="none" spc="0" normalizeH="0" baseline="0" noProof="0" dirty="0">
              <a:ln>
                <a:noFill/>
              </a:ln>
              <a:solidFill>
                <a:srgbClr val="009597">
                  <a:lumMod val="75000"/>
                </a:srgbClr>
              </a:solidFill>
              <a:effectLst/>
              <a:uLnTx/>
              <a:uFillTx/>
              <a:latin typeface="Arial"/>
              <a:ea typeface="+mn-ea"/>
              <a:cs typeface="+mn-cs"/>
            </a:endParaRPr>
          </a:p>
        </p:txBody>
      </p:sp>
      <p:sp>
        <p:nvSpPr>
          <p:cNvPr id="75" name="pole tekstowe 74">
            <a:extLst>
              <a:ext uri="{FF2B5EF4-FFF2-40B4-BE49-F238E27FC236}">
                <a16:creationId xmlns:a16="http://schemas.microsoft.com/office/drawing/2014/main" id="{D5B29B7D-7649-45C4-BB6C-7A5C0C313A27}"/>
              </a:ext>
            </a:extLst>
          </p:cNvPr>
          <p:cNvSpPr txBox="1"/>
          <p:nvPr/>
        </p:nvSpPr>
        <p:spPr>
          <a:xfrm>
            <a:off x="231871" y="3913011"/>
            <a:ext cx="4284990" cy="2554545"/>
          </a:xfrm>
          <a:prstGeom prst="rect">
            <a:avLst/>
          </a:prstGeom>
          <a:noFill/>
        </p:spPr>
        <p:txBody>
          <a:bodyPr wrap="square">
            <a:spAutoFit/>
          </a:bodyPr>
          <a:lstStyle/>
          <a:p>
            <a:pPr marL="304792" marR="0" lvl="0" indent="-304792" algn="l" defTabSz="467539"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1" i="0" u="none" strike="noStrike" kern="1200" cap="none" spc="0" normalizeH="0" baseline="0" noProof="0" dirty="0">
                <a:ln>
                  <a:noFill/>
                </a:ln>
                <a:solidFill>
                  <a:srgbClr val="7E93A5">
                    <a:lumMod val="75000"/>
                  </a:srgbClr>
                </a:solidFill>
                <a:effectLst/>
                <a:uLnTx/>
                <a:uFillTx/>
                <a:latin typeface="Arial"/>
                <a:ea typeface="+mn-ea"/>
                <a:cs typeface="+mn-cs"/>
              </a:rPr>
              <a:t>PRE APP (click on the banner)</a:t>
            </a:r>
            <a:r>
              <a:rPr kumimoji="0" lang="pl-PL" sz="1000" b="1" i="0" u="none" strike="noStrike" kern="1200" cap="none" spc="0" normalizeH="0" baseline="0" noProof="0" dirty="0">
                <a:ln>
                  <a:noFill/>
                </a:ln>
                <a:solidFill>
                  <a:srgbClr val="7E93A5">
                    <a:lumMod val="75000"/>
                  </a:srgbClr>
                </a:solidFill>
                <a:effectLst/>
                <a:uLnTx/>
                <a:uFillTx/>
                <a:latin typeface="Arial"/>
                <a:ea typeface="+mn-ea"/>
                <a:cs typeface="+mn-cs"/>
              </a:rPr>
              <a:t> -</a:t>
            </a:r>
            <a:r>
              <a:rPr kumimoji="0" lang="pl-PL" sz="1000" b="0" i="0" u="none" strike="noStrike" kern="1200" cap="none" spc="0" normalizeH="0" baseline="0" noProof="0" dirty="0">
                <a:ln>
                  <a:noFill/>
                </a:ln>
                <a:solidFill>
                  <a:srgbClr val="7E93A5">
                    <a:lumMod val="75000"/>
                  </a:srgbClr>
                </a:solidFill>
                <a:effectLst/>
                <a:uLnTx/>
                <a:uFillTx/>
                <a:latin typeface="Arial"/>
                <a:ea typeface="+mn-ea"/>
                <a:cs typeface="+mn-cs"/>
              </a:rPr>
              <a:t> </a:t>
            </a:r>
            <a:r>
              <a:rPr kumimoji="0" lang="en-US" sz="1000" b="0" i="0" u="none" strike="noStrike" kern="1200" cap="none" spc="0" normalizeH="0" baseline="0" noProof="0" dirty="0">
                <a:ln>
                  <a:noFill/>
                </a:ln>
                <a:solidFill>
                  <a:srgbClr val="7E93A5">
                    <a:lumMod val="75000"/>
                  </a:srgbClr>
                </a:solidFill>
                <a:effectLst/>
                <a:uLnTx/>
                <a:uFillTx/>
                <a:latin typeface="Arial"/>
                <a:ea typeface="+mn-ea"/>
                <a:cs typeface="+mn-cs"/>
              </a:rPr>
              <a:t>The campaign is aimed at customers who clicked on the PRE APP banner in the </a:t>
            </a:r>
            <a:r>
              <a:rPr kumimoji="0" lang="pl-PL" sz="1000" b="0" i="0" u="none" strike="noStrike" kern="1200" cap="none" spc="0" normalizeH="0" baseline="0" noProof="0" dirty="0">
                <a:ln>
                  <a:noFill/>
                </a:ln>
                <a:solidFill>
                  <a:srgbClr val="7E93A5">
                    <a:lumMod val="75000"/>
                  </a:srgbClr>
                </a:solidFill>
                <a:effectLst/>
                <a:uLnTx/>
                <a:uFillTx/>
                <a:latin typeface="Arial"/>
                <a:ea typeface="+mn-ea"/>
                <a:cs typeface="+mn-cs"/>
              </a:rPr>
              <a:t>Strefa Biznesu</a:t>
            </a:r>
            <a:endParaRPr kumimoji="0" lang="en-US" sz="1000" b="0" i="0" u="none" strike="noStrike" kern="1200" cap="none" spc="0" normalizeH="0" baseline="0" noProof="0" dirty="0">
              <a:ln>
                <a:noFill/>
              </a:ln>
              <a:solidFill>
                <a:srgbClr val="7E93A5">
                  <a:lumMod val="75000"/>
                </a:srgbClr>
              </a:solidFill>
              <a:effectLst/>
              <a:uLnTx/>
              <a:uFillTx/>
              <a:latin typeface="Arial"/>
              <a:ea typeface="+mn-ea"/>
              <a:cs typeface="+mn-cs"/>
            </a:endParaRPr>
          </a:p>
          <a:p>
            <a:pPr marL="304792" marR="0" lvl="0" indent="-304792" algn="l" defTabSz="467539"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pl-PL" sz="1000" b="1" i="0" u="none" strike="noStrike" kern="1200" cap="none" spc="0" normalizeH="0" baseline="0" noProof="0" dirty="0" err="1">
                <a:ln>
                  <a:noFill/>
                </a:ln>
                <a:solidFill>
                  <a:srgbClr val="7E93A5">
                    <a:lumMod val="75000"/>
                  </a:srgbClr>
                </a:solidFill>
                <a:effectLst/>
                <a:uLnTx/>
                <a:uFillTx/>
                <a:latin typeface="Arial"/>
                <a:ea typeface="+mn-ea"/>
                <a:cs typeface="+mn-cs"/>
              </a:rPr>
              <a:t>Contact</a:t>
            </a:r>
            <a:r>
              <a:rPr kumimoji="0" lang="pl-PL" sz="1000" b="1" i="0" u="none" strike="noStrike" kern="1200" cap="none" spc="0" normalizeH="0" baseline="0" noProof="0" dirty="0">
                <a:ln>
                  <a:noFill/>
                </a:ln>
                <a:solidFill>
                  <a:srgbClr val="7E93A5">
                    <a:lumMod val="75000"/>
                  </a:srgbClr>
                </a:solidFill>
                <a:effectLst/>
                <a:uLnTx/>
                <a:uFillTx/>
                <a:latin typeface="Arial"/>
                <a:ea typeface="+mn-ea"/>
                <a:cs typeface="+mn-cs"/>
              </a:rPr>
              <a:t> </a:t>
            </a:r>
            <a:r>
              <a:rPr kumimoji="0" lang="pl-PL" sz="1000" b="1" i="0" u="none" strike="noStrike" kern="1200" cap="none" spc="0" normalizeH="0" baseline="0" noProof="0" dirty="0" err="1">
                <a:ln>
                  <a:noFill/>
                </a:ln>
                <a:solidFill>
                  <a:srgbClr val="7E93A5">
                    <a:lumMod val="75000"/>
                  </a:srgbClr>
                </a:solidFill>
                <a:effectLst/>
                <a:uLnTx/>
                <a:uFillTx/>
                <a:latin typeface="Arial"/>
                <a:ea typeface="+mn-ea"/>
                <a:cs typeface="+mn-cs"/>
              </a:rPr>
              <a:t>forms</a:t>
            </a:r>
            <a:r>
              <a:rPr kumimoji="0" lang="pl-PL" sz="1000" b="1" i="0" u="none" strike="noStrike" kern="1200" cap="none" spc="0" normalizeH="0" baseline="0" noProof="0" dirty="0">
                <a:ln>
                  <a:noFill/>
                </a:ln>
                <a:solidFill>
                  <a:srgbClr val="7E93A5">
                    <a:lumMod val="75000"/>
                  </a:srgbClr>
                </a:solidFill>
                <a:effectLst/>
                <a:uLnTx/>
                <a:uFillTx/>
                <a:latin typeface="Arial"/>
                <a:ea typeface="+mn-ea"/>
                <a:cs typeface="+mn-cs"/>
              </a:rPr>
              <a:t> -</a:t>
            </a:r>
            <a:r>
              <a:rPr kumimoji="0" lang="en-US" sz="1000" b="1" i="0" u="none" strike="noStrike" kern="1200" cap="none" spc="0" normalizeH="0" baseline="0" noProof="0" dirty="0">
                <a:ln>
                  <a:noFill/>
                </a:ln>
                <a:solidFill>
                  <a:srgbClr val="7E93A5">
                    <a:lumMod val="75000"/>
                  </a:srgbClr>
                </a:solidFill>
                <a:effectLst/>
                <a:uLnTx/>
                <a:uFillTx/>
                <a:latin typeface="Arial"/>
                <a:ea typeface="+mn-ea"/>
                <a:cs typeface="+mn-cs"/>
              </a:rPr>
              <a:t> </a:t>
            </a:r>
            <a:r>
              <a:rPr kumimoji="0" lang="en-US" sz="1000" b="0" i="0" u="none" strike="noStrike" kern="1200" cap="none" spc="0" normalizeH="0" baseline="0" noProof="0" dirty="0">
                <a:ln>
                  <a:noFill/>
                </a:ln>
                <a:solidFill>
                  <a:srgbClr val="7E93A5">
                    <a:lumMod val="75000"/>
                  </a:srgbClr>
                </a:solidFill>
                <a:effectLst/>
                <a:uLnTx/>
                <a:uFillTx/>
                <a:latin typeface="Arial"/>
                <a:ea typeface="+mn-ea"/>
                <a:cs typeface="+mn-cs"/>
              </a:rPr>
              <a:t>handling contact forms from the </a:t>
            </a:r>
            <a:r>
              <a:rPr kumimoji="0" lang="pl-PL" sz="1000" b="0" i="0" u="none" strike="noStrike" kern="1200" cap="none" spc="0" normalizeH="0" baseline="0" noProof="0" dirty="0">
                <a:ln>
                  <a:noFill/>
                </a:ln>
                <a:solidFill>
                  <a:srgbClr val="7E93A5">
                    <a:lumMod val="75000"/>
                  </a:srgbClr>
                </a:solidFill>
                <a:effectLst/>
                <a:uLnTx/>
                <a:uFillTx/>
                <a:latin typeface="Arial"/>
                <a:ea typeface="+mn-ea"/>
                <a:cs typeface="+mn-cs"/>
              </a:rPr>
              <a:t>Strefa Biznesu </a:t>
            </a:r>
            <a:r>
              <a:rPr kumimoji="0" lang="en-US" sz="1000" b="0" i="0" u="none" strike="noStrike" kern="1200" cap="none" spc="0" normalizeH="0" baseline="0" noProof="0" dirty="0">
                <a:ln>
                  <a:noFill/>
                </a:ln>
                <a:solidFill>
                  <a:srgbClr val="7E93A5">
                    <a:lumMod val="75000"/>
                  </a:srgbClr>
                </a:solidFill>
                <a:effectLst/>
                <a:uLnTx/>
                <a:uFillTx/>
                <a:latin typeface="Arial"/>
                <a:ea typeface="+mn-ea"/>
                <a:cs typeface="+mn-cs"/>
              </a:rPr>
              <a:t>and </a:t>
            </a:r>
            <a:r>
              <a:rPr kumimoji="0" lang="en-US" sz="1000" b="0" i="0" u="none" strike="noStrike" kern="1200" cap="none" spc="0" normalizeH="0" baseline="0" noProof="0" dirty="0" err="1">
                <a:ln>
                  <a:noFill/>
                </a:ln>
                <a:solidFill>
                  <a:srgbClr val="7E93A5">
                    <a:lumMod val="75000"/>
                  </a:srgbClr>
                </a:solidFill>
                <a:effectLst/>
                <a:uLnTx/>
                <a:uFillTx/>
                <a:latin typeface="Arial"/>
                <a:ea typeface="+mn-ea"/>
                <a:cs typeface="+mn-cs"/>
              </a:rPr>
              <a:t>eBank</a:t>
            </a:r>
            <a:endParaRPr kumimoji="0" lang="pl-PL" sz="1000" b="0" i="0" u="none" strike="noStrike" kern="1200" cap="none" spc="0" normalizeH="0" baseline="0" noProof="0" dirty="0">
              <a:ln>
                <a:noFill/>
              </a:ln>
              <a:solidFill>
                <a:srgbClr val="7E93A5">
                  <a:lumMod val="75000"/>
                </a:srgbClr>
              </a:solidFill>
              <a:effectLst/>
              <a:uLnTx/>
              <a:uFillTx/>
              <a:latin typeface="Arial"/>
              <a:ea typeface="+mn-ea"/>
              <a:cs typeface="+mn-cs"/>
            </a:endParaRPr>
          </a:p>
          <a:p>
            <a:pPr marL="304792" marR="0" lvl="0" indent="-304792" algn="l" defTabSz="467539"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1" i="0" u="none" strike="noStrike" kern="1200" cap="none" spc="0" normalizeH="0" baseline="0" noProof="0" dirty="0">
                <a:ln>
                  <a:noFill/>
                </a:ln>
                <a:solidFill>
                  <a:srgbClr val="7E93A5">
                    <a:lumMod val="75000"/>
                  </a:srgbClr>
                </a:solidFill>
                <a:effectLst/>
                <a:uLnTx/>
                <a:uFillTx/>
                <a:latin typeface="Arial"/>
                <a:ea typeface="+mn-ea"/>
                <a:cs typeface="+mn-cs"/>
              </a:rPr>
              <a:t>Large outgoing account transfer</a:t>
            </a:r>
            <a:r>
              <a:rPr kumimoji="0" lang="pl-PL" sz="1000" b="1" i="0" u="none" strike="noStrike" kern="1200" cap="none" spc="0" normalizeH="0" baseline="0" noProof="0" dirty="0">
                <a:ln>
                  <a:noFill/>
                </a:ln>
                <a:solidFill>
                  <a:srgbClr val="7E93A5">
                    <a:lumMod val="75000"/>
                  </a:srgbClr>
                </a:solidFill>
                <a:effectLst/>
                <a:uLnTx/>
                <a:uFillTx/>
                <a:latin typeface="Arial"/>
                <a:ea typeface="+mn-ea"/>
                <a:cs typeface="+mn-cs"/>
              </a:rPr>
              <a:t> - </a:t>
            </a:r>
            <a:r>
              <a:rPr kumimoji="0" lang="en-US" sz="1000" b="0" i="0" u="none" strike="noStrike" kern="1200" cap="none" spc="0" normalizeH="0" baseline="0" noProof="0" dirty="0">
                <a:ln>
                  <a:noFill/>
                </a:ln>
                <a:solidFill>
                  <a:srgbClr val="7E93A5">
                    <a:lumMod val="75000"/>
                  </a:srgbClr>
                </a:solidFill>
                <a:effectLst/>
                <a:uLnTx/>
                <a:uFillTx/>
                <a:latin typeface="Arial"/>
                <a:ea typeface="+mn-ea"/>
                <a:cs typeface="+mn-cs"/>
              </a:rPr>
              <a:t>campaign aimed at customers with large transfers, the aim is to identify the customer's needs and suggest an alternative source of financing</a:t>
            </a:r>
          </a:p>
          <a:p>
            <a:pPr marL="304792" marR="0" lvl="0" indent="-304792" algn="l" defTabSz="467539"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1" i="0" u="none" strike="noStrike" kern="1200" cap="none" spc="0" normalizeH="0" baseline="0" noProof="0" dirty="0">
                <a:ln>
                  <a:noFill/>
                </a:ln>
                <a:solidFill>
                  <a:srgbClr val="7E93A5">
                    <a:lumMod val="75000"/>
                  </a:srgbClr>
                </a:solidFill>
                <a:effectLst/>
                <a:uLnTx/>
                <a:uFillTx/>
                <a:latin typeface="Arial"/>
                <a:ea typeface="+mn-ea"/>
                <a:cs typeface="+mn-cs"/>
              </a:rPr>
              <a:t>Green Investment Loan</a:t>
            </a:r>
            <a:r>
              <a:rPr kumimoji="0" lang="pl-PL" sz="1000" b="1" i="0" u="none" strike="noStrike" kern="1200" cap="none" spc="0" normalizeH="0" baseline="0" noProof="0" dirty="0">
                <a:ln>
                  <a:noFill/>
                </a:ln>
                <a:solidFill>
                  <a:srgbClr val="7E93A5">
                    <a:lumMod val="75000"/>
                  </a:srgbClr>
                </a:solidFill>
                <a:effectLst/>
                <a:uLnTx/>
                <a:uFillTx/>
                <a:latin typeface="Arial"/>
                <a:ea typeface="+mn-ea"/>
                <a:cs typeface="+mn-cs"/>
              </a:rPr>
              <a:t> </a:t>
            </a:r>
            <a:r>
              <a:rPr kumimoji="0" lang="pl-PL" sz="1000" b="0" i="0" u="none" strike="noStrike" kern="1200" cap="none" spc="0" normalizeH="0" baseline="0" noProof="0" dirty="0">
                <a:ln>
                  <a:noFill/>
                </a:ln>
                <a:solidFill>
                  <a:srgbClr val="7E93A5">
                    <a:lumMod val="75000"/>
                  </a:srgbClr>
                </a:solidFill>
                <a:effectLst/>
                <a:uLnTx/>
                <a:uFillTx/>
                <a:latin typeface="Arial"/>
                <a:ea typeface="+mn-ea"/>
                <a:cs typeface="+mn-cs"/>
              </a:rPr>
              <a:t>- </a:t>
            </a:r>
            <a:r>
              <a:rPr kumimoji="0" lang="pl-PL" sz="1000" b="0" i="0" u="none" strike="noStrike" kern="1200" cap="none" spc="0" normalizeH="0" baseline="0" noProof="0" dirty="0" err="1">
                <a:ln>
                  <a:noFill/>
                </a:ln>
                <a:solidFill>
                  <a:srgbClr val="7E93A5">
                    <a:lumMod val="75000"/>
                  </a:srgbClr>
                </a:solidFill>
                <a:effectLst/>
                <a:uLnTx/>
                <a:uFillTx/>
                <a:latin typeface="Arial"/>
                <a:ea typeface="+mn-ea"/>
                <a:cs typeface="+mn-cs"/>
              </a:rPr>
              <a:t>campaign</a:t>
            </a:r>
            <a:r>
              <a:rPr kumimoji="0" lang="pl-PL" sz="1000" b="0" i="0" u="none" strike="noStrike" kern="1200" cap="none" spc="0" normalizeH="0" baseline="0" noProof="0" dirty="0">
                <a:ln>
                  <a:noFill/>
                </a:ln>
                <a:solidFill>
                  <a:srgbClr val="7E93A5">
                    <a:lumMod val="75000"/>
                  </a:srgbClr>
                </a:solidFill>
                <a:effectLst/>
                <a:uLnTx/>
                <a:uFillTx/>
                <a:latin typeface="Arial"/>
                <a:ea typeface="+mn-ea"/>
                <a:cs typeface="+mn-cs"/>
              </a:rPr>
              <a:t> </a:t>
            </a:r>
            <a:r>
              <a:rPr kumimoji="0" lang="pl-PL" sz="1000" b="0" i="0" u="none" strike="noStrike" kern="1200" cap="none" spc="0" normalizeH="0" baseline="0" noProof="0" dirty="0" err="1">
                <a:ln>
                  <a:noFill/>
                </a:ln>
                <a:solidFill>
                  <a:srgbClr val="7E93A5">
                    <a:lumMod val="75000"/>
                  </a:srgbClr>
                </a:solidFill>
                <a:effectLst/>
                <a:uLnTx/>
                <a:uFillTx/>
                <a:latin typeface="Arial"/>
                <a:ea typeface="+mn-ea"/>
                <a:cs typeface="+mn-cs"/>
              </a:rPr>
              <a:t>dedicated</a:t>
            </a:r>
            <a:r>
              <a:rPr kumimoji="0" lang="pl-PL" sz="1000" b="0" i="0" u="none" strike="noStrike" kern="1200" cap="none" spc="0" normalizeH="0" baseline="0" noProof="0" dirty="0">
                <a:ln>
                  <a:noFill/>
                </a:ln>
                <a:solidFill>
                  <a:srgbClr val="7E93A5">
                    <a:lumMod val="75000"/>
                  </a:srgbClr>
                </a:solidFill>
                <a:effectLst/>
                <a:uLnTx/>
                <a:uFillTx/>
                <a:latin typeface="Arial"/>
                <a:ea typeface="+mn-ea"/>
                <a:cs typeface="+mn-cs"/>
              </a:rPr>
              <a:t> to c</a:t>
            </a:r>
            <a:r>
              <a:rPr kumimoji="0" lang="en-US" sz="1000" b="0" i="0" u="none" strike="noStrike" kern="1200" cap="none" spc="0" normalizeH="0" baseline="0" noProof="0" dirty="0" err="1">
                <a:ln>
                  <a:noFill/>
                </a:ln>
                <a:solidFill>
                  <a:srgbClr val="7E93A5">
                    <a:lumMod val="75000"/>
                  </a:srgbClr>
                </a:solidFill>
                <a:effectLst/>
                <a:uLnTx/>
                <a:uFillTx/>
                <a:latin typeface="Arial"/>
                <a:ea typeface="+mn-ea"/>
                <a:cs typeface="+mn-cs"/>
              </a:rPr>
              <a:t>ustomers</a:t>
            </a:r>
            <a:r>
              <a:rPr kumimoji="0" lang="en-US" sz="1000" b="0" i="0" u="none" strike="noStrike" kern="1200" cap="none" spc="0" normalizeH="0" baseline="0" noProof="0" dirty="0">
                <a:ln>
                  <a:noFill/>
                </a:ln>
                <a:solidFill>
                  <a:srgbClr val="7E93A5">
                    <a:lumMod val="75000"/>
                  </a:srgbClr>
                </a:solidFill>
                <a:effectLst/>
                <a:uLnTx/>
                <a:uFillTx/>
                <a:latin typeface="Arial"/>
                <a:ea typeface="+mn-ea"/>
                <a:cs typeface="+mn-cs"/>
              </a:rPr>
              <a:t> who clicked on the banner</a:t>
            </a:r>
            <a:r>
              <a:rPr kumimoji="0" lang="pl-PL" sz="1000" b="0" i="0" u="none" strike="noStrike" kern="1200" cap="none" spc="0" normalizeH="0" baseline="0" noProof="0" dirty="0">
                <a:ln>
                  <a:noFill/>
                </a:ln>
                <a:solidFill>
                  <a:srgbClr val="7E93A5">
                    <a:lumMod val="75000"/>
                  </a:srgbClr>
                </a:solidFill>
                <a:effectLst/>
                <a:uLnTx/>
                <a:uFillTx/>
                <a:latin typeface="Arial"/>
                <a:ea typeface="+mn-ea"/>
                <a:cs typeface="+mn-cs"/>
              </a:rPr>
              <a:t> in </a:t>
            </a:r>
            <a:r>
              <a:rPr kumimoji="0" lang="pl-PL" sz="1000" b="0" i="0" u="none" strike="noStrike" kern="1200" cap="none" spc="0" normalizeH="0" baseline="0" noProof="0" dirty="0" err="1">
                <a:ln>
                  <a:noFill/>
                </a:ln>
                <a:solidFill>
                  <a:srgbClr val="7E93A5">
                    <a:lumMod val="75000"/>
                  </a:srgbClr>
                </a:solidFill>
                <a:effectLst/>
                <a:uLnTx/>
                <a:uFillTx/>
                <a:latin typeface="Arial"/>
                <a:ea typeface="+mn-ea"/>
                <a:cs typeface="+mn-cs"/>
              </a:rPr>
              <a:t>digital</a:t>
            </a:r>
            <a:r>
              <a:rPr kumimoji="0" lang="pl-PL" sz="1000" b="0" i="0" u="none" strike="noStrike" kern="1200" cap="none" spc="0" normalizeH="0" baseline="0" noProof="0" dirty="0">
                <a:ln>
                  <a:noFill/>
                </a:ln>
                <a:solidFill>
                  <a:srgbClr val="7E93A5">
                    <a:lumMod val="75000"/>
                  </a:srgbClr>
                </a:solidFill>
                <a:effectLst/>
                <a:uLnTx/>
                <a:uFillTx/>
                <a:latin typeface="Arial"/>
                <a:ea typeface="+mn-ea"/>
                <a:cs typeface="+mn-cs"/>
              </a:rPr>
              <a:t> </a:t>
            </a:r>
            <a:r>
              <a:rPr kumimoji="0" lang="pl-PL" sz="1000" b="0" i="0" u="none" strike="noStrike" kern="1200" cap="none" spc="0" normalizeH="0" baseline="0" noProof="0" dirty="0" err="1">
                <a:ln>
                  <a:noFill/>
                </a:ln>
                <a:solidFill>
                  <a:srgbClr val="7E93A5">
                    <a:lumMod val="75000"/>
                  </a:srgbClr>
                </a:solidFill>
                <a:effectLst/>
                <a:uLnTx/>
                <a:uFillTx/>
                <a:latin typeface="Arial"/>
                <a:ea typeface="+mn-ea"/>
                <a:cs typeface="+mn-cs"/>
              </a:rPr>
              <a:t>channels</a:t>
            </a:r>
            <a:r>
              <a:rPr kumimoji="0" lang="en-US" sz="1000" b="0" i="0" u="none" strike="noStrike" kern="1200" cap="none" spc="0" normalizeH="0" baseline="0" noProof="0" dirty="0">
                <a:ln>
                  <a:noFill/>
                </a:ln>
                <a:solidFill>
                  <a:srgbClr val="7E93A5">
                    <a:lumMod val="75000"/>
                  </a:srgbClr>
                </a:solidFill>
                <a:effectLst/>
                <a:uLnTx/>
                <a:uFillTx/>
                <a:latin typeface="Arial"/>
                <a:ea typeface="+mn-ea"/>
                <a:cs typeface="+mn-cs"/>
              </a:rPr>
              <a:t> for Green Credit</a:t>
            </a:r>
            <a:endParaRPr kumimoji="0" lang="pl-PL" sz="1000" b="0" i="0" u="none" strike="noStrike" kern="1200" cap="none" spc="0" normalizeH="0" baseline="0" noProof="0" dirty="0">
              <a:ln>
                <a:noFill/>
              </a:ln>
              <a:solidFill>
                <a:srgbClr val="7E93A5">
                  <a:lumMod val="75000"/>
                </a:srgbClr>
              </a:solidFill>
              <a:effectLst/>
              <a:uLnTx/>
              <a:uFillTx/>
              <a:latin typeface="Arial"/>
              <a:ea typeface="+mn-ea"/>
              <a:cs typeface="+mn-cs"/>
            </a:endParaRPr>
          </a:p>
          <a:p>
            <a:pPr marL="304792" marR="0" lvl="0" indent="-304792" algn="l" defTabSz="467539"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pl-PL" sz="1000" b="1" i="0" u="none" strike="noStrike" kern="1200" cap="none" spc="0" normalizeH="0" baseline="0" noProof="0" dirty="0" err="1">
                <a:ln>
                  <a:noFill/>
                </a:ln>
                <a:solidFill>
                  <a:srgbClr val="7E93A5">
                    <a:lumMod val="75000"/>
                  </a:srgbClr>
                </a:solidFill>
                <a:effectLst/>
                <a:uLnTx/>
                <a:uFillTx/>
                <a:latin typeface="Arial"/>
                <a:ea typeface="+mn-ea"/>
                <a:cs typeface="+mn-cs"/>
              </a:rPr>
              <a:t>Currency</a:t>
            </a:r>
            <a:r>
              <a:rPr kumimoji="0" lang="pl-PL" sz="1000" b="1" i="0" u="none" strike="noStrike" kern="1200" cap="none" spc="0" normalizeH="0" baseline="0" noProof="0" dirty="0">
                <a:ln>
                  <a:noFill/>
                </a:ln>
                <a:solidFill>
                  <a:srgbClr val="7E93A5">
                    <a:lumMod val="75000"/>
                  </a:srgbClr>
                </a:solidFill>
                <a:effectLst/>
                <a:uLnTx/>
                <a:uFillTx/>
                <a:latin typeface="Arial"/>
                <a:ea typeface="+mn-ea"/>
                <a:cs typeface="+mn-cs"/>
              </a:rPr>
              <a:t> </a:t>
            </a:r>
            <a:r>
              <a:rPr kumimoji="0" lang="pl-PL" sz="1000" b="1" i="0" u="none" strike="noStrike" kern="1200" cap="none" spc="0" normalizeH="0" baseline="0" noProof="0" dirty="0" err="1">
                <a:ln>
                  <a:noFill/>
                </a:ln>
                <a:solidFill>
                  <a:srgbClr val="7E93A5">
                    <a:lumMod val="75000"/>
                  </a:srgbClr>
                </a:solidFill>
                <a:effectLst/>
                <a:uLnTx/>
                <a:uFillTx/>
                <a:latin typeface="Arial"/>
                <a:ea typeface="+mn-ea"/>
                <a:cs typeface="+mn-cs"/>
              </a:rPr>
              <a:t>exhange</a:t>
            </a:r>
            <a:r>
              <a:rPr kumimoji="0" lang="pl-PL" sz="1000" b="1" i="0" u="none" strike="noStrike" kern="1200" cap="none" spc="0" normalizeH="0" baseline="0" noProof="0" dirty="0">
                <a:ln>
                  <a:noFill/>
                </a:ln>
                <a:solidFill>
                  <a:srgbClr val="7E93A5">
                    <a:lumMod val="75000"/>
                  </a:srgbClr>
                </a:solidFill>
                <a:effectLst/>
                <a:uLnTx/>
                <a:uFillTx/>
                <a:latin typeface="Arial"/>
                <a:ea typeface="+mn-ea"/>
                <a:cs typeface="+mn-cs"/>
              </a:rPr>
              <a:t> –  </a:t>
            </a:r>
            <a:r>
              <a:rPr kumimoji="0" lang="pl-PL" sz="1000" b="0" i="0" u="none" strike="noStrike" kern="1200" cap="none" spc="0" normalizeH="0" baseline="0" noProof="0" dirty="0" err="1">
                <a:ln>
                  <a:noFill/>
                </a:ln>
                <a:solidFill>
                  <a:srgbClr val="7E93A5">
                    <a:lumMod val="75000"/>
                  </a:srgbClr>
                </a:solidFill>
                <a:effectLst/>
                <a:uLnTx/>
                <a:uFillTx/>
                <a:latin typeface="Arial"/>
                <a:ea typeface="+mn-ea"/>
                <a:cs typeface="+mn-cs"/>
              </a:rPr>
              <a:t>action</a:t>
            </a:r>
            <a:r>
              <a:rPr kumimoji="0" lang="pl-PL" sz="1000" b="1" i="0" u="none" strike="noStrike" kern="1200" cap="none" spc="0" normalizeH="0" baseline="0" noProof="0" dirty="0">
                <a:ln>
                  <a:noFill/>
                </a:ln>
                <a:solidFill>
                  <a:srgbClr val="7E93A5">
                    <a:lumMod val="75000"/>
                  </a:srgbClr>
                </a:solidFill>
                <a:effectLst/>
                <a:uLnTx/>
                <a:uFillTx/>
                <a:latin typeface="Arial"/>
                <a:ea typeface="+mn-ea"/>
                <a:cs typeface="+mn-cs"/>
              </a:rPr>
              <a:t> </a:t>
            </a:r>
            <a:r>
              <a:rPr kumimoji="0" lang="en-US" sz="1000" b="0" i="0" u="none" strike="noStrike" kern="1200" cap="none" spc="0" normalizeH="0" baseline="0" noProof="0" dirty="0">
                <a:ln>
                  <a:noFill/>
                </a:ln>
                <a:solidFill>
                  <a:srgbClr val="7E93A5">
                    <a:lumMod val="75000"/>
                  </a:srgbClr>
                </a:solidFill>
                <a:effectLst/>
                <a:uLnTx/>
                <a:uFillTx/>
                <a:latin typeface="Arial"/>
                <a:ea typeface="+mn-ea"/>
                <a:cs typeface="+mn-cs"/>
              </a:rPr>
              <a:t>dedicated to customers who use currency exchange services outside the bank</a:t>
            </a:r>
            <a:endParaRPr kumimoji="0" lang="pl-PL" sz="1000" b="0" i="0" u="none" strike="noStrike" kern="1200" cap="none" spc="0" normalizeH="0" baseline="0" noProof="0" dirty="0">
              <a:ln>
                <a:noFill/>
              </a:ln>
              <a:solidFill>
                <a:srgbClr val="7E93A5">
                  <a:lumMod val="75000"/>
                </a:srgbClr>
              </a:solidFill>
              <a:effectLst/>
              <a:uLnTx/>
              <a:uFillTx/>
              <a:latin typeface="Arial"/>
              <a:ea typeface="+mn-ea"/>
              <a:cs typeface="+mn-cs"/>
            </a:endParaRPr>
          </a:p>
          <a:p>
            <a:pPr marL="304792" marR="0" lvl="0" indent="-304792" algn="l" defTabSz="467539"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pl-PL" sz="1000" b="1" i="0" u="none" strike="noStrike" kern="1200" cap="none" spc="0" normalizeH="0" baseline="0" noProof="0" dirty="0" err="1">
                <a:ln>
                  <a:noFill/>
                </a:ln>
                <a:solidFill>
                  <a:srgbClr val="7E93A5">
                    <a:lumMod val="75000"/>
                  </a:srgbClr>
                </a:solidFill>
                <a:effectLst/>
                <a:uLnTx/>
                <a:uFillTx/>
                <a:latin typeface="Arial"/>
                <a:ea typeface="+mn-ea"/>
                <a:cs typeface="+mn-cs"/>
              </a:rPr>
              <a:t>Accountancy</a:t>
            </a:r>
            <a:r>
              <a:rPr kumimoji="0" lang="pl-PL" sz="1000" b="1" i="0" u="none" strike="noStrike" kern="1200" cap="none" spc="0" normalizeH="0" baseline="0" noProof="0" dirty="0">
                <a:ln>
                  <a:noFill/>
                </a:ln>
                <a:solidFill>
                  <a:srgbClr val="7E93A5">
                    <a:lumMod val="75000"/>
                  </a:srgbClr>
                </a:solidFill>
                <a:effectLst/>
                <a:uLnTx/>
                <a:uFillTx/>
                <a:latin typeface="Arial"/>
                <a:ea typeface="+mn-ea"/>
                <a:cs typeface="+mn-cs"/>
              </a:rPr>
              <a:t> </a:t>
            </a:r>
            <a:r>
              <a:rPr kumimoji="0" lang="en-US" sz="1000" b="1" i="0" u="none" strike="noStrike" kern="1200" cap="none" spc="0" normalizeH="0" baseline="0" noProof="0" dirty="0">
                <a:ln>
                  <a:noFill/>
                </a:ln>
                <a:solidFill>
                  <a:srgbClr val="7E93A5">
                    <a:lumMod val="75000"/>
                  </a:srgbClr>
                </a:solidFill>
                <a:effectLst/>
                <a:uLnTx/>
                <a:uFillTx/>
                <a:latin typeface="Arial"/>
                <a:ea typeface="+mn-ea"/>
                <a:cs typeface="+mn-cs"/>
              </a:rPr>
              <a:t>(click on the banner)</a:t>
            </a:r>
            <a:r>
              <a:rPr kumimoji="0" lang="pl-PL" sz="1000" b="1" i="0" u="none" strike="noStrike" kern="1200" cap="none" spc="0" normalizeH="0" baseline="0" noProof="0" dirty="0">
                <a:ln>
                  <a:noFill/>
                </a:ln>
                <a:solidFill>
                  <a:srgbClr val="7E93A5">
                    <a:lumMod val="75000"/>
                  </a:srgbClr>
                </a:solidFill>
                <a:effectLst/>
                <a:uLnTx/>
                <a:uFillTx/>
                <a:latin typeface="Arial"/>
                <a:ea typeface="+mn-ea"/>
                <a:cs typeface="+mn-cs"/>
              </a:rPr>
              <a:t> -</a:t>
            </a:r>
            <a:r>
              <a:rPr kumimoji="0" lang="pl-PL" sz="1000" b="0" i="0" u="none" strike="noStrike" kern="1200" cap="none" spc="0" normalizeH="0" baseline="0" noProof="0" dirty="0">
                <a:ln>
                  <a:noFill/>
                </a:ln>
                <a:solidFill>
                  <a:srgbClr val="7E93A5">
                    <a:lumMod val="75000"/>
                  </a:srgbClr>
                </a:solidFill>
                <a:effectLst/>
                <a:uLnTx/>
                <a:uFillTx/>
                <a:latin typeface="Arial"/>
                <a:ea typeface="+mn-ea"/>
                <a:cs typeface="+mn-cs"/>
              </a:rPr>
              <a:t> </a:t>
            </a:r>
            <a:r>
              <a:rPr kumimoji="0" lang="en-US" sz="1000" b="0" i="0" u="none" strike="noStrike" kern="1200" cap="none" spc="0" normalizeH="0" baseline="0" noProof="0" dirty="0">
                <a:ln>
                  <a:noFill/>
                </a:ln>
                <a:solidFill>
                  <a:srgbClr val="7E93A5">
                    <a:lumMod val="75000"/>
                  </a:srgbClr>
                </a:solidFill>
                <a:effectLst/>
                <a:uLnTx/>
                <a:uFillTx/>
                <a:latin typeface="Arial"/>
                <a:ea typeface="+mn-ea"/>
                <a:cs typeface="+mn-cs"/>
              </a:rPr>
              <a:t>The campaign is aimed at customers who clicked on the </a:t>
            </a:r>
            <a:r>
              <a:rPr kumimoji="0" lang="pl-PL" sz="1000" b="0" i="0" u="none" strike="noStrike" kern="1200" cap="none" spc="0" normalizeH="0" baseline="0" noProof="0" dirty="0" err="1">
                <a:ln>
                  <a:noFill/>
                </a:ln>
                <a:solidFill>
                  <a:srgbClr val="7E93A5">
                    <a:lumMod val="75000"/>
                  </a:srgbClr>
                </a:solidFill>
                <a:effectLst/>
                <a:uLnTx/>
                <a:uFillTx/>
                <a:latin typeface="Arial"/>
                <a:ea typeface="+mn-ea"/>
                <a:cs typeface="+mn-cs"/>
              </a:rPr>
              <a:t>accountancy</a:t>
            </a:r>
            <a:r>
              <a:rPr kumimoji="0" lang="pl-PL" sz="1000" b="0" i="0" u="none" strike="noStrike" kern="1200" cap="none" spc="0" normalizeH="0" baseline="0" noProof="0" dirty="0">
                <a:ln>
                  <a:noFill/>
                </a:ln>
                <a:solidFill>
                  <a:srgbClr val="7E93A5">
                    <a:lumMod val="75000"/>
                  </a:srgbClr>
                </a:solidFill>
                <a:effectLst/>
                <a:uLnTx/>
                <a:uFillTx/>
                <a:latin typeface="Arial"/>
                <a:ea typeface="+mn-ea"/>
                <a:cs typeface="+mn-cs"/>
              </a:rPr>
              <a:t> </a:t>
            </a:r>
            <a:r>
              <a:rPr kumimoji="0" lang="pl-PL" sz="1000" b="0" i="0" u="none" strike="noStrike" kern="1200" cap="none" spc="0" normalizeH="0" baseline="0" noProof="0" dirty="0" err="1">
                <a:ln>
                  <a:noFill/>
                </a:ln>
                <a:solidFill>
                  <a:srgbClr val="7E93A5">
                    <a:lumMod val="75000"/>
                  </a:srgbClr>
                </a:solidFill>
                <a:effectLst/>
                <a:uLnTx/>
                <a:uFillTx/>
                <a:latin typeface="Arial"/>
                <a:ea typeface="+mn-ea"/>
                <a:cs typeface="+mn-cs"/>
              </a:rPr>
              <a:t>offer</a:t>
            </a:r>
            <a:r>
              <a:rPr kumimoji="0" lang="pl-PL" sz="1000" b="0" i="0" u="none" strike="noStrike" kern="1200" cap="none" spc="0" normalizeH="0" baseline="0" noProof="0" dirty="0">
                <a:ln>
                  <a:noFill/>
                </a:ln>
                <a:solidFill>
                  <a:srgbClr val="7E93A5">
                    <a:lumMod val="75000"/>
                  </a:srgbClr>
                </a:solidFill>
                <a:effectLst/>
                <a:uLnTx/>
                <a:uFillTx/>
                <a:latin typeface="Arial"/>
                <a:ea typeface="+mn-ea"/>
                <a:cs typeface="+mn-cs"/>
              </a:rPr>
              <a:t> </a:t>
            </a:r>
            <a:r>
              <a:rPr kumimoji="0" lang="en-US" sz="1000" b="0" i="0" u="none" strike="noStrike" kern="1200" cap="none" spc="0" normalizeH="0" baseline="0" noProof="0" dirty="0">
                <a:ln>
                  <a:noFill/>
                </a:ln>
                <a:solidFill>
                  <a:srgbClr val="7E93A5">
                    <a:lumMod val="75000"/>
                  </a:srgbClr>
                </a:solidFill>
                <a:effectLst/>
                <a:uLnTx/>
                <a:uFillTx/>
                <a:latin typeface="Arial"/>
                <a:ea typeface="+mn-ea"/>
                <a:cs typeface="+mn-cs"/>
              </a:rPr>
              <a:t>in the </a:t>
            </a:r>
            <a:r>
              <a:rPr kumimoji="0" lang="pl-PL" sz="1000" b="0" i="0" u="none" strike="noStrike" kern="1200" cap="none" spc="0" normalizeH="0" baseline="0" noProof="0" dirty="0">
                <a:ln>
                  <a:noFill/>
                </a:ln>
                <a:solidFill>
                  <a:srgbClr val="7E93A5">
                    <a:lumMod val="75000"/>
                  </a:srgbClr>
                </a:solidFill>
                <a:effectLst/>
                <a:uLnTx/>
                <a:uFillTx/>
                <a:latin typeface="Arial"/>
                <a:ea typeface="+mn-ea"/>
                <a:cs typeface="+mn-cs"/>
              </a:rPr>
              <a:t>Strefa Biznesu</a:t>
            </a:r>
            <a:endParaRPr kumimoji="0" lang="en-US" sz="1000" b="0" i="0" u="none" strike="noStrike" kern="1200" cap="none" spc="0" normalizeH="0" baseline="0" noProof="0" dirty="0">
              <a:ln>
                <a:noFill/>
              </a:ln>
              <a:solidFill>
                <a:srgbClr val="7E93A5">
                  <a:lumMod val="75000"/>
                </a:srgbClr>
              </a:solidFill>
              <a:effectLst/>
              <a:uLnTx/>
              <a:uFillTx/>
              <a:latin typeface="Arial"/>
              <a:ea typeface="+mn-ea"/>
              <a:cs typeface="+mn-cs"/>
            </a:endParaRPr>
          </a:p>
          <a:p>
            <a:pPr marL="228594" marR="0" lvl="0" indent="-228594" algn="l" defTabSz="46753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dirty="0">
              <a:ln>
                <a:noFill/>
              </a:ln>
              <a:solidFill>
                <a:srgbClr val="7E93A5">
                  <a:lumMod val="75000"/>
                </a:srgbClr>
              </a:solidFill>
              <a:effectLst/>
              <a:uLnTx/>
              <a:uFillTx/>
              <a:latin typeface="Arial"/>
              <a:ea typeface="+mn-ea"/>
              <a:cs typeface="+mn-cs"/>
            </a:endParaRPr>
          </a:p>
        </p:txBody>
      </p:sp>
      <p:sp>
        <p:nvSpPr>
          <p:cNvPr id="77" name="Oval 17">
            <a:extLst>
              <a:ext uri="{FF2B5EF4-FFF2-40B4-BE49-F238E27FC236}">
                <a16:creationId xmlns:a16="http://schemas.microsoft.com/office/drawing/2014/main" id="{982A0FAD-773F-4D33-94DA-67B06EB52076}"/>
              </a:ext>
            </a:extLst>
          </p:cNvPr>
          <p:cNvSpPr/>
          <p:nvPr/>
        </p:nvSpPr>
        <p:spPr bwMode="auto">
          <a:xfrm>
            <a:off x="3820769" y="3241337"/>
            <a:ext cx="623744" cy="614843"/>
          </a:xfrm>
          <a:prstGeom prst="ellipse">
            <a:avLst/>
          </a:prstGeom>
          <a:solidFill>
            <a:srgbClr val="008080"/>
          </a:solidFill>
          <a:ln w="2857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7466" b="0" i="0" u="none" strike="noStrike" kern="1200" cap="none" spc="0" normalizeH="0" baseline="0" noProof="0" dirty="0">
              <a:ln>
                <a:noFill/>
              </a:ln>
              <a:solidFill>
                <a:srgbClr val="000000"/>
              </a:solidFill>
              <a:effectLst/>
              <a:uLnTx/>
              <a:uFillTx/>
              <a:latin typeface="Calibri"/>
              <a:ea typeface="ヒラギノ角ゴ ProN W3" charset="0"/>
              <a:cs typeface="Calibri"/>
              <a:sym typeface="Gill Sans" charset="0"/>
            </a:endParaRPr>
          </a:p>
        </p:txBody>
      </p:sp>
      <p:pic>
        <p:nvPicPr>
          <p:cNvPr id="47" name="Obraz 46" descr="Obraz zawierający jasne&#10;&#10;Opis wygenerowany automatycznie">
            <a:extLst>
              <a:ext uri="{FF2B5EF4-FFF2-40B4-BE49-F238E27FC236}">
                <a16:creationId xmlns:a16="http://schemas.microsoft.com/office/drawing/2014/main" id="{7934A71D-D258-4960-A856-74BC6D41FB9C}"/>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5355722" y="2237435"/>
            <a:ext cx="635276" cy="635276"/>
          </a:xfrm>
          <a:prstGeom prst="rect">
            <a:avLst/>
          </a:prstGeom>
        </p:spPr>
      </p:pic>
      <p:pic>
        <p:nvPicPr>
          <p:cNvPr id="51" name="Grafika 50">
            <a:extLst>
              <a:ext uri="{FF2B5EF4-FFF2-40B4-BE49-F238E27FC236}">
                <a16:creationId xmlns:a16="http://schemas.microsoft.com/office/drawing/2014/main" id="{54C94466-29BE-4E93-AD7A-7A39322B3E11}"/>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5412796" y="2547444"/>
            <a:ext cx="946482" cy="946482"/>
          </a:xfrm>
          <a:prstGeom prst="rect">
            <a:avLst/>
          </a:prstGeom>
        </p:spPr>
      </p:pic>
      <p:pic>
        <p:nvPicPr>
          <p:cNvPr id="56" name="Grafika 55">
            <a:extLst>
              <a:ext uri="{FF2B5EF4-FFF2-40B4-BE49-F238E27FC236}">
                <a16:creationId xmlns:a16="http://schemas.microsoft.com/office/drawing/2014/main" id="{90D4F061-A785-4C71-A544-3BB13143C31C}"/>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5880313" y="2291044"/>
            <a:ext cx="888705" cy="888705"/>
          </a:xfrm>
          <a:prstGeom prst="rect">
            <a:avLst/>
          </a:prstGeom>
        </p:spPr>
      </p:pic>
    </p:spTree>
    <p:extLst>
      <p:ext uri="{BB962C8B-B14F-4D97-AF65-F5344CB8AC3E}">
        <p14:creationId xmlns:p14="http://schemas.microsoft.com/office/powerpoint/2010/main" val="150762927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14">
            <a:extLst>
              <a:ext uri="{FF2B5EF4-FFF2-40B4-BE49-F238E27FC236}">
                <a16:creationId xmlns:a16="http://schemas.microsoft.com/office/drawing/2014/main" id="{F7034583-13FA-9F4F-0D6D-69FED93F6A40}"/>
              </a:ext>
            </a:extLst>
          </p:cNvPr>
          <p:cNvSpPr/>
          <p:nvPr/>
        </p:nvSpPr>
        <p:spPr>
          <a:xfrm>
            <a:off x="187797" y="135517"/>
            <a:ext cx="9031862" cy="686600"/>
          </a:xfrm>
          <a:prstGeom prst="roundRect">
            <a:avLst>
              <a:gd name="adj" fmla="val 2942"/>
            </a:avLst>
          </a:prstGeom>
        </p:spPr>
        <p:txBody>
          <a:bodyPr vert="horz" wrap="square" lIns="0" tIns="0" rIns="0" bIns="0" rtlCol="0" anchor="t">
            <a:spAutoFit/>
          </a:body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AU" sz="3200" b="1" i="0" u="none" strike="noStrike" kern="1200" cap="none" spc="0" normalizeH="0" baseline="0" noProof="0" dirty="0">
              <a:ln>
                <a:noFill/>
              </a:ln>
              <a:solidFill>
                <a:srgbClr val="008C8A"/>
              </a:solidFill>
              <a:effectLst/>
              <a:uLnTx/>
              <a:uFillTx/>
              <a:latin typeface="Calibri" panose="020F0502020204030204" pitchFamily="34" charset="0"/>
              <a:ea typeface="Calibri" panose="020F0502020204030204" pitchFamily="34" charset="0"/>
              <a:cs typeface="Calibri" panose="020F0502020204030204" pitchFamily="34" charset="0"/>
              <a:sym typeface="Trebuchet MS" panose="020B0603020202020204" pitchFamily="34" charset="0"/>
            </a:endParaRPr>
          </a:p>
        </p:txBody>
      </p:sp>
      <p:sp>
        <p:nvSpPr>
          <p:cNvPr id="5" name="Title 1">
            <a:extLst>
              <a:ext uri="{FF2B5EF4-FFF2-40B4-BE49-F238E27FC236}">
                <a16:creationId xmlns:a16="http://schemas.microsoft.com/office/drawing/2014/main" id="{B52F2A07-ED15-5C14-0BD3-9E99DB01AC34}"/>
              </a:ext>
            </a:extLst>
          </p:cNvPr>
          <p:cNvSpPr txBox="1">
            <a:spLocks/>
          </p:cNvSpPr>
          <p:nvPr/>
        </p:nvSpPr>
        <p:spPr>
          <a:xfrm>
            <a:off x="291096" y="254050"/>
            <a:ext cx="9572220" cy="4431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pl-PL" sz="3200" b="1" i="0" u="none" strike="noStrike" kern="1200" cap="none" spc="0" normalizeH="0" baseline="0" noProof="0" dirty="0" err="1">
                <a:ln>
                  <a:noFill/>
                </a:ln>
                <a:solidFill>
                  <a:srgbClr val="008C8A"/>
                </a:solidFill>
                <a:effectLst/>
                <a:uLnTx/>
                <a:uFillTx/>
                <a:latin typeface="Arial Black" panose="020B0A04020102020204" pitchFamily="34" charset="0"/>
                <a:ea typeface="Calibri" panose="020F0502020204030204" pitchFamily="34" charset="0"/>
                <a:cs typeface="Calibri" panose="020F0502020204030204" pitchFamily="34" charset="0"/>
                <a:sym typeface="Trebuchet MS" panose="020B0603020202020204" pitchFamily="34" charset="0"/>
              </a:rPr>
              <a:t>Where</a:t>
            </a:r>
            <a:r>
              <a:rPr kumimoji="0" lang="pl-PL" sz="3200" b="1" i="0" u="none" strike="noStrike" kern="1200" cap="none" spc="0" normalizeH="0" baseline="0" noProof="0" dirty="0">
                <a:ln>
                  <a:noFill/>
                </a:ln>
                <a:solidFill>
                  <a:srgbClr val="008C8A"/>
                </a:solidFill>
                <a:effectLst/>
                <a:uLnTx/>
                <a:uFillTx/>
                <a:latin typeface="Arial Black" panose="020B0A04020102020204" pitchFamily="34" charset="0"/>
                <a:ea typeface="Calibri" panose="020F0502020204030204" pitchFamily="34" charset="0"/>
                <a:cs typeface="Calibri" panose="020F0502020204030204" pitchFamily="34" charset="0"/>
                <a:sym typeface="Trebuchet MS" panose="020B0603020202020204" pitchFamily="34" charset="0"/>
              </a:rPr>
              <a:t> we </a:t>
            </a:r>
            <a:r>
              <a:rPr kumimoji="0" lang="pl-PL" sz="3200" b="1" i="0" u="none" strike="noStrike" kern="1200" cap="none" spc="0" normalizeH="0" baseline="0" noProof="0" dirty="0" err="1">
                <a:ln>
                  <a:noFill/>
                </a:ln>
                <a:solidFill>
                  <a:srgbClr val="008C8A"/>
                </a:solidFill>
                <a:effectLst/>
                <a:uLnTx/>
                <a:uFillTx/>
                <a:latin typeface="Arial Black" panose="020B0A04020102020204" pitchFamily="34" charset="0"/>
                <a:ea typeface="Calibri" panose="020F0502020204030204" pitchFamily="34" charset="0"/>
                <a:cs typeface="Calibri" panose="020F0502020204030204" pitchFamily="34" charset="0"/>
                <a:sym typeface="Trebuchet MS" panose="020B0603020202020204" pitchFamily="34" charset="0"/>
              </a:rPr>
              <a:t>are</a:t>
            </a:r>
            <a:r>
              <a:rPr kumimoji="0" lang="pl-PL" sz="3200" b="1" i="0" u="none" strike="noStrike" kern="1200" cap="none" spc="0" normalizeH="0" baseline="0" noProof="0" dirty="0">
                <a:ln>
                  <a:noFill/>
                </a:ln>
                <a:solidFill>
                  <a:srgbClr val="008C8A"/>
                </a:solidFill>
                <a:effectLst/>
                <a:uLnTx/>
                <a:uFillTx/>
                <a:latin typeface="Arial Black" panose="020B0A04020102020204" pitchFamily="34" charset="0"/>
                <a:ea typeface="Calibri" panose="020F0502020204030204" pitchFamily="34" charset="0"/>
                <a:cs typeface="Calibri" panose="020F0502020204030204" pitchFamily="34" charset="0"/>
                <a:sym typeface="Trebuchet MS" panose="020B0603020202020204" pitchFamily="34" charset="0"/>
              </a:rPr>
              <a:t> and </a:t>
            </a:r>
            <a:r>
              <a:rPr kumimoji="0" lang="pl-PL" sz="3200" b="1" i="0" u="none" strike="noStrike" kern="1200" cap="none" spc="0" normalizeH="0" baseline="0" noProof="0" dirty="0" err="1">
                <a:ln>
                  <a:noFill/>
                </a:ln>
                <a:solidFill>
                  <a:srgbClr val="008C8A"/>
                </a:solidFill>
                <a:effectLst/>
                <a:uLnTx/>
                <a:uFillTx/>
                <a:latin typeface="Arial Black" panose="020B0A04020102020204" pitchFamily="34" charset="0"/>
                <a:ea typeface="Calibri" panose="020F0502020204030204" pitchFamily="34" charset="0"/>
                <a:cs typeface="Calibri" panose="020F0502020204030204" pitchFamily="34" charset="0"/>
                <a:sym typeface="Trebuchet MS" panose="020B0603020202020204" pitchFamily="34" charset="0"/>
              </a:rPr>
              <a:t>where</a:t>
            </a:r>
            <a:r>
              <a:rPr kumimoji="0" lang="pl-PL" sz="3200" b="1" i="0" u="none" strike="noStrike" kern="1200" cap="none" spc="0" normalizeH="0" baseline="0" noProof="0" dirty="0">
                <a:ln>
                  <a:noFill/>
                </a:ln>
                <a:solidFill>
                  <a:srgbClr val="008C8A"/>
                </a:solidFill>
                <a:effectLst/>
                <a:uLnTx/>
                <a:uFillTx/>
                <a:latin typeface="Arial Black" panose="020B0A04020102020204" pitchFamily="34" charset="0"/>
                <a:ea typeface="Calibri" panose="020F0502020204030204" pitchFamily="34" charset="0"/>
                <a:cs typeface="Calibri" panose="020F0502020204030204" pitchFamily="34" charset="0"/>
                <a:sym typeface="Trebuchet MS" panose="020B0603020202020204" pitchFamily="34" charset="0"/>
              </a:rPr>
              <a:t> we </a:t>
            </a:r>
            <a:r>
              <a:rPr kumimoji="0" lang="pl-PL" sz="3200" b="1" i="0" u="none" strike="noStrike" kern="1200" cap="none" spc="0" normalizeH="0" baseline="0" noProof="0" dirty="0" err="1">
                <a:ln>
                  <a:noFill/>
                </a:ln>
                <a:solidFill>
                  <a:srgbClr val="008C8A"/>
                </a:solidFill>
                <a:effectLst/>
                <a:uLnTx/>
                <a:uFillTx/>
                <a:latin typeface="Arial Black" panose="020B0A04020102020204" pitchFamily="34" charset="0"/>
                <a:ea typeface="Calibri" panose="020F0502020204030204" pitchFamily="34" charset="0"/>
                <a:cs typeface="Calibri" panose="020F0502020204030204" pitchFamily="34" charset="0"/>
                <a:sym typeface="Trebuchet MS" panose="020B0603020202020204" pitchFamily="34" charset="0"/>
              </a:rPr>
              <a:t>need</a:t>
            </a:r>
            <a:r>
              <a:rPr kumimoji="0" lang="pl-PL" sz="3200" b="1" i="0" u="none" strike="noStrike" kern="1200" cap="none" spc="0" normalizeH="0" baseline="0" noProof="0" dirty="0">
                <a:ln>
                  <a:noFill/>
                </a:ln>
                <a:solidFill>
                  <a:srgbClr val="008C8A"/>
                </a:solidFill>
                <a:effectLst/>
                <a:uLnTx/>
                <a:uFillTx/>
                <a:latin typeface="Arial Black" panose="020B0A04020102020204" pitchFamily="34" charset="0"/>
                <a:ea typeface="Calibri" panose="020F0502020204030204" pitchFamily="34" charset="0"/>
                <a:cs typeface="Calibri" panose="020F0502020204030204" pitchFamily="34" charset="0"/>
                <a:sym typeface="Trebuchet MS" panose="020B0603020202020204" pitchFamily="34" charset="0"/>
              </a:rPr>
              <a:t> to be ?</a:t>
            </a:r>
            <a:endParaRPr kumimoji="0" lang="en-AU" sz="3200" b="1" i="0" u="none" strike="noStrike" kern="1200" cap="none" spc="0" normalizeH="0" baseline="0" noProof="0" dirty="0">
              <a:ln>
                <a:noFill/>
              </a:ln>
              <a:solidFill>
                <a:srgbClr val="008C8A"/>
              </a:solidFill>
              <a:effectLst/>
              <a:uLnTx/>
              <a:uFillTx/>
              <a:latin typeface="Arial Black" panose="020B0A04020102020204" pitchFamily="34" charset="0"/>
              <a:ea typeface="Calibri" panose="020F0502020204030204" pitchFamily="34" charset="0"/>
              <a:cs typeface="Calibri" panose="020F0502020204030204" pitchFamily="34" charset="0"/>
              <a:sym typeface="Trebuchet MS" panose="020B0603020202020204" pitchFamily="34" charset="0"/>
            </a:endParaRPr>
          </a:p>
        </p:txBody>
      </p:sp>
      <p:pic>
        <p:nvPicPr>
          <p:cNvPr id="992258" name="Picture 2">
            <a:extLst>
              <a:ext uri="{FF2B5EF4-FFF2-40B4-BE49-F238E27FC236}">
                <a16:creationId xmlns:a16="http://schemas.microsoft.com/office/drawing/2014/main" id="{6905B8A2-DF16-47E5-862E-06F5174BA61A}"/>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1988" r="76974" b="50000"/>
          <a:stretch/>
        </p:blipFill>
        <p:spPr bwMode="auto">
          <a:xfrm>
            <a:off x="528645" y="1210793"/>
            <a:ext cx="1872606" cy="2952402"/>
          </a:xfrm>
          <a:prstGeom prst="rect">
            <a:avLst/>
          </a:prstGeom>
          <a:noFill/>
          <a:extLst>
            <a:ext uri="{909E8E84-426E-40DD-AFC4-6F175D3DCCD1}">
              <a14:hiddenFill xmlns:a14="http://schemas.microsoft.com/office/drawing/2010/main">
                <a:solidFill>
                  <a:srgbClr val="FFFFFF"/>
                </a:solidFill>
              </a14:hiddenFill>
            </a:ext>
          </a:extLst>
        </p:spPr>
      </p:pic>
      <p:cxnSp>
        <p:nvCxnSpPr>
          <p:cNvPr id="3" name="Łącznik prosty 2">
            <a:extLst>
              <a:ext uri="{FF2B5EF4-FFF2-40B4-BE49-F238E27FC236}">
                <a16:creationId xmlns:a16="http://schemas.microsoft.com/office/drawing/2014/main" id="{8718B193-64F5-4EEB-9AAB-DAC7A36BFCD0}"/>
              </a:ext>
            </a:extLst>
          </p:cNvPr>
          <p:cNvCxnSpPr>
            <a:cxnSpLocks/>
          </p:cNvCxnSpPr>
          <p:nvPr/>
        </p:nvCxnSpPr>
        <p:spPr>
          <a:xfrm>
            <a:off x="5750477" y="1333500"/>
            <a:ext cx="0" cy="4923498"/>
          </a:xfrm>
          <a:prstGeom prst="line">
            <a:avLst/>
          </a:prstGeom>
          <a:ln>
            <a:prstDash val="dash"/>
          </a:ln>
        </p:spPr>
        <p:style>
          <a:lnRef idx="1">
            <a:schemeClr val="accent2"/>
          </a:lnRef>
          <a:fillRef idx="0">
            <a:schemeClr val="accent2"/>
          </a:fillRef>
          <a:effectRef idx="0">
            <a:schemeClr val="accent2"/>
          </a:effectRef>
          <a:fontRef idx="minor">
            <a:schemeClr val="tx1"/>
          </a:fontRef>
        </p:style>
      </p:cxnSp>
      <p:sp>
        <p:nvSpPr>
          <p:cNvPr id="4" name="Strzałka: w prawo 3">
            <a:extLst>
              <a:ext uri="{FF2B5EF4-FFF2-40B4-BE49-F238E27FC236}">
                <a16:creationId xmlns:a16="http://schemas.microsoft.com/office/drawing/2014/main" id="{0A530F87-C868-43BD-A08F-56B2C53BF7E1}"/>
              </a:ext>
            </a:extLst>
          </p:cNvPr>
          <p:cNvSpPr/>
          <p:nvPr/>
        </p:nvSpPr>
        <p:spPr>
          <a:xfrm>
            <a:off x="585874" y="6039402"/>
            <a:ext cx="879074" cy="435429"/>
          </a:xfrm>
          <a:prstGeom prst="rightArrow">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9" name="Strzałka: w prawo 8">
            <a:extLst>
              <a:ext uri="{FF2B5EF4-FFF2-40B4-BE49-F238E27FC236}">
                <a16:creationId xmlns:a16="http://schemas.microsoft.com/office/drawing/2014/main" id="{9EBDC097-939E-43B3-B1FB-1361A1DC8019}"/>
              </a:ext>
            </a:extLst>
          </p:cNvPr>
          <p:cNvSpPr/>
          <p:nvPr/>
        </p:nvSpPr>
        <p:spPr>
          <a:xfrm>
            <a:off x="6076982" y="6039402"/>
            <a:ext cx="879074" cy="435429"/>
          </a:xfrm>
          <a:prstGeom prst="rightArrow">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10" name="Strzałka: w prawo 9">
            <a:extLst>
              <a:ext uri="{FF2B5EF4-FFF2-40B4-BE49-F238E27FC236}">
                <a16:creationId xmlns:a16="http://schemas.microsoft.com/office/drawing/2014/main" id="{9A8AD78F-3631-4B17-AB4B-A1C4DAD7E58C}"/>
              </a:ext>
            </a:extLst>
          </p:cNvPr>
          <p:cNvSpPr/>
          <p:nvPr/>
        </p:nvSpPr>
        <p:spPr>
          <a:xfrm rot="10800000">
            <a:off x="4616896" y="6039401"/>
            <a:ext cx="879074" cy="435429"/>
          </a:xfrm>
          <a:prstGeom prst="rightArrow">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11" name="Strzałka: w prawo 10">
            <a:extLst>
              <a:ext uri="{FF2B5EF4-FFF2-40B4-BE49-F238E27FC236}">
                <a16:creationId xmlns:a16="http://schemas.microsoft.com/office/drawing/2014/main" id="{84ADA2EF-790A-4214-A8FB-E0AFC58C98A4}"/>
              </a:ext>
            </a:extLst>
          </p:cNvPr>
          <p:cNvSpPr/>
          <p:nvPr/>
        </p:nvSpPr>
        <p:spPr>
          <a:xfrm rot="10800000">
            <a:off x="10475265" y="6039401"/>
            <a:ext cx="879074" cy="435429"/>
          </a:xfrm>
          <a:prstGeom prst="rightArrow">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8" name="pole tekstowe 7">
            <a:extLst>
              <a:ext uri="{FF2B5EF4-FFF2-40B4-BE49-F238E27FC236}">
                <a16:creationId xmlns:a16="http://schemas.microsoft.com/office/drawing/2014/main" id="{F01A7359-1A03-4516-B2CF-5D47D4AA074E}"/>
              </a:ext>
            </a:extLst>
          </p:cNvPr>
          <p:cNvSpPr txBox="1"/>
          <p:nvPr/>
        </p:nvSpPr>
        <p:spPr>
          <a:xfrm>
            <a:off x="1496478" y="5891356"/>
            <a:ext cx="3048005" cy="731520"/>
          </a:xfrm>
          <a:prstGeom prst="rect">
            <a:avLst/>
          </a:prstGeom>
          <a:noFill/>
          <a:ln w="9525" cap="rnd">
            <a:noFill/>
            <a:prstDash val="solid"/>
          </a:ln>
          <a:effectLst/>
          <a:extLst>
            <a:ext uri="{91240B29-F687-4F45-9708-019B960494DF}">
              <a14:hiddenLine xmlns:a14="http://schemas.microsoft.com/office/drawing/2010/main" w="9525" cap="rnd">
                <a:solidFill>
                  <a:srgbClr val="575757"/>
                </a:solidFill>
                <a:prstDash val="solid"/>
              </a14:hiddenLine>
            </a:ext>
          </a:extLst>
        </p:spPr>
        <p:txBody>
          <a:bodyPr vert="horz" wrap="square" lIns="36576" tIns="36576" rIns="36576" bIns="36576"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pl-PL" sz="1800" b="0" i="0" u="none" strike="noStrike" kern="1200" cap="none" spc="0" normalizeH="0" baseline="0" noProof="0" dirty="0">
                <a:ln>
                  <a:noFill/>
                </a:ln>
                <a:solidFill>
                  <a:srgbClr val="575757"/>
                </a:solidFill>
                <a:effectLst/>
                <a:uLnTx/>
                <a:uFillTx/>
                <a:latin typeface="Arial Black" panose="020B0A04020102020204" pitchFamily="34" charset="0"/>
                <a:ea typeface="+mn-ea"/>
                <a:cs typeface="+mn-cs"/>
                <a:sym typeface="Trebuchet MS" panose="020B0603020202020204" pitchFamily="34" charset="0"/>
              </a:rPr>
              <a:t>PRODUCT CENTRIC</a:t>
            </a:r>
          </a:p>
        </p:txBody>
      </p:sp>
      <p:sp>
        <p:nvSpPr>
          <p:cNvPr id="13" name="pole tekstowe 12">
            <a:extLst>
              <a:ext uri="{FF2B5EF4-FFF2-40B4-BE49-F238E27FC236}">
                <a16:creationId xmlns:a16="http://schemas.microsoft.com/office/drawing/2014/main" id="{985B9B78-E7A9-4D8B-84F5-477D08CF4D1B}"/>
              </a:ext>
            </a:extLst>
          </p:cNvPr>
          <p:cNvSpPr txBox="1"/>
          <p:nvPr/>
        </p:nvSpPr>
        <p:spPr>
          <a:xfrm>
            <a:off x="7192885" y="5891356"/>
            <a:ext cx="3048005" cy="731520"/>
          </a:xfrm>
          <a:prstGeom prst="rect">
            <a:avLst/>
          </a:prstGeom>
          <a:noFill/>
          <a:ln w="9525" cap="rnd">
            <a:noFill/>
            <a:prstDash val="solid"/>
          </a:ln>
          <a:effectLst/>
          <a:extLst>
            <a:ext uri="{91240B29-F687-4F45-9708-019B960494DF}">
              <a14:hiddenLine xmlns:a14="http://schemas.microsoft.com/office/drawing/2010/main" w="9525" cap="rnd">
                <a:solidFill>
                  <a:srgbClr val="575757"/>
                </a:solidFill>
                <a:prstDash val="solid"/>
              </a14:hiddenLine>
            </a:ext>
          </a:extLst>
        </p:spPr>
        <p:txBody>
          <a:bodyPr vert="horz" wrap="square" lIns="36576" tIns="36576" rIns="36576" bIns="36576" rtlCol="0" anchor="ctr">
            <a:noAutofit/>
          </a:bodyPr>
          <a:lstStyle/>
          <a:p>
            <a:pPr marL="0" marR="0" lvl="0" indent="0" algn="ctr" defTabSz="914400" rtl="0" eaLnBrk="1" fontAlgn="auto" latinLnBrk="0" hangingPunct="1">
              <a:lnSpc>
                <a:spcPct val="150000"/>
              </a:lnSpc>
              <a:spcBef>
                <a:spcPts val="0"/>
              </a:spcBef>
              <a:spcAft>
                <a:spcPts val="600"/>
              </a:spcAft>
              <a:buClrTx/>
              <a:buSzTx/>
              <a:buFontTx/>
              <a:buNone/>
              <a:tabLst/>
              <a:defRPr/>
            </a:pPr>
            <a:r>
              <a:rPr kumimoji="0" lang="pl-PL" sz="1800" b="0" i="0" u="none" strike="noStrike" kern="1200" cap="none" spc="0" normalizeH="0" baseline="0" noProof="0" dirty="0">
                <a:ln>
                  <a:noFill/>
                </a:ln>
                <a:solidFill>
                  <a:srgbClr val="575757"/>
                </a:solidFill>
                <a:effectLst/>
                <a:uLnTx/>
                <a:uFillTx/>
                <a:latin typeface="Arial Black" panose="020B0A04020102020204" pitchFamily="34" charset="0"/>
                <a:ea typeface="+mn-ea"/>
                <a:cs typeface="+mn-cs"/>
                <a:sym typeface="Trebuchet MS" panose="020B0603020202020204" pitchFamily="34" charset="0"/>
              </a:rPr>
              <a:t>CUSTOMER CENTRIC</a:t>
            </a:r>
          </a:p>
        </p:txBody>
      </p:sp>
      <p:sp>
        <p:nvSpPr>
          <p:cNvPr id="12" name="pole tekstowe 11">
            <a:extLst>
              <a:ext uri="{FF2B5EF4-FFF2-40B4-BE49-F238E27FC236}">
                <a16:creationId xmlns:a16="http://schemas.microsoft.com/office/drawing/2014/main" id="{16A1A514-78D1-49A1-B0F6-A0E360095243}"/>
              </a:ext>
            </a:extLst>
          </p:cNvPr>
          <p:cNvSpPr txBox="1"/>
          <p:nvPr/>
        </p:nvSpPr>
        <p:spPr>
          <a:xfrm>
            <a:off x="2708134" y="4214380"/>
            <a:ext cx="2769851" cy="879565"/>
          </a:xfrm>
          <a:prstGeom prst="rect">
            <a:avLst/>
          </a:prstGeom>
          <a:noFill/>
          <a:ln w="9525" cap="rnd">
            <a:noFill/>
            <a:prstDash val="solid"/>
          </a:ln>
          <a:effectLst/>
          <a:extLst>
            <a:ext uri="{91240B29-F687-4F45-9708-019B960494DF}">
              <a14:hiddenLine xmlns:a14="http://schemas.microsoft.com/office/drawing/2010/main" w="9525" cap="rnd">
                <a:solidFill>
                  <a:srgbClr val="575757"/>
                </a:solidFill>
                <a:prstDash val="solid"/>
              </a14:hiddenLine>
            </a:ext>
          </a:extLst>
        </p:spPr>
        <p:txBody>
          <a:bodyPr vert="horz" wrap="square" lIns="36576" tIns="36576" rIns="36576" bIns="36576" rtlCol="0" anchor="ctr">
            <a:noAutofit/>
          </a:bodyPr>
          <a:lstStyle/>
          <a:p>
            <a:pPr marL="0" marR="0" lvl="0" indent="0" algn="ctr" defTabSz="914400" rtl="0" eaLnBrk="1" fontAlgn="auto" latinLnBrk="0" hangingPunct="1">
              <a:lnSpc>
                <a:spcPts val="1500"/>
              </a:lnSpc>
              <a:spcBef>
                <a:spcPts val="0"/>
              </a:spcBef>
              <a:spcAft>
                <a:spcPts val="600"/>
              </a:spcAft>
              <a:buClrTx/>
              <a:buSzTx/>
              <a:buFontTx/>
              <a:buNone/>
              <a:tabLst/>
              <a:defRPr/>
            </a:pPr>
            <a:r>
              <a:rPr kumimoji="0" lang="en-US" sz="1100" b="0" i="0" u="none" strike="noStrike" kern="1200" cap="none" spc="0" normalizeH="0" baseline="0" noProof="0" dirty="0">
                <a:ln>
                  <a:noFill/>
                </a:ln>
                <a:solidFill>
                  <a:schemeClr val="bg1">
                    <a:lumMod val="50000"/>
                  </a:schemeClr>
                </a:solidFill>
                <a:effectLst/>
                <a:uLnTx/>
                <a:uFillTx/>
                <a:latin typeface="Arial" panose="020B0604020202020204" pitchFamily="34" charset="0"/>
                <a:ea typeface="+mn-ea"/>
                <a:cs typeface="Arial" panose="020B0604020202020204" pitchFamily="34" charset="0"/>
                <a:sym typeface="Trebuchet MS" panose="020B0603020202020204" pitchFamily="34" charset="0"/>
              </a:rPr>
              <a:t>THE CUSTOMER SEEING MULTIPLE CHANNELS AND CONTACTING EACH OF THEM </a:t>
            </a:r>
            <a:r>
              <a:rPr kumimoji="0" lang="en-US" sz="11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sym typeface="Trebuchet MS" panose="020B0603020202020204" pitchFamily="34" charset="0"/>
              </a:rPr>
              <a:t>SEPARATELY</a:t>
            </a:r>
            <a:endParaRPr kumimoji="0" lang="pl-PL" sz="11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sym typeface="Trebuchet MS" panose="020B0603020202020204" pitchFamily="34" charset="0"/>
            </a:endParaRPr>
          </a:p>
        </p:txBody>
      </p:sp>
      <p:sp>
        <p:nvSpPr>
          <p:cNvPr id="15" name="pole tekstowe 14">
            <a:extLst>
              <a:ext uri="{FF2B5EF4-FFF2-40B4-BE49-F238E27FC236}">
                <a16:creationId xmlns:a16="http://schemas.microsoft.com/office/drawing/2014/main" id="{CC0452A6-ABE2-4831-A8A9-353610BD4AAA}"/>
              </a:ext>
            </a:extLst>
          </p:cNvPr>
          <p:cNvSpPr txBox="1"/>
          <p:nvPr/>
        </p:nvSpPr>
        <p:spPr>
          <a:xfrm>
            <a:off x="3000703" y="5094200"/>
            <a:ext cx="2259384" cy="879565"/>
          </a:xfrm>
          <a:prstGeom prst="rect">
            <a:avLst/>
          </a:prstGeom>
          <a:noFill/>
          <a:ln w="9525" cap="rnd">
            <a:noFill/>
            <a:prstDash val="solid"/>
          </a:ln>
          <a:effectLst/>
          <a:extLst>
            <a:ext uri="{91240B29-F687-4F45-9708-019B960494DF}">
              <a14:hiddenLine xmlns:a14="http://schemas.microsoft.com/office/drawing/2010/main" w="9525" cap="rnd">
                <a:solidFill>
                  <a:srgbClr val="575757"/>
                </a:solidFill>
                <a:prstDash val="solid"/>
              </a14:hiddenLine>
            </a:ext>
          </a:extLst>
        </p:spPr>
        <p:txBody>
          <a:bodyPr vert="horz" wrap="square" lIns="36576" tIns="36576" rIns="36576" bIns="36576" rtlCol="0" anchor="ctr">
            <a:noAutofit/>
          </a:bodyPr>
          <a:lstStyle/>
          <a:p>
            <a:pPr marL="0" marR="0" lvl="0" indent="0" algn="ctr" defTabSz="914400" rtl="0" eaLnBrk="1" fontAlgn="auto" latinLnBrk="0" hangingPunct="1">
              <a:lnSpc>
                <a:spcPts val="1500"/>
              </a:lnSpc>
              <a:spcBef>
                <a:spcPts val="0"/>
              </a:spcBef>
              <a:spcAft>
                <a:spcPts val="600"/>
              </a:spcAft>
              <a:buClrTx/>
              <a:buSzTx/>
              <a:buFontTx/>
              <a:buNone/>
              <a:tabLst/>
              <a:defRPr/>
            </a:pPr>
            <a:r>
              <a:rPr kumimoji="0" lang="en-US" sz="1100" b="0" i="0" u="none" strike="noStrike" kern="1200" cap="none" spc="0" normalizeH="0" baseline="0" noProof="0" dirty="0">
                <a:ln>
                  <a:noFill/>
                </a:ln>
                <a:solidFill>
                  <a:schemeClr val="bg1">
                    <a:lumMod val="50000"/>
                  </a:schemeClr>
                </a:solidFill>
                <a:effectLst/>
                <a:uLnTx/>
                <a:uFillTx/>
                <a:latin typeface="Arial" panose="020B0604020202020204" pitchFamily="34" charset="0"/>
                <a:ea typeface="+mn-ea"/>
                <a:cs typeface="Arial" panose="020B0604020202020204" pitchFamily="34" charset="0"/>
                <a:sym typeface="Trebuchet MS" panose="020B0603020202020204" pitchFamily="34" charset="0"/>
              </a:rPr>
              <a:t>MULTIPLE CHANNELS = NOT ALWAYS THE SAME MESSAGE</a:t>
            </a:r>
            <a:endParaRPr kumimoji="0" lang="pl-PL" sz="1100" b="1" i="0" u="none" strike="noStrike" kern="1200" cap="none" spc="0" normalizeH="0" baseline="0" noProof="0" dirty="0">
              <a:ln>
                <a:noFill/>
              </a:ln>
              <a:solidFill>
                <a:schemeClr val="bg1">
                  <a:lumMod val="50000"/>
                </a:schemeClr>
              </a:solidFill>
              <a:effectLst/>
              <a:uLnTx/>
              <a:uFillTx/>
              <a:latin typeface="Arial" panose="020B0604020202020204" pitchFamily="34" charset="0"/>
              <a:ea typeface="+mn-ea"/>
              <a:cs typeface="Arial" panose="020B0604020202020204" pitchFamily="34" charset="0"/>
              <a:sym typeface="Trebuchet MS" panose="020B0603020202020204" pitchFamily="34" charset="0"/>
            </a:endParaRPr>
          </a:p>
        </p:txBody>
      </p:sp>
      <p:sp>
        <p:nvSpPr>
          <p:cNvPr id="16" name="pole tekstowe 15">
            <a:extLst>
              <a:ext uri="{FF2B5EF4-FFF2-40B4-BE49-F238E27FC236}">
                <a16:creationId xmlns:a16="http://schemas.microsoft.com/office/drawing/2014/main" id="{5E011318-7834-4F9F-8198-3A2ABD66DDE9}"/>
              </a:ext>
            </a:extLst>
          </p:cNvPr>
          <p:cNvSpPr txBox="1"/>
          <p:nvPr/>
        </p:nvSpPr>
        <p:spPr>
          <a:xfrm>
            <a:off x="6086868" y="4166480"/>
            <a:ext cx="2543162" cy="879565"/>
          </a:xfrm>
          <a:prstGeom prst="rect">
            <a:avLst/>
          </a:prstGeom>
          <a:noFill/>
          <a:ln w="9525" cap="rnd">
            <a:noFill/>
            <a:prstDash val="solid"/>
          </a:ln>
          <a:effectLst/>
          <a:extLst>
            <a:ext uri="{91240B29-F687-4F45-9708-019B960494DF}">
              <a14:hiddenLine xmlns:a14="http://schemas.microsoft.com/office/drawing/2010/main" w="9525" cap="rnd">
                <a:solidFill>
                  <a:srgbClr val="575757"/>
                </a:solidFill>
                <a:prstDash val="solid"/>
              </a14:hiddenLine>
            </a:ext>
          </a:extLst>
        </p:spPr>
        <p:txBody>
          <a:bodyPr vert="horz" wrap="square" lIns="36576" tIns="36576" rIns="36576" bIns="36576" rtlCol="0" anchor="ctr">
            <a:noAutofit/>
          </a:bodyPr>
          <a:lstStyle/>
          <a:p>
            <a:pPr marL="0" marR="0" lvl="0" indent="0" algn="ctr" defTabSz="914400" rtl="0" eaLnBrk="1" fontAlgn="auto" latinLnBrk="0" hangingPunct="1">
              <a:lnSpc>
                <a:spcPts val="1500"/>
              </a:lnSpc>
              <a:spcBef>
                <a:spcPts val="0"/>
              </a:spcBef>
              <a:spcAft>
                <a:spcPts val="600"/>
              </a:spcAft>
              <a:buClrTx/>
              <a:buSzTx/>
              <a:buFontTx/>
              <a:buNone/>
              <a:tabLst/>
              <a:defRPr/>
            </a:pPr>
            <a:r>
              <a:rPr kumimoji="0" lang="en-US" sz="1100" b="0" i="0" u="none" strike="noStrike" kern="1200" cap="none" spc="0" normalizeH="0" baseline="0" noProof="0" dirty="0">
                <a:ln>
                  <a:noFill/>
                </a:ln>
                <a:solidFill>
                  <a:schemeClr val="bg1">
                    <a:lumMod val="50000"/>
                  </a:schemeClr>
                </a:solidFill>
                <a:effectLst/>
                <a:uLnTx/>
                <a:uFillTx/>
                <a:latin typeface="Arial" panose="020B0604020202020204" pitchFamily="34" charset="0"/>
                <a:ea typeface="+mn-ea"/>
                <a:cs typeface="Arial" panose="020B0604020202020204" pitchFamily="34" charset="0"/>
                <a:sym typeface="Trebuchet MS" panose="020B0603020202020204" pitchFamily="34" charset="0"/>
              </a:rPr>
              <a:t>THE CUSTOMER SEEING MULTIPLE CHANNELS</a:t>
            </a:r>
            <a:r>
              <a:rPr kumimoji="0" lang="pl-PL" sz="1100" b="0" i="0" u="none" strike="noStrike" kern="1200" cap="none" spc="0" normalizeH="0" baseline="0" noProof="0" dirty="0">
                <a:ln>
                  <a:noFill/>
                </a:ln>
                <a:solidFill>
                  <a:schemeClr val="bg1">
                    <a:lumMod val="50000"/>
                  </a:schemeClr>
                </a:solidFill>
                <a:effectLst/>
                <a:uLnTx/>
                <a:uFillTx/>
                <a:latin typeface="Arial" panose="020B0604020202020204" pitchFamily="34" charset="0"/>
                <a:ea typeface="+mn-ea"/>
                <a:cs typeface="Arial" panose="020B0604020202020204" pitchFamily="34" charset="0"/>
                <a:sym typeface="Trebuchet MS" panose="020B0603020202020204" pitchFamily="34" charset="0"/>
              </a:rPr>
              <a:t>, but </a:t>
            </a:r>
            <a:r>
              <a:rPr kumimoji="0" lang="pl-PL" sz="11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sym typeface="Trebuchet MS" panose="020B0603020202020204" pitchFamily="34" charset="0"/>
              </a:rPr>
              <a:t>ONE BRAND</a:t>
            </a:r>
            <a:endParaRPr kumimoji="0" lang="en-US" sz="11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sym typeface="Trebuchet MS" panose="020B0603020202020204" pitchFamily="34" charset="0"/>
            </a:endParaRPr>
          </a:p>
        </p:txBody>
      </p:sp>
      <p:sp>
        <p:nvSpPr>
          <p:cNvPr id="17" name="pole tekstowe 16">
            <a:extLst>
              <a:ext uri="{FF2B5EF4-FFF2-40B4-BE49-F238E27FC236}">
                <a16:creationId xmlns:a16="http://schemas.microsoft.com/office/drawing/2014/main" id="{1F403F21-7286-47E7-A9FD-40B1DEE261AD}"/>
              </a:ext>
            </a:extLst>
          </p:cNvPr>
          <p:cNvSpPr txBox="1"/>
          <p:nvPr/>
        </p:nvSpPr>
        <p:spPr>
          <a:xfrm>
            <a:off x="6076013" y="5117466"/>
            <a:ext cx="2543162" cy="879565"/>
          </a:xfrm>
          <a:prstGeom prst="rect">
            <a:avLst/>
          </a:prstGeom>
          <a:noFill/>
          <a:ln w="9525" cap="rnd">
            <a:noFill/>
            <a:prstDash val="solid"/>
          </a:ln>
          <a:effectLst/>
          <a:extLst>
            <a:ext uri="{91240B29-F687-4F45-9708-019B960494DF}">
              <a14:hiddenLine xmlns:a14="http://schemas.microsoft.com/office/drawing/2010/main" w="9525" cap="rnd">
                <a:solidFill>
                  <a:srgbClr val="575757"/>
                </a:solidFill>
                <a:prstDash val="solid"/>
              </a14:hiddenLine>
            </a:ext>
          </a:extLst>
        </p:spPr>
        <p:txBody>
          <a:bodyPr vert="horz" wrap="square" lIns="36576" tIns="36576" rIns="36576" bIns="36576" rtlCol="0" anchor="ctr">
            <a:noAutofit/>
          </a:bodyPr>
          <a:lstStyle/>
          <a:p>
            <a:pPr marL="0" marR="0" lvl="0" indent="0" algn="ctr" defTabSz="914400" rtl="0" eaLnBrk="1" fontAlgn="auto" latinLnBrk="0" hangingPunct="1">
              <a:lnSpc>
                <a:spcPts val="1500"/>
              </a:lnSpc>
              <a:spcBef>
                <a:spcPts val="0"/>
              </a:spcBef>
              <a:spcAft>
                <a:spcPts val="600"/>
              </a:spcAft>
              <a:buClrTx/>
              <a:buSzTx/>
              <a:buFontTx/>
              <a:buNone/>
              <a:tabLst/>
              <a:defRPr/>
            </a:pPr>
            <a:r>
              <a:rPr lang="pl-PL" sz="1100" dirty="0">
                <a:solidFill>
                  <a:schemeClr val="bg1">
                    <a:lumMod val="50000"/>
                  </a:schemeClr>
                </a:solidFill>
                <a:latin typeface="Arial" panose="020B0604020202020204" pitchFamily="34" charset="0"/>
                <a:cs typeface="Arial" panose="020B0604020202020204" pitchFamily="34" charset="0"/>
                <a:sym typeface="Trebuchet MS" panose="020B0603020202020204" pitchFamily="34" charset="0"/>
              </a:rPr>
              <a:t>CUSTOMER EXPERIENCE COULD BE DIFFERENT IN EACH CONTACT CHANNEL</a:t>
            </a:r>
            <a:endParaRPr kumimoji="0" lang="pl-PL" sz="1100" i="0" u="none" strike="noStrike" kern="1200" cap="none" spc="0" normalizeH="0" baseline="0" noProof="0" dirty="0">
              <a:ln>
                <a:noFill/>
              </a:ln>
              <a:solidFill>
                <a:schemeClr val="bg1">
                  <a:lumMod val="50000"/>
                </a:schemeClr>
              </a:solidFill>
              <a:effectLst/>
              <a:uLnTx/>
              <a:uFillTx/>
              <a:latin typeface="Arial" panose="020B0604020202020204" pitchFamily="34" charset="0"/>
              <a:cs typeface="Arial" panose="020B0604020202020204" pitchFamily="34" charset="0"/>
              <a:sym typeface="Trebuchet MS" panose="020B0603020202020204" pitchFamily="34" charset="0"/>
            </a:endParaRPr>
          </a:p>
        </p:txBody>
      </p:sp>
      <p:sp>
        <p:nvSpPr>
          <p:cNvPr id="18" name="pole tekstowe 17">
            <a:extLst>
              <a:ext uri="{FF2B5EF4-FFF2-40B4-BE49-F238E27FC236}">
                <a16:creationId xmlns:a16="http://schemas.microsoft.com/office/drawing/2014/main" id="{45CAB9E1-FAC4-496B-8C85-2AD950291419}"/>
              </a:ext>
            </a:extLst>
          </p:cNvPr>
          <p:cNvSpPr txBox="1"/>
          <p:nvPr/>
        </p:nvSpPr>
        <p:spPr>
          <a:xfrm>
            <a:off x="9067723" y="5062049"/>
            <a:ext cx="2261853" cy="879565"/>
          </a:xfrm>
          <a:prstGeom prst="rect">
            <a:avLst/>
          </a:prstGeom>
          <a:noFill/>
          <a:ln w="9525" cap="rnd">
            <a:noFill/>
            <a:prstDash val="solid"/>
          </a:ln>
          <a:effectLst/>
          <a:extLst>
            <a:ext uri="{91240B29-F687-4F45-9708-019B960494DF}">
              <a14:hiddenLine xmlns:a14="http://schemas.microsoft.com/office/drawing/2010/main" w="9525" cap="rnd">
                <a:solidFill>
                  <a:srgbClr val="575757"/>
                </a:solidFill>
                <a:prstDash val="solid"/>
              </a14:hiddenLine>
            </a:ext>
          </a:extLst>
        </p:spPr>
        <p:txBody>
          <a:bodyPr vert="horz" wrap="square" lIns="36576" tIns="36576" rIns="36576" bIns="36576" rtlCol="0" anchor="ctr">
            <a:noAutofit/>
          </a:bodyPr>
          <a:lstStyle/>
          <a:p>
            <a:pPr marL="0" marR="0" lvl="0" indent="0" algn="ctr" defTabSz="914400" rtl="0" eaLnBrk="1" fontAlgn="auto" latinLnBrk="0" hangingPunct="1">
              <a:lnSpc>
                <a:spcPts val="1500"/>
              </a:lnSpc>
              <a:spcBef>
                <a:spcPts val="0"/>
              </a:spcBef>
              <a:spcAft>
                <a:spcPts val="600"/>
              </a:spcAft>
              <a:buClrTx/>
              <a:buSzTx/>
              <a:buFontTx/>
              <a:buNone/>
              <a:tabLst/>
              <a:defRPr/>
            </a:pPr>
            <a:r>
              <a:rPr kumimoji="0" lang="pl-PL" sz="1100" i="0" u="none" strike="noStrike" kern="1200" cap="none" spc="0" normalizeH="0" baseline="0" noProof="0" dirty="0">
                <a:ln>
                  <a:noFill/>
                </a:ln>
                <a:solidFill>
                  <a:schemeClr val="bg1">
                    <a:lumMod val="50000"/>
                  </a:schemeClr>
                </a:solidFill>
                <a:effectLst/>
                <a:uLnTx/>
                <a:uFillTx/>
                <a:latin typeface="Arial" panose="020B0604020202020204" pitchFamily="34" charset="0"/>
                <a:ea typeface="+mn-ea"/>
                <a:cs typeface="Arial" panose="020B0604020202020204" pitchFamily="34" charset="0"/>
                <a:sym typeface="Trebuchet MS" panose="020B0603020202020204" pitchFamily="34" charset="0"/>
              </a:rPr>
              <a:t>THE CUSTOMER CONTACTS </a:t>
            </a:r>
            <a:r>
              <a:rPr kumimoji="0" lang="pl-PL" sz="11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sym typeface="Trebuchet MS" panose="020B0603020202020204" pitchFamily="34" charset="0"/>
              </a:rPr>
              <a:t>WITH THE BANK, </a:t>
            </a:r>
            <a:r>
              <a:rPr kumimoji="0" lang="pl-PL" sz="1100" i="0" u="none" strike="noStrike" kern="1200" cap="none" spc="0" normalizeH="0" baseline="0" noProof="0" dirty="0">
                <a:ln>
                  <a:noFill/>
                </a:ln>
                <a:solidFill>
                  <a:schemeClr val="bg1">
                    <a:lumMod val="50000"/>
                  </a:schemeClr>
                </a:solidFill>
                <a:effectLst/>
                <a:uLnTx/>
                <a:uFillTx/>
                <a:latin typeface="Arial" panose="020B0604020202020204" pitchFamily="34" charset="0"/>
                <a:ea typeface="+mn-ea"/>
                <a:cs typeface="Arial" panose="020B0604020202020204" pitchFamily="34" charset="0"/>
                <a:sym typeface="Trebuchet MS" panose="020B0603020202020204" pitchFamily="34" charset="0"/>
              </a:rPr>
              <a:t>NOT WITH THE CONTACT CHANNEL</a:t>
            </a:r>
          </a:p>
        </p:txBody>
      </p:sp>
      <p:pic>
        <p:nvPicPr>
          <p:cNvPr id="19" name="Picture 2">
            <a:extLst>
              <a:ext uri="{FF2B5EF4-FFF2-40B4-BE49-F238E27FC236}">
                <a16:creationId xmlns:a16="http://schemas.microsoft.com/office/drawing/2014/main" id="{F58CB089-B521-4026-B3A9-C128DC482DB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49802" t="11988" r="25345" b="50000"/>
          <a:stretch/>
        </p:blipFill>
        <p:spPr bwMode="auto">
          <a:xfrm>
            <a:off x="6290105" y="1210791"/>
            <a:ext cx="2005259" cy="2929105"/>
          </a:xfrm>
          <a:prstGeom prst="rect">
            <a:avLst/>
          </a:prstGeom>
          <a:noFill/>
          <a:extLst>
            <a:ext uri="{909E8E84-426E-40DD-AFC4-6F175D3DCCD1}">
              <a14:hiddenFill xmlns:a14="http://schemas.microsoft.com/office/drawing/2010/main">
                <a:solidFill>
                  <a:srgbClr val="FFFFFF"/>
                </a:solidFill>
              </a14:hiddenFill>
            </a:ext>
          </a:extLst>
        </p:spPr>
      </p:pic>
      <p:pic>
        <p:nvPicPr>
          <p:cNvPr id="993282" name="Picture 2" descr="Cel Obraz Bez Tła">
            <a:extLst>
              <a:ext uri="{FF2B5EF4-FFF2-40B4-BE49-F238E27FC236}">
                <a16:creationId xmlns:a16="http://schemas.microsoft.com/office/drawing/2014/main" id="{92B740B5-0F87-4E67-8A3B-45B345A20AA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65910" y="4020226"/>
            <a:ext cx="964981" cy="964981"/>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a:extLst>
              <a:ext uri="{FF2B5EF4-FFF2-40B4-BE49-F238E27FC236}">
                <a16:creationId xmlns:a16="http://schemas.microsoft.com/office/drawing/2014/main" id="{0FCF7D56-961A-4993-B94F-FA052214047A}"/>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74013" t="11988" b="50000"/>
          <a:stretch/>
        </p:blipFill>
        <p:spPr bwMode="auto">
          <a:xfrm>
            <a:off x="9105699" y="1210791"/>
            <a:ext cx="2096773" cy="2929105"/>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a:extLst>
              <a:ext uri="{FF2B5EF4-FFF2-40B4-BE49-F238E27FC236}">
                <a16:creationId xmlns:a16="http://schemas.microsoft.com/office/drawing/2014/main" id="{C1ECC496-95DA-4BF3-B6EF-FBDA5D53EA4A}"/>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3047" t="11988" r="50198" b="50000"/>
          <a:stretch/>
        </p:blipFill>
        <p:spPr bwMode="auto">
          <a:xfrm>
            <a:off x="2978401" y="1187494"/>
            <a:ext cx="2175824" cy="29524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0708523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635F1C-6D11-9F81-29DC-085EDC9F9E40}"/>
            </a:ext>
          </a:extLst>
        </p:cNvPr>
        <p:cNvGrpSpPr/>
        <p:nvPr/>
      </p:nvGrpSpPr>
      <p:grpSpPr>
        <a:xfrm>
          <a:off x="0" y="0"/>
          <a:ext cx="0" cy="0"/>
          <a:chOff x="0" y="0"/>
          <a:chExt cx="0" cy="0"/>
        </a:xfrm>
      </p:grpSpPr>
      <p:sp>
        <p:nvSpPr>
          <p:cNvPr id="2" name="Tytuł 1">
            <a:extLst>
              <a:ext uri="{FF2B5EF4-FFF2-40B4-BE49-F238E27FC236}">
                <a16:creationId xmlns:a16="http://schemas.microsoft.com/office/drawing/2014/main" id="{7D91A553-119C-D285-585A-9498267A04DB}"/>
              </a:ext>
            </a:extLst>
          </p:cNvPr>
          <p:cNvSpPr>
            <a:spLocks noGrp="1"/>
          </p:cNvSpPr>
          <p:nvPr>
            <p:ph type="title"/>
          </p:nvPr>
        </p:nvSpPr>
        <p:spPr>
          <a:xfrm>
            <a:off x="1054686" y="2015248"/>
            <a:ext cx="7816499" cy="2395896"/>
          </a:xfrm>
        </p:spPr>
        <p:txBody>
          <a:bodyPr/>
          <a:lstStyle/>
          <a:p>
            <a:r>
              <a:rPr lang="pl-PL" dirty="0"/>
              <a:t>DIGITAL CHANNELS DEVELOPMENT</a:t>
            </a:r>
            <a:endParaRPr lang="pl-PL" dirty="0">
              <a:latin typeface="Bradley Hand ITC" panose="03070402050302030203" pitchFamily="66" charset="0"/>
            </a:endParaRPr>
          </a:p>
        </p:txBody>
      </p:sp>
      <p:sp>
        <p:nvSpPr>
          <p:cNvPr id="3" name="Owal 2">
            <a:extLst>
              <a:ext uri="{FF2B5EF4-FFF2-40B4-BE49-F238E27FC236}">
                <a16:creationId xmlns:a16="http://schemas.microsoft.com/office/drawing/2014/main" id="{D737FC9C-A078-A3F2-B3D4-13E45F3FE343}"/>
              </a:ext>
            </a:extLst>
          </p:cNvPr>
          <p:cNvSpPr/>
          <p:nvPr/>
        </p:nvSpPr>
        <p:spPr>
          <a:xfrm>
            <a:off x="6656941" y="3571253"/>
            <a:ext cx="2674465" cy="2674465"/>
          </a:xfrm>
          <a:prstGeom prst="ellipse">
            <a:avLst/>
          </a:prstGeom>
          <a:blipFill dpi="0" rotWithShape="1">
            <a:blip r:embed="rId2">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rcRect/>
            <a:stretch>
              <a:fillRect/>
            </a:stretch>
          </a:blipFill>
          <a:ln w="28575" cap="rnd" cmpd="sng" algn="ctr">
            <a:solidFill>
              <a:schemeClr val="bg1">
                <a:lumMod val="85000"/>
              </a:schemeClr>
            </a:solidFill>
            <a:prstDash val="solid"/>
            <a:round/>
            <a:headEnd type="none" w="med" len="med"/>
            <a:tailEnd type="none" w="med" len="med"/>
          </a:ln>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4" name="Owal 3">
            <a:extLst>
              <a:ext uri="{FF2B5EF4-FFF2-40B4-BE49-F238E27FC236}">
                <a16:creationId xmlns:a16="http://schemas.microsoft.com/office/drawing/2014/main" id="{BFC3EBBD-4601-03F8-A68A-999A75FDEDD4}"/>
              </a:ext>
            </a:extLst>
          </p:cNvPr>
          <p:cNvSpPr/>
          <p:nvPr/>
        </p:nvSpPr>
        <p:spPr>
          <a:xfrm>
            <a:off x="8291632" y="2015248"/>
            <a:ext cx="2674465" cy="2674465"/>
          </a:xfrm>
          <a:prstGeom prst="ellipse">
            <a:avLst/>
          </a:prstGeom>
          <a:blipFill dpi="0" rotWithShape="1">
            <a:blip r:embed="rId4"/>
            <a:srcRect/>
            <a:stretch>
              <a:fillRect l="-28000" r="-26000"/>
            </a:stretch>
          </a:blipFill>
          <a:ln w="28575" cap="rnd" cmpd="sng" algn="ctr">
            <a:solidFill>
              <a:schemeClr val="bg1">
                <a:lumMod val="85000"/>
              </a:schemeClr>
            </a:solidFill>
            <a:prstDash val="solid"/>
            <a:round/>
            <a:headEnd type="none" w="med" len="med"/>
            <a:tailEnd type="none" w="med" len="med"/>
          </a:ln>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5" name="pole tekstowe 4">
            <a:extLst>
              <a:ext uri="{FF2B5EF4-FFF2-40B4-BE49-F238E27FC236}">
                <a16:creationId xmlns:a16="http://schemas.microsoft.com/office/drawing/2014/main" id="{C440B7A4-6D44-4C4D-B1FC-31080B0BB6F0}"/>
              </a:ext>
            </a:extLst>
          </p:cNvPr>
          <p:cNvSpPr txBox="1"/>
          <p:nvPr/>
        </p:nvSpPr>
        <p:spPr>
          <a:xfrm>
            <a:off x="1003249" y="3473211"/>
            <a:ext cx="6097002" cy="800219"/>
          </a:xfrm>
          <a:prstGeom prst="rect">
            <a:avLst/>
          </a:prstGeom>
          <a:noFill/>
        </p:spPr>
        <p:txBody>
          <a:bodyPr wrap="square">
            <a:spAutoFit/>
          </a:bodyPr>
          <a:lstStyle/>
          <a:p>
            <a:br>
              <a:rPr lang="pl-PL" sz="2800" b="0" dirty="0"/>
            </a:br>
            <a:r>
              <a:rPr lang="pl-PL" sz="1800" b="0" dirty="0">
                <a:solidFill>
                  <a:schemeClr val="bg1"/>
                </a:solidFill>
              </a:rPr>
              <a:t>SOHO </a:t>
            </a:r>
            <a:r>
              <a:rPr lang="pl-PL" sz="1800" b="0" dirty="0" err="1">
                <a:solidFill>
                  <a:schemeClr val="bg1"/>
                </a:solidFill>
              </a:rPr>
              <a:t>Tribe</a:t>
            </a:r>
            <a:endParaRPr lang="pl-PL" dirty="0">
              <a:solidFill>
                <a:schemeClr val="bg1"/>
              </a:solidFill>
            </a:endParaRPr>
          </a:p>
        </p:txBody>
      </p:sp>
    </p:spTree>
    <p:extLst>
      <p:ext uri="{BB962C8B-B14F-4D97-AF65-F5344CB8AC3E}">
        <p14:creationId xmlns:p14="http://schemas.microsoft.com/office/powerpoint/2010/main" val="227293997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Symbol zastępczy tekstu 1"/>
          <p:cNvSpPr>
            <a:spLocks noGrp="1"/>
          </p:cNvSpPr>
          <p:nvPr>
            <p:ph type="body" sz="quarter" idx="13"/>
          </p:nvPr>
        </p:nvSpPr>
        <p:spPr>
          <a:xfrm>
            <a:off x="361607" y="127365"/>
            <a:ext cx="10801351" cy="517001"/>
          </a:xfrm>
        </p:spPr>
        <p:txBody>
          <a:bodyPr/>
          <a:lstStyle/>
          <a:p>
            <a:pPr>
              <a:lnSpc>
                <a:spcPct val="90000"/>
              </a:lnSpc>
              <a:spcAft>
                <a:spcPts val="0"/>
              </a:spcAft>
            </a:pPr>
            <a:r>
              <a:rPr lang="pl-PL" sz="3733" dirty="0">
                <a:solidFill>
                  <a:srgbClr val="009597"/>
                </a:solidFill>
                <a:latin typeface="+mj-lt"/>
                <a:ea typeface="+mj-ea"/>
                <a:cs typeface="+mj-cs"/>
              </a:rPr>
              <a:t>SOHO/AGRO </a:t>
            </a:r>
            <a:r>
              <a:rPr lang="pl-PL" sz="3733" dirty="0" err="1">
                <a:solidFill>
                  <a:srgbClr val="009597"/>
                </a:solidFill>
                <a:latin typeface="+mj-lt"/>
                <a:ea typeface="+mj-ea"/>
                <a:cs typeface="+mj-cs"/>
              </a:rPr>
              <a:t>customers</a:t>
            </a:r>
            <a:r>
              <a:rPr lang="pl-PL" sz="3733" dirty="0">
                <a:solidFill>
                  <a:srgbClr val="009597"/>
                </a:solidFill>
                <a:latin typeface="+mj-lt"/>
                <a:ea typeface="+mj-ea"/>
                <a:cs typeface="+mj-cs"/>
              </a:rPr>
              <a:t> in </a:t>
            </a:r>
            <a:r>
              <a:rPr lang="pl-PL" sz="3733" dirty="0" err="1">
                <a:solidFill>
                  <a:srgbClr val="009597"/>
                </a:solidFill>
                <a:latin typeface="+mj-lt"/>
                <a:ea typeface="+mj-ea"/>
                <a:cs typeface="+mj-cs"/>
              </a:rPr>
              <a:t>digital</a:t>
            </a:r>
            <a:r>
              <a:rPr lang="pl-PL" sz="3733" dirty="0">
                <a:solidFill>
                  <a:srgbClr val="009597"/>
                </a:solidFill>
                <a:latin typeface="+mj-lt"/>
                <a:ea typeface="+mj-ea"/>
                <a:cs typeface="+mj-cs"/>
              </a:rPr>
              <a:t> </a:t>
            </a:r>
            <a:r>
              <a:rPr lang="pl-PL" sz="3733" dirty="0" err="1">
                <a:solidFill>
                  <a:srgbClr val="009597"/>
                </a:solidFill>
                <a:latin typeface="+mj-lt"/>
                <a:ea typeface="+mj-ea"/>
                <a:cs typeface="+mj-cs"/>
              </a:rPr>
              <a:t>channels</a:t>
            </a:r>
            <a:endParaRPr lang="pl-PL" sz="3733" dirty="0">
              <a:solidFill>
                <a:srgbClr val="009597"/>
              </a:solidFill>
              <a:latin typeface="+mj-lt"/>
              <a:ea typeface="+mj-ea"/>
              <a:cs typeface="+mj-cs"/>
            </a:endParaRPr>
          </a:p>
        </p:txBody>
      </p:sp>
      <p:sp>
        <p:nvSpPr>
          <p:cNvPr id="6" name="Symbol zastępczy tekstu 5"/>
          <p:cNvSpPr>
            <a:spLocks noGrp="1"/>
          </p:cNvSpPr>
          <p:nvPr>
            <p:ph type="body" sz="quarter" idx="19"/>
          </p:nvPr>
        </p:nvSpPr>
        <p:spPr>
          <a:xfrm>
            <a:off x="9064625" y="827055"/>
            <a:ext cx="2070003" cy="312223"/>
          </a:xfrm>
        </p:spPr>
        <p:txBody>
          <a:bodyPr/>
          <a:lstStyle/>
          <a:p>
            <a:r>
              <a:rPr lang="pl-PL" b="1" dirty="0">
                <a:solidFill>
                  <a:srgbClr val="016877"/>
                </a:solidFill>
              </a:rPr>
              <a:t>Business Zone</a:t>
            </a:r>
          </a:p>
        </p:txBody>
      </p:sp>
      <p:sp>
        <p:nvSpPr>
          <p:cNvPr id="9" name="Symbol zastępczy numeru slajdu 8"/>
          <p:cNvSpPr>
            <a:spLocks noGrp="1"/>
          </p:cNvSpPr>
          <p:nvPr>
            <p:ph type="sldNum" sz="quarter" idx="12"/>
          </p:nvPr>
        </p:nvSpPr>
        <p:spPr/>
        <p:txBody>
          <a:bodyPr/>
          <a:lstStyle/>
          <a:p>
            <a:pPr defTabSz="467539"/>
            <a:fld id="{4387ED0C-AA8A-2244-8C38-E08A1AACED54}" type="slidenum">
              <a:rPr lang="pl-PL">
                <a:solidFill>
                  <a:srgbClr val="ED1B2F"/>
                </a:solidFill>
              </a:rPr>
              <a:pPr defTabSz="467539"/>
              <a:t>31</a:t>
            </a:fld>
            <a:r>
              <a:rPr lang="pl-PL">
                <a:solidFill>
                  <a:srgbClr val="ED1B2F"/>
                </a:solidFill>
              </a:rPr>
              <a:t> </a:t>
            </a:r>
            <a:endParaRPr lang="pl-PL" dirty="0">
              <a:solidFill>
                <a:srgbClr val="ED1B2F"/>
              </a:solidFill>
            </a:endParaRPr>
          </a:p>
        </p:txBody>
      </p:sp>
      <p:pic>
        <p:nvPicPr>
          <p:cNvPr id="11" name="Obraz 10">
            <a:extLst>
              <a:ext uri="{FF2B5EF4-FFF2-40B4-BE49-F238E27FC236}">
                <a16:creationId xmlns:a16="http://schemas.microsoft.com/office/drawing/2014/main" id="{510E007A-0CC4-473C-99C1-E4BC136589D7}"/>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7328801" y="1285357"/>
            <a:ext cx="4355883" cy="2672795"/>
          </a:xfrm>
          <a:prstGeom prst="rect">
            <a:avLst/>
          </a:prstGeom>
          <a:effectLst>
            <a:outerShdw blurRad="317500" dist="190500" dir="2700000" algn="ctr" rotWithShape="0">
              <a:schemeClr val="tx1">
                <a:alpha val="50000"/>
              </a:schemeClr>
            </a:outerShdw>
          </a:effectLst>
        </p:spPr>
      </p:pic>
      <p:sp>
        <p:nvSpPr>
          <p:cNvPr id="12" name="Symbol zastępczy tekstu 5">
            <a:extLst>
              <a:ext uri="{FF2B5EF4-FFF2-40B4-BE49-F238E27FC236}">
                <a16:creationId xmlns:a16="http://schemas.microsoft.com/office/drawing/2014/main" id="{31E2DA02-6B2B-4494-835B-5670AC9F0B71}"/>
              </a:ext>
            </a:extLst>
          </p:cNvPr>
          <p:cNvSpPr txBox="1">
            <a:spLocks/>
          </p:cNvSpPr>
          <p:nvPr/>
        </p:nvSpPr>
        <p:spPr>
          <a:xfrm>
            <a:off x="396732" y="769164"/>
            <a:ext cx="1697315" cy="341632"/>
          </a:xfrm>
          <a:prstGeom prst="rect">
            <a:avLst/>
          </a:prstGeom>
        </p:spPr>
        <p:txBody>
          <a:bodyPr wrap="square" anchor="ctr">
            <a:spAutoFit/>
          </a:bodyPr>
          <a:lstStyle>
            <a:lvl1pPr marL="0" indent="0" algn="l" defTabSz="914400" rtl="0" eaLnBrk="1" latinLnBrk="0" hangingPunct="1">
              <a:lnSpc>
                <a:spcPct val="90000"/>
              </a:lnSpc>
              <a:spcBef>
                <a:spcPts val="1000"/>
              </a:spcBef>
              <a:buFont typeface="Arial" panose="020B0604020202020204" pitchFamily="34" charset="0"/>
              <a:buNone/>
              <a:defRPr sz="1800" b="0" i="0" kern="1200">
                <a:solidFill>
                  <a:schemeClr val="tx1">
                    <a:lumMod val="90000"/>
                    <a:lumOff val="10000"/>
                  </a:schemeClr>
                </a:solidFill>
                <a:latin typeface="Helvetica"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1219170">
              <a:spcBef>
                <a:spcPts val="1333"/>
              </a:spcBef>
            </a:pPr>
            <a:r>
              <a:rPr lang="pl-PL" b="1" dirty="0">
                <a:solidFill>
                  <a:srgbClr val="016877"/>
                </a:solidFill>
              </a:rPr>
              <a:t>CA24 Mobile</a:t>
            </a:r>
          </a:p>
        </p:txBody>
      </p:sp>
      <p:sp>
        <p:nvSpPr>
          <p:cNvPr id="13" name="Symbol zastępczy tekstu 5">
            <a:extLst>
              <a:ext uri="{FF2B5EF4-FFF2-40B4-BE49-F238E27FC236}">
                <a16:creationId xmlns:a16="http://schemas.microsoft.com/office/drawing/2014/main" id="{9CABA32F-2EEA-48D6-9CDA-19F2E49941D8}"/>
              </a:ext>
            </a:extLst>
          </p:cNvPr>
          <p:cNvSpPr txBox="1">
            <a:spLocks/>
          </p:cNvSpPr>
          <p:nvPr/>
        </p:nvSpPr>
        <p:spPr>
          <a:xfrm>
            <a:off x="3815690" y="807304"/>
            <a:ext cx="1759551" cy="341632"/>
          </a:xfrm>
          <a:prstGeom prst="rect">
            <a:avLst/>
          </a:prstGeom>
        </p:spPr>
        <p:txBody>
          <a:bodyPr wrap="square" anchor="ctr">
            <a:spAutoFit/>
          </a:bodyPr>
          <a:lstStyle>
            <a:lvl1pPr marL="0" indent="0" algn="l" defTabSz="914400" rtl="0" eaLnBrk="1" latinLnBrk="0" hangingPunct="1">
              <a:lnSpc>
                <a:spcPct val="90000"/>
              </a:lnSpc>
              <a:spcBef>
                <a:spcPts val="1000"/>
              </a:spcBef>
              <a:buFont typeface="Arial" panose="020B0604020202020204" pitchFamily="34" charset="0"/>
              <a:buNone/>
              <a:defRPr sz="1800" b="0" i="0" kern="1200">
                <a:solidFill>
                  <a:schemeClr val="tx1">
                    <a:lumMod val="90000"/>
                    <a:lumOff val="10000"/>
                  </a:schemeClr>
                </a:solidFill>
                <a:latin typeface="Helvetica"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1219170">
              <a:spcBef>
                <a:spcPts val="1333"/>
              </a:spcBef>
            </a:pPr>
            <a:r>
              <a:rPr lang="pl-PL" b="1" dirty="0">
                <a:solidFill>
                  <a:srgbClr val="016877"/>
                </a:solidFill>
              </a:rPr>
              <a:t>CA24 eBank</a:t>
            </a:r>
          </a:p>
        </p:txBody>
      </p:sp>
      <p:grpSp>
        <p:nvGrpSpPr>
          <p:cNvPr id="18" name="Grupa 17">
            <a:extLst>
              <a:ext uri="{FF2B5EF4-FFF2-40B4-BE49-F238E27FC236}">
                <a16:creationId xmlns:a16="http://schemas.microsoft.com/office/drawing/2014/main" id="{342C84A7-86B7-4810-B150-AA6D500AE173}"/>
              </a:ext>
            </a:extLst>
          </p:cNvPr>
          <p:cNvGrpSpPr/>
          <p:nvPr/>
        </p:nvGrpSpPr>
        <p:grpSpPr>
          <a:xfrm>
            <a:off x="2297294" y="1285358"/>
            <a:ext cx="4563775" cy="2665396"/>
            <a:chOff x="2748575" y="2443299"/>
            <a:chExt cx="5191769" cy="3185699"/>
          </a:xfrm>
          <a:effectLst>
            <a:outerShdw blurRad="317500" dist="190500" dir="2700000" algn="ctr" rotWithShape="0">
              <a:schemeClr val="tx1">
                <a:alpha val="50000"/>
              </a:schemeClr>
            </a:outerShdw>
          </a:effectLst>
        </p:grpSpPr>
        <p:pic>
          <p:nvPicPr>
            <p:cNvPr id="17" name="Obraz 16">
              <a:extLst>
                <a:ext uri="{FF2B5EF4-FFF2-40B4-BE49-F238E27FC236}">
                  <a16:creationId xmlns:a16="http://schemas.microsoft.com/office/drawing/2014/main" id="{D15F8489-CEF3-4D67-B801-3ECD13A8B9BB}"/>
                </a:ext>
              </a:extLst>
            </p:cNvPr>
            <p:cNvPicPr>
              <a:picLocks noChangeAspect="1"/>
            </p:cNvPicPr>
            <p:nvPr/>
          </p:nvPicPr>
          <p:blipFill rotWithShape="1">
            <a:blip r:embed="rId4"/>
            <a:srcRect l="5704" r="31656"/>
            <a:stretch/>
          </p:blipFill>
          <p:spPr>
            <a:xfrm>
              <a:off x="2748575" y="2443299"/>
              <a:ext cx="5191769" cy="3185699"/>
            </a:xfrm>
            <a:prstGeom prst="rect">
              <a:avLst/>
            </a:prstGeom>
          </p:spPr>
        </p:pic>
        <p:pic>
          <p:nvPicPr>
            <p:cNvPr id="16" name="Obraz 15">
              <a:extLst>
                <a:ext uri="{FF2B5EF4-FFF2-40B4-BE49-F238E27FC236}">
                  <a16:creationId xmlns:a16="http://schemas.microsoft.com/office/drawing/2014/main" id="{7BE2A403-029D-4354-B9EF-4D312DFA566C}"/>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3228638" y="2573108"/>
              <a:ext cx="4354975" cy="2926080"/>
            </a:xfrm>
            <a:prstGeom prst="roundRect">
              <a:avLst>
                <a:gd name="adj" fmla="val 1945"/>
              </a:avLst>
            </a:prstGeom>
          </p:spPr>
        </p:pic>
      </p:grpSp>
      <p:pic>
        <p:nvPicPr>
          <p:cNvPr id="15" name="Obraz 14">
            <a:extLst>
              <a:ext uri="{FF2B5EF4-FFF2-40B4-BE49-F238E27FC236}">
                <a16:creationId xmlns:a16="http://schemas.microsoft.com/office/drawing/2014/main" id="{96C8B7CF-E4AB-4067-B3B8-05EB71AB9F72}"/>
              </a:ext>
            </a:extLst>
          </p:cNvPr>
          <p:cNvPicPr>
            <a:picLocks noChangeAspect="1"/>
          </p:cNvPicPr>
          <p:nvPr/>
        </p:nvPicPr>
        <p:blipFill>
          <a:blip r:embed="rId6"/>
          <a:stretch>
            <a:fillRect/>
          </a:stretch>
        </p:blipFill>
        <p:spPr>
          <a:xfrm>
            <a:off x="393693" y="1285359"/>
            <a:ext cx="1310697" cy="2665396"/>
          </a:xfrm>
          <a:prstGeom prst="rect">
            <a:avLst/>
          </a:prstGeom>
          <a:effectLst>
            <a:outerShdw blurRad="317500" dist="190500" dir="2700000" algn="ctr" rotWithShape="0">
              <a:schemeClr val="tx1">
                <a:alpha val="50000"/>
              </a:schemeClr>
            </a:outerShdw>
          </a:effectLst>
        </p:spPr>
      </p:pic>
      <p:sp>
        <p:nvSpPr>
          <p:cNvPr id="23" name="Schemat blokowy: proces alternatywny 22">
            <a:extLst>
              <a:ext uri="{FF2B5EF4-FFF2-40B4-BE49-F238E27FC236}">
                <a16:creationId xmlns:a16="http://schemas.microsoft.com/office/drawing/2014/main" id="{1A9A7A7C-2F0F-4B66-8B2C-1899592DE428}"/>
              </a:ext>
            </a:extLst>
          </p:cNvPr>
          <p:cNvSpPr/>
          <p:nvPr/>
        </p:nvSpPr>
        <p:spPr>
          <a:xfrm>
            <a:off x="976945" y="4235808"/>
            <a:ext cx="2123479" cy="2482385"/>
          </a:xfrm>
          <a:prstGeom prst="flowChartAlternateProcess">
            <a:avLst/>
          </a:prstGeom>
          <a:solidFill>
            <a:schemeClr val="accent2">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7539"/>
            <a:r>
              <a:rPr lang="pl-PL" sz="1400" b="1" dirty="0">
                <a:solidFill>
                  <a:srgbClr val="007D8F"/>
                </a:solidFill>
                <a:latin typeface="Helvetica" panose="020B0604020202020204" pitchFamily="34" charset="0"/>
                <a:cs typeface="Helvetica" panose="020B0604020202020204" pitchFamily="34" charset="0"/>
              </a:rPr>
              <a:t>CA24 Mobile*</a:t>
            </a:r>
          </a:p>
          <a:p>
            <a:pPr algn="ctr" defTabSz="467539"/>
            <a:endParaRPr lang="pl-PL" sz="1400" b="1" dirty="0">
              <a:solidFill>
                <a:srgbClr val="007D8F"/>
              </a:solidFill>
              <a:latin typeface="Helvetica" panose="020B0604020202020204" pitchFamily="34" charset="0"/>
              <a:cs typeface="Helvetica" panose="020B0604020202020204" pitchFamily="34" charset="0"/>
            </a:endParaRPr>
          </a:p>
          <a:p>
            <a:pPr algn="ctr" defTabSz="467539"/>
            <a:r>
              <a:rPr lang="pl-PL" sz="1200" b="1" dirty="0">
                <a:solidFill>
                  <a:srgbClr val="009597"/>
                </a:solidFill>
                <a:latin typeface="Helvetica" panose="020B0604020202020204" pitchFamily="34" charset="0"/>
                <a:cs typeface="Helvetica" panose="020B0604020202020204" pitchFamily="34" charset="0"/>
              </a:rPr>
              <a:t>No. Of </a:t>
            </a:r>
            <a:r>
              <a:rPr lang="pl-PL" sz="1200" b="1" dirty="0" err="1">
                <a:solidFill>
                  <a:srgbClr val="009597"/>
                </a:solidFill>
                <a:latin typeface="Helvetica" panose="020B0604020202020204" pitchFamily="34" charset="0"/>
                <a:cs typeface="Helvetica" panose="020B0604020202020204" pitchFamily="34" charset="0"/>
              </a:rPr>
              <a:t>customers</a:t>
            </a:r>
            <a:r>
              <a:rPr lang="pl-PL" sz="1200" b="1" dirty="0">
                <a:solidFill>
                  <a:srgbClr val="009597"/>
                </a:solidFill>
                <a:latin typeface="Helvetica" panose="020B0604020202020204" pitchFamily="34" charset="0"/>
                <a:cs typeface="Helvetica" panose="020B0604020202020204" pitchFamily="34" charset="0"/>
              </a:rPr>
              <a:t> with </a:t>
            </a:r>
            <a:r>
              <a:rPr lang="pl-PL" sz="1200" b="1" dirty="0" err="1">
                <a:solidFill>
                  <a:srgbClr val="009597"/>
                </a:solidFill>
                <a:latin typeface="Helvetica" panose="020B0604020202020204" pitchFamily="34" charset="0"/>
                <a:cs typeface="Helvetica" panose="020B0604020202020204" pitchFamily="34" charset="0"/>
              </a:rPr>
              <a:t>logins</a:t>
            </a:r>
            <a:endParaRPr lang="pl-PL" sz="1200" b="1" dirty="0">
              <a:solidFill>
                <a:srgbClr val="009597"/>
              </a:solidFill>
              <a:latin typeface="Helvetica" panose="020B0604020202020204" pitchFamily="34" charset="0"/>
              <a:cs typeface="Helvetica" panose="020B0604020202020204" pitchFamily="34" charset="0"/>
            </a:endParaRPr>
          </a:p>
          <a:p>
            <a:pPr algn="ctr" defTabSz="467539"/>
            <a:endParaRPr lang="pl-PL" sz="1200" b="1" dirty="0">
              <a:solidFill>
                <a:srgbClr val="009597"/>
              </a:solidFill>
              <a:latin typeface="Helvetica" panose="020B0604020202020204" pitchFamily="34" charset="0"/>
              <a:cs typeface="Helvetica" panose="020B0604020202020204" pitchFamily="34" charset="0"/>
            </a:endParaRPr>
          </a:p>
          <a:p>
            <a:pPr algn="ctr" defTabSz="467539"/>
            <a:r>
              <a:rPr lang="pl-PL" sz="1200" b="1" dirty="0">
                <a:solidFill>
                  <a:srgbClr val="009597"/>
                </a:solidFill>
                <a:latin typeface="Arial"/>
              </a:rPr>
              <a:t> 42 498</a:t>
            </a:r>
          </a:p>
          <a:p>
            <a:pPr algn="ctr" defTabSz="467539"/>
            <a:r>
              <a:rPr lang="pl-PL" sz="1200" b="1" dirty="0">
                <a:solidFill>
                  <a:srgbClr val="009597"/>
                </a:solidFill>
                <a:latin typeface="Arial"/>
              </a:rPr>
              <a:t>(63% of </a:t>
            </a:r>
            <a:r>
              <a:rPr lang="pl-PL" sz="1200" b="1" dirty="0" err="1">
                <a:solidFill>
                  <a:srgbClr val="009597"/>
                </a:solidFill>
                <a:latin typeface="Arial"/>
              </a:rPr>
              <a:t>all</a:t>
            </a:r>
            <a:r>
              <a:rPr lang="pl-PL" sz="1200" b="1" dirty="0">
                <a:solidFill>
                  <a:srgbClr val="009597"/>
                </a:solidFill>
                <a:latin typeface="Arial"/>
              </a:rPr>
              <a:t> </a:t>
            </a:r>
            <a:r>
              <a:rPr lang="pl-PL" sz="1200" b="1" dirty="0" err="1">
                <a:solidFill>
                  <a:srgbClr val="009597"/>
                </a:solidFill>
                <a:latin typeface="Arial"/>
              </a:rPr>
              <a:t>customers</a:t>
            </a:r>
            <a:r>
              <a:rPr lang="pl-PL" sz="1200" b="1" dirty="0">
                <a:solidFill>
                  <a:srgbClr val="009597"/>
                </a:solidFill>
                <a:latin typeface="Arial"/>
              </a:rPr>
              <a:t>)</a:t>
            </a:r>
          </a:p>
          <a:p>
            <a:pPr algn="ctr" defTabSz="467539"/>
            <a:endParaRPr lang="pl-PL" sz="1200" b="1" dirty="0">
              <a:solidFill>
                <a:srgbClr val="4D576A"/>
              </a:solidFill>
              <a:latin typeface="Arial"/>
            </a:endParaRPr>
          </a:p>
          <a:p>
            <a:pPr algn="ctr" defTabSz="467539"/>
            <a:r>
              <a:rPr lang="pl-PL" sz="1200" b="1" dirty="0">
                <a:solidFill>
                  <a:srgbClr val="4D576A"/>
                </a:solidFill>
                <a:latin typeface="Arial"/>
              </a:rPr>
              <a:t>No. Of marketing </a:t>
            </a:r>
            <a:r>
              <a:rPr lang="pl-PL" sz="1200" b="1" dirty="0" err="1">
                <a:solidFill>
                  <a:srgbClr val="4D576A"/>
                </a:solidFill>
                <a:latin typeface="Arial"/>
              </a:rPr>
              <a:t>strategies</a:t>
            </a:r>
            <a:endParaRPr lang="pl-PL" sz="1200" b="1" dirty="0">
              <a:solidFill>
                <a:srgbClr val="4D576A"/>
              </a:solidFill>
              <a:latin typeface="Arial"/>
            </a:endParaRPr>
          </a:p>
          <a:p>
            <a:pPr algn="ctr" defTabSz="467539"/>
            <a:endParaRPr lang="pl-PL" sz="1200" b="1" dirty="0">
              <a:solidFill>
                <a:srgbClr val="4D576A"/>
              </a:solidFill>
              <a:latin typeface="Arial"/>
            </a:endParaRPr>
          </a:p>
          <a:p>
            <a:pPr algn="ctr" defTabSz="467539"/>
            <a:r>
              <a:rPr lang="pl-PL" sz="1200" b="1" dirty="0">
                <a:solidFill>
                  <a:srgbClr val="4D576A"/>
                </a:solidFill>
                <a:latin typeface="Arial"/>
              </a:rPr>
              <a:t>31</a:t>
            </a:r>
          </a:p>
        </p:txBody>
      </p:sp>
      <p:sp>
        <p:nvSpPr>
          <p:cNvPr id="26" name="Schemat blokowy: proces alternatywny 25">
            <a:extLst>
              <a:ext uri="{FF2B5EF4-FFF2-40B4-BE49-F238E27FC236}">
                <a16:creationId xmlns:a16="http://schemas.microsoft.com/office/drawing/2014/main" id="{D9BB3066-9C12-4506-9B51-34BEE01B0B32}"/>
              </a:ext>
            </a:extLst>
          </p:cNvPr>
          <p:cNvSpPr/>
          <p:nvPr/>
        </p:nvSpPr>
        <p:spPr>
          <a:xfrm>
            <a:off x="4364781" y="4270862"/>
            <a:ext cx="2120073" cy="2482385"/>
          </a:xfrm>
          <a:prstGeom prst="flowChartAlternateProcess">
            <a:avLst/>
          </a:prstGeom>
          <a:solidFill>
            <a:schemeClr val="accent2">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7539"/>
            <a:r>
              <a:rPr lang="pl-PL" sz="1400" b="1" dirty="0">
                <a:solidFill>
                  <a:srgbClr val="007D8F"/>
                </a:solidFill>
                <a:latin typeface="Helvetica" panose="020B0604020202020204" pitchFamily="34" charset="0"/>
                <a:cs typeface="Helvetica" panose="020B0604020202020204" pitchFamily="34" charset="0"/>
              </a:rPr>
              <a:t>CA24 </a:t>
            </a:r>
            <a:r>
              <a:rPr lang="pl-PL" sz="1400" b="1" dirty="0" err="1">
                <a:solidFill>
                  <a:srgbClr val="007D8F"/>
                </a:solidFill>
                <a:latin typeface="Helvetica" panose="020B0604020202020204" pitchFamily="34" charset="0"/>
                <a:cs typeface="Helvetica" panose="020B0604020202020204" pitchFamily="34" charset="0"/>
              </a:rPr>
              <a:t>eBank</a:t>
            </a:r>
            <a:r>
              <a:rPr lang="pl-PL" sz="1400" b="1" dirty="0">
                <a:solidFill>
                  <a:srgbClr val="007D8F"/>
                </a:solidFill>
                <a:latin typeface="Helvetica" panose="020B0604020202020204" pitchFamily="34" charset="0"/>
                <a:cs typeface="Helvetica" panose="020B0604020202020204" pitchFamily="34" charset="0"/>
              </a:rPr>
              <a:t>*</a:t>
            </a:r>
          </a:p>
          <a:p>
            <a:pPr algn="ctr" defTabSz="467539"/>
            <a:endParaRPr lang="pl-PL" sz="1200" b="1" dirty="0">
              <a:solidFill>
                <a:srgbClr val="007D8F"/>
              </a:solidFill>
              <a:latin typeface="Helvetica" panose="020B0604020202020204" pitchFamily="34" charset="0"/>
              <a:cs typeface="Helvetica" panose="020B0604020202020204" pitchFamily="34" charset="0"/>
            </a:endParaRPr>
          </a:p>
          <a:p>
            <a:pPr algn="ctr" defTabSz="467539"/>
            <a:r>
              <a:rPr lang="pl-PL" sz="1200" b="1" dirty="0">
                <a:solidFill>
                  <a:srgbClr val="009597"/>
                </a:solidFill>
                <a:latin typeface="Helvetica" panose="020B0604020202020204" pitchFamily="34" charset="0"/>
                <a:cs typeface="Helvetica" panose="020B0604020202020204" pitchFamily="34" charset="0"/>
              </a:rPr>
              <a:t>No. Of </a:t>
            </a:r>
            <a:r>
              <a:rPr lang="pl-PL" sz="1200" b="1" dirty="0" err="1">
                <a:solidFill>
                  <a:srgbClr val="009597"/>
                </a:solidFill>
                <a:latin typeface="Helvetica" panose="020B0604020202020204" pitchFamily="34" charset="0"/>
                <a:cs typeface="Helvetica" panose="020B0604020202020204" pitchFamily="34" charset="0"/>
              </a:rPr>
              <a:t>customers</a:t>
            </a:r>
            <a:r>
              <a:rPr lang="pl-PL" sz="1200" b="1" dirty="0">
                <a:solidFill>
                  <a:srgbClr val="009597"/>
                </a:solidFill>
                <a:latin typeface="Helvetica" panose="020B0604020202020204" pitchFamily="34" charset="0"/>
                <a:cs typeface="Helvetica" panose="020B0604020202020204" pitchFamily="34" charset="0"/>
              </a:rPr>
              <a:t> with </a:t>
            </a:r>
            <a:r>
              <a:rPr lang="pl-PL" sz="1200" b="1" dirty="0" err="1">
                <a:solidFill>
                  <a:srgbClr val="009597"/>
                </a:solidFill>
                <a:latin typeface="Helvetica" panose="020B0604020202020204" pitchFamily="34" charset="0"/>
                <a:cs typeface="Helvetica" panose="020B0604020202020204" pitchFamily="34" charset="0"/>
              </a:rPr>
              <a:t>logins</a:t>
            </a:r>
            <a:endParaRPr lang="pl-PL" sz="1200" b="1" dirty="0">
              <a:solidFill>
                <a:srgbClr val="009597"/>
              </a:solidFill>
              <a:latin typeface="Helvetica" panose="020B0604020202020204" pitchFamily="34" charset="0"/>
              <a:cs typeface="Helvetica" panose="020B0604020202020204" pitchFamily="34" charset="0"/>
            </a:endParaRPr>
          </a:p>
          <a:p>
            <a:pPr algn="ctr" defTabSz="467539"/>
            <a:endParaRPr lang="pl-PL" sz="1200" b="1" dirty="0">
              <a:solidFill>
                <a:srgbClr val="009597"/>
              </a:solidFill>
              <a:latin typeface="Helvetica" panose="020B0604020202020204" pitchFamily="34" charset="0"/>
              <a:cs typeface="Helvetica" panose="020B0604020202020204" pitchFamily="34" charset="0"/>
            </a:endParaRPr>
          </a:p>
          <a:p>
            <a:pPr algn="ctr" defTabSz="467539"/>
            <a:r>
              <a:rPr lang="pl-PL" sz="1200" b="1" dirty="0">
                <a:solidFill>
                  <a:srgbClr val="009597"/>
                </a:solidFill>
                <a:latin typeface="Arial"/>
              </a:rPr>
              <a:t> 34 140</a:t>
            </a:r>
          </a:p>
          <a:p>
            <a:pPr algn="ctr" defTabSz="467539"/>
            <a:r>
              <a:rPr lang="pl-PL" sz="1200" b="1" dirty="0">
                <a:solidFill>
                  <a:srgbClr val="009597"/>
                </a:solidFill>
                <a:latin typeface="Arial"/>
              </a:rPr>
              <a:t>(51% of </a:t>
            </a:r>
            <a:r>
              <a:rPr lang="pl-PL" sz="1200" b="1" dirty="0" err="1">
                <a:solidFill>
                  <a:srgbClr val="009597"/>
                </a:solidFill>
                <a:latin typeface="Arial"/>
              </a:rPr>
              <a:t>all</a:t>
            </a:r>
            <a:r>
              <a:rPr lang="pl-PL" sz="1200" b="1" dirty="0">
                <a:solidFill>
                  <a:srgbClr val="009597"/>
                </a:solidFill>
                <a:latin typeface="Arial"/>
              </a:rPr>
              <a:t> </a:t>
            </a:r>
            <a:r>
              <a:rPr lang="pl-PL" sz="1200" b="1" dirty="0" err="1">
                <a:solidFill>
                  <a:srgbClr val="009597"/>
                </a:solidFill>
                <a:latin typeface="Arial"/>
              </a:rPr>
              <a:t>customers</a:t>
            </a:r>
            <a:r>
              <a:rPr lang="pl-PL" sz="1200" b="1" dirty="0">
                <a:solidFill>
                  <a:srgbClr val="009597"/>
                </a:solidFill>
                <a:latin typeface="Arial"/>
              </a:rPr>
              <a:t>)</a:t>
            </a:r>
          </a:p>
          <a:p>
            <a:pPr algn="ctr" defTabSz="467539"/>
            <a:endParaRPr lang="pl-PL" sz="1200" b="1" dirty="0">
              <a:solidFill>
                <a:srgbClr val="4D576A"/>
              </a:solidFill>
              <a:latin typeface="Arial"/>
            </a:endParaRPr>
          </a:p>
          <a:p>
            <a:pPr algn="ctr" defTabSz="467539"/>
            <a:r>
              <a:rPr lang="pl-PL" sz="1200" b="1" dirty="0">
                <a:solidFill>
                  <a:srgbClr val="4D576A"/>
                </a:solidFill>
                <a:latin typeface="Arial"/>
              </a:rPr>
              <a:t>No. Of marketing </a:t>
            </a:r>
            <a:r>
              <a:rPr lang="pl-PL" sz="1200" b="1" dirty="0" err="1">
                <a:solidFill>
                  <a:srgbClr val="4D576A"/>
                </a:solidFill>
                <a:latin typeface="Arial"/>
              </a:rPr>
              <a:t>strategies</a:t>
            </a:r>
            <a:endParaRPr lang="pl-PL" sz="1200" b="1" dirty="0">
              <a:solidFill>
                <a:srgbClr val="4D576A"/>
              </a:solidFill>
              <a:latin typeface="Arial"/>
            </a:endParaRPr>
          </a:p>
          <a:p>
            <a:pPr algn="ctr" defTabSz="467539"/>
            <a:r>
              <a:rPr lang="pl-PL" sz="1400" b="1" dirty="0">
                <a:solidFill>
                  <a:srgbClr val="4D576A"/>
                </a:solidFill>
                <a:latin typeface="Arial"/>
              </a:rPr>
              <a:t> </a:t>
            </a:r>
          </a:p>
          <a:p>
            <a:pPr algn="ctr" defTabSz="467539"/>
            <a:r>
              <a:rPr lang="pl-PL" sz="1400" b="1" dirty="0">
                <a:solidFill>
                  <a:srgbClr val="4D576A"/>
                </a:solidFill>
                <a:latin typeface="Arial"/>
              </a:rPr>
              <a:t>10</a:t>
            </a:r>
          </a:p>
        </p:txBody>
      </p:sp>
      <p:sp>
        <p:nvSpPr>
          <p:cNvPr id="27" name="Schemat blokowy: proces alternatywny 26">
            <a:extLst>
              <a:ext uri="{FF2B5EF4-FFF2-40B4-BE49-F238E27FC236}">
                <a16:creationId xmlns:a16="http://schemas.microsoft.com/office/drawing/2014/main" id="{6A943691-80EB-4C9D-AAE0-A61C1AC293E2}"/>
              </a:ext>
            </a:extLst>
          </p:cNvPr>
          <p:cNvSpPr/>
          <p:nvPr/>
        </p:nvSpPr>
        <p:spPr>
          <a:xfrm>
            <a:off x="7747509" y="4260681"/>
            <a:ext cx="2123479" cy="2482385"/>
          </a:xfrm>
          <a:prstGeom prst="flowChartAlternateProcess">
            <a:avLst/>
          </a:prstGeom>
          <a:solidFill>
            <a:schemeClr val="accent2">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7539"/>
            <a:r>
              <a:rPr lang="pl-PL" sz="1400" b="1" dirty="0">
                <a:solidFill>
                  <a:srgbClr val="007D8F"/>
                </a:solidFill>
                <a:latin typeface="Helvetica" panose="020B0604020202020204" pitchFamily="34" charset="0"/>
                <a:cs typeface="Helvetica" panose="020B0604020202020204" pitchFamily="34" charset="0"/>
              </a:rPr>
              <a:t>Business Zone*</a:t>
            </a:r>
          </a:p>
          <a:p>
            <a:pPr algn="ctr" defTabSz="467539"/>
            <a:endParaRPr lang="pl-PL" sz="1200" b="1" dirty="0">
              <a:solidFill>
                <a:srgbClr val="007D8F"/>
              </a:solidFill>
              <a:latin typeface="Helvetica" panose="020B0604020202020204" pitchFamily="34" charset="0"/>
              <a:cs typeface="Helvetica" panose="020B0604020202020204" pitchFamily="34" charset="0"/>
            </a:endParaRPr>
          </a:p>
          <a:p>
            <a:pPr algn="ctr" defTabSz="467539"/>
            <a:r>
              <a:rPr lang="pl-PL" sz="1200" b="1" dirty="0">
                <a:solidFill>
                  <a:srgbClr val="009597"/>
                </a:solidFill>
                <a:latin typeface="Helvetica" panose="020B0604020202020204" pitchFamily="34" charset="0"/>
                <a:cs typeface="Helvetica" panose="020B0604020202020204" pitchFamily="34" charset="0"/>
              </a:rPr>
              <a:t>No. Of </a:t>
            </a:r>
            <a:r>
              <a:rPr lang="pl-PL" sz="1200" b="1" dirty="0" err="1">
                <a:solidFill>
                  <a:srgbClr val="009597"/>
                </a:solidFill>
                <a:latin typeface="Helvetica" panose="020B0604020202020204" pitchFamily="34" charset="0"/>
                <a:cs typeface="Helvetica" panose="020B0604020202020204" pitchFamily="34" charset="0"/>
              </a:rPr>
              <a:t>customers</a:t>
            </a:r>
            <a:r>
              <a:rPr lang="pl-PL" sz="1200" b="1" dirty="0">
                <a:solidFill>
                  <a:srgbClr val="009597"/>
                </a:solidFill>
                <a:latin typeface="Helvetica" panose="020B0604020202020204" pitchFamily="34" charset="0"/>
                <a:cs typeface="Helvetica" panose="020B0604020202020204" pitchFamily="34" charset="0"/>
              </a:rPr>
              <a:t> with </a:t>
            </a:r>
            <a:r>
              <a:rPr lang="pl-PL" sz="1200" b="1" dirty="0" err="1">
                <a:solidFill>
                  <a:srgbClr val="009597"/>
                </a:solidFill>
                <a:latin typeface="Helvetica" panose="020B0604020202020204" pitchFamily="34" charset="0"/>
                <a:cs typeface="Helvetica" panose="020B0604020202020204" pitchFamily="34" charset="0"/>
              </a:rPr>
              <a:t>logins</a:t>
            </a:r>
            <a:endParaRPr lang="pl-PL" sz="1200" b="1" dirty="0">
              <a:solidFill>
                <a:srgbClr val="009597"/>
              </a:solidFill>
              <a:latin typeface="Helvetica" panose="020B0604020202020204" pitchFamily="34" charset="0"/>
              <a:cs typeface="Helvetica" panose="020B0604020202020204" pitchFamily="34" charset="0"/>
            </a:endParaRPr>
          </a:p>
          <a:p>
            <a:pPr algn="ctr" defTabSz="467539"/>
            <a:endParaRPr lang="pl-PL" sz="1200" b="1" dirty="0">
              <a:solidFill>
                <a:srgbClr val="009597"/>
              </a:solidFill>
              <a:latin typeface="Helvetica" panose="020B0604020202020204" pitchFamily="34" charset="0"/>
              <a:cs typeface="Helvetica" panose="020B0604020202020204" pitchFamily="34" charset="0"/>
            </a:endParaRPr>
          </a:p>
          <a:p>
            <a:pPr algn="ctr" defTabSz="467539"/>
            <a:r>
              <a:rPr lang="pl-PL" sz="1200" b="1" dirty="0">
                <a:solidFill>
                  <a:srgbClr val="009597"/>
                </a:solidFill>
                <a:latin typeface="Arial"/>
              </a:rPr>
              <a:t> 19 724 </a:t>
            </a:r>
          </a:p>
          <a:p>
            <a:pPr algn="ctr" defTabSz="467539"/>
            <a:r>
              <a:rPr lang="pl-PL" sz="1200" b="1" dirty="0">
                <a:solidFill>
                  <a:srgbClr val="009597"/>
                </a:solidFill>
                <a:latin typeface="Arial"/>
              </a:rPr>
              <a:t>(</a:t>
            </a:r>
            <a:r>
              <a:rPr lang="en-US" sz="1200" b="1" dirty="0">
                <a:solidFill>
                  <a:srgbClr val="009597"/>
                </a:solidFill>
                <a:latin typeface="Arial"/>
              </a:rPr>
              <a:t>49% of all customers with the access</a:t>
            </a:r>
            <a:r>
              <a:rPr lang="pl-PL" sz="1200" b="1" dirty="0">
                <a:solidFill>
                  <a:srgbClr val="009597"/>
                </a:solidFill>
                <a:latin typeface="Arial"/>
              </a:rPr>
              <a:t>)</a:t>
            </a:r>
          </a:p>
          <a:p>
            <a:pPr algn="ctr" defTabSz="467539"/>
            <a:endParaRPr lang="pl-PL" sz="1200" b="1" dirty="0">
              <a:solidFill>
                <a:srgbClr val="4D576A"/>
              </a:solidFill>
              <a:latin typeface="Arial"/>
            </a:endParaRPr>
          </a:p>
          <a:p>
            <a:pPr algn="ctr" defTabSz="467539"/>
            <a:r>
              <a:rPr lang="pl-PL" sz="1200" b="1" dirty="0">
                <a:solidFill>
                  <a:srgbClr val="4D576A"/>
                </a:solidFill>
                <a:latin typeface="Arial"/>
              </a:rPr>
              <a:t>No. Of marketing </a:t>
            </a:r>
            <a:r>
              <a:rPr lang="pl-PL" sz="1200" b="1" dirty="0" err="1">
                <a:solidFill>
                  <a:srgbClr val="4D576A"/>
                </a:solidFill>
                <a:latin typeface="Arial"/>
              </a:rPr>
              <a:t>strategies</a:t>
            </a:r>
            <a:endParaRPr lang="pl-PL" sz="1200" b="1" dirty="0">
              <a:solidFill>
                <a:srgbClr val="4D576A"/>
              </a:solidFill>
              <a:latin typeface="Arial"/>
            </a:endParaRPr>
          </a:p>
          <a:p>
            <a:pPr algn="ctr" defTabSz="467539"/>
            <a:r>
              <a:rPr lang="pl-PL" sz="1400" b="1" dirty="0">
                <a:solidFill>
                  <a:srgbClr val="4D576A"/>
                </a:solidFill>
                <a:latin typeface="Arial"/>
              </a:rPr>
              <a:t> </a:t>
            </a:r>
          </a:p>
          <a:p>
            <a:pPr algn="ctr" defTabSz="467539"/>
            <a:r>
              <a:rPr lang="pl-PL" sz="1400" b="1" dirty="0">
                <a:solidFill>
                  <a:srgbClr val="4D576A"/>
                </a:solidFill>
                <a:latin typeface="Arial"/>
              </a:rPr>
              <a:t>36</a:t>
            </a:r>
          </a:p>
        </p:txBody>
      </p:sp>
      <p:pic>
        <p:nvPicPr>
          <p:cNvPr id="29" name="Obraz 28">
            <a:extLst>
              <a:ext uri="{FF2B5EF4-FFF2-40B4-BE49-F238E27FC236}">
                <a16:creationId xmlns:a16="http://schemas.microsoft.com/office/drawing/2014/main" id="{4B497E92-ADFE-4C6F-98F1-A31A89A2817D}"/>
              </a:ext>
            </a:extLst>
          </p:cNvPr>
          <p:cNvPicPr>
            <a:picLocks noChangeAspect="1"/>
          </p:cNvPicPr>
          <p:nvPr/>
        </p:nvPicPr>
        <p:blipFill>
          <a:blip r:embed="rId7"/>
          <a:stretch>
            <a:fillRect/>
          </a:stretch>
        </p:blipFill>
        <p:spPr>
          <a:xfrm>
            <a:off x="630376" y="4074657"/>
            <a:ext cx="859771" cy="859771"/>
          </a:xfrm>
          <a:prstGeom prst="rect">
            <a:avLst/>
          </a:prstGeom>
        </p:spPr>
      </p:pic>
      <p:pic>
        <p:nvPicPr>
          <p:cNvPr id="30" name="Obraz 29">
            <a:extLst>
              <a:ext uri="{FF2B5EF4-FFF2-40B4-BE49-F238E27FC236}">
                <a16:creationId xmlns:a16="http://schemas.microsoft.com/office/drawing/2014/main" id="{EEE99A3E-EED8-4406-B8FB-401DF2ADF827}"/>
              </a:ext>
            </a:extLst>
          </p:cNvPr>
          <p:cNvPicPr>
            <a:picLocks noChangeAspect="1"/>
          </p:cNvPicPr>
          <p:nvPr/>
        </p:nvPicPr>
        <p:blipFill>
          <a:blip r:embed="rId8"/>
          <a:stretch>
            <a:fillRect/>
          </a:stretch>
        </p:blipFill>
        <p:spPr>
          <a:xfrm>
            <a:off x="3858125" y="4185961"/>
            <a:ext cx="748467" cy="748467"/>
          </a:xfrm>
          <a:prstGeom prst="rect">
            <a:avLst/>
          </a:prstGeom>
        </p:spPr>
      </p:pic>
      <p:pic>
        <p:nvPicPr>
          <p:cNvPr id="34" name="Obraz 33">
            <a:extLst>
              <a:ext uri="{FF2B5EF4-FFF2-40B4-BE49-F238E27FC236}">
                <a16:creationId xmlns:a16="http://schemas.microsoft.com/office/drawing/2014/main" id="{EBA37619-3DF4-4841-AD90-FA84270FC8F3}"/>
              </a:ext>
            </a:extLst>
          </p:cNvPr>
          <p:cNvPicPr>
            <a:picLocks noChangeAspect="1"/>
          </p:cNvPicPr>
          <p:nvPr/>
        </p:nvPicPr>
        <p:blipFill>
          <a:blip r:embed="rId9"/>
          <a:stretch>
            <a:fillRect/>
          </a:stretch>
        </p:blipFill>
        <p:spPr>
          <a:xfrm>
            <a:off x="7099741" y="4053548"/>
            <a:ext cx="1002587" cy="1002587"/>
          </a:xfrm>
          <a:prstGeom prst="rect">
            <a:avLst/>
          </a:prstGeom>
        </p:spPr>
      </p:pic>
      <p:pic>
        <p:nvPicPr>
          <p:cNvPr id="4" name="Obraz 3">
            <a:extLst>
              <a:ext uri="{FF2B5EF4-FFF2-40B4-BE49-F238E27FC236}">
                <a16:creationId xmlns:a16="http://schemas.microsoft.com/office/drawing/2014/main" id="{11301F74-7DEA-4CD9-A960-C35D11F43D7D}"/>
              </a:ext>
            </a:extLst>
          </p:cNvPr>
          <p:cNvPicPr>
            <a:picLocks noChangeAspect="1"/>
          </p:cNvPicPr>
          <p:nvPr/>
        </p:nvPicPr>
        <p:blipFill>
          <a:blip r:embed="rId10"/>
          <a:stretch>
            <a:fillRect/>
          </a:stretch>
        </p:blipFill>
        <p:spPr>
          <a:xfrm>
            <a:off x="10128999" y="5853942"/>
            <a:ext cx="1282879" cy="889124"/>
          </a:xfrm>
          <a:prstGeom prst="rect">
            <a:avLst/>
          </a:prstGeom>
        </p:spPr>
      </p:pic>
    </p:spTree>
    <p:extLst>
      <p:ext uri="{BB962C8B-B14F-4D97-AF65-F5344CB8AC3E}">
        <p14:creationId xmlns:p14="http://schemas.microsoft.com/office/powerpoint/2010/main" val="187798388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ytuł 1">
            <a:extLst>
              <a:ext uri="{FF2B5EF4-FFF2-40B4-BE49-F238E27FC236}">
                <a16:creationId xmlns:a16="http://schemas.microsoft.com/office/drawing/2014/main" id="{30BFCB6D-F760-456D-956F-E9C446A271C8}"/>
              </a:ext>
            </a:extLst>
          </p:cNvPr>
          <p:cNvSpPr>
            <a:spLocks noGrp="1"/>
          </p:cNvSpPr>
          <p:nvPr>
            <p:ph type="title"/>
          </p:nvPr>
        </p:nvSpPr>
        <p:spPr>
          <a:xfrm>
            <a:off x="189601" y="1042157"/>
            <a:ext cx="11526233" cy="512329"/>
          </a:xfrm>
        </p:spPr>
        <p:txBody>
          <a:bodyPr/>
          <a:lstStyle/>
          <a:p>
            <a:r>
              <a:rPr lang="pl-PL" sz="2933" dirty="0" err="1">
                <a:solidFill>
                  <a:srgbClr val="009597"/>
                </a:solidFill>
              </a:rPr>
              <a:t>Holistic</a:t>
            </a:r>
            <a:r>
              <a:rPr lang="pl-PL" sz="2933" dirty="0">
                <a:solidFill>
                  <a:srgbClr val="009597"/>
                </a:solidFill>
              </a:rPr>
              <a:t> </a:t>
            </a:r>
            <a:r>
              <a:rPr lang="pl-PL" sz="2933" dirty="0" err="1">
                <a:solidFill>
                  <a:srgbClr val="009597"/>
                </a:solidFill>
              </a:rPr>
              <a:t>aproach</a:t>
            </a:r>
            <a:r>
              <a:rPr lang="pl-PL" sz="2933" dirty="0">
                <a:solidFill>
                  <a:srgbClr val="009597"/>
                </a:solidFill>
              </a:rPr>
              <a:t> to marketing </a:t>
            </a:r>
            <a:r>
              <a:rPr lang="pl-PL" sz="2933" dirty="0" err="1">
                <a:solidFill>
                  <a:srgbClr val="009597"/>
                </a:solidFill>
              </a:rPr>
              <a:t>communication</a:t>
            </a:r>
            <a:r>
              <a:rPr lang="pl-PL" sz="2933" dirty="0">
                <a:solidFill>
                  <a:srgbClr val="009597"/>
                </a:solidFill>
              </a:rPr>
              <a:t> with SOHO/AGRO </a:t>
            </a:r>
            <a:r>
              <a:rPr lang="pl-PL" sz="2933" dirty="0" err="1">
                <a:solidFill>
                  <a:srgbClr val="009597"/>
                </a:solidFill>
              </a:rPr>
              <a:t>customers</a:t>
            </a:r>
            <a:br>
              <a:rPr lang="pl-PL" sz="2933" dirty="0">
                <a:solidFill>
                  <a:srgbClr val="009597"/>
                </a:solidFill>
              </a:rPr>
            </a:br>
            <a:r>
              <a:rPr lang="pl-PL" sz="1800" dirty="0">
                <a:solidFill>
                  <a:srgbClr val="009597"/>
                </a:solidFill>
              </a:rPr>
              <a:t>Business </a:t>
            </a:r>
            <a:r>
              <a:rPr lang="pl-PL" sz="1800" dirty="0" err="1">
                <a:solidFill>
                  <a:srgbClr val="009597"/>
                </a:solidFill>
              </a:rPr>
              <a:t>case</a:t>
            </a:r>
            <a:r>
              <a:rPr lang="pl-PL" sz="1800" dirty="0">
                <a:solidFill>
                  <a:srgbClr val="009597"/>
                </a:solidFill>
              </a:rPr>
              <a:t> - </a:t>
            </a:r>
            <a:r>
              <a:rPr lang="en-US" sz="1800" dirty="0">
                <a:solidFill>
                  <a:srgbClr val="009597"/>
                </a:solidFill>
              </a:rPr>
              <a:t>communication about changes in the invoicing system</a:t>
            </a:r>
            <a:r>
              <a:rPr lang="pl-PL" sz="1800" dirty="0">
                <a:solidFill>
                  <a:srgbClr val="009597"/>
                </a:solidFill>
              </a:rPr>
              <a:t> for KSEF</a:t>
            </a:r>
            <a:br>
              <a:rPr lang="pl-PL" sz="2400" dirty="0">
                <a:solidFill>
                  <a:srgbClr val="007D8F"/>
                </a:solidFill>
                <a:latin typeface="Arial" panose="020B0604020202020204" pitchFamily="34" charset="0"/>
                <a:cs typeface="Arial" panose="020B0604020202020204" pitchFamily="34" charset="0"/>
              </a:rPr>
            </a:br>
            <a:endParaRPr lang="en-AU" sz="2400" dirty="0">
              <a:solidFill>
                <a:srgbClr val="007D8F"/>
              </a:solidFill>
              <a:latin typeface="Arial" panose="020B0604020202020204" pitchFamily="34" charset="0"/>
              <a:cs typeface="Arial" panose="020B0604020202020204" pitchFamily="34" charset="0"/>
            </a:endParaRPr>
          </a:p>
        </p:txBody>
      </p:sp>
      <p:sp>
        <p:nvSpPr>
          <p:cNvPr id="23" name="pole tekstowe 22">
            <a:extLst>
              <a:ext uri="{FF2B5EF4-FFF2-40B4-BE49-F238E27FC236}">
                <a16:creationId xmlns:a16="http://schemas.microsoft.com/office/drawing/2014/main" id="{55C1BD7B-F32B-422C-A48B-B216A93A2330}"/>
              </a:ext>
            </a:extLst>
          </p:cNvPr>
          <p:cNvSpPr txBox="1"/>
          <p:nvPr/>
        </p:nvSpPr>
        <p:spPr>
          <a:xfrm>
            <a:off x="3707118" y="1696899"/>
            <a:ext cx="2421189" cy="276999"/>
          </a:xfrm>
          <a:prstGeom prst="rect">
            <a:avLst/>
          </a:prstGeom>
          <a:noFill/>
        </p:spPr>
        <p:txBody>
          <a:bodyPr wrap="square" rtlCol="0">
            <a:spAutoFit/>
          </a:bodyPr>
          <a:lstStyle/>
          <a:p>
            <a:pPr marL="179542" lvl="1" defTabSz="914296">
              <a:spcAft>
                <a:spcPts val="800"/>
              </a:spcAft>
              <a:buClr>
                <a:srgbClr val="70A300">
                  <a:lumMod val="75000"/>
                </a:srgbClr>
              </a:buClr>
              <a:buSzPct val="100000"/>
              <a:defRPr/>
            </a:pPr>
            <a:r>
              <a:rPr lang="pl-PL" sz="1200" b="1" dirty="0">
                <a:solidFill>
                  <a:srgbClr val="009597"/>
                </a:solidFill>
                <a:latin typeface="Arial" panose="020B0604020202020204" pitchFamily="34" charset="0"/>
                <a:cs typeface="Arial" panose="020B0604020202020204" pitchFamily="34" charset="0"/>
              </a:rPr>
              <a:t>Target </a:t>
            </a:r>
            <a:r>
              <a:rPr lang="pl-PL" sz="1200" b="1" dirty="0" err="1">
                <a:solidFill>
                  <a:srgbClr val="009597"/>
                </a:solidFill>
                <a:latin typeface="Arial" panose="020B0604020202020204" pitchFamily="34" charset="0"/>
                <a:cs typeface="Arial" panose="020B0604020202020204" pitchFamily="34" charset="0"/>
              </a:rPr>
              <a:t>group</a:t>
            </a:r>
            <a:r>
              <a:rPr lang="pl-PL" sz="1200" b="1" dirty="0">
                <a:solidFill>
                  <a:srgbClr val="009597"/>
                </a:solidFill>
                <a:latin typeface="Arial" panose="020B0604020202020204" pitchFamily="34" charset="0"/>
                <a:cs typeface="Arial" panose="020B0604020202020204" pitchFamily="34" charset="0"/>
              </a:rPr>
              <a:t>: </a:t>
            </a:r>
          </a:p>
        </p:txBody>
      </p:sp>
      <p:sp>
        <p:nvSpPr>
          <p:cNvPr id="32" name="pole tekstowe 31">
            <a:extLst>
              <a:ext uri="{FF2B5EF4-FFF2-40B4-BE49-F238E27FC236}">
                <a16:creationId xmlns:a16="http://schemas.microsoft.com/office/drawing/2014/main" id="{E4CF067D-2FD8-42FE-AE53-B5A0CCEF2619}"/>
              </a:ext>
            </a:extLst>
          </p:cNvPr>
          <p:cNvSpPr txBox="1"/>
          <p:nvPr/>
        </p:nvSpPr>
        <p:spPr>
          <a:xfrm>
            <a:off x="3707118" y="1957629"/>
            <a:ext cx="4567623" cy="759182"/>
          </a:xfrm>
          <a:prstGeom prst="rect">
            <a:avLst/>
          </a:prstGeom>
          <a:noFill/>
        </p:spPr>
        <p:txBody>
          <a:bodyPr wrap="square" rtlCol="0">
            <a:spAutoFit/>
          </a:bodyPr>
          <a:lstStyle/>
          <a:p>
            <a:pPr marL="515526" lvl="1" indent="-335984" defTabSz="914296">
              <a:spcAft>
                <a:spcPts val="800"/>
              </a:spcAft>
              <a:buClr>
                <a:srgbClr val="70A300">
                  <a:lumMod val="75000"/>
                </a:srgbClr>
              </a:buClr>
              <a:buSzPct val="100000"/>
              <a:buFont typeface="Wingdings" panose="05000000000000000000" pitchFamily="2" charset="2"/>
              <a:buChar char="§"/>
              <a:defRPr/>
            </a:pPr>
            <a:r>
              <a:rPr lang="pl-PL" sz="1000" dirty="0">
                <a:solidFill>
                  <a:srgbClr val="7E93A5">
                    <a:lumMod val="50000"/>
                  </a:srgbClr>
                </a:solidFill>
                <a:latin typeface="Arial" panose="020B0604020202020204" pitchFamily="34" charset="0"/>
                <a:cs typeface="Arial" panose="020B0604020202020204" pitchFamily="34" charset="0"/>
              </a:rPr>
              <a:t>Company </a:t>
            </a:r>
            <a:r>
              <a:rPr lang="pl-PL" sz="1000" dirty="0" err="1">
                <a:solidFill>
                  <a:srgbClr val="7E93A5">
                    <a:lumMod val="50000"/>
                  </a:srgbClr>
                </a:solidFill>
                <a:latin typeface="Arial" panose="020B0604020202020204" pitchFamily="34" charset="0"/>
                <a:cs typeface="Arial" panose="020B0604020202020204" pitchFamily="34" charset="0"/>
              </a:rPr>
              <a:t>customers</a:t>
            </a:r>
            <a:endParaRPr lang="pl-PL" sz="1000" dirty="0">
              <a:solidFill>
                <a:srgbClr val="7E93A5">
                  <a:lumMod val="50000"/>
                </a:srgbClr>
              </a:solidFill>
              <a:latin typeface="Arial" panose="020B0604020202020204" pitchFamily="34" charset="0"/>
              <a:cs typeface="Arial" panose="020B0604020202020204" pitchFamily="34" charset="0"/>
            </a:endParaRPr>
          </a:p>
          <a:p>
            <a:pPr marL="515526" lvl="1" indent="-335984" defTabSz="914296">
              <a:spcAft>
                <a:spcPts val="800"/>
              </a:spcAft>
              <a:buClr>
                <a:srgbClr val="70A300">
                  <a:lumMod val="75000"/>
                </a:srgbClr>
              </a:buClr>
              <a:buSzPct val="100000"/>
              <a:buFont typeface="Wingdings" panose="05000000000000000000" pitchFamily="2" charset="2"/>
              <a:buChar char="§"/>
              <a:defRPr/>
            </a:pPr>
            <a:r>
              <a:rPr lang="pl-PL" sz="1000" dirty="0" err="1">
                <a:solidFill>
                  <a:srgbClr val="7E93A5">
                    <a:lumMod val="50000"/>
                  </a:srgbClr>
                </a:solidFill>
                <a:latin typeface="Arial" panose="020B0604020202020204" pitchFamily="34" charset="0"/>
                <a:cs typeface="Arial" panose="020B0604020202020204" pitchFamily="34" charset="0"/>
              </a:rPr>
              <a:t>Customers</a:t>
            </a:r>
            <a:r>
              <a:rPr lang="pl-PL" sz="1000" dirty="0">
                <a:solidFill>
                  <a:srgbClr val="7E93A5">
                    <a:lumMod val="50000"/>
                  </a:srgbClr>
                </a:solidFill>
                <a:latin typeface="Arial" panose="020B0604020202020204" pitchFamily="34" charset="0"/>
                <a:cs typeface="Arial" panose="020B0604020202020204" pitchFamily="34" charset="0"/>
              </a:rPr>
              <a:t> with </a:t>
            </a:r>
            <a:r>
              <a:rPr lang="pl-PL" sz="1000" dirty="0" err="1">
                <a:solidFill>
                  <a:srgbClr val="7E93A5">
                    <a:lumMod val="50000"/>
                  </a:srgbClr>
                </a:solidFill>
                <a:latin typeface="Arial" panose="020B0604020202020204" pitchFamily="34" charset="0"/>
                <a:cs typeface="Arial" panose="020B0604020202020204" pitchFamily="34" charset="0"/>
              </a:rPr>
              <a:t>potential</a:t>
            </a:r>
            <a:r>
              <a:rPr lang="pl-PL" sz="1000" dirty="0">
                <a:solidFill>
                  <a:srgbClr val="7E93A5">
                    <a:lumMod val="50000"/>
                  </a:srgbClr>
                </a:solidFill>
                <a:latin typeface="Arial" panose="020B0604020202020204" pitchFamily="34" charset="0"/>
                <a:cs typeface="Arial" panose="020B0604020202020204" pitchFamily="34" charset="0"/>
              </a:rPr>
              <a:t> for a business </a:t>
            </a:r>
            <a:r>
              <a:rPr lang="pl-PL" sz="1000" dirty="0" err="1">
                <a:solidFill>
                  <a:srgbClr val="7E93A5">
                    <a:lumMod val="50000"/>
                  </a:srgbClr>
                </a:solidFill>
                <a:latin typeface="Arial" panose="020B0604020202020204" pitchFamily="34" charset="0"/>
                <a:cs typeface="Arial" panose="020B0604020202020204" pitchFamily="34" charset="0"/>
              </a:rPr>
              <a:t>account</a:t>
            </a:r>
            <a:endParaRPr lang="pl-PL" sz="1000" dirty="0">
              <a:solidFill>
                <a:srgbClr val="7E93A5">
                  <a:lumMod val="50000"/>
                </a:srgbClr>
              </a:solidFill>
              <a:latin typeface="Arial" panose="020B0604020202020204" pitchFamily="34" charset="0"/>
              <a:cs typeface="Arial" panose="020B0604020202020204" pitchFamily="34" charset="0"/>
            </a:endParaRPr>
          </a:p>
          <a:p>
            <a:pPr marL="515526" lvl="1" indent="-335984" defTabSz="914296">
              <a:spcAft>
                <a:spcPts val="800"/>
              </a:spcAft>
              <a:buClr>
                <a:srgbClr val="70A300">
                  <a:lumMod val="75000"/>
                </a:srgbClr>
              </a:buClr>
              <a:buSzPct val="100000"/>
              <a:buFont typeface="Wingdings" panose="05000000000000000000" pitchFamily="2" charset="2"/>
              <a:buChar char="§"/>
              <a:defRPr/>
            </a:pPr>
            <a:r>
              <a:rPr lang="pl-PL" sz="1000" dirty="0" err="1">
                <a:solidFill>
                  <a:srgbClr val="7E93A5">
                    <a:lumMod val="50000"/>
                  </a:srgbClr>
                </a:solidFill>
                <a:latin typeface="Arial" panose="020B0604020202020204" pitchFamily="34" charset="0"/>
                <a:cs typeface="Arial" panose="020B0604020202020204" pitchFamily="34" charset="0"/>
              </a:rPr>
              <a:t>Customer</a:t>
            </a:r>
            <a:r>
              <a:rPr lang="pl-PL" sz="1000" dirty="0">
                <a:solidFill>
                  <a:srgbClr val="7E93A5">
                    <a:lumMod val="50000"/>
                  </a:srgbClr>
                </a:solidFill>
                <a:latin typeface="Arial" panose="020B0604020202020204" pitchFamily="34" charset="0"/>
                <a:cs typeface="Arial" panose="020B0604020202020204" pitchFamily="34" charset="0"/>
              </a:rPr>
              <a:t> with </a:t>
            </a:r>
            <a:r>
              <a:rPr lang="pl-PL" sz="1000" dirty="0" err="1">
                <a:solidFill>
                  <a:srgbClr val="7E93A5">
                    <a:lumMod val="50000"/>
                  </a:srgbClr>
                </a:solidFill>
                <a:latin typeface="Arial" panose="020B0604020202020204" pitchFamily="34" charset="0"/>
                <a:cs typeface="Arial" panose="020B0604020202020204" pitchFamily="34" charset="0"/>
              </a:rPr>
              <a:t>potential</a:t>
            </a:r>
            <a:r>
              <a:rPr lang="pl-PL" sz="1000" dirty="0">
                <a:solidFill>
                  <a:srgbClr val="7E93A5">
                    <a:lumMod val="50000"/>
                  </a:srgbClr>
                </a:solidFill>
                <a:latin typeface="Arial" panose="020B0604020202020204" pitchFamily="34" charset="0"/>
                <a:cs typeface="Arial" panose="020B0604020202020204" pitchFamily="34" charset="0"/>
              </a:rPr>
              <a:t> to start a business</a:t>
            </a:r>
          </a:p>
        </p:txBody>
      </p:sp>
      <p:pic>
        <p:nvPicPr>
          <p:cNvPr id="17" name="Obraz 16">
            <a:extLst>
              <a:ext uri="{FF2B5EF4-FFF2-40B4-BE49-F238E27FC236}">
                <a16:creationId xmlns:a16="http://schemas.microsoft.com/office/drawing/2014/main" id="{A7EFF07D-AA6F-4BCF-B9EF-1F1143E53FE0}"/>
              </a:ext>
            </a:extLst>
          </p:cNvPr>
          <p:cNvPicPr>
            <a:picLocks noChangeAspect="1"/>
          </p:cNvPicPr>
          <p:nvPr/>
        </p:nvPicPr>
        <p:blipFill>
          <a:blip r:embed="rId3"/>
          <a:stretch>
            <a:fillRect/>
          </a:stretch>
        </p:blipFill>
        <p:spPr>
          <a:xfrm>
            <a:off x="8079891" y="4066953"/>
            <a:ext cx="1665507" cy="2621751"/>
          </a:xfrm>
          <a:prstGeom prst="rect">
            <a:avLst/>
          </a:prstGeom>
          <a:effectLst>
            <a:outerShdw blurRad="317500" dist="190500" dir="2700000" algn="ctr" rotWithShape="0">
              <a:schemeClr val="tx1">
                <a:alpha val="50000"/>
              </a:schemeClr>
            </a:outerShdw>
          </a:effectLst>
        </p:spPr>
      </p:pic>
      <p:sp>
        <p:nvSpPr>
          <p:cNvPr id="60" name="pole tekstowe 59">
            <a:extLst>
              <a:ext uri="{FF2B5EF4-FFF2-40B4-BE49-F238E27FC236}">
                <a16:creationId xmlns:a16="http://schemas.microsoft.com/office/drawing/2014/main" id="{FADBECAC-F99B-489A-A897-EA825FF097F5}"/>
              </a:ext>
            </a:extLst>
          </p:cNvPr>
          <p:cNvSpPr txBox="1"/>
          <p:nvPr/>
        </p:nvSpPr>
        <p:spPr>
          <a:xfrm>
            <a:off x="8065836" y="3620010"/>
            <a:ext cx="1887637" cy="338554"/>
          </a:xfrm>
          <a:prstGeom prst="rect">
            <a:avLst/>
          </a:prstGeom>
          <a:noFill/>
        </p:spPr>
        <p:txBody>
          <a:bodyPr wrap="square" rtlCol="0">
            <a:spAutoFit/>
          </a:bodyPr>
          <a:lstStyle/>
          <a:p>
            <a:pPr defTabSz="914296">
              <a:spcBef>
                <a:spcPts val="600"/>
              </a:spcBef>
              <a:spcAft>
                <a:spcPts val="1600"/>
              </a:spcAft>
              <a:buClr>
                <a:srgbClr val="009597"/>
              </a:buClr>
              <a:buSzPct val="100000"/>
              <a:defRPr/>
            </a:pPr>
            <a:r>
              <a:rPr lang="pl-PL" sz="800" b="1" dirty="0">
                <a:solidFill>
                  <a:srgbClr val="009597"/>
                </a:solidFill>
                <a:latin typeface="Arial" panose="020B0604020202020204" pitchFamily="34" charset="0"/>
                <a:cs typeface="Arial" panose="020B0604020202020204" pitchFamily="34" charset="0"/>
              </a:rPr>
              <a:t>C</a:t>
            </a:r>
            <a:r>
              <a:rPr lang="en-US" sz="800" b="1" dirty="0" err="1">
                <a:solidFill>
                  <a:srgbClr val="009597"/>
                </a:solidFill>
                <a:latin typeface="Arial" panose="020B0604020202020204" pitchFamily="34" charset="0"/>
                <a:cs typeface="Arial" panose="020B0604020202020204" pitchFamily="34" charset="0"/>
              </a:rPr>
              <a:t>ommunication</a:t>
            </a:r>
            <a:r>
              <a:rPr lang="en-US" sz="800" b="1" dirty="0">
                <a:solidFill>
                  <a:srgbClr val="009597"/>
                </a:solidFill>
                <a:latin typeface="Arial" panose="020B0604020202020204" pitchFamily="34" charset="0"/>
                <a:cs typeface="Arial" panose="020B0604020202020204" pitchFamily="34" charset="0"/>
              </a:rPr>
              <a:t> in cooperation with a partner</a:t>
            </a:r>
            <a:r>
              <a:rPr lang="pl-PL" sz="800" b="1" dirty="0">
                <a:solidFill>
                  <a:srgbClr val="009597"/>
                </a:solidFill>
                <a:latin typeface="Arial" panose="020B0604020202020204" pitchFamily="34" charset="0"/>
                <a:cs typeface="Arial" panose="020B0604020202020204" pitchFamily="34" charset="0"/>
              </a:rPr>
              <a:t> (e-mail)</a:t>
            </a:r>
          </a:p>
        </p:txBody>
      </p:sp>
      <p:pic>
        <p:nvPicPr>
          <p:cNvPr id="39" name="Obraz 6">
            <a:extLst>
              <a:ext uri="{FF2B5EF4-FFF2-40B4-BE49-F238E27FC236}">
                <a16:creationId xmlns:a16="http://schemas.microsoft.com/office/drawing/2014/main" id="{2964D230-5C91-41E0-8CA0-9FEBC712F697}"/>
              </a:ext>
            </a:extLst>
          </p:cNvPr>
          <p:cNvPicPr>
            <a:picLocks noChangeAspect="1" noChangeArrowheads="1"/>
          </p:cNvPicPr>
          <p:nvPr/>
        </p:nvPicPr>
        <p:blipFill>
          <a:blip r:embed="rId4" cstate="hqprint">
            <a:extLst>
              <a:ext uri="{28A0092B-C50C-407E-A947-70E740481C1C}">
                <a14:useLocalDpi xmlns:a14="http://schemas.microsoft.com/office/drawing/2010/main" val="0"/>
              </a:ext>
            </a:extLst>
          </a:blip>
          <a:srcRect/>
          <a:stretch>
            <a:fillRect/>
          </a:stretch>
        </p:blipFill>
        <p:spPr bwMode="auto">
          <a:xfrm>
            <a:off x="3732060" y="3481713"/>
            <a:ext cx="1381889" cy="2991443"/>
          </a:xfrm>
          <a:prstGeom prst="rect">
            <a:avLst/>
          </a:prstGeom>
          <a:noFill/>
          <a:ln>
            <a:noFill/>
          </a:ln>
          <a:effectLst>
            <a:outerShdw blurRad="317500" dist="190500" dir="2700000" algn="ctr" rotWithShape="0">
              <a:schemeClr val="tx1">
                <a:alpha val="50000"/>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Dymek mowy: prostokąt z zaokrąglonymi rogami 17">
            <a:extLst>
              <a:ext uri="{FF2B5EF4-FFF2-40B4-BE49-F238E27FC236}">
                <a16:creationId xmlns:a16="http://schemas.microsoft.com/office/drawing/2014/main" id="{41B1CFBC-3577-4D0E-912B-ACFDDA2DB702}"/>
              </a:ext>
            </a:extLst>
          </p:cNvPr>
          <p:cNvSpPr/>
          <p:nvPr/>
        </p:nvSpPr>
        <p:spPr>
          <a:xfrm>
            <a:off x="6925851" y="3063964"/>
            <a:ext cx="3014397" cy="340805"/>
          </a:xfrm>
          <a:prstGeom prst="wedgeRoundRectCallout">
            <a:avLst>
              <a:gd name="adj1" fmla="val -44103"/>
              <a:gd name="adj2" fmla="val 126283"/>
              <a:gd name="adj3" fmla="val 16667"/>
            </a:avLst>
          </a:prstGeom>
          <a:solidFill>
            <a:schemeClr val="bg1"/>
          </a:solidFill>
          <a:ln w="19050">
            <a:solidFill>
              <a:srgbClr val="81BC00"/>
            </a:solidFill>
          </a:ln>
          <a:effectLst>
            <a:outerShdw blurRad="317500" dist="190500" dir="2700000" algn="ctr" rotWithShape="0">
              <a:schemeClr val="tx1">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7539"/>
            <a:r>
              <a:rPr lang="pl-PL" sz="700" i="1" dirty="0" err="1">
                <a:solidFill>
                  <a:srgbClr val="000000"/>
                </a:solidFill>
                <a:latin typeface="Calibri" panose="020F0502020204030204" pitchFamily="34" charset="0"/>
                <a:ea typeface="Calibri" panose="020F0502020204030204" pitchFamily="34" charset="0"/>
              </a:rPr>
              <a:t>Dzien</a:t>
            </a:r>
            <a:r>
              <a:rPr lang="pl-PL" sz="700" i="1" dirty="0">
                <a:solidFill>
                  <a:srgbClr val="000000"/>
                </a:solidFill>
                <a:latin typeface="Calibri" panose="020F0502020204030204" pitchFamily="34" charset="0"/>
                <a:ea typeface="Calibri" panose="020F0502020204030204" pitchFamily="34" charset="0"/>
              </a:rPr>
              <a:t> dobry, przygotuj swoja </a:t>
            </a:r>
            <a:r>
              <a:rPr lang="pl-PL" sz="700" i="1" dirty="0" err="1">
                <a:solidFill>
                  <a:srgbClr val="000000"/>
                </a:solidFill>
                <a:latin typeface="Calibri" panose="020F0502020204030204" pitchFamily="34" charset="0"/>
                <a:ea typeface="Calibri" panose="020F0502020204030204" pitchFamily="34" charset="0"/>
              </a:rPr>
              <a:t>firme</a:t>
            </a:r>
            <a:r>
              <a:rPr lang="pl-PL" sz="700" i="1" dirty="0">
                <a:solidFill>
                  <a:srgbClr val="000000"/>
                </a:solidFill>
                <a:latin typeface="Calibri" panose="020F0502020204030204" pitchFamily="34" charset="0"/>
                <a:ea typeface="Calibri" panose="020F0502020204030204" pitchFamily="34" charset="0"/>
              </a:rPr>
              <a:t> na zmiany w fakturowaniu. Dowiedz </a:t>
            </a:r>
            <a:r>
              <a:rPr lang="pl-PL" sz="700" i="1" dirty="0" err="1">
                <a:solidFill>
                  <a:srgbClr val="000000"/>
                </a:solidFill>
                <a:latin typeface="Calibri" panose="020F0502020204030204" pitchFamily="34" charset="0"/>
                <a:ea typeface="Calibri" panose="020F0502020204030204" pitchFamily="34" charset="0"/>
              </a:rPr>
              <a:t>sie</a:t>
            </a:r>
            <a:r>
              <a:rPr lang="pl-PL" sz="700" i="1" dirty="0">
                <a:solidFill>
                  <a:srgbClr val="000000"/>
                </a:solidFill>
                <a:latin typeface="Calibri" panose="020F0502020204030204" pitchFamily="34" charset="0"/>
                <a:ea typeface="Calibri" panose="020F0502020204030204" pitchFamily="34" charset="0"/>
              </a:rPr>
              <a:t> </a:t>
            </a:r>
            <a:r>
              <a:rPr lang="pl-PL" sz="700" i="1" dirty="0" err="1">
                <a:solidFill>
                  <a:srgbClr val="000000"/>
                </a:solidFill>
                <a:latin typeface="Calibri" panose="020F0502020204030204" pitchFamily="34" charset="0"/>
                <a:ea typeface="Calibri" panose="020F0502020204030204" pitchFamily="34" charset="0"/>
              </a:rPr>
              <a:t>wiecej</a:t>
            </a:r>
            <a:r>
              <a:rPr lang="pl-PL" sz="700" i="1" dirty="0">
                <a:solidFill>
                  <a:srgbClr val="000000"/>
                </a:solidFill>
                <a:latin typeface="Calibri" panose="020F0502020204030204" pitchFamily="34" charset="0"/>
                <a:ea typeface="Calibri" panose="020F0502020204030204" pitchFamily="34" charset="0"/>
              </a:rPr>
              <a:t> o Krajowym Systemie e-Faktur (</a:t>
            </a:r>
            <a:r>
              <a:rPr lang="pl-PL" sz="700" i="1" dirty="0" err="1">
                <a:solidFill>
                  <a:srgbClr val="000000"/>
                </a:solidFill>
                <a:latin typeface="Calibri" panose="020F0502020204030204" pitchFamily="34" charset="0"/>
                <a:ea typeface="Calibri" panose="020F0502020204030204" pitchFamily="34" charset="0"/>
              </a:rPr>
              <a:t>KSeF</a:t>
            </a:r>
            <a:r>
              <a:rPr lang="pl-PL" sz="700" i="1" dirty="0">
                <a:solidFill>
                  <a:srgbClr val="000000"/>
                </a:solidFill>
                <a:latin typeface="Calibri" panose="020F0502020204030204" pitchFamily="34" charset="0"/>
                <a:ea typeface="Calibri" panose="020F0502020204030204" pitchFamily="34" charset="0"/>
              </a:rPr>
              <a:t>). </a:t>
            </a:r>
            <a:r>
              <a:rPr lang="pl-PL" sz="700" i="1" dirty="0" err="1">
                <a:solidFill>
                  <a:srgbClr val="000000"/>
                </a:solidFill>
                <a:latin typeface="Calibri" panose="020F0502020204030204" pitchFamily="34" charset="0"/>
                <a:ea typeface="Calibri" panose="020F0502020204030204" pitchFamily="34" charset="0"/>
              </a:rPr>
              <a:t>Wejdz</a:t>
            </a:r>
            <a:r>
              <a:rPr lang="pl-PL" sz="700" i="1" dirty="0">
                <a:solidFill>
                  <a:srgbClr val="000000"/>
                </a:solidFill>
                <a:latin typeface="Calibri" panose="020F0502020204030204" pitchFamily="34" charset="0"/>
                <a:ea typeface="Calibri" panose="020F0502020204030204" pitchFamily="34" charset="0"/>
              </a:rPr>
              <a:t> na nasza </a:t>
            </a:r>
            <a:r>
              <a:rPr lang="pl-PL" sz="700" i="1" dirty="0" err="1">
                <a:solidFill>
                  <a:srgbClr val="000000"/>
                </a:solidFill>
                <a:latin typeface="Calibri" panose="020F0502020204030204" pitchFamily="34" charset="0"/>
                <a:ea typeface="Calibri" panose="020F0502020204030204" pitchFamily="34" charset="0"/>
              </a:rPr>
              <a:t>strone</a:t>
            </a:r>
            <a:r>
              <a:rPr lang="pl-PL" sz="700" i="1" dirty="0">
                <a:solidFill>
                  <a:srgbClr val="000000"/>
                </a:solidFill>
                <a:latin typeface="Calibri" panose="020F0502020204030204" pitchFamily="34" charset="0"/>
                <a:ea typeface="Calibri" panose="020F0502020204030204" pitchFamily="34" charset="0"/>
              </a:rPr>
              <a:t>, kliknij w </a:t>
            </a:r>
            <a:r>
              <a:rPr lang="pl-PL" sz="700" i="1" dirty="0" err="1">
                <a:solidFill>
                  <a:srgbClr val="000000"/>
                </a:solidFill>
                <a:latin typeface="Calibri" panose="020F0502020204030204" pitchFamily="34" charset="0"/>
                <a:ea typeface="Calibri" panose="020F0502020204030204" pitchFamily="34" charset="0"/>
              </a:rPr>
              <a:t>lupke</a:t>
            </a:r>
            <a:r>
              <a:rPr lang="pl-PL" sz="700" i="1" dirty="0">
                <a:solidFill>
                  <a:srgbClr val="000000"/>
                </a:solidFill>
                <a:latin typeface="Calibri" panose="020F0502020204030204" pitchFamily="34" charset="0"/>
                <a:ea typeface="Calibri" panose="020F0502020204030204" pitchFamily="34" charset="0"/>
              </a:rPr>
              <a:t> na </a:t>
            </a:r>
            <a:r>
              <a:rPr lang="pl-PL" sz="700" i="1" dirty="0" err="1">
                <a:solidFill>
                  <a:srgbClr val="000000"/>
                </a:solidFill>
                <a:latin typeface="Calibri" panose="020F0502020204030204" pitchFamily="34" charset="0"/>
                <a:ea typeface="Calibri" panose="020F0502020204030204" pitchFamily="34" charset="0"/>
              </a:rPr>
              <a:t>gorze</a:t>
            </a:r>
            <a:r>
              <a:rPr lang="pl-PL" sz="700" i="1" dirty="0">
                <a:solidFill>
                  <a:srgbClr val="000000"/>
                </a:solidFill>
                <a:latin typeface="Calibri" panose="020F0502020204030204" pitchFamily="34" charset="0"/>
                <a:ea typeface="Calibri" panose="020F0502020204030204" pitchFamily="34" charset="0"/>
              </a:rPr>
              <a:t> strony i wpisz </a:t>
            </a:r>
            <a:r>
              <a:rPr lang="pl-PL" sz="700" i="1" dirty="0" err="1">
                <a:solidFill>
                  <a:srgbClr val="000000"/>
                </a:solidFill>
                <a:latin typeface="Calibri" panose="020F0502020204030204" pitchFamily="34" charset="0"/>
                <a:ea typeface="Calibri" panose="020F0502020204030204" pitchFamily="34" charset="0"/>
              </a:rPr>
              <a:t>KSeF</a:t>
            </a:r>
            <a:r>
              <a:rPr lang="pl-PL" sz="700" i="1" dirty="0">
                <a:solidFill>
                  <a:srgbClr val="000000"/>
                </a:solidFill>
                <a:latin typeface="Calibri" panose="020F0502020204030204" pitchFamily="34" charset="0"/>
                <a:ea typeface="Calibri" panose="020F0502020204030204" pitchFamily="34" charset="0"/>
              </a:rPr>
              <a:t>. Pozdrawiamy, bank </a:t>
            </a:r>
            <a:r>
              <a:rPr lang="pl-PL" sz="700" i="1" dirty="0" err="1">
                <a:solidFill>
                  <a:srgbClr val="000000"/>
                </a:solidFill>
                <a:latin typeface="Calibri" panose="020F0502020204030204" pitchFamily="34" charset="0"/>
                <a:ea typeface="Calibri" panose="020F0502020204030204" pitchFamily="34" charset="0"/>
              </a:rPr>
              <a:t>Credit</a:t>
            </a:r>
            <a:r>
              <a:rPr lang="pl-PL" sz="700" i="1" dirty="0">
                <a:solidFill>
                  <a:srgbClr val="000000"/>
                </a:solidFill>
                <a:latin typeface="Calibri" panose="020F0502020204030204" pitchFamily="34" charset="0"/>
                <a:ea typeface="Calibri" panose="020F0502020204030204" pitchFamily="34" charset="0"/>
              </a:rPr>
              <a:t> </a:t>
            </a:r>
            <a:r>
              <a:rPr lang="pl-PL" sz="700" i="1" dirty="0" err="1">
                <a:solidFill>
                  <a:srgbClr val="000000"/>
                </a:solidFill>
                <a:latin typeface="Calibri" panose="020F0502020204030204" pitchFamily="34" charset="0"/>
                <a:ea typeface="Calibri" panose="020F0502020204030204" pitchFamily="34" charset="0"/>
              </a:rPr>
              <a:t>Agricole</a:t>
            </a:r>
            <a:endParaRPr lang="pl-PL" sz="700" dirty="0">
              <a:solidFill>
                <a:srgbClr val="FFFFFF"/>
              </a:solidFill>
              <a:latin typeface="Calibri" panose="020F0502020204030204" pitchFamily="34" charset="0"/>
              <a:ea typeface="Calibri" panose="020F0502020204030204" pitchFamily="34" charset="0"/>
            </a:endParaRPr>
          </a:p>
        </p:txBody>
      </p:sp>
      <p:sp>
        <p:nvSpPr>
          <p:cNvPr id="21" name="pole tekstowe 20">
            <a:extLst>
              <a:ext uri="{FF2B5EF4-FFF2-40B4-BE49-F238E27FC236}">
                <a16:creationId xmlns:a16="http://schemas.microsoft.com/office/drawing/2014/main" id="{95EF270D-5714-4B47-8A2A-61AAE802EF78}"/>
              </a:ext>
            </a:extLst>
          </p:cNvPr>
          <p:cNvSpPr txBox="1"/>
          <p:nvPr/>
        </p:nvSpPr>
        <p:spPr>
          <a:xfrm>
            <a:off x="10054648" y="3644287"/>
            <a:ext cx="2498905" cy="215444"/>
          </a:xfrm>
          <a:prstGeom prst="rect">
            <a:avLst/>
          </a:prstGeom>
          <a:noFill/>
        </p:spPr>
        <p:txBody>
          <a:bodyPr wrap="square" rtlCol="0">
            <a:spAutoFit/>
          </a:bodyPr>
          <a:lstStyle/>
          <a:p>
            <a:pPr defTabSz="914296">
              <a:spcBef>
                <a:spcPts val="600"/>
              </a:spcBef>
              <a:spcAft>
                <a:spcPts val="1600"/>
              </a:spcAft>
              <a:buClr>
                <a:srgbClr val="009597"/>
              </a:buClr>
              <a:buSzPct val="100000"/>
              <a:defRPr/>
            </a:pPr>
            <a:r>
              <a:rPr lang="pl-PL" sz="800" b="1" dirty="0" err="1">
                <a:solidFill>
                  <a:srgbClr val="009597"/>
                </a:solidFill>
                <a:latin typeface="Arial"/>
              </a:rPr>
              <a:t>Internal</a:t>
            </a:r>
            <a:r>
              <a:rPr lang="pl-PL" sz="800" b="1" dirty="0">
                <a:solidFill>
                  <a:srgbClr val="009597"/>
                </a:solidFill>
                <a:latin typeface="Arial"/>
              </a:rPr>
              <a:t> </a:t>
            </a:r>
            <a:r>
              <a:rPr lang="pl-PL" sz="800" b="1" dirty="0" err="1">
                <a:solidFill>
                  <a:srgbClr val="009597"/>
                </a:solidFill>
                <a:latin typeface="Arial"/>
              </a:rPr>
              <a:t>communicatiion</a:t>
            </a:r>
            <a:endParaRPr lang="pl-PL" sz="800" b="1" dirty="0">
              <a:solidFill>
                <a:srgbClr val="009597"/>
              </a:solidFill>
              <a:latin typeface="Arial"/>
            </a:endParaRPr>
          </a:p>
        </p:txBody>
      </p:sp>
      <p:pic>
        <p:nvPicPr>
          <p:cNvPr id="3" name="Obraz 2">
            <a:extLst>
              <a:ext uri="{FF2B5EF4-FFF2-40B4-BE49-F238E27FC236}">
                <a16:creationId xmlns:a16="http://schemas.microsoft.com/office/drawing/2014/main" id="{D586E475-5FBE-43B8-AD5A-B27051E40BDF}"/>
              </a:ext>
            </a:extLst>
          </p:cNvPr>
          <p:cNvPicPr>
            <a:picLocks noChangeAspect="1"/>
          </p:cNvPicPr>
          <p:nvPr/>
        </p:nvPicPr>
        <p:blipFill>
          <a:blip r:embed="rId5"/>
          <a:stretch>
            <a:fillRect/>
          </a:stretch>
        </p:blipFill>
        <p:spPr>
          <a:xfrm>
            <a:off x="10125816" y="3971064"/>
            <a:ext cx="1354493" cy="886755"/>
          </a:xfrm>
          <a:prstGeom prst="rect">
            <a:avLst/>
          </a:prstGeom>
          <a:effectLst>
            <a:outerShdw blurRad="317500" dist="190500" dir="2700000" algn="ctr" rotWithShape="0">
              <a:schemeClr val="tx1">
                <a:alpha val="50000"/>
              </a:schemeClr>
            </a:outerShdw>
          </a:effectLst>
        </p:spPr>
      </p:pic>
      <p:pic>
        <p:nvPicPr>
          <p:cNvPr id="10" name="Obraz 9">
            <a:extLst>
              <a:ext uri="{FF2B5EF4-FFF2-40B4-BE49-F238E27FC236}">
                <a16:creationId xmlns:a16="http://schemas.microsoft.com/office/drawing/2014/main" id="{11645E0D-A3A0-4480-A8D9-AE262830FC2D}"/>
              </a:ext>
            </a:extLst>
          </p:cNvPr>
          <p:cNvPicPr>
            <a:picLocks noChangeAspect="1"/>
          </p:cNvPicPr>
          <p:nvPr/>
        </p:nvPicPr>
        <p:blipFill>
          <a:blip r:embed="rId6"/>
          <a:stretch>
            <a:fillRect/>
          </a:stretch>
        </p:blipFill>
        <p:spPr>
          <a:xfrm>
            <a:off x="10125816" y="5038422"/>
            <a:ext cx="1888952" cy="1437468"/>
          </a:xfrm>
          <a:prstGeom prst="rect">
            <a:avLst/>
          </a:prstGeom>
          <a:effectLst>
            <a:outerShdw blurRad="317500" dist="190500" dir="2700000" algn="ctr" rotWithShape="0">
              <a:schemeClr val="tx1">
                <a:alpha val="50000"/>
              </a:schemeClr>
            </a:outerShdw>
          </a:effectLst>
        </p:spPr>
      </p:pic>
      <p:pic>
        <p:nvPicPr>
          <p:cNvPr id="28" name="Grafika 27" descr="Wstecz z wypełnieniem pełnym">
            <a:extLst>
              <a:ext uri="{FF2B5EF4-FFF2-40B4-BE49-F238E27FC236}">
                <a16:creationId xmlns:a16="http://schemas.microsoft.com/office/drawing/2014/main" id="{155D0F73-3972-4C7B-BAA8-F7BCB87105F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4515834">
            <a:off x="11624247" y="4187019"/>
            <a:ext cx="459548" cy="459548"/>
          </a:xfrm>
          <a:prstGeom prst="rect">
            <a:avLst/>
          </a:prstGeom>
        </p:spPr>
      </p:pic>
      <p:pic>
        <p:nvPicPr>
          <p:cNvPr id="9" name="Obraz 8">
            <a:extLst>
              <a:ext uri="{FF2B5EF4-FFF2-40B4-BE49-F238E27FC236}">
                <a16:creationId xmlns:a16="http://schemas.microsoft.com/office/drawing/2014/main" id="{5602FB48-16D9-45AC-93B0-9CED4D310B23}"/>
              </a:ext>
            </a:extLst>
          </p:cNvPr>
          <p:cNvPicPr>
            <a:picLocks noChangeAspect="1"/>
          </p:cNvPicPr>
          <p:nvPr/>
        </p:nvPicPr>
        <p:blipFill>
          <a:blip r:embed="rId9"/>
          <a:stretch>
            <a:fillRect/>
          </a:stretch>
        </p:blipFill>
        <p:spPr>
          <a:xfrm>
            <a:off x="5295194" y="3699940"/>
            <a:ext cx="2494577" cy="463128"/>
          </a:xfrm>
          <a:prstGeom prst="rect">
            <a:avLst/>
          </a:prstGeom>
          <a:effectLst>
            <a:outerShdw blurRad="317500" dist="190500" dir="2700000" algn="ctr" rotWithShape="0">
              <a:schemeClr val="tx1">
                <a:alpha val="50000"/>
              </a:schemeClr>
            </a:outerShdw>
          </a:effectLst>
        </p:spPr>
      </p:pic>
      <p:pic>
        <p:nvPicPr>
          <p:cNvPr id="7" name="Obraz 6">
            <a:extLst>
              <a:ext uri="{FF2B5EF4-FFF2-40B4-BE49-F238E27FC236}">
                <a16:creationId xmlns:a16="http://schemas.microsoft.com/office/drawing/2014/main" id="{378FCEF9-6910-4C1F-BE1A-FD08025F7586}"/>
              </a:ext>
            </a:extLst>
          </p:cNvPr>
          <p:cNvPicPr>
            <a:picLocks noChangeAspect="1"/>
          </p:cNvPicPr>
          <p:nvPr/>
        </p:nvPicPr>
        <p:blipFill>
          <a:blip r:embed="rId10"/>
          <a:stretch>
            <a:fillRect/>
          </a:stretch>
        </p:blipFill>
        <p:spPr>
          <a:xfrm>
            <a:off x="5470776" y="4511890"/>
            <a:ext cx="1310913" cy="1381519"/>
          </a:xfrm>
          <a:prstGeom prst="rect">
            <a:avLst/>
          </a:prstGeom>
          <a:effectLst>
            <a:outerShdw blurRad="317500" dist="190500" dir="2700000" algn="ctr" rotWithShape="0">
              <a:schemeClr val="tx1">
                <a:alpha val="50000"/>
              </a:schemeClr>
            </a:outerShdw>
          </a:effectLst>
        </p:spPr>
      </p:pic>
      <p:pic>
        <p:nvPicPr>
          <p:cNvPr id="11" name="Obraz 10">
            <a:extLst>
              <a:ext uri="{FF2B5EF4-FFF2-40B4-BE49-F238E27FC236}">
                <a16:creationId xmlns:a16="http://schemas.microsoft.com/office/drawing/2014/main" id="{27DDC391-A8D7-461D-BEF4-14A45FB2532D}"/>
              </a:ext>
            </a:extLst>
          </p:cNvPr>
          <p:cNvPicPr>
            <a:picLocks noChangeAspect="1"/>
          </p:cNvPicPr>
          <p:nvPr/>
        </p:nvPicPr>
        <p:blipFill>
          <a:blip r:embed="rId11"/>
          <a:stretch>
            <a:fillRect/>
          </a:stretch>
        </p:blipFill>
        <p:spPr>
          <a:xfrm>
            <a:off x="6236822" y="5273806"/>
            <a:ext cx="1311477" cy="1381519"/>
          </a:xfrm>
          <a:prstGeom prst="rect">
            <a:avLst/>
          </a:prstGeom>
          <a:effectLst>
            <a:outerShdw blurRad="317500" dist="190500" dir="2700000" algn="ctr" rotWithShape="0">
              <a:schemeClr val="tx1">
                <a:alpha val="50000"/>
              </a:schemeClr>
            </a:outerShdw>
          </a:effectLst>
        </p:spPr>
      </p:pic>
      <p:sp>
        <p:nvSpPr>
          <p:cNvPr id="4" name="Schemat blokowy: proces alternatywny 3">
            <a:extLst>
              <a:ext uri="{FF2B5EF4-FFF2-40B4-BE49-F238E27FC236}">
                <a16:creationId xmlns:a16="http://schemas.microsoft.com/office/drawing/2014/main" id="{F1E5C683-A387-45FD-8C27-EE5EEEB97360}"/>
              </a:ext>
            </a:extLst>
          </p:cNvPr>
          <p:cNvSpPr/>
          <p:nvPr/>
        </p:nvSpPr>
        <p:spPr>
          <a:xfrm>
            <a:off x="168436" y="1693460"/>
            <a:ext cx="3347201" cy="4961865"/>
          </a:xfrm>
          <a:prstGeom prst="flowChartAlternateProcess">
            <a:avLst/>
          </a:prstGeom>
          <a:solidFill>
            <a:schemeClr val="accent2">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67539">
              <a:lnSpc>
                <a:spcPct val="200000"/>
              </a:lnSpc>
            </a:pPr>
            <a:r>
              <a:rPr lang="pl-PL" sz="1200" dirty="0">
                <a:solidFill>
                  <a:srgbClr val="009597">
                    <a:lumMod val="50000"/>
                  </a:srgbClr>
                </a:solidFill>
                <a:latin typeface="Arial" panose="020B0604020202020204" pitchFamily="34" charset="0"/>
                <a:cs typeface="Arial" panose="020B0604020202020204" pitchFamily="34" charset="0"/>
              </a:rPr>
              <a:t>Marketing </a:t>
            </a:r>
            <a:r>
              <a:rPr lang="pl-PL" sz="1200" dirty="0" err="1">
                <a:solidFill>
                  <a:srgbClr val="009597">
                    <a:lumMod val="50000"/>
                  </a:srgbClr>
                </a:solidFill>
                <a:latin typeface="Arial" panose="020B0604020202020204" pitchFamily="34" charset="0"/>
                <a:cs typeface="Arial" panose="020B0604020202020204" pitchFamily="34" charset="0"/>
              </a:rPr>
              <a:t>campaigns</a:t>
            </a:r>
            <a:r>
              <a:rPr lang="pl-PL" sz="1200" dirty="0">
                <a:solidFill>
                  <a:srgbClr val="009597">
                    <a:lumMod val="50000"/>
                  </a:srgbClr>
                </a:solidFill>
                <a:latin typeface="Arial" panose="020B0604020202020204" pitchFamily="34" charset="0"/>
                <a:cs typeface="Arial" panose="020B0604020202020204" pitchFamily="34" charset="0"/>
              </a:rPr>
              <a:t> </a:t>
            </a:r>
            <a:r>
              <a:rPr lang="pl-PL" sz="1200" dirty="0" err="1">
                <a:solidFill>
                  <a:srgbClr val="009597">
                    <a:lumMod val="50000"/>
                  </a:srgbClr>
                </a:solidFill>
                <a:latin typeface="Arial" panose="020B0604020202020204" pitchFamily="34" charset="0"/>
                <a:cs typeface="Arial" panose="020B0604020202020204" pitchFamily="34" charset="0"/>
              </a:rPr>
              <a:t>supported</a:t>
            </a:r>
            <a:r>
              <a:rPr lang="pl-PL" sz="1200" dirty="0">
                <a:solidFill>
                  <a:srgbClr val="009597">
                    <a:lumMod val="50000"/>
                  </a:srgbClr>
                </a:solidFill>
                <a:latin typeface="Arial" panose="020B0604020202020204" pitchFamily="34" charset="0"/>
                <a:cs typeface="Arial" panose="020B0604020202020204" pitchFamily="34" charset="0"/>
              </a:rPr>
              <a:t> by:</a:t>
            </a:r>
          </a:p>
          <a:p>
            <a:pPr marL="171446" indent="-171446" defTabSz="467539">
              <a:lnSpc>
                <a:spcPct val="200000"/>
              </a:lnSpc>
              <a:buFont typeface="Arial" panose="020B0604020202020204" pitchFamily="34" charset="0"/>
              <a:buChar char="•"/>
            </a:pPr>
            <a:r>
              <a:rPr lang="en-US" sz="1200" dirty="0">
                <a:solidFill>
                  <a:srgbClr val="009597">
                    <a:lumMod val="50000"/>
                  </a:srgbClr>
                </a:solidFill>
                <a:latin typeface="Arial" panose="020B0604020202020204" pitchFamily="34" charset="0"/>
                <a:cs typeface="Arial" panose="020B0604020202020204" pitchFamily="34" charset="0"/>
              </a:rPr>
              <a:t>information on the </a:t>
            </a:r>
            <a:r>
              <a:rPr lang="en-US" sz="1200" b="1" dirty="0">
                <a:solidFill>
                  <a:srgbClr val="009597">
                    <a:lumMod val="50000"/>
                  </a:srgbClr>
                </a:solidFill>
                <a:latin typeface="Arial" panose="020B0604020202020204" pitchFamily="34" charset="0"/>
                <a:cs typeface="Arial" panose="020B0604020202020204" pitchFamily="34" charset="0"/>
              </a:rPr>
              <a:t>bank's website</a:t>
            </a:r>
            <a:endParaRPr lang="pl-PL" sz="1200" b="1" dirty="0">
              <a:solidFill>
                <a:srgbClr val="009597">
                  <a:lumMod val="50000"/>
                </a:srgbClr>
              </a:solidFill>
              <a:latin typeface="Arial" panose="020B0604020202020204" pitchFamily="34" charset="0"/>
              <a:cs typeface="Arial" panose="020B0604020202020204" pitchFamily="34" charset="0"/>
            </a:endParaRPr>
          </a:p>
          <a:p>
            <a:pPr marL="171446" indent="-171446" defTabSz="467539">
              <a:lnSpc>
                <a:spcPct val="200000"/>
              </a:lnSpc>
              <a:buFont typeface="Arial" panose="020B0604020202020204" pitchFamily="34" charset="0"/>
              <a:buChar char="•"/>
            </a:pPr>
            <a:r>
              <a:rPr lang="pl-PL" sz="1200" b="1" dirty="0">
                <a:solidFill>
                  <a:srgbClr val="009597">
                    <a:lumMod val="50000"/>
                  </a:srgbClr>
                </a:solidFill>
                <a:latin typeface="Arial" panose="020B0604020202020204" pitchFamily="34" charset="0"/>
                <a:cs typeface="Arial" panose="020B0604020202020204" pitchFamily="34" charset="0"/>
              </a:rPr>
              <a:t>PR</a:t>
            </a:r>
            <a:r>
              <a:rPr lang="pl-PL" sz="1200" dirty="0">
                <a:solidFill>
                  <a:srgbClr val="009597">
                    <a:lumMod val="50000"/>
                  </a:srgbClr>
                </a:solidFill>
                <a:latin typeface="Arial" panose="020B0604020202020204" pitchFamily="34" charset="0"/>
                <a:cs typeface="Arial" panose="020B0604020202020204" pitchFamily="34" charset="0"/>
              </a:rPr>
              <a:t>: </a:t>
            </a:r>
            <a:r>
              <a:rPr lang="pl-PL" sz="1200" dirty="0" err="1">
                <a:solidFill>
                  <a:srgbClr val="009597">
                    <a:lumMod val="50000"/>
                  </a:srgbClr>
                </a:solidFill>
                <a:latin typeface="Arial" panose="020B0604020202020204" pitchFamily="34" charset="0"/>
                <a:cs typeface="Arial" panose="020B0604020202020204" pitchFamily="34" charset="0"/>
              </a:rPr>
              <a:t>press</a:t>
            </a:r>
            <a:r>
              <a:rPr lang="pl-PL" sz="1200" dirty="0">
                <a:solidFill>
                  <a:srgbClr val="009597">
                    <a:lumMod val="50000"/>
                  </a:srgbClr>
                </a:solidFill>
                <a:latin typeface="Arial" panose="020B0604020202020204" pitchFamily="34" charset="0"/>
                <a:cs typeface="Arial" panose="020B0604020202020204" pitchFamily="34" charset="0"/>
              </a:rPr>
              <a:t> </a:t>
            </a:r>
            <a:r>
              <a:rPr lang="pl-PL" sz="1200" dirty="0" err="1">
                <a:solidFill>
                  <a:srgbClr val="009597">
                    <a:lumMod val="50000"/>
                  </a:srgbClr>
                </a:solidFill>
                <a:latin typeface="Arial" panose="020B0604020202020204" pitchFamily="34" charset="0"/>
                <a:cs typeface="Arial" panose="020B0604020202020204" pitchFamily="34" charset="0"/>
              </a:rPr>
              <a:t>articles</a:t>
            </a:r>
            <a:r>
              <a:rPr lang="pl-PL" sz="1200" dirty="0">
                <a:solidFill>
                  <a:srgbClr val="009597">
                    <a:lumMod val="50000"/>
                  </a:srgbClr>
                </a:solidFill>
                <a:latin typeface="Arial" panose="020B0604020202020204" pitchFamily="34" charset="0"/>
                <a:cs typeface="Arial" panose="020B0604020202020204" pitchFamily="34" charset="0"/>
              </a:rPr>
              <a:t>, </a:t>
            </a:r>
            <a:r>
              <a:rPr lang="pl-PL" sz="1200" dirty="0" err="1">
                <a:solidFill>
                  <a:srgbClr val="009597">
                    <a:lumMod val="50000"/>
                  </a:srgbClr>
                </a:solidFill>
                <a:latin typeface="Arial" panose="020B0604020202020204" pitchFamily="34" charset="0"/>
                <a:cs typeface="Arial" panose="020B0604020202020204" pitchFamily="34" charset="0"/>
              </a:rPr>
              <a:t>social</a:t>
            </a:r>
            <a:r>
              <a:rPr lang="pl-PL" sz="1200" dirty="0">
                <a:solidFill>
                  <a:srgbClr val="009597">
                    <a:lumMod val="50000"/>
                  </a:srgbClr>
                </a:solidFill>
                <a:latin typeface="Arial" panose="020B0604020202020204" pitchFamily="34" charset="0"/>
                <a:cs typeface="Arial" panose="020B0604020202020204" pitchFamily="34" charset="0"/>
              </a:rPr>
              <a:t> media</a:t>
            </a:r>
          </a:p>
          <a:p>
            <a:pPr marL="171446" indent="-171446" defTabSz="467539">
              <a:lnSpc>
                <a:spcPct val="200000"/>
              </a:lnSpc>
              <a:buFont typeface="Arial" panose="020B0604020202020204" pitchFamily="34" charset="0"/>
              <a:buChar char="•"/>
            </a:pPr>
            <a:r>
              <a:rPr lang="pl-PL" sz="1200" b="1" dirty="0" err="1">
                <a:solidFill>
                  <a:srgbClr val="009597">
                    <a:lumMod val="50000"/>
                  </a:srgbClr>
                </a:solidFill>
                <a:latin typeface="Arial" panose="020B0604020202020204" pitchFamily="34" charset="0"/>
                <a:cs typeface="Arial" panose="020B0604020202020204" pitchFamily="34" charset="0"/>
              </a:rPr>
              <a:t>digital</a:t>
            </a:r>
            <a:r>
              <a:rPr lang="pl-PL" sz="1200" b="1" dirty="0">
                <a:solidFill>
                  <a:srgbClr val="009597">
                    <a:lumMod val="50000"/>
                  </a:srgbClr>
                </a:solidFill>
                <a:latin typeface="Arial" panose="020B0604020202020204" pitchFamily="34" charset="0"/>
                <a:cs typeface="Arial" panose="020B0604020202020204" pitchFamily="34" charset="0"/>
              </a:rPr>
              <a:t> marketing</a:t>
            </a:r>
            <a:r>
              <a:rPr lang="pl-PL" sz="1200" dirty="0">
                <a:solidFill>
                  <a:srgbClr val="009597">
                    <a:lumMod val="50000"/>
                  </a:srgbClr>
                </a:solidFill>
                <a:latin typeface="Arial" panose="020B0604020202020204" pitchFamily="34" charset="0"/>
                <a:cs typeface="Arial" panose="020B0604020202020204" pitchFamily="34" charset="0"/>
              </a:rPr>
              <a:t>: on-</a:t>
            </a:r>
            <a:r>
              <a:rPr lang="pl-PL" sz="1200" dirty="0" err="1">
                <a:solidFill>
                  <a:srgbClr val="009597">
                    <a:lumMod val="50000"/>
                  </a:srgbClr>
                </a:solidFill>
                <a:latin typeface="Arial" panose="020B0604020202020204" pitchFamily="34" charset="0"/>
                <a:cs typeface="Arial" panose="020B0604020202020204" pitchFamily="34" charset="0"/>
              </a:rPr>
              <a:t>going</a:t>
            </a:r>
            <a:r>
              <a:rPr lang="pl-PL" sz="1200" dirty="0">
                <a:solidFill>
                  <a:srgbClr val="009597">
                    <a:lumMod val="50000"/>
                  </a:srgbClr>
                </a:solidFill>
                <a:latin typeface="Arial" panose="020B0604020202020204" pitchFamily="34" charset="0"/>
                <a:cs typeface="Arial" panose="020B0604020202020204" pitchFamily="34" charset="0"/>
              </a:rPr>
              <a:t> </a:t>
            </a:r>
            <a:r>
              <a:rPr lang="pl-PL" sz="1200" dirty="0" err="1">
                <a:solidFill>
                  <a:srgbClr val="009597">
                    <a:lumMod val="50000"/>
                  </a:srgbClr>
                </a:solidFill>
                <a:latin typeface="Arial" panose="020B0604020202020204" pitchFamily="34" charset="0"/>
                <a:cs typeface="Arial" panose="020B0604020202020204" pitchFamily="34" charset="0"/>
              </a:rPr>
              <a:t>banners</a:t>
            </a:r>
            <a:r>
              <a:rPr lang="pl-PL" sz="1200" dirty="0">
                <a:solidFill>
                  <a:srgbClr val="009597">
                    <a:lumMod val="50000"/>
                  </a:srgbClr>
                </a:solidFill>
                <a:latin typeface="Arial" panose="020B0604020202020204" pitchFamily="34" charset="0"/>
                <a:cs typeface="Arial" panose="020B0604020202020204" pitchFamily="34" charset="0"/>
              </a:rPr>
              <a:t>, online video </a:t>
            </a:r>
            <a:r>
              <a:rPr lang="pl-PL" sz="1200" dirty="0" err="1">
                <a:solidFill>
                  <a:srgbClr val="009597">
                    <a:lumMod val="50000"/>
                  </a:srgbClr>
                </a:solidFill>
                <a:latin typeface="Arial" panose="020B0604020202020204" pitchFamily="34" charset="0"/>
                <a:cs typeface="Arial" panose="020B0604020202020204" pitchFamily="34" charset="0"/>
              </a:rPr>
              <a:t>campaign</a:t>
            </a:r>
            <a:r>
              <a:rPr lang="pl-PL" sz="1200" dirty="0">
                <a:solidFill>
                  <a:srgbClr val="009597">
                    <a:lumMod val="50000"/>
                  </a:srgbClr>
                </a:solidFill>
                <a:latin typeface="Arial" panose="020B0604020202020204" pitchFamily="34" charset="0"/>
                <a:cs typeface="Arial" panose="020B0604020202020204" pitchFamily="34" charset="0"/>
              </a:rPr>
              <a:t>, </a:t>
            </a:r>
            <a:r>
              <a:rPr lang="pl-PL" sz="1200" dirty="0" err="1">
                <a:solidFill>
                  <a:srgbClr val="009597">
                    <a:lumMod val="50000"/>
                  </a:srgbClr>
                </a:solidFill>
                <a:latin typeface="Arial" panose="020B0604020202020204" pitchFamily="34" charset="0"/>
                <a:cs typeface="Arial" panose="020B0604020202020204" pitchFamily="34" charset="0"/>
              </a:rPr>
              <a:t>google</a:t>
            </a:r>
            <a:r>
              <a:rPr lang="pl-PL" sz="1200" dirty="0">
                <a:solidFill>
                  <a:srgbClr val="009597">
                    <a:lumMod val="50000"/>
                  </a:srgbClr>
                </a:solidFill>
                <a:latin typeface="Arial" panose="020B0604020202020204" pitchFamily="34" charset="0"/>
                <a:cs typeface="Arial" panose="020B0604020202020204" pitchFamily="34" charset="0"/>
              </a:rPr>
              <a:t> </a:t>
            </a:r>
            <a:r>
              <a:rPr lang="pl-PL" sz="1200" dirty="0" err="1">
                <a:solidFill>
                  <a:srgbClr val="009597">
                    <a:lumMod val="50000"/>
                  </a:srgbClr>
                </a:solidFill>
                <a:latin typeface="Arial" panose="020B0604020202020204" pitchFamily="34" charset="0"/>
                <a:cs typeface="Arial" panose="020B0604020202020204" pitchFamily="34" charset="0"/>
              </a:rPr>
              <a:t>search</a:t>
            </a:r>
            <a:endParaRPr lang="pl-PL" sz="1200" dirty="0">
              <a:solidFill>
                <a:srgbClr val="009597">
                  <a:lumMod val="50000"/>
                </a:srgbClr>
              </a:solidFill>
              <a:latin typeface="Arial" panose="020B0604020202020204" pitchFamily="34" charset="0"/>
              <a:cs typeface="Arial" panose="020B0604020202020204" pitchFamily="34" charset="0"/>
            </a:endParaRPr>
          </a:p>
          <a:p>
            <a:pPr marL="171446" indent="-171446" defTabSz="467539">
              <a:lnSpc>
                <a:spcPct val="200000"/>
              </a:lnSpc>
              <a:buFont typeface="Arial" panose="020B0604020202020204" pitchFamily="34" charset="0"/>
              <a:buChar char="•"/>
            </a:pPr>
            <a:r>
              <a:rPr lang="pl-PL" sz="1200" b="1" dirty="0" err="1">
                <a:solidFill>
                  <a:srgbClr val="009597">
                    <a:lumMod val="50000"/>
                  </a:srgbClr>
                </a:solidFill>
                <a:latin typeface="Arial" panose="020B0604020202020204" pitchFamily="34" charset="0"/>
                <a:cs typeface="Arial" panose="020B0604020202020204" pitchFamily="34" charset="0"/>
              </a:rPr>
              <a:t>Internal</a:t>
            </a:r>
            <a:r>
              <a:rPr lang="pl-PL" sz="1200" b="1" dirty="0">
                <a:solidFill>
                  <a:srgbClr val="009597">
                    <a:lumMod val="50000"/>
                  </a:srgbClr>
                </a:solidFill>
                <a:latin typeface="Arial" panose="020B0604020202020204" pitchFamily="34" charset="0"/>
                <a:cs typeface="Arial" panose="020B0604020202020204" pitchFamily="34" charset="0"/>
              </a:rPr>
              <a:t> </a:t>
            </a:r>
            <a:r>
              <a:rPr lang="pl-PL" sz="1200" b="1" dirty="0" err="1">
                <a:solidFill>
                  <a:srgbClr val="009597">
                    <a:lumMod val="50000"/>
                  </a:srgbClr>
                </a:solidFill>
                <a:latin typeface="Arial" panose="020B0604020202020204" pitchFamily="34" charset="0"/>
                <a:cs typeface="Arial" panose="020B0604020202020204" pitchFamily="34" charset="0"/>
              </a:rPr>
              <a:t>communication</a:t>
            </a:r>
            <a:r>
              <a:rPr lang="pl-PL" sz="1200" dirty="0">
                <a:solidFill>
                  <a:srgbClr val="009597">
                    <a:lumMod val="50000"/>
                  </a:srgbClr>
                </a:solidFill>
                <a:latin typeface="Arial" panose="020B0604020202020204" pitchFamily="34" charset="0"/>
                <a:cs typeface="Arial" panose="020B0604020202020204" pitchFamily="34" charset="0"/>
              </a:rPr>
              <a:t>, </a:t>
            </a:r>
            <a:r>
              <a:rPr lang="pl-PL" sz="1200" dirty="0" err="1">
                <a:solidFill>
                  <a:srgbClr val="009597">
                    <a:lumMod val="50000"/>
                  </a:srgbClr>
                </a:solidFill>
                <a:latin typeface="Arial" panose="020B0604020202020204" pitchFamily="34" charset="0"/>
                <a:cs typeface="Arial" panose="020B0604020202020204" pitchFamily="34" charset="0"/>
              </a:rPr>
              <a:t>workshops</a:t>
            </a:r>
            <a:r>
              <a:rPr lang="pl-PL" sz="1200" dirty="0">
                <a:solidFill>
                  <a:srgbClr val="009597">
                    <a:lumMod val="50000"/>
                  </a:srgbClr>
                </a:solidFill>
                <a:latin typeface="Arial" panose="020B0604020202020204" pitchFamily="34" charset="0"/>
                <a:cs typeface="Arial" panose="020B0604020202020204" pitchFamily="34" charset="0"/>
              </a:rPr>
              <a:t>, kick off </a:t>
            </a:r>
            <a:r>
              <a:rPr lang="pl-PL" sz="1200" dirty="0" err="1">
                <a:solidFill>
                  <a:srgbClr val="009597">
                    <a:lumMod val="50000"/>
                  </a:srgbClr>
                </a:solidFill>
                <a:latin typeface="Arial" panose="020B0604020202020204" pitchFamily="34" charset="0"/>
                <a:cs typeface="Arial" panose="020B0604020202020204" pitchFamily="34" charset="0"/>
              </a:rPr>
              <a:t>meetings</a:t>
            </a:r>
            <a:r>
              <a:rPr lang="pl-PL" sz="1200" dirty="0">
                <a:solidFill>
                  <a:srgbClr val="009597">
                    <a:lumMod val="50000"/>
                  </a:srgbClr>
                </a:solidFill>
                <a:latin typeface="Arial" panose="020B0604020202020204" pitchFamily="34" charset="0"/>
                <a:cs typeface="Arial" panose="020B0604020202020204" pitchFamily="34" charset="0"/>
              </a:rPr>
              <a:t>, </a:t>
            </a:r>
            <a:r>
              <a:rPr lang="pl-PL" sz="1200" dirty="0" err="1">
                <a:solidFill>
                  <a:srgbClr val="009597">
                    <a:lumMod val="50000"/>
                  </a:srgbClr>
                </a:solidFill>
                <a:latin typeface="Arial" panose="020B0604020202020204" pitchFamily="34" charset="0"/>
                <a:cs typeface="Arial" panose="020B0604020202020204" pitchFamily="34" charset="0"/>
              </a:rPr>
              <a:t>internal</a:t>
            </a:r>
            <a:r>
              <a:rPr lang="pl-PL" sz="1200" dirty="0">
                <a:solidFill>
                  <a:srgbClr val="009597">
                    <a:lumMod val="50000"/>
                  </a:srgbClr>
                </a:solidFill>
                <a:latin typeface="Arial" panose="020B0604020202020204" pitchFamily="34" charset="0"/>
                <a:cs typeface="Arial" panose="020B0604020202020204" pitchFamily="34" charset="0"/>
              </a:rPr>
              <a:t> </a:t>
            </a:r>
            <a:r>
              <a:rPr lang="pl-PL" sz="1200" dirty="0" err="1">
                <a:solidFill>
                  <a:srgbClr val="009597">
                    <a:lumMod val="50000"/>
                  </a:srgbClr>
                </a:solidFill>
                <a:latin typeface="Arial" panose="020B0604020202020204" pitchFamily="34" charset="0"/>
                <a:cs typeface="Arial" panose="020B0604020202020204" pitchFamily="34" charset="0"/>
              </a:rPr>
              <a:t>website</a:t>
            </a:r>
            <a:r>
              <a:rPr lang="pl-PL" sz="1200" dirty="0">
                <a:solidFill>
                  <a:srgbClr val="009597">
                    <a:lumMod val="50000"/>
                  </a:srgbClr>
                </a:solidFill>
                <a:latin typeface="Arial" panose="020B0604020202020204" pitchFamily="34" charset="0"/>
                <a:cs typeface="Arial" panose="020B0604020202020204" pitchFamily="34" charset="0"/>
              </a:rPr>
              <a:t>, </a:t>
            </a:r>
            <a:r>
              <a:rPr lang="en-US" sz="1200" dirty="0">
                <a:solidFill>
                  <a:srgbClr val="009597">
                    <a:lumMod val="50000"/>
                  </a:srgbClr>
                </a:solidFill>
                <a:latin typeface="Arial" panose="020B0604020202020204" pitchFamily="34" charset="0"/>
                <a:cs typeface="Arial" panose="020B0604020202020204" pitchFamily="34" charset="0"/>
              </a:rPr>
              <a:t>E-mail communication to the sales network </a:t>
            </a:r>
            <a:endParaRPr lang="pl-PL" sz="1200" dirty="0">
              <a:solidFill>
                <a:srgbClr val="009597">
                  <a:lumMod val="50000"/>
                </a:srgbClr>
              </a:solidFill>
              <a:latin typeface="Arial" panose="020B0604020202020204" pitchFamily="34" charset="0"/>
              <a:cs typeface="Arial" panose="020B0604020202020204" pitchFamily="34" charset="0"/>
            </a:endParaRPr>
          </a:p>
          <a:p>
            <a:pPr marL="171446" indent="-171446" defTabSz="467539">
              <a:lnSpc>
                <a:spcPct val="200000"/>
              </a:lnSpc>
              <a:buFont typeface="Arial" panose="020B0604020202020204" pitchFamily="34" charset="0"/>
              <a:buChar char="•"/>
            </a:pPr>
            <a:r>
              <a:rPr lang="en-US" sz="1200" dirty="0">
                <a:solidFill>
                  <a:srgbClr val="009597">
                    <a:lumMod val="50000"/>
                  </a:srgbClr>
                </a:solidFill>
                <a:latin typeface="Arial" panose="020B0604020202020204" pitchFamily="34" charset="0"/>
                <a:cs typeface="Arial" panose="020B0604020202020204" pitchFamily="34" charset="0"/>
              </a:rPr>
              <a:t>communication in </a:t>
            </a:r>
            <a:r>
              <a:rPr lang="en-US" sz="1200" b="1" dirty="0">
                <a:solidFill>
                  <a:srgbClr val="009597">
                    <a:lumMod val="50000"/>
                  </a:srgbClr>
                </a:solidFill>
                <a:latin typeface="Arial" panose="020B0604020202020204" pitchFamily="34" charset="0"/>
                <a:cs typeface="Arial" panose="020B0604020202020204" pitchFamily="34" charset="0"/>
              </a:rPr>
              <a:t>cooperation with a partner</a:t>
            </a:r>
            <a:endParaRPr lang="pl-PL" sz="1200" b="1" dirty="0">
              <a:solidFill>
                <a:srgbClr val="009597">
                  <a:lumMod val="50000"/>
                </a:srgbClr>
              </a:solidFill>
              <a:latin typeface="Arial" panose="020B0604020202020204" pitchFamily="34" charset="0"/>
              <a:cs typeface="Arial" panose="020B0604020202020204" pitchFamily="34" charset="0"/>
            </a:endParaRPr>
          </a:p>
        </p:txBody>
      </p:sp>
      <p:sp>
        <p:nvSpPr>
          <p:cNvPr id="34" name="Schemat blokowy: proces alternatywny 33">
            <a:extLst>
              <a:ext uri="{FF2B5EF4-FFF2-40B4-BE49-F238E27FC236}">
                <a16:creationId xmlns:a16="http://schemas.microsoft.com/office/drawing/2014/main" id="{1F1B47C2-53A9-47E6-B84B-4A8B37132D4D}"/>
              </a:ext>
            </a:extLst>
          </p:cNvPr>
          <p:cNvSpPr/>
          <p:nvPr/>
        </p:nvSpPr>
        <p:spPr>
          <a:xfrm>
            <a:off x="186379" y="1205827"/>
            <a:ext cx="11840208" cy="419263"/>
          </a:xfrm>
          <a:prstGeom prst="flowChartAlternateProcess">
            <a:avLst/>
          </a:prstGeom>
          <a:solidFill>
            <a:schemeClr val="accent2">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7539">
              <a:lnSpc>
                <a:spcPct val="150000"/>
              </a:lnSpc>
            </a:pPr>
            <a:r>
              <a:rPr lang="pl-PL" sz="1400" b="1" dirty="0" err="1">
                <a:solidFill>
                  <a:srgbClr val="009597">
                    <a:lumMod val="50000"/>
                  </a:srgbClr>
                </a:solidFill>
                <a:latin typeface="Arial"/>
              </a:rPr>
              <a:t>Goal</a:t>
            </a:r>
            <a:r>
              <a:rPr lang="pl-PL" sz="1400" b="1" dirty="0">
                <a:solidFill>
                  <a:srgbClr val="009597">
                    <a:lumMod val="50000"/>
                  </a:srgbClr>
                </a:solidFill>
                <a:latin typeface="Arial"/>
              </a:rPr>
              <a:t>:</a:t>
            </a:r>
            <a:r>
              <a:rPr lang="en-US" sz="1400" b="1" dirty="0">
                <a:solidFill>
                  <a:srgbClr val="009597">
                    <a:lumMod val="50000"/>
                  </a:srgbClr>
                </a:solidFill>
                <a:latin typeface="Arial"/>
              </a:rPr>
              <a:t> </a:t>
            </a:r>
            <a:r>
              <a:rPr lang="pl-PL" sz="1400" b="1" dirty="0" err="1">
                <a:solidFill>
                  <a:srgbClr val="009597">
                    <a:lumMod val="50000"/>
                  </a:srgbClr>
                </a:solidFill>
                <a:latin typeface="Arial"/>
              </a:rPr>
              <a:t>sales</a:t>
            </a:r>
            <a:r>
              <a:rPr lang="pl-PL" sz="1400" b="1" dirty="0">
                <a:solidFill>
                  <a:srgbClr val="009597">
                    <a:lumMod val="50000"/>
                  </a:srgbClr>
                </a:solidFill>
                <a:latin typeface="Arial"/>
              </a:rPr>
              <a:t> </a:t>
            </a:r>
            <a:r>
              <a:rPr lang="en-US" sz="1400" b="1" dirty="0">
                <a:solidFill>
                  <a:srgbClr val="009597">
                    <a:lumMod val="50000"/>
                  </a:srgbClr>
                </a:solidFill>
                <a:latin typeface="Arial"/>
              </a:rPr>
              <a:t>accounts with an accounting package, </a:t>
            </a:r>
            <a:r>
              <a:rPr lang="pl-PL" sz="1400" b="1" dirty="0" err="1">
                <a:solidFill>
                  <a:srgbClr val="009597">
                    <a:lumMod val="50000"/>
                  </a:srgbClr>
                </a:solidFill>
                <a:latin typeface="Arial"/>
              </a:rPr>
              <a:t>upselling</a:t>
            </a:r>
            <a:r>
              <a:rPr lang="pl-PL" sz="1400" b="1" dirty="0">
                <a:solidFill>
                  <a:srgbClr val="009597">
                    <a:lumMod val="50000"/>
                  </a:srgbClr>
                </a:solidFill>
                <a:latin typeface="Arial"/>
              </a:rPr>
              <a:t> </a:t>
            </a:r>
            <a:r>
              <a:rPr lang="pl-PL" sz="1400" b="1" dirty="0" err="1">
                <a:solidFill>
                  <a:srgbClr val="009597">
                    <a:lumMod val="50000"/>
                  </a:srgbClr>
                </a:solidFill>
                <a:latin typeface="Arial"/>
              </a:rPr>
              <a:t>accounting</a:t>
            </a:r>
            <a:r>
              <a:rPr lang="en-US" sz="1400" b="1" dirty="0">
                <a:solidFill>
                  <a:srgbClr val="009597">
                    <a:lumMod val="50000"/>
                  </a:srgbClr>
                </a:solidFill>
                <a:latin typeface="Arial"/>
              </a:rPr>
              <a:t> to existing clients, </a:t>
            </a:r>
            <a:r>
              <a:rPr lang="pl-PL" sz="1400" b="1" dirty="0" err="1">
                <a:solidFill>
                  <a:srgbClr val="009597">
                    <a:lumMod val="50000"/>
                  </a:srgbClr>
                </a:solidFill>
                <a:latin typeface="Arial"/>
              </a:rPr>
              <a:t>customer</a:t>
            </a:r>
            <a:r>
              <a:rPr lang="pl-PL" sz="1400" b="1" dirty="0">
                <a:solidFill>
                  <a:srgbClr val="009597">
                    <a:lumMod val="50000"/>
                  </a:srgbClr>
                </a:solidFill>
                <a:latin typeface="Arial"/>
              </a:rPr>
              <a:t> </a:t>
            </a:r>
            <a:r>
              <a:rPr lang="pl-PL" sz="1400" b="1" dirty="0" err="1">
                <a:solidFill>
                  <a:srgbClr val="009597">
                    <a:lumMod val="50000"/>
                  </a:srgbClr>
                </a:solidFill>
                <a:latin typeface="Arial"/>
              </a:rPr>
              <a:t>activation</a:t>
            </a:r>
            <a:endParaRPr lang="pl-PL" sz="1400" b="1" dirty="0">
              <a:solidFill>
                <a:srgbClr val="009597">
                  <a:lumMod val="50000"/>
                </a:srgbClr>
              </a:solidFill>
              <a:latin typeface="Arial"/>
            </a:endParaRPr>
          </a:p>
        </p:txBody>
      </p:sp>
      <p:sp>
        <p:nvSpPr>
          <p:cNvPr id="35" name="pole tekstowe 34">
            <a:extLst>
              <a:ext uri="{FF2B5EF4-FFF2-40B4-BE49-F238E27FC236}">
                <a16:creationId xmlns:a16="http://schemas.microsoft.com/office/drawing/2014/main" id="{0B996D41-14C1-4062-B391-FC13D3FF2163}"/>
              </a:ext>
            </a:extLst>
          </p:cNvPr>
          <p:cNvSpPr txBox="1"/>
          <p:nvPr/>
        </p:nvSpPr>
        <p:spPr>
          <a:xfrm>
            <a:off x="3699911" y="3110641"/>
            <a:ext cx="1657149" cy="215444"/>
          </a:xfrm>
          <a:prstGeom prst="rect">
            <a:avLst/>
          </a:prstGeom>
          <a:noFill/>
        </p:spPr>
        <p:txBody>
          <a:bodyPr wrap="square" rtlCol="0">
            <a:spAutoFit/>
          </a:bodyPr>
          <a:lstStyle/>
          <a:p>
            <a:pPr defTabSz="914296">
              <a:spcBef>
                <a:spcPts val="600"/>
              </a:spcBef>
              <a:spcAft>
                <a:spcPts val="1600"/>
              </a:spcAft>
              <a:buClr>
                <a:srgbClr val="009597"/>
              </a:buClr>
              <a:buSzPct val="100000"/>
              <a:defRPr/>
            </a:pPr>
            <a:r>
              <a:rPr lang="pl-PL" sz="800" b="1" dirty="0">
                <a:solidFill>
                  <a:srgbClr val="009597"/>
                </a:solidFill>
                <a:latin typeface="Arial" panose="020B0604020202020204" pitchFamily="34" charset="0"/>
                <a:cs typeface="Arial" panose="020B0604020202020204" pitchFamily="34" charset="0"/>
              </a:rPr>
              <a:t>CA24 Mobile - PUSH</a:t>
            </a:r>
          </a:p>
        </p:txBody>
      </p:sp>
      <p:sp>
        <p:nvSpPr>
          <p:cNvPr id="36" name="pole tekstowe 35">
            <a:extLst>
              <a:ext uri="{FF2B5EF4-FFF2-40B4-BE49-F238E27FC236}">
                <a16:creationId xmlns:a16="http://schemas.microsoft.com/office/drawing/2014/main" id="{EA8542B3-84C3-4273-9258-E017EDA3589E}"/>
              </a:ext>
            </a:extLst>
          </p:cNvPr>
          <p:cNvSpPr txBox="1"/>
          <p:nvPr/>
        </p:nvSpPr>
        <p:spPr>
          <a:xfrm>
            <a:off x="6961196" y="2802880"/>
            <a:ext cx="1657149" cy="215444"/>
          </a:xfrm>
          <a:prstGeom prst="rect">
            <a:avLst/>
          </a:prstGeom>
          <a:noFill/>
        </p:spPr>
        <p:txBody>
          <a:bodyPr wrap="square" rtlCol="0">
            <a:spAutoFit/>
          </a:bodyPr>
          <a:lstStyle/>
          <a:p>
            <a:pPr defTabSz="914296">
              <a:spcBef>
                <a:spcPts val="600"/>
              </a:spcBef>
              <a:spcAft>
                <a:spcPts val="1600"/>
              </a:spcAft>
              <a:buClr>
                <a:srgbClr val="009597"/>
              </a:buClr>
              <a:buSzPct val="100000"/>
              <a:defRPr/>
            </a:pPr>
            <a:r>
              <a:rPr lang="pl-PL" sz="800" b="1" dirty="0" err="1">
                <a:solidFill>
                  <a:srgbClr val="009597"/>
                </a:solidFill>
                <a:latin typeface="Arial" panose="020B0604020202020204" pitchFamily="34" charset="0"/>
                <a:cs typeface="Arial" panose="020B0604020202020204" pitchFamily="34" charset="0"/>
              </a:rPr>
              <a:t>Text</a:t>
            </a:r>
            <a:r>
              <a:rPr lang="pl-PL" sz="800" b="1" dirty="0">
                <a:solidFill>
                  <a:srgbClr val="009597"/>
                </a:solidFill>
                <a:latin typeface="Arial" panose="020B0604020202020204" pitchFamily="34" charset="0"/>
                <a:cs typeface="Arial" panose="020B0604020202020204" pitchFamily="34" charset="0"/>
              </a:rPr>
              <a:t> </a:t>
            </a:r>
            <a:r>
              <a:rPr lang="pl-PL" sz="800" b="1" dirty="0" err="1">
                <a:solidFill>
                  <a:srgbClr val="009597"/>
                </a:solidFill>
                <a:latin typeface="Arial" panose="020B0604020202020204" pitchFamily="34" charset="0"/>
                <a:cs typeface="Arial" panose="020B0604020202020204" pitchFamily="34" charset="0"/>
              </a:rPr>
              <a:t>message</a:t>
            </a:r>
            <a:r>
              <a:rPr lang="pl-PL" sz="800" b="1" dirty="0">
                <a:solidFill>
                  <a:srgbClr val="009597"/>
                </a:solidFill>
                <a:latin typeface="Arial" panose="020B0604020202020204" pitchFamily="34" charset="0"/>
                <a:cs typeface="Arial" panose="020B0604020202020204" pitchFamily="34" charset="0"/>
              </a:rPr>
              <a:t> </a:t>
            </a:r>
          </a:p>
        </p:txBody>
      </p:sp>
      <p:sp>
        <p:nvSpPr>
          <p:cNvPr id="37" name="pole tekstowe 36">
            <a:extLst>
              <a:ext uri="{FF2B5EF4-FFF2-40B4-BE49-F238E27FC236}">
                <a16:creationId xmlns:a16="http://schemas.microsoft.com/office/drawing/2014/main" id="{36CC98B1-AFDC-43DA-AF8F-90E3187A8C36}"/>
              </a:ext>
            </a:extLst>
          </p:cNvPr>
          <p:cNvSpPr txBox="1"/>
          <p:nvPr/>
        </p:nvSpPr>
        <p:spPr>
          <a:xfrm>
            <a:off x="6135054" y="4254347"/>
            <a:ext cx="1657149" cy="215444"/>
          </a:xfrm>
          <a:prstGeom prst="rect">
            <a:avLst/>
          </a:prstGeom>
          <a:noFill/>
        </p:spPr>
        <p:txBody>
          <a:bodyPr wrap="square" rtlCol="0">
            <a:spAutoFit/>
          </a:bodyPr>
          <a:lstStyle/>
          <a:p>
            <a:pPr defTabSz="914296">
              <a:spcBef>
                <a:spcPts val="600"/>
              </a:spcBef>
              <a:spcAft>
                <a:spcPts val="1600"/>
              </a:spcAft>
              <a:buClr>
                <a:srgbClr val="009597"/>
              </a:buClr>
              <a:buSzPct val="100000"/>
              <a:defRPr/>
            </a:pPr>
            <a:r>
              <a:rPr lang="pl-PL" sz="800" b="1" dirty="0" err="1">
                <a:solidFill>
                  <a:srgbClr val="009597"/>
                </a:solidFill>
                <a:latin typeface="Arial" panose="020B0604020202020204" pitchFamily="34" charset="0"/>
                <a:cs typeface="Arial" panose="020B0604020202020204" pitchFamily="34" charset="0"/>
              </a:rPr>
              <a:t>Banners</a:t>
            </a:r>
            <a:r>
              <a:rPr lang="pl-PL" sz="800" b="1" dirty="0">
                <a:solidFill>
                  <a:srgbClr val="009597"/>
                </a:solidFill>
                <a:latin typeface="Arial" panose="020B0604020202020204" pitchFamily="34" charset="0"/>
                <a:cs typeface="Arial" panose="020B0604020202020204" pitchFamily="34" charset="0"/>
              </a:rPr>
              <a:t> in CA24 Mobile</a:t>
            </a:r>
          </a:p>
        </p:txBody>
      </p:sp>
      <p:sp>
        <p:nvSpPr>
          <p:cNvPr id="38" name="pole tekstowe 37">
            <a:extLst>
              <a:ext uri="{FF2B5EF4-FFF2-40B4-BE49-F238E27FC236}">
                <a16:creationId xmlns:a16="http://schemas.microsoft.com/office/drawing/2014/main" id="{62EE8A93-459A-42C0-A2FA-57F1A7CE2DE4}"/>
              </a:ext>
            </a:extLst>
          </p:cNvPr>
          <p:cNvSpPr txBox="1"/>
          <p:nvPr/>
        </p:nvSpPr>
        <p:spPr>
          <a:xfrm>
            <a:off x="5306479" y="3408080"/>
            <a:ext cx="1657149" cy="215444"/>
          </a:xfrm>
          <a:prstGeom prst="rect">
            <a:avLst/>
          </a:prstGeom>
          <a:noFill/>
        </p:spPr>
        <p:txBody>
          <a:bodyPr wrap="square" rtlCol="0">
            <a:spAutoFit/>
          </a:bodyPr>
          <a:lstStyle/>
          <a:p>
            <a:pPr defTabSz="914296">
              <a:spcBef>
                <a:spcPts val="600"/>
              </a:spcBef>
              <a:spcAft>
                <a:spcPts val="1600"/>
              </a:spcAft>
              <a:buClr>
                <a:srgbClr val="009597"/>
              </a:buClr>
              <a:buSzPct val="100000"/>
              <a:defRPr/>
            </a:pPr>
            <a:r>
              <a:rPr lang="pl-PL" sz="800" b="1" dirty="0" err="1">
                <a:solidFill>
                  <a:srgbClr val="009597"/>
                </a:solidFill>
                <a:latin typeface="Arial" panose="020B0604020202020204" pitchFamily="34" charset="0"/>
                <a:cs typeface="Arial" panose="020B0604020202020204" pitchFamily="34" charset="0"/>
              </a:rPr>
              <a:t>Banners</a:t>
            </a:r>
            <a:r>
              <a:rPr lang="pl-PL" sz="800" b="1" dirty="0">
                <a:solidFill>
                  <a:srgbClr val="009597"/>
                </a:solidFill>
                <a:latin typeface="Arial" panose="020B0604020202020204" pitchFamily="34" charset="0"/>
                <a:cs typeface="Arial" panose="020B0604020202020204" pitchFamily="34" charset="0"/>
              </a:rPr>
              <a:t> in Strefa Biznesu</a:t>
            </a:r>
          </a:p>
        </p:txBody>
      </p:sp>
      <p:sp>
        <p:nvSpPr>
          <p:cNvPr id="26" name="Prostokąt: zaokrąglone rogi 25">
            <a:extLst>
              <a:ext uri="{FF2B5EF4-FFF2-40B4-BE49-F238E27FC236}">
                <a16:creationId xmlns:a16="http://schemas.microsoft.com/office/drawing/2014/main" id="{FE089165-A209-4957-9CC3-F53032F10161}"/>
              </a:ext>
            </a:extLst>
          </p:cNvPr>
          <p:cNvSpPr/>
          <p:nvPr/>
        </p:nvSpPr>
        <p:spPr>
          <a:xfrm>
            <a:off x="3699911" y="1684862"/>
            <a:ext cx="4769029" cy="1046636"/>
          </a:xfrm>
          <a:prstGeom prst="roundRect">
            <a:avLst/>
          </a:prstGeom>
          <a:no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7539"/>
            <a:endParaRPr lang="pl-PL" sz="1351">
              <a:solidFill>
                <a:srgbClr val="FFFFFF"/>
              </a:solidFill>
              <a:latin typeface="Arial"/>
            </a:endParaRPr>
          </a:p>
        </p:txBody>
      </p:sp>
      <p:pic>
        <p:nvPicPr>
          <p:cNvPr id="30" name="Obraz 29">
            <a:extLst>
              <a:ext uri="{FF2B5EF4-FFF2-40B4-BE49-F238E27FC236}">
                <a16:creationId xmlns:a16="http://schemas.microsoft.com/office/drawing/2014/main" id="{A3C887B8-147C-417E-B746-63C62E77CFC4}"/>
              </a:ext>
            </a:extLst>
          </p:cNvPr>
          <p:cNvPicPr>
            <a:picLocks noChangeAspect="1"/>
          </p:cNvPicPr>
          <p:nvPr/>
        </p:nvPicPr>
        <p:blipFill>
          <a:blip r:embed="rId12"/>
          <a:stretch>
            <a:fillRect/>
          </a:stretch>
        </p:blipFill>
        <p:spPr>
          <a:xfrm>
            <a:off x="9396126" y="1641399"/>
            <a:ext cx="2520831" cy="1252083"/>
          </a:xfrm>
          <a:prstGeom prst="rect">
            <a:avLst/>
          </a:prstGeom>
          <a:effectLst>
            <a:outerShdw blurRad="317500" dist="190500" dir="2700000" algn="ctr" rotWithShape="0">
              <a:schemeClr val="tx1">
                <a:alpha val="50000"/>
              </a:schemeClr>
            </a:outerShdw>
          </a:effectLst>
        </p:spPr>
      </p:pic>
      <p:sp>
        <p:nvSpPr>
          <p:cNvPr id="42" name="pole tekstowe 41">
            <a:extLst>
              <a:ext uri="{FF2B5EF4-FFF2-40B4-BE49-F238E27FC236}">
                <a16:creationId xmlns:a16="http://schemas.microsoft.com/office/drawing/2014/main" id="{462F5773-A459-4F20-89D3-79B0E688C8FC}"/>
              </a:ext>
            </a:extLst>
          </p:cNvPr>
          <p:cNvSpPr txBox="1"/>
          <p:nvPr/>
        </p:nvSpPr>
        <p:spPr>
          <a:xfrm>
            <a:off x="8682532" y="1693459"/>
            <a:ext cx="714697" cy="215444"/>
          </a:xfrm>
          <a:prstGeom prst="rect">
            <a:avLst/>
          </a:prstGeom>
          <a:noFill/>
        </p:spPr>
        <p:txBody>
          <a:bodyPr wrap="square" rtlCol="0">
            <a:spAutoFit/>
          </a:bodyPr>
          <a:lstStyle/>
          <a:p>
            <a:pPr defTabSz="914296">
              <a:spcBef>
                <a:spcPts val="600"/>
              </a:spcBef>
              <a:spcAft>
                <a:spcPts val="1600"/>
              </a:spcAft>
              <a:buClr>
                <a:srgbClr val="009597"/>
              </a:buClr>
              <a:buSzPct val="100000"/>
              <a:defRPr/>
            </a:pPr>
            <a:r>
              <a:rPr lang="pl-PL" sz="800" b="1" dirty="0">
                <a:solidFill>
                  <a:srgbClr val="009597"/>
                </a:solidFill>
                <a:latin typeface="Arial" panose="020B0604020202020204" pitchFamily="34" charset="0"/>
                <a:cs typeface="Arial" panose="020B0604020202020204" pitchFamily="34" charset="0"/>
              </a:rPr>
              <a:t>WWW</a:t>
            </a:r>
          </a:p>
        </p:txBody>
      </p:sp>
      <p:sp>
        <p:nvSpPr>
          <p:cNvPr id="2" name="pole tekstowe 1">
            <a:extLst>
              <a:ext uri="{FF2B5EF4-FFF2-40B4-BE49-F238E27FC236}">
                <a16:creationId xmlns:a16="http://schemas.microsoft.com/office/drawing/2014/main" id="{84084177-FB76-0900-92C0-286AFDCFEC2E}"/>
              </a:ext>
            </a:extLst>
          </p:cNvPr>
          <p:cNvSpPr txBox="1"/>
          <p:nvPr/>
        </p:nvSpPr>
        <p:spPr>
          <a:xfrm>
            <a:off x="10125816" y="3197488"/>
            <a:ext cx="1657149" cy="215444"/>
          </a:xfrm>
          <a:prstGeom prst="rect">
            <a:avLst/>
          </a:prstGeom>
          <a:noFill/>
        </p:spPr>
        <p:txBody>
          <a:bodyPr wrap="square" rtlCol="0">
            <a:spAutoFit/>
          </a:bodyPr>
          <a:lstStyle/>
          <a:p>
            <a:pPr defTabSz="914296">
              <a:spcBef>
                <a:spcPts val="600"/>
              </a:spcBef>
              <a:spcAft>
                <a:spcPts val="1600"/>
              </a:spcAft>
              <a:buClr>
                <a:srgbClr val="009597"/>
              </a:buClr>
              <a:buSzPct val="100000"/>
              <a:defRPr/>
            </a:pPr>
            <a:r>
              <a:rPr lang="pl-PL" sz="800" b="1" dirty="0" err="1">
                <a:solidFill>
                  <a:srgbClr val="009597"/>
                </a:solidFill>
                <a:latin typeface="Arial" panose="020B0604020202020204" pitchFamily="34" charset="0"/>
                <a:cs typeface="Arial" panose="020B0604020202020204" pitchFamily="34" charset="0"/>
              </a:rPr>
              <a:t>Dedicated</a:t>
            </a:r>
            <a:r>
              <a:rPr lang="pl-PL" sz="800" b="1" dirty="0">
                <a:solidFill>
                  <a:srgbClr val="009597"/>
                </a:solidFill>
                <a:latin typeface="Arial" panose="020B0604020202020204" pitchFamily="34" charset="0"/>
                <a:cs typeface="Arial" panose="020B0604020202020204" pitchFamily="34" charset="0"/>
              </a:rPr>
              <a:t> </a:t>
            </a:r>
            <a:r>
              <a:rPr lang="pl-PL" sz="800" b="1" dirty="0" err="1">
                <a:solidFill>
                  <a:srgbClr val="009597"/>
                </a:solidFill>
                <a:latin typeface="Arial" panose="020B0604020202020204" pitchFamily="34" charset="0"/>
                <a:cs typeface="Arial" panose="020B0604020202020204" pitchFamily="34" charset="0"/>
              </a:rPr>
              <a:t>webinar</a:t>
            </a:r>
            <a:endParaRPr lang="pl-PL" sz="800" b="1" dirty="0">
              <a:solidFill>
                <a:srgbClr val="009597"/>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25631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434496-E456-C456-1AE2-B360233A5E58}"/>
            </a:ext>
          </a:extLst>
        </p:cNvPr>
        <p:cNvGrpSpPr/>
        <p:nvPr/>
      </p:nvGrpSpPr>
      <p:grpSpPr>
        <a:xfrm>
          <a:off x="0" y="0"/>
          <a:ext cx="0" cy="0"/>
          <a:chOff x="0" y="0"/>
          <a:chExt cx="0" cy="0"/>
        </a:xfrm>
      </p:grpSpPr>
      <p:sp>
        <p:nvSpPr>
          <p:cNvPr id="18" name="Prostokąt 17">
            <a:extLst>
              <a:ext uri="{FF2B5EF4-FFF2-40B4-BE49-F238E27FC236}">
                <a16:creationId xmlns:a16="http://schemas.microsoft.com/office/drawing/2014/main" id="{CABFCAA1-944A-28D5-44AA-F2F23848BB03}"/>
              </a:ext>
            </a:extLst>
          </p:cNvPr>
          <p:cNvSpPr/>
          <p:nvPr/>
        </p:nvSpPr>
        <p:spPr>
          <a:xfrm>
            <a:off x="1934059" y="3401991"/>
            <a:ext cx="4350335" cy="259244"/>
          </a:xfrm>
          <a:prstGeom prst="rect">
            <a:avLst/>
          </a:prstGeom>
          <a:solidFill>
            <a:srgbClr val="009597"/>
          </a:solidFill>
          <a:ln>
            <a:solidFill>
              <a:srgbClr val="0095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err="1">
                <a:ln>
                  <a:noFill/>
                </a:ln>
                <a:solidFill>
                  <a:srgbClr val="FFFFFF"/>
                </a:solidFill>
                <a:effectLst/>
                <a:uLnTx/>
                <a:uFillTx/>
                <a:latin typeface="Arial"/>
                <a:ea typeface="+mn-ea"/>
                <a:cs typeface="+mn-cs"/>
              </a:rPr>
              <a:t>Extenstion</a:t>
            </a:r>
            <a:r>
              <a:rPr kumimoji="0" lang="pl-PL" sz="1200" b="0" i="0" u="none" strike="noStrike" kern="1200" cap="none" spc="0" normalizeH="0" baseline="0" noProof="0" dirty="0">
                <a:ln>
                  <a:noFill/>
                </a:ln>
                <a:solidFill>
                  <a:srgbClr val="FFFFFF"/>
                </a:solidFill>
                <a:effectLst/>
                <a:uLnTx/>
                <a:uFillTx/>
                <a:latin typeface="Arial"/>
                <a:ea typeface="+mn-ea"/>
                <a:cs typeface="+mn-cs"/>
              </a:rPr>
              <a:t> of Cash in &amp; </a:t>
            </a:r>
            <a:r>
              <a:rPr kumimoji="0" lang="pl-PL" sz="1200" b="0" i="0" u="none" strike="noStrike" kern="1200" cap="none" spc="0" normalizeH="0" baseline="0" noProof="0" dirty="0" err="1">
                <a:ln>
                  <a:noFill/>
                </a:ln>
                <a:solidFill>
                  <a:srgbClr val="FFFFFF"/>
                </a:solidFill>
                <a:effectLst/>
                <a:uLnTx/>
                <a:uFillTx/>
                <a:latin typeface="Arial"/>
                <a:ea typeface="+mn-ea"/>
                <a:cs typeface="+mn-cs"/>
              </a:rPr>
              <a:t>cash</a:t>
            </a:r>
            <a:r>
              <a:rPr kumimoji="0" lang="pl-PL" sz="1200" b="0" i="0" u="none" strike="noStrike" kern="1200" cap="none" spc="0" normalizeH="0" baseline="0" noProof="0" dirty="0">
                <a:ln>
                  <a:noFill/>
                </a:ln>
                <a:solidFill>
                  <a:srgbClr val="FFFFFF"/>
                </a:solidFill>
                <a:effectLst/>
                <a:uLnTx/>
                <a:uFillTx/>
                <a:latin typeface="Arial"/>
                <a:ea typeface="+mn-ea"/>
                <a:cs typeface="+mn-cs"/>
              </a:rPr>
              <a:t> out in </a:t>
            </a:r>
            <a:r>
              <a:rPr kumimoji="0" lang="pl-PL" sz="1200" b="0" i="0" u="none" strike="noStrike" kern="1200" cap="none" spc="0" normalizeH="0" baseline="0" noProof="0" dirty="0" err="1">
                <a:ln>
                  <a:noFill/>
                </a:ln>
                <a:solidFill>
                  <a:srgbClr val="FFFFFF"/>
                </a:solidFill>
                <a:effectLst/>
                <a:uLnTx/>
                <a:uFillTx/>
                <a:latin typeface="Arial"/>
                <a:ea typeface="+mn-ea"/>
                <a:cs typeface="+mn-cs"/>
              </a:rPr>
              <a:t>ATM’s</a:t>
            </a: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41" name="Prostokąt 40">
            <a:extLst>
              <a:ext uri="{FF2B5EF4-FFF2-40B4-BE49-F238E27FC236}">
                <a16:creationId xmlns:a16="http://schemas.microsoft.com/office/drawing/2014/main" id="{3AF522D6-1D3C-0117-89FB-241C163D62D9}"/>
              </a:ext>
            </a:extLst>
          </p:cNvPr>
          <p:cNvSpPr/>
          <p:nvPr/>
        </p:nvSpPr>
        <p:spPr>
          <a:xfrm>
            <a:off x="11390166" y="6413488"/>
            <a:ext cx="761639" cy="37592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Tytuł 1">
            <a:extLst>
              <a:ext uri="{FF2B5EF4-FFF2-40B4-BE49-F238E27FC236}">
                <a16:creationId xmlns:a16="http://schemas.microsoft.com/office/drawing/2014/main" id="{474C6A59-1189-A3CC-5C69-4F68915AE7A3}"/>
              </a:ext>
            </a:extLst>
          </p:cNvPr>
          <p:cNvSpPr>
            <a:spLocks noGrp="1"/>
          </p:cNvSpPr>
          <p:nvPr>
            <p:ph type="title"/>
          </p:nvPr>
        </p:nvSpPr>
        <p:spPr>
          <a:xfrm>
            <a:off x="340768" y="-201443"/>
            <a:ext cx="10824633" cy="753533"/>
          </a:xfrm>
        </p:spPr>
        <p:txBody>
          <a:bodyPr/>
          <a:lstStyle/>
          <a:p>
            <a:r>
              <a:rPr lang="pl-PL" sz="2800" dirty="0"/>
              <a:t>Digital </a:t>
            </a:r>
            <a:r>
              <a:rPr lang="pl-PL" sz="2800" dirty="0" err="1"/>
              <a:t>channels</a:t>
            </a:r>
            <a:r>
              <a:rPr lang="pl-PL" sz="2800" dirty="0"/>
              <a:t> development for SOHO – 2026 </a:t>
            </a:r>
            <a:r>
              <a:rPr lang="pl-PL" sz="2800" dirty="0" err="1"/>
              <a:t>roadmap</a:t>
            </a:r>
            <a:endParaRPr lang="en-GB" sz="2800" dirty="0"/>
          </a:p>
        </p:txBody>
      </p:sp>
      <p:sp>
        <p:nvSpPr>
          <p:cNvPr id="16" name="Prostokąt 15">
            <a:extLst>
              <a:ext uri="{FF2B5EF4-FFF2-40B4-BE49-F238E27FC236}">
                <a16:creationId xmlns:a16="http://schemas.microsoft.com/office/drawing/2014/main" id="{223B7D47-6517-27F1-AA14-37FB305C83FF}"/>
              </a:ext>
            </a:extLst>
          </p:cNvPr>
          <p:cNvSpPr/>
          <p:nvPr/>
        </p:nvSpPr>
        <p:spPr>
          <a:xfrm>
            <a:off x="888572" y="711102"/>
            <a:ext cx="10524788" cy="229096"/>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Arial"/>
                <a:ea typeface="+mn-ea"/>
                <a:cs typeface="+mn-cs"/>
              </a:rPr>
              <a:t>2026</a:t>
            </a: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62" name="Prostokąt 61">
            <a:extLst>
              <a:ext uri="{FF2B5EF4-FFF2-40B4-BE49-F238E27FC236}">
                <a16:creationId xmlns:a16="http://schemas.microsoft.com/office/drawing/2014/main" id="{35037E52-E0C6-FC2C-B7C3-3C264E23D53A}"/>
              </a:ext>
            </a:extLst>
          </p:cNvPr>
          <p:cNvSpPr/>
          <p:nvPr/>
        </p:nvSpPr>
        <p:spPr>
          <a:xfrm>
            <a:off x="692837" y="3811121"/>
            <a:ext cx="2290236" cy="338931"/>
          </a:xfrm>
          <a:prstGeom prst="rect">
            <a:avLst/>
          </a:prstGeom>
          <a:solidFill>
            <a:srgbClr val="81B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rPr>
              <a:t>Google </a:t>
            </a:r>
            <a:r>
              <a:rPr kumimoji="0" lang="pl-PL" sz="1200" b="0" i="0" u="none" strike="noStrike" kern="1200" cap="none" spc="0" normalizeH="0" baseline="0" noProof="0" dirty="0">
                <a:ln>
                  <a:noFill/>
                </a:ln>
                <a:solidFill>
                  <a:srgbClr val="FFFFFF"/>
                </a:solidFill>
                <a:effectLst/>
                <a:uLnTx/>
                <a:uFillTx/>
                <a:latin typeface="Arial"/>
                <a:ea typeface="+mn-ea"/>
                <a:cs typeface="+mn-cs"/>
              </a:rPr>
              <a:t>map profile </a:t>
            </a:r>
            <a:r>
              <a:rPr kumimoji="0" lang="en-US" sz="1200" b="0" i="0" u="none" strike="noStrike" kern="1200" cap="none" spc="0" normalizeH="0" baseline="0" noProof="0" dirty="0">
                <a:ln>
                  <a:noFill/>
                </a:ln>
                <a:solidFill>
                  <a:srgbClr val="FFFFFF"/>
                </a:solidFill>
                <a:effectLst/>
                <a:uLnTx/>
                <a:uFillTx/>
                <a:latin typeface="Arial"/>
                <a:ea typeface="+mn-ea"/>
                <a:cs typeface="+mn-cs"/>
              </a:rPr>
              <a:t>positioning</a:t>
            </a:r>
            <a:r>
              <a:rPr kumimoji="0" lang="pl-PL" sz="1200" b="0" i="0" u="none" strike="noStrike" kern="1200" cap="none" spc="0" normalizeH="0" baseline="0" noProof="0" dirty="0">
                <a:ln>
                  <a:noFill/>
                </a:ln>
                <a:solidFill>
                  <a:srgbClr val="FFFFFF"/>
                </a:solidFill>
                <a:effectLst/>
                <a:uLnTx/>
                <a:uFillTx/>
                <a:latin typeface="Arial"/>
                <a:ea typeface="+mn-ea"/>
                <a:cs typeface="+mn-cs"/>
              </a:rPr>
              <a:t> </a:t>
            </a:r>
            <a:r>
              <a:rPr kumimoji="0" lang="en-US" sz="1200" b="0" i="0" u="none" strike="noStrike" kern="1200" cap="none" spc="0" normalizeH="0" baseline="0" noProof="0" dirty="0">
                <a:ln>
                  <a:noFill/>
                </a:ln>
                <a:solidFill>
                  <a:srgbClr val="FFFFFF"/>
                </a:solidFill>
                <a:effectLst/>
                <a:uLnTx/>
                <a:uFillTx/>
                <a:latin typeface="Arial"/>
                <a:ea typeface="+mn-ea"/>
                <a:cs typeface="+mn-cs"/>
              </a:rPr>
              <a:t>MVP</a:t>
            </a:r>
            <a:r>
              <a:rPr kumimoji="0" lang="pl-PL" sz="1200" b="0" i="0" u="none" strike="noStrike" kern="1200" cap="none" spc="0" normalizeH="0" baseline="0" noProof="0" dirty="0">
                <a:ln>
                  <a:noFill/>
                </a:ln>
                <a:solidFill>
                  <a:srgbClr val="FFFFFF"/>
                </a:solidFill>
                <a:effectLst/>
                <a:uLnTx/>
                <a:uFillTx/>
                <a:latin typeface="Arial"/>
                <a:ea typeface="+mn-ea"/>
                <a:cs typeface="+mn-cs"/>
              </a:rPr>
              <a:t> </a:t>
            </a: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63" name="Prostokąt 62">
            <a:extLst>
              <a:ext uri="{FF2B5EF4-FFF2-40B4-BE49-F238E27FC236}">
                <a16:creationId xmlns:a16="http://schemas.microsoft.com/office/drawing/2014/main" id="{FB46CF81-3946-F324-D476-6BA06A6FE1D0}"/>
              </a:ext>
            </a:extLst>
          </p:cNvPr>
          <p:cNvSpPr/>
          <p:nvPr/>
        </p:nvSpPr>
        <p:spPr>
          <a:xfrm>
            <a:off x="692837" y="4221420"/>
            <a:ext cx="2290236" cy="350985"/>
          </a:xfrm>
          <a:prstGeom prst="rect">
            <a:avLst/>
          </a:prstGeom>
          <a:solidFill>
            <a:srgbClr val="009597"/>
          </a:solidFill>
          <a:ln>
            <a:solidFill>
              <a:srgbClr val="0095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srgbClr val="FFFFFF"/>
                </a:solidFill>
                <a:effectLst/>
                <a:uLnTx/>
                <a:uFillTx/>
                <a:latin typeface="Arial"/>
                <a:ea typeface="+mn-ea"/>
                <a:cs typeface="+mn-cs"/>
              </a:rPr>
              <a:t>Accounting </a:t>
            </a:r>
            <a:r>
              <a:rPr kumimoji="0" lang="pl-PL" sz="1200" b="0" i="0" u="none" strike="noStrike" kern="1200" cap="none" spc="0" normalizeH="0" baseline="0" noProof="0" dirty="0" err="1">
                <a:ln>
                  <a:noFill/>
                </a:ln>
                <a:solidFill>
                  <a:srgbClr val="FFFFFF"/>
                </a:solidFill>
                <a:effectLst/>
                <a:uLnTx/>
                <a:uFillTx/>
                <a:latin typeface="Arial"/>
                <a:ea typeface="+mn-ea"/>
                <a:cs typeface="+mn-cs"/>
              </a:rPr>
              <a:t>packages</a:t>
            </a:r>
            <a:r>
              <a:rPr kumimoji="0" lang="pl-PL" sz="1200" b="0" i="0" u="none" strike="noStrike" kern="1200" cap="none" spc="0" normalizeH="0" baseline="0" noProof="0" dirty="0">
                <a:ln>
                  <a:noFill/>
                </a:ln>
                <a:solidFill>
                  <a:srgbClr val="FFFFFF"/>
                </a:solidFill>
                <a:effectLst/>
                <a:uLnTx/>
                <a:uFillTx/>
                <a:latin typeface="Arial"/>
                <a:ea typeface="+mn-ea"/>
                <a:cs typeface="+mn-cs"/>
              </a:rPr>
              <a:t> with </a:t>
            </a:r>
            <a:r>
              <a:rPr kumimoji="0" lang="pl-PL" sz="1200" b="0" i="0" u="none" strike="noStrike" kern="1200" cap="none" spc="0" normalizeH="0" baseline="0" noProof="0" dirty="0" err="1">
                <a:ln>
                  <a:noFill/>
                </a:ln>
                <a:solidFill>
                  <a:srgbClr val="FFFFFF"/>
                </a:solidFill>
                <a:effectLst/>
                <a:uLnTx/>
                <a:uFillTx/>
                <a:latin typeface="Arial"/>
                <a:ea typeface="+mn-ea"/>
                <a:cs typeface="+mn-cs"/>
              </a:rPr>
              <a:t>KSeF</a:t>
            </a: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65" name="Prostokąt 64">
            <a:extLst>
              <a:ext uri="{FF2B5EF4-FFF2-40B4-BE49-F238E27FC236}">
                <a16:creationId xmlns:a16="http://schemas.microsoft.com/office/drawing/2014/main" id="{3DAC07C4-98C1-BA4B-96F0-52E73FFADDAF}"/>
              </a:ext>
            </a:extLst>
          </p:cNvPr>
          <p:cNvSpPr/>
          <p:nvPr/>
        </p:nvSpPr>
        <p:spPr>
          <a:xfrm>
            <a:off x="692837" y="5859698"/>
            <a:ext cx="2373824" cy="304923"/>
          </a:xfrm>
          <a:prstGeom prst="rect">
            <a:avLst/>
          </a:prstGeom>
          <a:solidFill>
            <a:schemeClr val="accent3">
              <a:lumMod val="60000"/>
              <a:lumOff val="40000"/>
            </a:schemeClr>
          </a:solidFill>
          <a:ln>
            <a:solidFill>
              <a:srgbClr val="7E95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err="1">
                <a:ln>
                  <a:noFill/>
                </a:ln>
                <a:solidFill>
                  <a:srgbClr val="000000"/>
                </a:solidFill>
                <a:effectLst/>
                <a:uLnTx/>
                <a:uFillTx/>
                <a:latin typeface="Arial"/>
                <a:ea typeface="+mn-ea"/>
                <a:cs typeface="+mn-cs"/>
              </a:rPr>
              <a:t>Springboot</a:t>
            </a:r>
            <a:r>
              <a:rPr kumimoji="0" lang="pl-PL" sz="1200" b="0" i="0" u="none" strike="noStrike" kern="1200" cap="none" spc="0" normalizeH="0" baseline="0" noProof="0" dirty="0">
                <a:ln>
                  <a:noFill/>
                </a:ln>
                <a:solidFill>
                  <a:srgbClr val="000000"/>
                </a:solidFill>
                <a:effectLst/>
                <a:uLnTx/>
                <a:uFillTx/>
                <a:latin typeface="Arial"/>
                <a:ea typeface="+mn-ea"/>
                <a:cs typeface="+mn-cs"/>
              </a:rPr>
              <a:t> update</a:t>
            </a: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72" name="Prostokąt 71">
            <a:extLst>
              <a:ext uri="{FF2B5EF4-FFF2-40B4-BE49-F238E27FC236}">
                <a16:creationId xmlns:a16="http://schemas.microsoft.com/office/drawing/2014/main" id="{DB03B7BA-9AD8-930F-B5DB-6D5A8C052D49}"/>
              </a:ext>
            </a:extLst>
          </p:cNvPr>
          <p:cNvSpPr/>
          <p:nvPr/>
        </p:nvSpPr>
        <p:spPr>
          <a:xfrm>
            <a:off x="415360" y="6388980"/>
            <a:ext cx="2075746" cy="261063"/>
          </a:xfrm>
          <a:prstGeom prst="rect">
            <a:avLst/>
          </a:prstGeom>
          <a:solidFill>
            <a:srgbClr val="81B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srgbClr val="FFFFFF"/>
                </a:solidFill>
                <a:effectLst/>
                <a:uLnTx/>
                <a:uFillTx/>
                <a:latin typeface="Arial"/>
                <a:ea typeface="+mn-ea"/>
                <a:cs typeface="+mn-cs"/>
              </a:rPr>
              <a:t>New banking </a:t>
            </a:r>
            <a:r>
              <a:rPr kumimoji="0" lang="pl-PL" sz="1200" b="0" i="0" u="none" strike="noStrike" kern="1200" cap="none" spc="0" normalizeH="0" baseline="0" noProof="0" dirty="0" err="1">
                <a:ln>
                  <a:noFill/>
                </a:ln>
                <a:solidFill>
                  <a:srgbClr val="FFFFFF"/>
                </a:solidFill>
                <a:effectLst/>
                <a:uLnTx/>
                <a:uFillTx/>
                <a:latin typeface="Arial"/>
                <a:ea typeface="+mn-ea"/>
                <a:cs typeface="+mn-cs"/>
              </a:rPr>
              <a:t>product</a:t>
            </a:r>
            <a:r>
              <a:rPr kumimoji="0" lang="pl-PL" sz="1200" b="0" i="0" u="none" strike="noStrike" kern="1200" cap="none" spc="0" normalizeH="0" baseline="0" noProof="0" dirty="0">
                <a:ln>
                  <a:noFill/>
                </a:ln>
                <a:solidFill>
                  <a:srgbClr val="FFFFFF"/>
                </a:solidFill>
                <a:effectLst/>
                <a:uLnTx/>
                <a:uFillTx/>
                <a:latin typeface="Arial"/>
                <a:ea typeface="+mn-ea"/>
                <a:cs typeface="+mn-cs"/>
              </a:rPr>
              <a:t>/ VAS </a:t>
            </a: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79" name="Prostokąt 78">
            <a:extLst>
              <a:ext uri="{FF2B5EF4-FFF2-40B4-BE49-F238E27FC236}">
                <a16:creationId xmlns:a16="http://schemas.microsoft.com/office/drawing/2014/main" id="{82B2A917-63CC-5C39-F119-4F2EBEE013DA}"/>
              </a:ext>
            </a:extLst>
          </p:cNvPr>
          <p:cNvSpPr/>
          <p:nvPr/>
        </p:nvSpPr>
        <p:spPr>
          <a:xfrm>
            <a:off x="5645322" y="5844336"/>
            <a:ext cx="2866995" cy="280464"/>
          </a:xfrm>
          <a:prstGeom prst="rect">
            <a:avLst/>
          </a:prstGeom>
          <a:solidFill>
            <a:schemeClr val="accent3">
              <a:lumMod val="60000"/>
              <a:lumOff val="40000"/>
            </a:schemeClr>
          </a:solidFill>
          <a:ln>
            <a:solidFill>
              <a:srgbClr val="7E95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err="1">
                <a:ln>
                  <a:noFill/>
                </a:ln>
                <a:solidFill>
                  <a:srgbClr val="000000"/>
                </a:solidFill>
                <a:effectLst/>
                <a:uLnTx/>
                <a:uFillTx/>
                <a:latin typeface="Arial"/>
                <a:ea typeface="+mn-ea"/>
                <a:cs typeface="+mn-cs"/>
              </a:rPr>
              <a:t>Angular</a:t>
            </a:r>
            <a:r>
              <a:rPr kumimoji="0" lang="pl-PL" sz="1200" b="0" i="0" u="none" strike="noStrike" kern="1200" cap="none" spc="0" normalizeH="0" baseline="0" noProof="0" dirty="0">
                <a:ln>
                  <a:noFill/>
                </a:ln>
                <a:solidFill>
                  <a:srgbClr val="000000"/>
                </a:solidFill>
                <a:effectLst/>
                <a:uLnTx/>
                <a:uFillTx/>
                <a:latin typeface="Arial"/>
                <a:ea typeface="+mn-ea"/>
                <a:cs typeface="+mn-cs"/>
              </a:rPr>
              <a:t> update</a:t>
            </a: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85" name="Łącznik prosty 84">
            <a:extLst>
              <a:ext uri="{FF2B5EF4-FFF2-40B4-BE49-F238E27FC236}">
                <a16:creationId xmlns:a16="http://schemas.microsoft.com/office/drawing/2014/main" id="{922F2ED3-0843-8A04-4E33-CABC75561550}"/>
              </a:ext>
            </a:extLst>
          </p:cNvPr>
          <p:cNvCxnSpPr>
            <a:cxnSpLocks/>
          </p:cNvCxnSpPr>
          <p:nvPr/>
        </p:nvCxnSpPr>
        <p:spPr>
          <a:xfrm flipV="1">
            <a:off x="323181" y="6235690"/>
            <a:ext cx="11652584" cy="47178"/>
          </a:xfrm>
          <a:prstGeom prst="line">
            <a:avLst/>
          </a:prstGeom>
        </p:spPr>
        <p:style>
          <a:lnRef idx="1">
            <a:schemeClr val="accent1"/>
          </a:lnRef>
          <a:fillRef idx="0">
            <a:schemeClr val="accent1"/>
          </a:fillRef>
          <a:effectRef idx="0">
            <a:schemeClr val="accent1"/>
          </a:effectRef>
          <a:fontRef idx="minor">
            <a:schemeClr val="tx1"/>
          </a:fontRef>
        </p:style>
      </p:cxnSp>
      <p:sp>
        <p:nvSpPr>
          <p:cNvPr id="96" name="Prostokąt 95">
            <a:extLst>
              <a:ext uri="{FF2B5EF4-FFF2-40B4-BE49-F238E27FC236}">
                <a16:creationId xmlns:a16="http://schemas.microsoft.com/office/drawing/2014/main" id="{D2345B5A-3613-8CDA-907D-ADE6A802A787}"/>
              </a:ext>
            </a:extLst>
          </p:cNvPr>
          <p:cNvSpPr/>
          <p:nvPr/>
        </p:nvSpPr>
        <p:spPr>
          <a:xfrm>
            <a:off x="6095999" y="6439752"/>
            <a:ext cx="2983821" cy="248577"/>
          </a:xfrm>
          <a:prstGeom prst="rect">
            <a:avLst/>
          </a:prstGeom>
          <a:solidFill>
            <a:schemeClr val="accent3">
              <a:lumMod val="60000"/>
              <a:lumOff val="40000"/>
            </a:schemeClr>
          </a:solidFill>
          <a:ln>
            <a:solidFill>
              <a:srgbClr val="7E95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srgbClr val="000000"/>
                </a:solidFill>
                <a:effectLst/>
                <a:uLnTx/>
                <a:uFillTx/>
                <a:latin typeface="Arial"/>
                <a:ea typeface="+mn-ea"/>
                <a:cs typeface="+mn-cs"/>
              </a:rPr>
              <a:t>Technical </a:t>
            </a:r>
            <a:r>
              <a:rPr kumimoji="0" lang="pl-PL" sz="1200" b="0" i="0" u="none" strike="noStrike" kern="1200" cap="none" spc="0" normalizeH="0" baseline="0" noProof="0" dirty="0" err="1">
                <a:ln>
                  <a:noFill/>
                </a:ln>
                <a:solidFill>
                  <a:srgbClr val="000000"/>
                </a:solidFill>
                <a:effectLst/>
                <a:uLnTx/>
                <a:uFillTx/>
                <a:latin typeface="Arial"/>
                <a:ea typeface="+mn-ea"/>
                <a:cs typeface="+mn-cs"/>
              </a:rPr>
              <a:t>upgrade</a:t>
            </a:r>
            <a:r>
              <a:rPr kumimoji="0" lang="pl-PL" sz="1200" b="0" i="0" u="none" strike="noStrike" kern="1200" cap="none" spc="0" normalizeH="0" baseline="0" noProof="0" dirty="0">
                <a:ln>
                  <a:noFill/>
                </a:ln>
                <a:solidFill>
                  <a:srgbClr val="000000"/>
                </a:solidFill>
                <a:effectLst/>
                <a:uLnTx/>
                <a:uFillTx/>
                <a:latin typeface="Arial"/>
                <a:ea typeface="+mn-ea"/>
                <a:cs typeface="+mn-cs"/>
              </a:rPr>
              <a:t> / </a:t>
            </a:r>
            <a:r>
              <a:rPr kumimoji="0" lang="pl-PL" sz="1200" b="0" i="0" u="none" strike="noStrike" kern="1200" cap="none" spc="0" normalizeH="0" baseline="0" noProof="0" dirty="0" err="1">
                <a:ln>
                  <a:noFill/>
                </a:ln>
                <a:solidFill>
                  <a:srgbClr val="000000"/>
                </a:solidFill>
                <a:effectLst/>
                <a:uLnTx/>
                <a:uFillTx/>
                <a:latin typeface="Arial"/>
                <a:ea typeface="+mn-ea"/>
                <a:cs typeface="+mn-cs"/>
              </a:rPr>
              <a:t>maintenance</a:t>
            </a:r>
            <a:r>
              <a:rPr kumimoji="0" lang="pl-PL" sz="1200" b="0" i="0" u="none" strike="noStrike" kern="1200" cap="none" spc="0" normalizeH="0" baseline="0" noProof="0" dirty="0">
                <a:ln>
                  <a:noFill/>
                </a:ln>
                <a:solidFill>
                  <a:srgbClr val="000000"/>
                </a:solidFill>
                <a:effectLst/>
                <a:uLnTx/>
                <a:uFillTx/>
                <a:latin typeface="Arial"/>
                <a:ea typeface="+mn-ea"/>
                <a:cs typeface="+mn-cs"/>
              </a:rPr>
              <a:t> </a:t>
            </a:r>
            <a:r>
              <a:rPr kumimoji="0" lang="pl-PL" sz="1200" b="0" i="0" u="none" strike="noStrike" kern="1200" cap="none" spc="0" normalizeH="0" baseline="0" noProof="0" dirty="0" err="1">
                <a:ln>
                  <a:noFill/>
                </a:ln>
                <a:solidFill>
                  <a:srgbClr val="000000"/>
                </a:solidFill>
                <a:effectLst/>
                <a:uLnTx/>
                <a:uFillTx/>
                <a:latin typeface="Arial"/>
                <a:ea typeface="+mn-ea"/>
                <a:cs typeface="+mn-cs"/>
              </a:rPr>
              <a:t>activity</a:t>
            </a:r>
            <a:r>
              <a:rPr kumimoji="0" lang="pl-PL" sz="1200" b="0" i="0" u="none" strike="noStrike" kern="1200" cap="none" spc="0" normalizeH="0" baseline="0" noProof="0" dirty="0">
                <a:ln>
                  <a:noFill/>
                </a:ln>
                <a:solidFill>
                  <a:srgbClr val="000000"/>
                </a:solidFill>
                <a:effectLst/>
                <a:uLnTx/>
                <a:uFillTx/>
                <a:latin typeface="Arial"/>
                <a:ea typeface="+mn-ea"/>
                <a:cs typeface="+mn-cs"/>
              </a:rPr>
              <a:t> </a:t>
            </a: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97" name="Prostokąt 96">
            <a:extLst>
              <a:ext uri="{FF2B5EF4-FFF2-40B4-BE49-F238E27FC236}">
                <a16:creationId xmlns:a16="http://schemas.microsoft.com/office/drawing/2014/main" id="{C25008D5-C1BF-CE7C-1CC6-B174395735EB}"/>
              </a:ext>
            </a:extLst>
          </p:cNvPr>
          <p:cNvSpPr/>
          <p:nvPr/>
        </p:nvSpPr>
        <p:spPr>
          <a:xfrm>
            <a:off x="2586245" y="6407812"/>
            <a:ext cx="1406634" cy="259244"/>
          </a:xfrm>
          <a:prstGeom prst="rect">
            <a:avLst/>
          </a:prstGeom>
          <a:solidFill>
            <a:srgbClr val="009597"/>
          </a:solidFill>
          <a:ln>
            <a:solidFill>
              <a:srgbClr val="0095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srgbClr val="FFFFFF"/>
                </a:solidFill>
                <a:effectLst/>
                <a:uLnTx/>
                <a:uFillTx/>
                <a:latin typeface="Arial"/>
                <a:ea typeface="+mn-ea"/>
                <a:cs typeface="+mn-cs"/>
              </a:rPr>
              <a:t>New </a:t>
            </a:r>
            <a:r>
              <a:rPr kumimoji="0" lang="pl-PL" sz="1200" b="0" i="0" u="none" strike="noStrike" kern="1200" cap="none" spc="0" normalizeH="0" baseline="0" noProof="0" dirty="0" err="1">
                <a:ln>
                  <a:noFill/>
                </a:ln>
                <a:solidFill>
                  <a:srgbClr val="FFFFFF"/>
                </a:solidFill>
                <a:effectLst/>
                <a:uLnTx/>
                <a:uFillTx/>
                <a:latin typeface="Arial"/>
                <a:ea typeface="+mn-ea"/>
                <a:cs typeface="+mn-cs"/>
              </a:rPr>
              <a:t>functionality</a:t>
            </a: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90" name="Prostokąt 89">
            <a:extLst>
              <a:ext uri="{FF2B5EF4-FFF2-40B4-BE49-F238E27FC236}">
                <a16:creationId xmlns:a16="http://schemas.microsoft.com/office/drawing/2014/main" id="{5B1966F6-2FF6-96A1-3EFE-E64CBBD7BA12}"/>
              </a:ext>
            </a:extLst>
          </p:cNvPr>
          <p:cNvSpPr/>
          <p:nvPr/>
        </p:nvSpPr>
        <p:spPr>
          <a:xfrm>
            <a:off x="692837" y="4631741"/>
            <a:ext cx="2290236" cy="407060"/>
          </a:xfrm>
          <a:prstGeom prst="rect">
            <a:avLst/>
          </a:prstGeom>
          <a:noFill/>
          <a:ln w="19050">
            <a:solidFill>
              <a:srgbClr val="0095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100" b="0" i="0" u="none" strike="noStrike" kern="1200" cap="none" spc="0" normalizeH="0" baseline="0" noProof="0" dirty="0">
                <a:ln>
                  <a:noFill/>
                </a:ln>
                <a:solidFill>
                  <a:srgbClr val="000000"/>
                </a:solidFill>
                <a:effectLst/>
                <a:uLnTx/>
                <a:uFillTx/>
                <a:latin typeface="Arial"/>
                <a:ea typeface="+mn-ea"/>
                <a:cs typeface="+mn-cs"/>
              </a:rPr>
              <a:t>New </a:t>
            </a:r>
            <a:r>
              <a:rPr kumimoji="0" lang="pl-PL" sz="1100" b="0" i="0" u="none" strike="noStrike" kern="1200" cap="none" spc="0" normalizeH="0" baseline="0" noProof="0" dirty="0" err="1">
                <a:ln>
                  <a:noFill/>
                </a:ln>
                <a:solidFill>
                  <a:srgbClr val="000000"/>
                </a:solidFill>
                <a:effectLst/>
                <a:uLnTx/>
                <a:uFillTx/>
                <a:latin typeface="Arial"/>
                <a:ea typeface="+mn-ea"/>
                <a:cs typeface="+mn-cs"/>
              </a:rPr>
              <a:t>solution</a:t>
            </a:r>
            <a:r>
              <a:rPr kumimoji="0" lang="pl-PL" sz="1100" b="0" i="0" u="none" strike="noStrike" kern="1200" cap="none" spc="0" normalizeH="0" baseline="0" noProof="0" dirty="0">
                <a:ln>
                  <a:noFill/>
                </a:ln>
                <a:solidFill>
                  <a:srgbClr val="000000"/>
                </a:solidFill>
                <a:effectLst/>
                <a:uLnTx/>
                <a:uFillTx/>
                <a:latin typeface="Arial"/>
                <a:ea typeface="+mn-ea"/>
                <a:cs typeface="+mn-cs"/>
              </a:rPr>
              <a:t> for EFL </a:t>
            </a:r>
            <a:r>
              <a:rPr kumimoji="0" lang="pl-PL" sz="1100" b="0" i="0" u="none" strike="noStrike" kern="1200" cap="none" spc="0" normalizeH="0" baseline="0" noProof="0" dirty="0" err="1">
                <a:ln>
                  <a:noFill/>
                </a:ln>
                <a:solidFill>
                  <a:srgbClr val="000000"/>
                </a:solidFill>
                <a:effectLst/>
                <a:uLnTx/>
                <a:uFillTx/>
                <a:latin typeface="Arial"/>
                <a:ea typeface="+mn-ea"/>
                <a:cs typeface="+mn-cs"/>
              </a:rPr>
              <a:t>consents</a:t>
            </a:r>
            <a:endParaRPr kumimoji="0" lang="en-GB"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9" name="Prostokąt 18">
            <a:extLst>
              <a:ext uri="{FF2B5EF4-FFF2-40B4-BE49-F238E27FC236}">
                <a16:creationId xmlns:a16="http://schemas.microsoft.com/office/drawing/2014/main" id="{A64BAA92-6DAC-0217-21D0-7B8D273BB1EE}"/>
              </a:ext>
            </a:extLst>
          </p:cNvPr>
          <p:cNvSpPr/>
          <p:nvPr/>
        </p:nvSpPr>
        <p:spPr>
          <a:xfrm>
            <a:off x="888572" y="1005853"/>
            <a:ext cx="2577716" cy="229234"/>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200" b="1" i="0" u="none" strike="noStrike" kern="1200" cap="none" spc="0" normalizeH="0" baseline="0" noProof="0">
                <a:ln>
                  <a:noFill/>
                </a:ln>
                <a:solidFill>
                  <a:srgbClr val="FFFFFF"/>
                </a:solidFill>
                <a:effectLst/>
                <a:uLnTx/>
                <a:uFillTx/>
                <a:latin typeface="Arial"/>
                <a:ea typeface="+mn-ea"/>
                <a:cs typeface="+mn-cs"/>
              </a:rPr>
              <a:t> Q1</a:t>
            </a: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23" name="Prostokąt 22">
            <a:extLst>
              <a:ext uri="{FF2B5EF4-FFF2-40B4-BE49-F238E27FC236}">
                <a16:creationId xmlns:a16="http://schemas.microsoft.com/office/drawing/2014/main" id="{5B5478C5-F603-9BA2-E9AF-9F289DBA1B47}"/>
              </a:ext>
            </a:extLst>
          </p:cNvPr>
          <p:cNvSpPr/>
          <p:nvPr/>
        </p:nvSpPr>
        <p:spPr>
          <a:xfrm>
            <a:off x="3512799" y="1007138"/>
            <a:ext cx="2624226" cy="229096"/>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200" b="1" i="0" u="none" strike="noStrike" kern="1200" cap="none" spc="0" normalizeH="0" baseline="0" noProof="0">
                <a:ln>
                  <a:noFill/>
                </a:ln>
                <a:solidFill>
                  <a:srgbClr val="FFFFFF"/>
                </a:solidFill>
                <a:effectLst/>
                <a:uLnTx/>
                <a:uFillTx/>
                <a:latin typeface="Arial"/>
                <a:ea typeface="+mn-ea"/>
                <a:cs typeface="+mn-cs"/>
              </a:rPr>
              <a:t>Q2</a:t>
            </a: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24" name="Prostokąt 23">
            <a:extLst>
              <a:ext uri="{FF2B5EF4-FFF2-40B4-BE49-F238E27FC236}">
                <a16:creationId xmlns:a16="http://schemas.microsoft.com/office/drawing/2014/main" id="{51288690-DCA8-3EF0-3F4D-40EA80AC41D0}"/>
              </a:ext>
            </a:extLst>
          </p:cNvPr>
          <p:cNvSpPr/>
          <p:nvPr/>
        </p:nvSpPr>
        <p:spPr>
          <a:xfrm>
            <a:off x="6186435" y="1005853"/>
            <a:ext cx="3003565" cy="233114"/>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200" b="1" i="0" u="none" strike="noStrike" kern="1200" cap="none" spc="0" normalizeH="0" baseline="0" noProof="0">
                <a:ln>
                  <a:noFill/>
                </a:ln>
                <a:solidFill>
                  <a:srgbClr val="FFFFFF"/>
                </a:solidFill>
                <a:effectLst/>
                <a:uLnTx/>
                <a:uFillTx/>
                <a:latin typeface="Arial"/>
                <a:ea typeface="+mn-ea"/>
                <a:cs typeface="+mn-cs"/>
              </a:rPr>
              <a:t>Q3</a:t>
            </a: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25" name="Prostokąt 24">
            <a:extLst>
              <a:ext uri="{FF2B5EF4-FFF2-40B4-BE49-F238E27FC236}">
                <a16:creationId xmlns:a16="http://schemas.microsoft.com/office/drawing/2014/main" id="{97AFE8B8-EB6D-415E-8D50-5B1BCF51D340}"/>
              </a:ext>
            </a:extLst>
          </p:cNvPr>
          <p:cNvSpPr/>
          <p:nvPr/>
        </p:nvSpPr>
        <p:spPr>
          <a:xfrm>
            <a:off x="9239410" y="1012644"/>
            <a:ext cx="2190951" cy="221338"/>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200" b="1" i="0" u="none" strike="noStrike" kern="1200" cap="none" spc="0" normalizeH="0" baseline="0" noProof="0">
                <a:ln>
                  <a:noFill/>
                </a:ln>
                <a:solidFill>
                  <a:srgbClr val="FFFFFF"/>
                </a:solidFill>
                <a:effectLst/>
                <a:uLnTx/>
                <a:uFillTx/>
                <a:latin typeface="Arial"/>
                <a:ea typeface="+mn-ea"/>
                <a:cs typeface="+mn-cs"/>
              </a:rPr>
              <a:t>Q4 </a:t>
            </a: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26" name="Prostokąt 25">
            <a:extLst>
              <a:ext uri="{FF2B5EF4-FFF2-40B4-BE49-F238E27FC236}">
                <a16:creationId xmlns:a16="http://schemas.microsoft.com/office/drawing/2014/main" id="{4438EEB8-8B49-9DAC-087D-1182D18AED90}"/>
              </a:ext>
            </a:extLst>
          </p:cNvPr>
          <p:cNvSpPr/>
          <p:nvPr/>
        </p:nvSpPr>
        <p:spPr>
          <a:xfrm>
            <a:off x="3047905" y="3818804"/>
            <a:ext cx="2394079" cy="328306"/>
          </a:xfrm>
          <a:prstGeom prst="rect">
            <a:avLst/>
          </a:prstGeom>
          <a:solidFill>
            <a:srgbClr val="009597"/>
          </a:solidFill>
          <a:ln>
            <a:solidFill>
              <a:srgbClr val="0095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srgbClr val="FFFFFF"/>
                </a:solidFill>
                <a:effectLst/>
                <a:uLnTx/>
                <a:uFillTx/>
                <a:latin typeface="Arial"/>
                <a:ea typeface="+mn-ea"/>
                <a:cs typeface="+mn-cs"/>
              </a:rPr>
              <a:t>FX exchange </a:t>
            </a:r>
            <a:r>
              <a:rPr kumimoji="0" lang="pl-PL" sz="1200" b="0" i="0" u="none" strike="noStrike" kern="1200" cap="none" spc="0" normalizeH="0" baseline="0" noProof="0" dirty="0" err="1">
                <a:ln>
                  <a:noFill/>
                </a:ln>
                <a:solidFill>
                  <a:srgbClr val="FFFFFF"/>
                </a:solidFill>
                <a:effectLst/>
                <a:uLnTx/>
                <a:uFillTx/>
                <a:latin typeface="Arial"/>
                <a:ea typeface="+mn-ea"/>
                <a:cs typeface="+mn-cs"/>
              </a:rPr>
              <a:t>rate</a:t>
            </a:r>
            <a:r>
              <a:rPr kumimoji="0" lang="pl-PL" sz="1200" b="0" i="0" u="none" strike="noStrike" kern="1200" cap="none" spc="0" normalizeH="0" baseline="0" noProof="0" dirty="0">
                <a:ln>
                  <a:noFill/>
                </a:ln>
                <a:solidFill>
                  <a:srgbClr val="FFFFFF"/>
                </a:solidFill>
                <a:effectLst/>
                <a:uLnTx/>
                <a:uFillTx/>
                <a:latin typeface="Arial"/>
                <a:ea typeface="+mn-ea"/>
                <a:cs typeface="+mn-cs"/>
              </a:rPr>
              <a:t> </a:t>
            </a:r>
            <a:r>
              <a:rPr kumimoji="0" lang="pl-PL" sz="1200" b="0" i="0" u="none" strike="noStrike" kern="1200" cap="none" spc="0" normalizeH="0" baseline="0" noProof="0" dirty="0" err="1">
                <a:ln>
                  <a:noFill/>
                </a:ln>
                <a:solidFill>
                  <a:srgbClr val="FFFFFF"/>
                </a:solidFill>
                <a:effectLst/>
                <a:uLnTx/>
                <a:uFillTx/>
                <a:latin typeface="Arial"/>
                <a:ea typeface="+mn-ea"/>
                <a:cs typeface="+mn-cs"/>
              </a:rPr>
              <a:t>presentation</a:t>
            </a: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27" name="Prostokąt 26">
            <a:extLst>
              <a:ext uri="{FF2B5EF4-FFF2-40B4-BE49-F238E27FC236}">
                <a16:creationId xmlns:a16="http://schemas.microsoft.com/office/drawing/2014/main" id="{408FE2B2-3EA0-417D-B7A9-2C2925C490CD}"/>
              </a:ext>
            </a:extLst>
          </p:cNvPr>
          <p:cNvSpPr/>
          <p:nvPr/>
        </p:nvSpPr>
        <p:spPr>
          <a:xfrm>
            <a:off x="5556712" y="3812388"/>
            <a:ext cx="2866995" cy="303052"/>
          </a:xfrm>
          <a:prstGeom prst="rect">
            <a:avLst/>
          </a:prstGeom>
          <a:solidFill>
            <a:srgbClr val="009597"/>
          </a:solidFill>
          <a:ln>
            <a:solidFill>
              <a:srgbClr val="0095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rPr>
              <a:t>Google positioning</a:t>
            </a:r>
            <a:r>
              <a:rPr kumimoji="0" lang="pl-PL" sz="1200" b="0" i="0" u="none" strike="noStrike" kern="1200" cap="none" spc="0" normalizeH="0" baseline="0" noProof="0" dirty="0">
                <a:ln>
                  <a:noFill/>
                </a:ln>
                <a:solidFill>
                  <a:srgbClr val="FFFFFF"/>
                </a:solidFill>
                <a:effectLst/>
                <a:uLnTx/>
                <a:uFillTx/>
                <a:latin typeface="Arial"/>
                <a:ea typeface="+mn-ea"/>
                <a:cs typeface="+mn-cs"/>
              </a:rPr>
              <a:t> – API </a:t>
            </a:r>
            <a:r>
              <a:rPr kumimoji="0" lang="pl-PL" sz="1200" b="0" i="0" u="none" strike="noStrike" kern="1200" cap="none" spc="0" normalizeH="0" baseline="0" noProof="0" dirty="0" err="1">
                <a:ln>
                  <a:noFill/>
                </a:ln>
                <a:solidFill>
                  <a:srgbClr val="FFFFFF"/>
                </a:solidFill>
                <a:effectLst/>
                <a:uLnTx/>
                <a:uFillTx/>
                <a:latin typeface="Arial"/>
                <a:ea typeface="+mn-ea"/>
                <a:cs typeface="+mn-cs"/>
              </a:rPr>
              <a:t>integration</a:t>
            </a: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28" name="Prostokąt 27">
            <a:extLst>
              <a:ext uri="{FF2B5EF4-FFF2-40B4-BE49-F238E27FC236}">
                <a16:creationId xmlns:a16="http://schemas.microsoft.com/office/drawing/2014/main" id="{AF9F0AA0-39FE-7E69-71E9-9308646CC040}"/>
              </a:ext>
            </a:extLst>
          </p:cNvPr>
          <p:cNvSpPr/>
          <p:nvPr/>
        </p:nvSpPr>
        <p:spPr>
          <a:xfrm>
            <a:off x="3047905" y="4212462"/>
            <a:ext cx="2394079" cy="350985"/>
          </a:xfrm>
          <a:prstGeom prst="rect">
            <a:avLst/>
          </a:prstGeom>
          <a:solidFill>
            <a:srgbClr val="009597"/>
          </a:solidFill>
          <a:ln>
            <a:solidFill>
              <a:srgbClr val="0095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srgbClr val="FFFFFF"/>
                </a:solidFill>
                <a:effectLst/>
                <a:uLnTx/>
                <a:uFillTx/>
                <a:latin typeface="Arial"/>
                <a:ea typeface="+mn-ea"/>
                <a:cs typeface="+mn-cs"/>
              </a:rPr>
              <a:t>C</a:t>
            </a:r>
            <a:r>
              <a:rPr kumimoji="0" lang="en-GB" sz="1200" b="0" i="0" u="none" strike="noStrike" kern="1200" cap="none" spc="0" normalizeH="0" baseline="0" noProof="0" dirty="0" err="1">
                <a:ln>
                  <a:noFill/>
                </a:ln>
                <a:solidFill>
                  <a:srgbClr val="FFFFFF"/>
                </a:solidFill>
                <a:effectLst/>
                <a:uLnTx/>
                <a:uFillTx/>
                <a:latin typeface="Arial"/>
                <a:ea typeface="+mn-ea"/>
                <a:cs typeface="+mn-cs"/>
              </a:rPr>
              <a:t>ertificate</a:t>
            </a:r>
            <a:r>
              <a:rPr kumimoji="0" lang="en-GB" sz="1200" b="0" i="0" u="none" strike="noStrike" kern="1200" cap="none" spc="0" normalizeH="0" baseline="0" noProof="0" dirty="0">
                <a:ln>
                  <a:noFill/>
                </a:ln>
                <a:solidFill>
                  <a:srgbClr val="FFFFFF"/>
                </a:solidFill>
                <a:effectLst/>
                <a:uLnTx/>
                <a:uFillTx/>
                <a:latin typeface="Arial"/>
                <a:ea typeface="+mn-ea"/>
                <a:cs typeface="+mn-cs"/>
              </a:rPr>
              <a:t> of account ownership</a:t>
            </a:r>
            <a:endParaRPr kumimoji="0" lang="pl-PL"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29" name="Prostokąt 28">
            <a:extLst>
              <a:ext uri="{FF2B5EF4-FFF2-40B4-BE49-F238E27FC236}">
                <a16:creationId xmlns:a16="http://schemas.microsoft.com/office/drawing/2014/main" id="{3F747EEC-53A0-5A46-9BB8-E75C61E62A64}"/>
              </a:ext>
            </a:extLst>
          </p:cNvPr>
          <p:cNvSpPr/>
          <p:nvPr/>
        </p:nvSpPr>
        <p:spPr>
          <a:xfrm>
            <a:off x="5556711" y="4202555"/>
            <a:ext cx="2866995" cy="360891"/>
          </a:xfrm>
          <a:prstGeom prst="rect">
            <a:avLst/>
          </a:prstGeom>
          <a:solidFill>
            <a:srgbClr val="81B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srgbClr val="FFFFFF"/>
                </a:solidFill>
                <a:effectLst/>
                <a:uLnTx/>
                <a:uFillTx/>
                <a:latin typeface="Arial"/>
                <a:ea typeface="+mn-ea"/>
                <a:cs typeface="+mn-cs"/>
              </a:rPr>
              <a:t>AI </a:t>
            </a:r>
            <a:r>
              <a:rPr kumimoji="0" lang="pl-PL" sz="1200" b="0" i="0" u="none" strike="noStrike" kern="1200" cap="none" spc="0" normalizeH="0" baseline="0" noProof="0" dirty="0" err="1">
                <a:ln>
                  <a:noFill/>
                </a:ln>
                <a:solidFill>
                  <a:srgbClr val="FFFFFF"/>
                </a:solidFill>
                <a:effectLst/>
                <a:uLnTx/>
                <a:uFillTx/>
                <a:latin typeface="Arial"/>
                <a:ea typeface="+mn-ea"/>
                <a:cs typeface="+mn-cs"/>
              </a:rPr>
              <a:t>asistant</a:t>
            </a:r>
            <a:r>
              <a:rPr kumimoji="0" lang="pl-PL" sz="1200" b="0" i="0" u="none" strike="noStrike" kern="1200" cap="none" spc="0" normalizeH="0" baseline="0" noProof="0" dirty="0">
                <a:ln>
                  <a:noFill/>
                </a:ln>
                <a:solidFill>
                  <a:srgbClr val="FFFFFF"/>
                </a:solidFill>
                <a:effectLst/>
                <a:uLnTx/>
                <a:uFillTx/>
                <a:latin typeface="Arial"/>
                <a:ea typeface="+mn-ea"/>
                <a:cs typeface="+mn-cs"/>
              </a:rPr>
              <a:t> for </a:t>
            </a:r>
            <a:r>
              <a:rPr kumimoji="0" lang="pl-PL" sz="1200" b="0" i="0" u="none" strike="noStrike" kern="1200" cap="none" spc="0" normalizeH="0" baseline="0" noProof="0" dirty="0" err="1">
                <a:ln>
                  <a:noFill/>
                </a:ln>
                <a:solidFill>
                  <a:srgbClr val="FFFFFF"/>
                </a:solidFill>
                <a:effectLst/>
                <a:uLnTx/>
                <a:uFillTx/>
                <a:latin typeface="Arial"/>
                <a:ea typeface="+mn-ea"/>
                <a:cs typeface="+mn-cs"/>
              </a:rPr>
              <a:t>company</a:t>
            </a:r>
            <a:r>
              <a:rPr kumimoji="0" lang="pl-PL" sz="1200" b="0" i="0" u="none" strike="noStrike" kern="1200" cap="none" spc="0" normalizeH="0" baseline="0" noProof="0" dirty="0">
                <a:ln>
                  <a:noFill/>
                </a:ln>
                <a:solidFill>
                  <a:srgbClr val="FFFFFF"/>
                </a:solidFill>
                <a:effectLst/>
                <a:uLnTx/>
                <a:uFillTx/>
                <a:latin typeface="Arial"/>
                <a:ea typeface="+mn-ea"/>
                <a:cs typeface="+mn-cs"/>
              </a:rPr>
              <a:t> MPV</a:t>
            </a: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30" name="Prostokąt 29">
            <a:extLst>
              <a:ext uri="{FF2B5EF4-FFF2-40B4-BE49-F238E27FC236}">
                <a16:creationId xmlns:a16="http://schemas.microsoft.com/office/drawing/2014/main" id="{B31A6D40-6781-FA9F-1349-7BC2DB804251}"/>
              </a:ext>
            </a:extLst>
          </p:cNvPr>
          <p:cNvSpPr/>
          <p:nvPr/>
        </p:nvSpPr>
        <p:spPr>
          <a:xfrm>
            <a:off x="8538433" y="4220162"/>
            <a:ext cx="3003565" cy="320157"/>
          </a:xfrm>
          <a:prstGeom prst="rect">
            <a:avLst/>
          </a:prstGeom>
          <a:solidFill>
            <a:srgbClr val="009597"/>
          </a:solidFill>
          <a:ln>
            <a:solidFill>
              <a:srgbClr val="0095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srgbClr val="FFFFFF"/>
                </a:solidFill>
                <a:effectLst/>
                <a:uLnTx/>
                <a:uFillTx/>
                <a:latin typeface="Arial"/>
                <a:ea typeface="+mn-ea"/>
                <a:cs typeface="+mn-cs"/>
              </a:rPr>
              <a:t>AI </a:t>
            </a:r>
            <a:r>
              <a:rPr kumimoji="0" lang="pl-PL" sz="1200" b="0" i="0" u="none" strike="noStrike" kern="1200" cap="none" spc="0" normalizeH="0" baseline="0" noProof="0" dirty="0" err="1">
                <a:ln>
                  <a:noFill/>
                </a:ln>
                <a:solidFill>
                  <a:srgbClr val="FFFFFF"/>
                </a:solidFill>
                <a:effectLst/>
                <a:uLnTx/>
                <a:uFillTx/>
                <a:latin typeface="Arial"/>
                <a:ea typeface="+mn-ea"/>
                <a:cs typeface="+mn-cs"/>
              </a:rPr>
              <a:t>asistant</a:t>
            </a:r>
            <a:r>
              <a:rPr kumimoji="0" lang="pl-PL" sz="1200" b="0" i="0" u="none" strike="noStrike" kern="1200" cap="none" spc="0" normalizeH="0" baseline="0" noProof="0" dirty="0">
                <a:ln>
                  <a:noFill/>
                </a:ln>
                <a:solidFill>
                  <a:srgbClr val="FFFFFF"/>
                </a:solidFill>
                <a:effectLst/>
                <a:uLnTx/>
                <a:uFillTx/>
                <a:latin typeface="Arial"/>
                <a:ea typeface="+mn-ea"/>
                <a:cs typeface="+mn-cs"/>
              </a:rPr>
              <a:t> for </a:t>
            </a:r>
            <a:r>
              <a:rPr kumimoji="0" lang="pl-PL" sz="1200" b="0" i="0" u="none" strike="noStrike" kern="1200" cap="none" spc="0" normalizeH="0" baseline="0" noProof="0" dirty="0" err="1">
                <a:ln>
                  <a:noFill/>
                </a:ln>
                <a:solidFill>
                  <a:srgbClr val="FFFFFF"/>
                </a:solidFill>
                <a:effectLst/>
                <a:uLnTx/>
                <a:uFillTx/>
                <a:latin typeface="Arial"/>
                <a:ea typeface="+mn-ea"/>
                <a:cs typeface="+mn-cs"/>
              </a:rPr>
              <a:t>company</a:t>
            </a:r>
            <a:r>
              <a:rPr kumimoji="0" lang="pl-PL" sz="1200" b="0" i="0" u="none" strike="noStrike" kern="1200" cap="none" spc="0" normalizeH="0" baseline="0" noProof="0" dirty="0">
                <a:ln>
                  <a:noFill/>
                </a:ln>
                <a:solidFill>
                  <a:srgbClr val="FFFFFF"/>
                </a:solidFill>
                <a:effectLst/>
                <a:uLnTx/>
                <a:uFillTx/>
                <a:latin typeface="Arial"/>
                <a:ea typeface="+mn-ea"/>
                <a:cs typeface="+mn-cs"/>
              </a:rPr>
              <a:t>  - </a:t>
            </a:r>
            <a:r>
              <a:rPr kumimoji="0" lang="pl-PL" sz="1200" b="0" i="0" u="none" strike="noStrike" kern="1200" cap="none" spc="0" normalizeH="0" baseline="0" noProof="0">
                <a:ln>
                  <a:noFill/>
                </a:ln>
                <a:solidFill>
                  <a:srgbClr val="FFFFFF"/>
                </a:solidFill>
                <a:effectLst/>
                <a:uLnTx/>
                <a:uFillTx/>
                <a:latin typeface="Arial"/>
                <a:ea typeface="+mn-ea"/>
                <a:cs typeface="+mn-cs"/>
              </a:rPr>
              <a:t>API integration</a:t>
            </a: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31" name="Prostokąt 30">
            <a:extLst>
              <a:ext uri="{FF2B5EF4-FFF2-40B4-BE49-F238E27FC236}">
                <a16:creationId xmlns:a16="http://schemas.microsoft.com/office/drawing/2014/main" id="{24F555E0-8A29-BBAC-7CFB-2901D6AA6EF6}"/>
              </a:ext>
            </a:extLst>
          </p:cNvPr>
          <p:cNvSpPr/>
          <p:nvPr/>
        </p:nvSpPr>
        <p:spPr>
          <a:xfrm>
            <a:off x="4105502" y="6427383"/>
            <a:ext cx="1858418" cy="259244"/>
          </a:xfrm>
          <a:prstGeom prst="rect">
            <a:avLst/>
          </a:prstGeom>
          <a:noFill/>
          <a:ln w="19050">
            <a:solidFill>
              <a:srgbClr val="0095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100" b="0" i="0" u="none" strike="noStrike" kern="1200" cap="none" spc="0" normalizeH="0" baseline="0" noProof="0" dirty="0">
                <a:ln>
                  <a:noFill/>
                </a:ln>
                <a:solidFill>
                  <a:srgbClr val="000000"/>
                </a:solidFill>
                <a:effectLst/>
                <a:uLnTx/>
                <a:uFillTx/>
                <a:latin typeface="Arial"/>
                <a:ea typeface="+mn-ea"/>
                <a:cs typeface="+mn-cs"/>
              </a:rPr>
              <a:t>EFL </a:t>
            </a:r>
            <a:r>
              <a:rPr kumimoji="0" lang="pl-PL" sz="1100" b="0" i="0" u="none" strike="noStrike" kern="1200" cap="none" spc="0" normalizeH="0" baseline="0" noProof="0" dirty="0" err="1">
                <a:ln>
                  <a:noFill/>
                </a:ln>
                <a:solidFill>
                  <a:srgbClr val="000000"/>
                </a:solidFill>
                <a:effectLst/>
                <a:uLnTx/>
                <a:uFillTx/>
                <a:latin typeface="Arial"/>
                <a:ea typeface="+mn-ea"/>
                <a:cs typeface="+mn-cs"/>
              </a:rPr>
              <a:t>product</a:t>
            </a:r>
            <a:r>
              <a:rPr kumimoji="0" lang="pl-PL" sz="1100" b="0" i="0" u="none" strike="noStrike" kern="1200" cap="none" spc="0" normalizeH="0" baseline="0" noProof="0" dirty="0">
                <a:ln>
                  <a:noFill/>
                </a:ln>
                <a:solidFill>
                  <a:srgbClr val="000000"/>
                </a:solidFill>
                <a:effectLst/>
                <a:uLnTx/>
                <a:uFillTx/>
                <a:latin typeface="Arial"/>
                <a:ea typeface="+mn-ea"/>
                <a:cs typeface="+mn-cs"/>
              </a:rPr>
              <a:t> /</a:t>
            </a:r>
            <a:r>
              <a:rPr kumimoji="0" lang="pl-PL" sz="1100" b="0" i="0" u="none" strike="noStrike" kern="1200" cap="none" spc="0" normalizeH="0" baseline="0" noProof="0" dirty="0" err="1">
                <a:ln>
                  <a:noFill/>
                </a:ln>
                <a:solidFill>
                  <a:srgbClr val="000000"/>
                </a:solidFill>
                <a:effectLst/>
                <a:uLnTx/>
                <a:uFillTx/>
                <a:latin typeface="Arial"/>
                <a:ea typeface="+mn-ea"/>
                <a:cs typeface="+mn-cs"/>
              </a:rPr>
              <a:t>functionality</a:t>
            </a:r>
            <a:endParaRPr kumimoji="0" lang="en-GB"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32" name="Prostokąt 31">
            <a:extLst>
              <a:ext uri="{FF2B5EF4-FFF2-40B4-BE49-F238E27FC236}">
                <a16:creationId xmlns:a16="http://schemas.microsoft.com/office/drawing/2014/main" id="{5A20D10E-B948-8537-AE64-67B11FD65300}"/>
              </a:ext>
            </a:extLst>
          </p:cNvPr>
          <p:cNvSpPr/>
          <p:nvPr/>
        </p:nvSpPr>
        <p:spPr>
          <a:xfrm>
            <a:off x="8538433" y="3791982"/>
            <a:ext cx="2974250" cy="338930"/>
          </a:xfrm>
          <a:prstGeom prst="rect">
            <a:avLst/>
          </a:prstGeom>
          <a:noFill/>
          <a:ln w="19050">
            <a:solidFill>
              <a:srgbClr val="0095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100" b="0" i="0" u="none" strike="noStrike" kern="1200" cap="none" spc="0" normalizeH="0" baseline="0" noProof="0" dirty="0">
                <a:ln>
                  <a:noFill/>
                </a:ln>
                <a:solidFill>
                  <a:srgbClr val="000000"/>
                </a:solidFill>
                <a:effectLst/>
                <a:uLnTx/>
                <a:uFillTx/>
                <a:latin typeface="Arial"/>
                <a:ea typeface="+mn-ea"/>
                <a:cs typeface="+mn-cs"/>
              </a:rPr>
              <a:t>Information </a:t>
            </a:r>
            <a:r>
              <a:rPr kumimoji="0" lang="pl-PL" sz="1100" b="0" i="0" u="none" strike="noStrike" kern="1200" cap="none" spc="0" normalizeH="0" baseline="0" noProof="0" dirty="0" err="1">
                <a:ln>
                  <a:noFill/>
                </a:ln>
                <a:solidFill>
                  <a:srgbClr val="000000"/>
                </a:solidFill>
                <a:effectLst/>
                <a:uLnTx/>
                <a:uFillTx/>
                <a:latin typeface="Arial"/>
                <a:ea typeface="+mn-ea"/>
                <a:cs typeface="+mn-cs"/>
              </a:rPr>
              <a:t>about</a:t>
            </a:r>
            <a:r>
              <a:rPr kumimoji="0" lang="pl-PL" sz="1100" b="0" i="0" u="none" strike="noStrike" kern="1200" cap="none" spc="0" normalizeH="0" baseline="0" noProof="0" dirty="0">
                <a:ln>
                  <a:noFill/>
                </a:ln>
                <a:solidFill>
                  <a:srgbClr val="000000"/>
                </a:solidFill>
                <a:effectLst/>
                <a:uLnTx/>
                <a:uFillTx/>
                <a:latin typeface="Arial"/>
                <a:ea typeface="+mn-ea"/>
                <a:cs typeface="+mn-cs"/>
              </a:rPr>
              <a:t> </a:t>
            </a:r>
            <a:r>
              <a:rPr kumimoji="0" lang="pl-PL" sz="1100" b="0" i="0" u="none" strike="noStrike" kern="1200" cap="none" spc="0" normalizeH="0" baseline="0" noProof="0" dirty="0" err="1">
                <a:ln>
                  <a:noFill/>
                </a:ln>
                <a:solidFill>
                  <a:srgbClr val="000000"/>
                </a:solidFill>
                <a:effectLst/>
                <a:uLnTx/>
                <a:uFillTx/>
                <a:latin typeface="Arial"/>
                <a:ea typeface="+mn-ea"/>
                <a:cs typeface="+mn-cs"/>
              </a:rPr>
              <a:t>rental</a:t>
            </a:r>
            <a:r>
              <a:rPr kumimoji="0" lang="pl-PL" sz="1100" b="0" i="0" u="none" strike="noStrike" kern="1200" cap="none" spc="0" normalizeH="0" baseline="0" noProof="0" dirty="0">
                <a:ln>
                  <a:noFill/>
                </a:ln>
                <a:solidFill>
                  <a:srgbClr val="000000"/>
                </a:solidFill>
                <a:effectLst/>
                <a:uLnTx/>
                <a:uFillTx/>
                <a:latin typeface="Arial"/>
                <a:ea typeface="+mn-ea"/>
                <a:cs typeface="+mn-cs"/>
              </a:rPr>
              <a:t> </a:t>
            </a:r>
            <a:r>
              <a:rPr kumimoji="0" lang="pl-PL" sz="1100" b="0" i="0" u="none" strike="noStrike" kern="1200" cap="none" spc="0" normalizeH="0" baseline="0" noProof="0" dirty="0" err="1">
                <a:ln>
                  <a:noFill/>
                </a:ln>
                <a:solidFill>
                  <a:srgbClr val="000000"/>
                </a:solidFill>
                <a:effectLst/>
                <a:uLnTx/>
                <a:uFillTx/>
                <a:latin typeface="Arial"/>
                <a:ea typeface="+mn-ea"/>
                <a:cs typeface="+mn-cs"/>
              </a:rPr>
              <a:t>product</a:t>
            </a:r>
            <a:endParaRPr kumimoji="0" lang="en-GB"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33" name="Prostokąt 32">
            <a:extLst>
              <a:ext uri="{FF2B5EF4-FFF2-40B4-BE49-F238E27FC236}">
                <a16:creationId xmlns:a16="http://schemas.microsoft.com/office/drawing/2014/main" id="{642C65E7-9881-B27B-29B7-15B5CD9B8DA9}"/>
              </a:ext>
            </a:extLst>
          </p:cNvPr>
          <p:cNvSpPr/>
          <p:nvPr/>
        </p:nvSpPr>
        <p:spPr>
          <a:xfrm>
            <a:off x="5556712" y="4641079"/>
            <a:ext cx="2866994" cy="397722"/>
          </a:xfrm>
          <a:prstGeom prst="rect">
            <a:avLst/>
          </a:prstGeom>
          <a:solidFill>
            <a:srgbClr val="009597"/>
          </a:solidFill>
          <a:ln>
            <a:solidFill>
              <a:srgbClr val="0095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err="1">
                <a:ln>
                  <a:noFill/>
                </a:ln>
                <a:solidFill>
                  <a:srgbClr val="FFFFFF"/>
                </a:solidFill>
                <a:effectLst/>
                <a:uLnTx/>
                <a:uFillTx/>
                <a:latin typeface="Arial"/>
                <a:ea typeface="+mn-ea"/>
                <a:cs typeface="+mn-cs"/>
              </a:rPr>
              <a:t>Medical</a:t>
            </a:r>
            <a:r>
              <a:rPr kumimoji="0" lang="pl-PL" sz="1200" b="0" i="0" u="none" strike="noStrike" kern="1200" cap="none" spc="0" normalizeH="0" baseline="0" noProof="0" dirty="0">
                <a:ln>
                  <a:noFill/>
                </a:ln>
                <a:solidFill>
                  <a:srgbClr val="FFFFFF"/>
                </a:solidFill>
                <a:effectLst/>
                <a:uLnTx/>
                <a:uFillTx/>
                <a:latin typeface="Arial"/>
                <a:ea typeface="+mn-ea"/>
                <a:cs typeface="+mn-cs"/>
              </a:rPr>
              <a:t> </a:t>
            </a:r>
            <a:r>
              <a:rPr kumimoji="0" lang="pl-PL" sz="1200" b="0" i="0" u="none" strike="noStrike" kern="1200" cap="none" spc="0" normalizeH="0" baseline="0" noProof="0" dirty="0" err="1">
                <a:ln>
                  <a:noFill/>
                </a:ln>
                <a:solidFill>
                  <a:srgbClr val="FFFFFF"/>
                </a:solidFill>
                <a:effectLst/>
                <a:uLnTx/>
                <a:uFillTx/>
                <a:latin typeface="Arial"/>
                <a:ea typeface="+mn-ea"/>
                <a:cs typeface="+mn-cs"/>
              </a:rPr>
              <a:t>packages</a:t>
            </a:r>
            <a:r>
              <a:rPr kumimoji="0" lang="pl-PL" sz="1200" b="0" i="0" u="none" strike="noStrike" kern="1200" cap="none" spc="0" normalizeH="0" baseline="0" noProof="0" dirty="0">
                <a:ln>
                  <a:noFill/>
                </a:ln>
                <a:solidFill>
                  <a:srgbClr val="FFFFFF"/>
                </a:solidFill>
                <a:effectLst/>
                <a:uLnTx/>
                <a:uFillTx/>
                <a:latin typeface="Arial"/>
                <a:ea typeface="+mn-ea"/>
                <a:cs typeface="+mn-cs"/>
              </a:rPr>
              <a:t> </a:t>
            </a:r>
            <a:r>
              <a:rPr kumimoji="0" lang="pl-PL" sz="1200" b="0" i="0" u="none" strike="noStrike" kern="1200" cap="none" spc="0" normalizeH="0" baseline="0" noProof="0" dirty="0" err="1">
                <a:ln>
                  <a:noFill/>
                </a:ln>
                <a:solidFill>
                  <a:srgbClr val="FFFFFF"/>
                </a:solidFill>
                <a:effectLst/>
                <a:uLnTx/>
                <a:uFillTx/>
                <a:latin typeface="Arial"/>
                <a:ea typeface="+mn-ea"/>
                <a:cs typeface="+mn-cs"/>
              </a:rPr>
              <a:t>activation</a:t>
            </a:r>
            <a:endParaRPr kumimoji="0" lang="pl-PL"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34" name="Prostokąt 33">
            <a:extLst>
              <a:ext uri="{FF2B5EF4-FFF2-40B4-BE49-F238E27FC236}">
                <a16:creationId xmlns:a16="http://schemas.microsoft.com/office/drawing/2014/main" id="{03F3EA9D-F1CD-BDD9-9D54-0091710DF8C6}"/>
              </a:ext>
            </a:extLst>
          </p:cNvPr>
          <p:cNvSpPr/>
          <p:nvPr/>
        </p:nvSpPr>
        <p:spPr>
          <a:xfrm>
            <a:off x="8538433" y="4616555"/>
            <a:ext cx="2958514" cy="397722"/>
          </a:xfrm>
          <a:prstGeom prst="rect">
            <a:avLst/>
          </a:prstGeom>
          <a:solidFill>
            <a:srgbClr val="009597"/>
          </a:solidFill>
          <a:ln>
            <a:solidFill>
              <a:srgbClr val="0095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srgbClr val="FFFFFF"/>
                </a:solidFill>
                <a:effectLst/>
                <a:uLnTx/>
                <a:uFillTx/>
                <a:latin typeface="Arial"/>
                <a:ea typeface="+mn-ea"/>
                <a:cs typeface="+mn-cs"/>
              </a:rPr>
              <a:t>Information </a:t>
            </a:r>
            <a:r>
              <a:rPr kumimoji="0" lang="pl-PL" sz="1200" b="0" i="0" u="none" strike="noStrike" kern="1200" cap="none" spc="0" normalizeH="0" baseline="0" noProof="0" dirty="0" err="1">
                <a:ln>
                  <a:noFill/>
                </a:ln>
                <a:solidFill>
                  <a:srgbClr val="FFFFFF"/>
                </a:solidFill>
                <a:effectLst/>
                <a:uLnTx/>
                <a:uFillTx/>
                <a:latin typeface="Arial"/>
                <a:ea typeface="+mn-ea"/>
                <a:cs typeface="+mn-cs"/>
              </a:rPr>
              <a:t>about</a:t>
            </a:r>
            <a:r>
              <a:rPr kumimoji="0" lang="pl-PL" sz="1200" b="0" i="0" u="none" strike="noStrike" kern="1200" cap="none" spc="0" normalizeH="0" baseline="0" noProof="0" dirty="0">
                <a:ln>
                  <a:noFill/>
                </a:ln>
                <a:solidFill>
                  <a:srgbClr val="FFFFFF"/>
                </a:solidFill>
                <a:effectLst/>
                <a:uLnTx/>
                <a:uFillTx/>
                <a:latin typeface="Arial"/>
                <a:ea typeface="+mn-ea"/>
                <a:cs typeface="+mn-cs"/>
              </a:rPr>
              <a:t> </a:t>
            </a:r>
            <a:r>
              <a:rPr kumimoji="0" lang="pl-PL" sz="1200" b="0" i="0" u="none" strike="noStrike" kern="1200" cap="none" spc="0" normalizeH="0" baseline="0" noProof="0" dirty="0" err="1">
                <a:ln>
                  <a:noFill/>
                </a:ln>
                <a:solidFill>
                  <a:srgbClr val="FFFFFF"/>
                </a:solidFill>
                <a:effectLst/>
                <a:uLnTx/>
                <a:uFillTx/>
                <a:latin typeface="Arial"/>
                <a:ea typeface="+mn-ea"/>
                <a:cs typeface="+mn-cs"/>
              </a:rPr>
              <a:t>medical</a:t>
            </a:r>
            <a:r>
              <a:rPr kumimoji="0" lang="pl-PL" sz="1200" b="0" i="0" u="none" strike="noStrike" kern="1200" cap="none" spc="0" normalizeH="0" baseline="0" noProof="0" dirty="0">
                <a:ln>
                  <a:noFill/>
                </a:ln>
                <a:solidFill>
                  <a:srgbClr val="FFFFFF"/>
                </a:solidFill>
                <a:effectLst/>
                <a:uLnTx/>
                <a:uFillTx/>
                <a:latin typeface="Arial"/>
                <a:ea typeface="+mn-ea"/>
                <a:cs typeface="+mn-cs"/>
              </a:rPr>
              <a:t> </a:t>
            </a:r>
            <a:r>
              <a:rPr kumimoji="0" lang="pl-PL" sz="1200" b="0" i="0" u="none" strike="noStrike" kern="1200" cap="none" spc="0" normalizeH="0" baseline="0" noProof="0" dirty="0" err="1">
                <a:ln>
                  <a:noFill/>
                </a:ln>
                <a:solidFill>
                  <a:srgbClr val="FFFFFF"/>
                </a:solidFill>
                <a:effectLst/>
                <a:uLnTx/>
                <a:uFillTx/>
                <a:latin typeface="Arial"/>
                <a:ea typeface="+mn-ea"/>
                <a:cs typeface="+mn-cs"/>
              </a:rPr>
              <a:t>package</a:t>
            </a:r>
            <a:endParaRPr kumimoji="0" lang="pl-PL"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36" name="Prostokąt 35">
            <a:extLst>
              <a:ext uri="{FF2B5EF4-FFF2-40B4-BE49-F238E27FC236}">
                <a16:creationId xmlns:a16="http://schemas.microsoft.com/office/drawing/2014/main" id="{9F41DBB3-A1F4-EE8B-3838-A276A411A529}"/>
              </a:ext>
            </a:extLst>
          </p:cNvPr>
          <p:cNvSpPr/>
          <p:nvPr/>
        </p:nvSpPr>
        <p:spPr>
          <a:xfrm>
            <a:off x="4577384" y="5134755"/>
            <a:ext cx="2866994" cy="303052"/>
          </a:xfrm>
          <a:prstGeom prst="rect">
            <a:avLst/>
          </a:prstGeom>
          <a:solidFill>
            <a:srgbClr val="009597"/>
          </a:solidFill>
          <a:ln>
            <a:solidFill>
              <a:srgbClr val="0095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srgbClr val="FFFFFF"/>
                </a:solidFill>
                <a:effectLst/>
                <a:uLnTx/>
                <a:uFillTx/>
                <a:latin typeface="Arial"/>
                <a:ea typeface="+mn-ea"/>
                <a:cs typeface="+mn-cs"/>
              </a:rPr>
              <a:t>Accounting </a:t>
            </a:r>
            <a:r>
              <a:rPr kumimoji="0" lang="pl-PL" sz="1200" b="0" i="0" u="none" strike="noStrike" kern="1200" cap="none" spc="0" normalizeH="0" baseline="0" noProof="0" dirty="0" err="1">
                <a:ln>
                  <a:noFill/>
                </a:ln>
                <a:solidFill>
                  <a:srgbClr val="FFFFFF"/>
                </a:solidFill>
                <a:effectLst/>
                <a:uLnTx/>
                <a:uFillTx/>
                <a:latin typeface="Arial"/>
                <a:ea typeface="+mn-ea"/>
                <a:cs typeface="+mn-cs"/>
              </a:rPr>
              <a:t>packages</a:t>
            </a:r>
            <a:r>
              <a:rPr kumimoji="0" lang="pl-PL" sz="1200" b="0" i="0" u="none" strike="noStrike" kern="1200" cap="none" spc="0" normalizeH="0" baseline="0" noProof="0" dirty="0">
                <a:ln>
                  <a:noFill/>
                </a:ln>
                <a:solidFill>
                  <a:srgbClr val="FFFFFF"/>
                </a:solidFill>
                <a:effectLst/>
                <a:uLnTx/>
                <a:uFillTx/>
                <a:latin typeface="Arial"/>
                <a:ea typeface="+mn-ea"/>
                <a:cs typeface="+mn-cs"/>
              </a:rPr>
              <a:t> </a:t>
            </a:r>
            <a:r>
              <a:rPr kumimoji="0" lang="pl-PL" sz="1200" b="0" i="0" u="none" strike="noStrike" kern="1200" cap="none" spc="0" normalizeH="0" baseline="0" noProof="0" dirty="0" err="1">
                <a:ln>
                  <a:noFill/>
                </a:ln>
                <a:solidFill>
                  <a:srgbClr val="FFFFFF"/>
                </a:solidFill>
                <a:effectLst/>
                <a:uLnTx/>
                <a:uFillTx/>
                <a:latin typeface="Arial"/>
                <a:ea typeface="+mn-ea"/>
                <a:cs typeface="+mn-cs"/>
              </a:rPr>
              <a:t>offer</a:t>
            </a:r>
            <a:r>
              <a:rPr kumimoji="0" lang="pl-PL" sz="1200" b="0" i="0" u="none" strike="noStrike" kern="1200" cap="none" spc="0" normalizeH="0" baseline="0" noProof="0" dirty="0">
                <a:ln>
                  <a:noFill/>
                </a:ln>
                <a:solidFill>
                  <a:srgbClr val="FFFFFF"/>
                </a:solidFill>
                <a:effectLst/>
                <a:uLnTx/>
                <a:uFillTx/>
                <a:latin typeface="Arial"/>
                <a:ea typeface="+mn-ea"/>
                <a:cs typeface="+mn-cs"/>
              </a:rPr>
              <a:t> </a:t>
            </a:r>
            <a:r>
              <a:rPr kumimoji="0" lang="pl-PL" sz="1200" b="0" i="0" u="none" strike="noStrike" kern="1200" cap="none" spc="0" normalizeH="0" baseline="0" noProof="0" dirty="0" err="1">
                <a:ln>
                  <a:noFill/>
                </a:ln>
                <a:solidFill>
                  <a:srgbClr val="FFFFFF"/>
                </a:solidFill>
                <a:effectLst/>
                <a:uLnTx/>
                <a:uFillTx/>
                <a:latin typeface="Arial"/>
                <a:ea typeface="+mn-ea"/>
                <a:cs typeface="+mn-cs"/>
              </a:rPr>
              <a:t>upgrade</a:t>
            </a: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37" name="Prostokąt 36">
            <a:extLst>
              <a:ext uri="{FF2B5EF4-FFF2-40B4-BE49-F238E27FC236}">
                <a16:creationId xmlns:a16="http://schemas.microsoft.com/office/drawing/2014/main" id="{8E776A6B-E67D-2D45-C968-D4C037AD02FF}"/>
              </a:ext>
            </a:extLst>
          </p:cNvPr>
          <p:cNvSpPr/>
          <p:nvPr/>
        </p:nvSpPr>
        <p:spPr>
          <a:xfrm>
            <a:off x="7535583" y="5131101"/>
            <a:ext cx="2813668" cy="303052"/>
          </a:xfrm>
          <a:prstGeom prst="rect">
            <a:avLst/>
          </a:prstGeom>
          <a:solidFill>
            <a:srgbClr val="009597"/>
          </a:solidFill>
          <a:ln>
            <a:solidFill>
              <a:srgbClr val="0095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srgbClr val="FFFFFF"/>
                </a:solidFill>
                <a:effectLst/>
                <a:uLnTx/>
                <a:uFillTx/>
                <a:latin typeface="Arial"/>
                <a:ea typeface="+mn-ea"/>
                <a:cs typeface="+mn-cs"/>
              </a:rPr>
              <a:t>Strefa Biznesu &amp; VAS </a:t>
            </a:r>
            <a:r>
              <a:rPr kumimoji="0" lang="pl-PL" sz="1200" b="0" i="0" u="none" strike="noStrike" kern="1200" cap="none" spc="0" normalizeH="0" baseline="0" noProof="0" dirty="0" err="1">
                <a:ln>
                  <a:noFill/>
                </a:ln>
                <a:solidFill>
                  <a:srgbClr val="FFFFFF"/>
                </a:solidFill>
                <a:effectLst/>
                <a:uLnTx/>
                <a:uFillTx/>
                <a:latin typeface="Arial"/>
                <a:ea typeface="+mn-ea"/>
                <a:cs typeface="+mn-cs"/>
              </a:rPr>
              <a:t>reporting</a:t>
            </a:r>
            <a:r>
              <a:rPr kumimoji="0" lang="pl-PL" sz="1200" b="0" i="0" u="none" strike="noStrike" kern="1200" cap="none" spc="0" normalizeH="0" baseline="0" noProof="0" dirty="0">
                <a:ln>
                  <a:noFill/>
                </a:ln>
                <a:solidFill>
                  <a:srgbClr val="FFFFFF"/>
                </a:solidFill>
                <a:effectLst/>
                <a:uLnTx/>
                <a:uFillTx/>
                <a:latin typeface="Arial"/>
                <a:ea typeface="+mn-ea"/>
                <a:cs typeface="+mn-cs"/>
              </a:rPr>
              <a:t> (EDW)</a:t>
            </a: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39" name="Prostokąt 38">
            <a:extLst>
              <a:ext uri="{FF2B5EF4-FFF2-40B4-BE49-F238E27FC236}">
                <a16:creationId xmlns:a16="http://schemas.microsoft.com/office/drawing/2014/main" id="{D4A0D591-26E3-D5EA-67A1-0953CC27A51C}"/>
              </a:ext>
            </a:extLst>
          </p:cNvPr>
          <p:cNvSpPr/>
          <p:nvPr/>
        </p:nvSpPr>
        <p:spPr>
          <a:xfrm>
            <a:off x="7106209" y="2601708"/>
            <a:ext cx="4127239" cy="286822"/>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err="1">
                <a:ln>
                  <a:noFill/>
                </a:ln>
                <a:solidFill>
                  <a:srgbClr val="FFFFFF"/>
                </a:solidFill>
                <a:effectLst/>
                <a:uLnTx/>
                <a:uFillTx/>
                <a:latin typeface="Arial"/>
                <a:ea typeface="+mn-ea"/>
                <a:cs typeface="+mn-cs"/>
              </a:rPr>
              <a:t>Strategy</a:t>
            </a:r>
            <a:r>
              <a:rPr kumimoji="0" lang="pl-PL" sz="1200" b="0" i="0" u="none" strike="noStrike" kern="1200" cap="none" spc="0" normalizeH="0" baseline="0" noProof="0" dirty="0">
                <a:ln>
                  <a:noFill/>
                </a:ln>
                <a:solidFill>
                  <a:srgbClr val="FFFFFF"/>
                </a:solidFill>
                <a:effectLst/>
                <a:uLnTx/>
                <a:uFillTx/>
                <a:latin typeface="Arial"/>
                <a:ea typeface="+mn-ea"/>
                <a:cs typeface="+mn-cs"/>
              </a:rPr>
              <a:t> for </a:t>
            </a:r>
            <a:r>
              <a:rPr kumimoji="0" lang="pl-PL" sz="1200" b="0" i="0" u="none" strike="noStrike" kern="1200" cap="none" spc="0" normalizeH="0" baseline="0" noProof="0" dirty="0" err="1">
                <a:ln>
                  <a:noFill/>
                </a:ln>
                <a:solidFill>
                  <a:srgbClr val="FFFFFF"/>
                </a:solidFill>
                <a:effectLst/>
                <a:uLnTx/>
                <a:uFillTx/>
                <a:latin typeface="Arial"/>
                <a:ea typeface="+mn-ea"/>
                <a:cs typeface="+mn-cs"/>
              </a:rPr>
              <a:t>eBank</a:t>
            </a:r>
            <a:r>
              <a:rPr kumimoji="0" lang="pl-PL" sz="1200" b="0" i="0" u="none" strike="noStrike" kern="1200" cap="none" spc="0" normalizeH="0" baseline="0" noProof="0" dirty="0">
                <a:ln>
                  <a:noFill/>
                </a:ln>
                <a:solidFill>
                  <a:srgbClr val="FFFFFF"/>
                </a:solidFill>
                <a:effectLst/>
                <a:uLnTx/>
                <a:uFillTx/>
                <a:latin typeface="Arial"/>
                <a:ea typeface="+mn-ea"/>
                <a:cs typeface="+mn-cs"/>
              </a:rPr>
              <a:t> </a:t>
            </a:r>
            <a:r>
              <a:rPr kumimoji="0" lang="pl-PL" sz="1200" b="0" i="0" u="none" strike="noStrike" kern="1200" cap="none" spc="0" normalizeH="0" baseline="0" noProof="0" dirty="0" err="1">
                <a:ln>
                  <a:noFill/>
                </a:ln>
                <a:solidFill>
                  <a:srgbClr val="FFFFFF"/>
                </a:solidFill>
                <a:effectLst/>
                <a:uLnTx/>
                <a:uFillTx/>
                <a:latin typeface="Arial"/>
                <a:ea typeface="+mn-ea"/>
                <a:cs typeface="+mn-cs"/>
              </a:rPr>
              <a:t>upgrade</a:t>
            </a:r>
            <a:r>
              <a:rPr kumimoji="0" lang="pl-PL" sz="1200" b="0" i="0" u="none" strike="noStrike" kern="1200" cap="none" spc="0" normalizeH="0" baseline="0" noProof="0" dirty="0">
                <a:ln>
                  <a:noFill/>
                </a:ln>
                <a:solidFill>
                  <a:srgbClr val="FFFFFF"/>
                </a:solidFill>
                <a:effectLst/>
                <a:uLnTx/>
                <a:uFillTx/>
                <a:latin typeface="Arial"/>
                <a:ea typeface="+mn-ea"/>
                <a:cs typeface="+mn-cs"/>
              </a:rPr>
              <a:t> for SOHO </a:t>
            </a:r>
            <a:r>
              <a:rPr kumimoji="0" lang="pl-PL" sz="1200" b="0" i="0" u="none" strike="noStrike" kern="1200" cap="none" spc="0" normalizeH="0" baseline="0" noProof="0" dirty="0" err="1">
                <a:ln>
                  <a:noFill/>
                </a:ln>
                <a:solidFill>
                  <a:srgbClr val="FFFFFF"/>
                </a:solidFill>
                <a:effectLst/>
                <a:uLnTx/>
                <a:uFillTx/>
                <a:latin typeface="Arial"/>
                <a:ea typeface="+mn-ea"/>
                <a:cs typeface="+mn-cs"/>
              </a:rPr>
              <a:t>companies</a:t>
            </a:r>
            <a:r>
              <a:rPr kumimoji="0" lang="pl-PL" sz="1200" b="0" i="0" u="none" strike="noStrike" kern="1200" cap="none" spc="0" normalizeH="0" baseline="0" noProof="0" dirty="0">
                <a:ln>
                  <a:noFill/>
                </a:ln>
                <a:solidFill>
                  <a:srgbClr val="FFFFFF"/>
                </a:solidFill>
                <a:effectLst/>
                <a:uLnTx/>
                <a:uFillTx/>
                <a:latin typeface="Arial"/>
                <a:ea typeface="+mn-ea"/>
                <a:cs typeface="+mn-cs"/>
              </a:rPr>
              <a:t> </a:t>
            </a: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42" name="Prostokąt 41">
            <a:extLst>
              <a:ext uri="{FF2B5EF4-FFF2-40B4-BE49-F238E27FC236}">
                <a16:creationId xmlns:a16="http://schemas.microsoft.com/office/drawing/2014/main" id="{1549157B-20E2-A048-D3D7-F16DFCC92849}"/>
              </a:ext>
            </a:extLst>
          </p:cNvPr>
          <p:cNvSpPr/>
          <p:nvPr/>
        </p:nvSpPr>
        <p:spPr>
          <a:xfrm>
            <a:off x="9928627" y="5486581"/>
            <a:ext cx="2176272" cy="302332"/>
          </a:xfrm>
          <a:prstGeom prst="rect">
            <a:avLst/>
          </a:prstGeom>
          <a:solidFill>
            <a:srgbClr val="81B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err="1">
                <a:ln>
                  <a:noFill/>
                </a:ln>
                <a:solidFill>
                  <a:srgbClr val="FFFFFF"/>
                </a:solidFill>
                <a:effectLst/>
                <a:uLnTx/>
                <a:uFillTx/>
                <a:latin typeface="Arial"/>
                <a:ea typeface="+mn-ea"/>
                <a:cs typeface="+mn-cs"/>
              </a:rPr>
              <a:t>Credit</a:t>
            </a:r>
            <a:r>
              <a:rPr kumimoji="0" lang="pl-PL" sz="1200" b="0" i="0" u="none" strike="noStrike" kern="1200" cap="none" spc="0" normalizeH="0" baseline="0" noProof="0" dirty="0">
                <a:ln>
                  <a:noFill/>
                </a:ln>
                <a:solidFill>
                  <a:srgbClr val="FFFFFF"/>
                </a:solidFill>
                <a:effectLst/>
                <a:uLnTx/>
                <a:uFillTx/>
                <a:latin typeface="Arial"/>
                <a:ea typeface="+mn-ea"/>
                <a:cs typeface="+mn-cs"/>
              </a:rPr>
              <a:t> </a:t>
            </a:r>
            <a:r>
              <a:rPr kumimoji="0" lang="pl-PL" sz="1200" b="0" i="0" u="none" strike="noStrike" kern="1200" cap="none" spc="0" normalizeH="0" baseline="0" noProof="0" dirty="0" err="1">
                <a:ln>
                  <a:noFill/>
                </a:ln>
                <a:solidFill>
                  <a:srgbClr val="FFFFFF"/>
                </a:solidFill>
                <a:effectLst/>
                <a:uLnTx/>
                <a:uFillTx/>
                <a:latin typeface="Arial"/>
                <a:ea typeface="+mn-ea"/>
                <a:cs typeface="+mn-cs"/>
              </a:rPr>
              <a:t>application</a:t>
            </a:r>
            <a:r>
              <a:rPr kumimoji="0" lang="pl-PL" sz="1200" b="0" i="0" u="none" strike="noStrike" kern="1200" cap="none" spc="0" normalizeH="0" baseline="0" noProof="0" dirty="0">
                <a:ln>
                  <a:noFill/>
                </a:ln>
                <a:solidFill>
                  <a:srgbClr val="FFFFFF"/>
                </a:solidFill>
                <a:effectLst/>
                <a:uLnTx/>
                <a:uFillTx/>
                <a:latin typeface="Arial"/>
                <a:ea typeface="+mn-ea"/>
                <a:cs typeface="+mn-cs"/>
              </a:rPr>
              <a:t> </a:t>
            </a: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43" name="Prostokąt 42">
            <a:extLst>
              <a:ext uri="{FF2B5EF4-FFF2-40B4-BE49-F238E27FC236}">
                <a16:creationId xmlns:a16="http://schemas.microsoft.com/office/drawing/2014/main" id="{EE52BEB6-0E03-62CA-81A7-3729EFA804CD}"/>
              </a:ext>
            </a:extLst>
          </p:cNvPr>
          <p:cNvSpPr/>
          <p:nvPr/>
        </p:nvSpPr>
        <p:spPr>
          <a:xfrm>
            <a:off x="8623585" y="5837687"/>
            <a:ext cx="3481314" cy="291891"/>
          </a:xfrm>
          <a:prstGeom prst="rect">
            <a:avLst/>
          </a:prstGeom>
          <a:noFill/>
          <a:ln w="19050">
            <a:solidFill>
              <a:srgbClr val="0095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100" b="0" i="0" u="none" strike="noStrike" kern="1200" cap="none" spc="0" normalizeH="0" baseline="0" noProof="0" dirty="0">
                <a:ln>
                  <a:noFill/>
                </a:ln>
                <a:solidFill>
                  <a:srgbClr val="000000"/>
                </a:solidFill>
                <a:effectLst/>
                <a:uLnTx/>
                <a:uFillTx/>
                <a:latin typeface="Arial"/>
                <a:ea typeface="+mn-ea"/>
                <a:cs typeface="+mn-cs"/>
              </a:rPr>
              <a:t>Integration with </a:t>
            </a:r>
            <a:r>
              <a:rPr kumimoji="0" lang="pl-PL" sz="1100" b="0" i="0" u="none" strike="noStrike" kern="1200" cap="none" spc="0" normalizeH="0" baseline="0" noProof="0" dirty="0" err="1">
                <a:ln>
                  <a:noFill/>
                </a:ln>
                <a:solidFill>
                  <a:srgbClr val="000000"/>
                </a:solidFill>
                <a:effectLst/>
                <a:uLnTx/>
                <a:uFillTx/>
                <a:latin typeface="Arial"/>
                <a:ea typeface="+mn-ea"/>
                <a:cs typeface="+mn-cs"/>
              </a:rPr>
              <a:t>new</a:t>
            </a:r>
            <a:r>
              <a:rPr kumimoji="0" lang="pl-PL" sz="1100" b="0" i="0" u="none" strike="noStrike" kern="1200" cap="none" spc="0" normalizeH="0" baseline="0" noProof="0" dirty="0">
                <a:ln>
                  <a:noFill/>
                </a:ln>
                <a:solidFill>
                  <a:srgbClr val="000000"/>
                </a:solidFill>
                <a:effectLst/>
                <a:uLnTx/>
                <a:uFillTx/>
                <a:latin typeface="Arial"/>
                <a:ea typeface="+mn-ea"/>
                <a:cs typeface="+mn-cs"/>
              </a:rPr>
              <a:t> PKL (</a:t>
            </a:r>
            <a:r>
              <a:rPr kumimoji="0" lang="pl-PL" sz="1100" b="0" i="0" u="none" strike="noStrike" kern="1200" cap="none" spc="0" normalizeH="0" baseline="0" noProof="0" dirty="0" err="1">
                <a:ln>
                  <a:noFill/>
                </a:ln>
                <a:solidFill>
                  <a:srgbClr val="000000"/>
                </a:solidFill>
                <a:effectLst/>
                <a:uLnTx/>
                <a:uFillTx/>
                <a:latin typeface="Arial"/>
                <a:ea typeface="+mn-ea"/>
                <a:cs typeface="+mn-cs"/>
              </a:rPr>
              <a:t>tbc</a:t>
            </a:r>
            <a:r>
              <a:rPr kumimoji="0" lang="pl-PL" sz="1100" b="0" i="0" u="none" strike="noStrike" kern="1200" cap="none" spc="0" normalizeH="0" baseline="0" noProof="0" dirty="0">
                <a:ln>
                  <a:noFill/>
                </a:ln>
                <a:solidFill>
                  <a:srgbClr val="000000"/>
                </a:solidFill>
                <a:effectLst/>
                <a:uLnTx/>
                <a:uFillTx/>
                <a:latin typeface="Arial"/>
                <a:ea typeface="+mn-ea"/>
                <a:cs typeface="+mn-cs"/>
              </a:rPr>
              <a:t>)</a:t>
            </a:r>
            <a:endParaRPr kumimoji="0" lang="en-GB"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45" name="Prostokąt 44">
            <a:extLst>
              <a:ext uri="{FF2B5EF4-FFF2-40B4-BE49-F238E27FC236}">
                <a16:creationId xmlns:a16="http://schemas.microsoft.com/office/drawing/2014/main" id="{790C1A9D-AEBD-1E2F-3C1E-FD534BD9F4B7}"/>
              </a:ext>
            </a:extLst>
          </p:cNvPr>
          <p:cNvSpPr/>
          <p:nvPr/>
        </p:nvSpPr>
        <p:spPr>
          <a:xfrm>
            <a:off x="3047904" y="4631741"/>
            <a:ext cx="2394079" cy="419464"/>
          </a:xfrm>
          <a:prstGeom prst="rect">
            <a:avLst/>
          </a:prstGeom>
          <a:solidFill>
            <a:srgbClr val="81BC00"/>
          </a:solidFill>
          <a:ln w="19050">
            <a:solidFill>
              <a:srgbClr val="0095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100" b="0" i="0" u="none" strike="noStrike" kern="1200" cap="none" spc="0" normalizeH="0" baseline="0" noProof="0" dirty="0" err="1">
                <a:ln>
                  <a:noFill/>
                </a:ln>
                <a:solidFill>
                  <a:srgbClr val="000000"/>
                </a:solidFill>
                <a:effectLst/>
                <a:uLnTx/>
                <a:uFillTx/>
                <a:latin typeface="Arial"/>
                <a:ea typeface="+mn-ea"/>
                <a:cs typeface="+mn-cs"/>
              </a:rPr>
              <a:t>Credit</a:t>
            </a:r>
            <a:r>
              <a:rPr kumimoji="0" lang="pl-PL" sz="1100" b="0" i="0" u="none" strike="noStrike" kern="1200" cap="none" spc="0" normalizeH="0" baseline="0" noProof="0" dirty="0">
                <a:ln>
                  <a:noFill/>
                </a:ln>
                <a:solidFill>
                  <a:srgbClr val="000000"/>
                </a:solidFill>
                <a:effectLst/>
                <a:uLnTx/>
                <a:uFillTx/>
                <a:latin typeface="Arial"/>
                <a:ea typeface="+mn-ea"/>
                <a:cs typeface="+mn-cs"/>
              </a:rPr>
              <a:t> </a:t>
            </a:r>
            <a:r>
              <a:rPr kumimoji="0" lang="pl-PL" sz="1100" b="0" i="0" u="none" strike="noStrike" kern="1200" cap="none" spc="0" normalizeH="0" baseline="0" noProof="0" dirty="0" err="1">
                <a:ln>
                  <a:noFill/>
                </a:ln>
                <a:solidFill>
                  <a:srgbClr val="000000"/>
                </a:solidFill>
                <a:effectLst/>
                <a:uLnTx/>
                <a:uFillTx/>
                <a:latin typeface="Arial"/>
                <a:ea typeface="+mn-ea"/>
                <a:cs typeface="+mn-cs"/>
              </a:rPr>
              <a:t>offer</a:t>
            </a:r>
            <a:r>
              <a:rPr kumimoji="0" lang="pl-PL" sz="1100" b="0" i="0" u="none" strike="noStrike" kern="1200" cap="none" spc="0" normalizeH="0" baseline="0" noProof="0" dirty="0">
                <a:ln>
                  <a:noFill/>
                </a:ln>
                <a:solidFill>
                  <a:srgbClr val="000000"/>
                </a:solidFill>
                <a:effectLst/>
                <a:uLnTx/>
                <a:uFillTx/>
                <a:latin typeface="Arial"/>
                <a:ea typeface="+mn-ea"/>
                <a:cs typeface="+mn-cs"/>
              </a:rPr>
              <a:t> for EFL </a:t>
            </a:r>
            <a:r>
              <a:rPr kumimoji="0" lang="pl-PL" sz="1100" b="0" i="0" u="none" strike="noStrike" kern="1200" cap="none" spc="0" normalizeH="0" baseline="0" noProof="0" dirty="0" err="1">
                <a:ln>
                  <a:noFill/>
                </a:ln>
                <a:solidFill>
                  <a:srgbClr val="000000"/>
                </a:solidFill>
                <a:effectLst/>
                <a:uLnTx/>
                <a:uFillTx/>
                <a:latin typeface="Arial"/>
                <a:ea typeface="+mn-ea"/>
                <a:cs typeface="+mn-cs"/>
              </a:rPr>
              <a:t>clients</a:t>
            </a:r>
            <a:r>
              <a:rPr kumimoji="0" lang="pl-PL" sz="1100" b="0" i="0" u="none" strike="noStrike" kern="1200" cap="none" spc="0" normalizeH="0" baseline="0" noProof="0" dirty="0">
                <a:ln>
                  <a:noFill/>
                </a:ln>
                <a:solidFill>
                  <a:srgbClr val="000000"/>
                </a:solidFill>
                <a:effectLst/>
                <a:uLnTx/>
                <a:uFillTx/>
                <a:latin typeface="Arial"/>
                <a:ea typeface="+mn-ea"/>
                <a:cs typeface="+mn-cs"/>
              </a:rPr>
              <a:t> </a:t>
            </a:r>
            <a:r>
              <a:rPr kumimoji="0" lang="pl-PL" sz="1100" b="0" i="0" u="none" strike="noStrike" kern="1200" cap="none" spc="0" normalizeH="0" baseline="0" noProof="0" dirty="0" err="1">
                <a:ln>
                  <a:noFill/>
                </a:ln>
                <a:solidFill>
                  <a:srgbClr val="000000"/>
                </a:solidFill>
                <a:effectLst/>
                <a:uLnTx/>
                <a:uFillTx/>
                <a:latin typeface="Arial"/>
                <a:ea typeface="+mn-ea"/>
                <a:cs typeface="+mn-cs"/>
              </a:rPr>
              <a:t>without</a:t>
            </a:r>
            <a:r>
              <a:rPr kumimoji="0" lang="pl-PL" sz="1100" b="0" i="0" u="none" strike="noStrike" kern="1200" cap="none" spc="0" normalizeH="0" baseline="0" noProof="0" dirty="0">
                <a:ln>
                  <a:noFill/>
                </a:ln>
                <a:solidFill>
                  <a:srgbClr val="000000"/>
                </a:solidFill>
                <a:effectLst/>
                <a:uLnTx/>
                <a:uFillTx/>
                <a:latin typeface="Arial"/>
                <a:ea typeface="+mn-ea"/>
                <a:cs typeface="+mn-cs"/>
              </a:rPr>
              <a:t> banking </a:t>
            </a:r>
            <a:r>
              <a:rPr kumimoji="0" lang="pl-PL" sz="1100" b="0" i="0" u="none" strike="noStrike" kern="1200" cap="none" spc="0" normalizeH="0" baseline="0" noProof="0" dirty="0" err="1">
                <a:ln>
                  <a:noFill/>
                </a:ln>
                <a:solidFill>
                  <a:srgbClr val="000000"/>
                </a:solidFill>
                <a:effectLst/>
                <a:uLnTx/>
                <a:uFillTx/>
                <a:latin typeface="Arial"/>
                <a:ea typeface="+mn-ea"/>
                <a:cs typeface="+mn-cs"/>
              </a:rPr>
              <a:t>account</a:t>
            </a:r>
            <a:r>
              <a:rPr kumimoji="0" lang="pl-PL" sz="1100" b="0" i="0" u="none" strike="noStrike" kern="1200" cap="none" spc="0" normalizeH="0" baseline="0" noProof="0" dirty="0">
                <a:ln>
                  <a:noFill/>
                </a:ln>
                <a:solidFill>
                  <a:srgbClr val="000000"/>
                </a:solidFill>
                <a:effectLst/>
                <a:uLnTx/>
                <a:uFillTx/>
                <a:latin typeface="Arial"/>
                <a:ea typeface="+mn-ea"/>
                <a:cs typeface="+mn-cs"/>
              </a:rPr>
              <a:t> (</a:t>
            </a:r>
            <a:r>
              <a:rPr kumimoji="0" lang="pl-PL" sz="1100" b="0" i="0" u="none" strike="noStrike" kern="1200" cap="none" spc="0" normalizeH="0" baseline="0" noProof="0" dirty="0" err="1">
                <a:ln>
                  <a:noFill/>
                </a:ln>
                <a:solidFill>
                  <a:srgbClr val="000000"/>
                </a:solidFill>
                <a:effectLst/>
                <a:uLnTx/>
                <a:uFillTx/>
                <a:latin typeface="Arial"/>
                <a:ea typeface="+mn-ea"/>
                <a:cs typeface="+mn-cs"/>
              </a:rPr>
              <a:t>tbc</a:t>
            </a:r>
            <a:r>
              <a:rPr kumimoji="0" lang="pl-PL" sz="1100" b="0" i="0" u="none" strike="noStrike" kern="1200" cap="none" spc="0" normalizeH="0" baseline="0" noProof="0" dirty="0">
                <a:ln>
                  <a:noFill/>
                </a:ln>
                <a:solidFill>
                  <a:srgbClr val="000000"/>
                </a:solidFill>
                <a:effectLst/>
                <a:uLnTx/>
                <a:uFillTx/>
                <a:latin typeface="Arial"/>
                <a:ea typeface="+mn-ea"/>
                <a:cs typeface="+mn-cs"/>
              </a:rPr>
              <a:t>)</a:t>
            </a:r>
            <a:endParaRPr kumimoji="0" lang="en-GB"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3" name="Prostokąt 2">
            <a:extLst>
              <a:ext uri="{FF2B5EF4-FFF2-40B4-BE49-F238E27FC236}">
                <a16:creationId xmlns:a16="http://schemas.microsoft.com/office/drawing/2014/main" id="{34167C42-6D28-01CF-E67C-01364F75986D}"/>
              </a:ext>
            </a:extLst>
          </p:cNvPr>
          <p:cNvSpPr/>
          <p:nvPr/>
        </p:nvSpPr>
        <p:spPr>
          <a:xfrm rot="16200000">
            <a:off x="-721300" y="4810148"/>
            <a:ext cx="2367472" cy="331139"/>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100" b="1" i="0" u="none" strike="noStrike" kern="1200" cap="none" spc="0" normalizeH="0" baseline="0" noProof="0" dirty="0">
                <a:ln>
                  <a:noFill/>
                </a:ln>
                <a:solidFill>
                  <a:srgbClr val="FFFFFF"/>
                </a:solidFill>
                <a:effectLst/>
                <a:uLnTx/>
                <a:uFillTx/>
                <a:latin typeface="Arial"/>
                <a:ea typeface="+mn-ea"/>
                <a:cs typeface="+mn-cs"/>
              </a:rPr>
              <a:t>STREFA BIZNESU</a:t>
            </a:r>
          </a:p>
        </p:txBody>
      </p:sp>
      <p:sp>
        <p:nvSpPr>
          <p:cNvPr id="4" name="Prostokąt 3">
            <a:extLst>
              <a:ext uri="{FF2B5EF4-FFF2-40B4-BE49-F238E27FC236}">
                <a16:creationId xmlns:a16="http://schemas.microsoft.com/office/drawing/2014/main" id="{B7691D4F-177B-20D9-7FAE-80C05F6FE360}"/>
              </a:ext>
            </a:extLst>
          </p:cNvPr>
          <p:cNvSpPr/>
          <p:nvPr/>
        </p:nvSpPr>
        <p:spPr>
          <a:xfrm rot="16200000">
            <a:off x="23165" y="1578890"/>
            <a:ext cx="879188" cy="330496"/>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100" b="1" i="0" u="none" strike="noStrike" kern="1200" cap="none" spc="0" normalizeH="0" baseline="0" noProof="0" dirty="0">
                <a:ln>
                  <a:noFill/>
                </a:ln>
                <a:solidFill>
                  <a:srgbClr val="FFFFFF"/>
                </a:solidFill>
                <a:effectLst/>
                <a:uLnTx/>
                <a:uFillTx/>
                <a:latin typeface="Arial"/>
                <a:ea typeface="+mn-ea"/>
                <a:cs typeface="+mn-cs"/>
              </a:rPr>
              <a:t>CA24 MOBILE</a:t>
            </a:r>
          </a:p>
        </p:txBody>
      </p:sp>
      <p:sp>
        <p:nvSpPr>
          <p:cNvPr id="5" name="Prostokąt 4">
            <a:extLst>
              <a:ext uri="{FF2B5EF4-FFF2-40B4-BE49-F238E27FC236}">
                <a16:creationId xmlns:a16="http://schemas.microsoft.com/office/drawing/2014/main" id="{13AB597C-385C-D1FC-2785-D7ED025305B4}"/>
              </a:ext>
            </a:extLst>
          </p:cNvPr>
          <p:cNvSpPr/>
          <p:nvPr/>
        </p:nvSpPr>
        <p:spPr>
          <a:xfrm rot="16200000">
            <a:off x="159472" y="2340386"/>
            <a:ext cx="605289" cy="330498"/>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100" b="1" i="0" u="none" strike="noStrike" kern="1200" cap="none" spc="0" normalizeH="0" baseline="0" noProof="0" dirty="0" err="1">
                <a:ln>
                  <a:noFill/>
                </a:ln>
                <a:solidFill>
                  <a:srgbClr val="FFFFFF"/>
                </a:solidFill>
                <a:effectLst/>
                <a:uLnTx/>
                <a:uFillTx/>
                <a:latin typeface="Arial"/>
                <a:ea typeface="+mn-ea"/>
                <a:cs typeface="+mn-cs"/>
              </a:rPr>
              <a:t>eBank</a:t>
            </a:r>
            <a:endParaRPr kumimoji="0" lang="pl-PL" sz="1100" b="1" i="0" u="none" strike="noStrike" kern="1200" cap="none" spc="0" normalizeH="0" baseline="0" noProof="0" dirty="0">
              <a:ln>
                <a:noFill/>
              </a:ln>
              <a:solidFill>
                <a:srgbClr val="FFFFFF"/>
              </a:solidFill>
              <a:effectLst/>
              <a:uLnTx/>
              <a:uFillTx/>
              <a:latin typeface="Arial"/>
              <a:ea typeface="+mn-ea"/>
              <a:cs typeface="+mn-cs"/>
            </a:endParaRPr>
          </a:p>
        </p:txBody>
      </p:sp>
      <p:sp>
        <p:nvSpPr>
          <p:cNvPr id="6" name="Prostokąt 5">
            <a:extLst>
              <a:ext uri="{FF2B5EF4-FFF2-40B4-BE49-F238E27FC236}">
                <a16:creationId xmlns:a16="http://schemas.microsoft.com/office/drawing/2014/main" id="{13DBCCD5-802C-A2BA-A35D-E1785243F088}"/>
              </a:ext>
            </a:extLst>
          </p:cNvPr>
          <p:cNvSpPr/>
          <p:nvPr/>
        </p:nvSpPr>
        <p:spPr>
          <a:xfrm>
            <a:off x="888570" y="1366327"/>
            <a:ext cx="2577715" cy="279037"/>
          </a:xfrm>
          <a:prstGeom prst="rect">
            <a:avLst/>
          </a:prstGeom>
          <a:solidFill>
            <a:srgbClr val="81B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srgbClr val="FFFFFF"/>
                </a:solidFill>
                <a:effectLst/>
                <a:uLnTx/>
                <a:uFillTx/>
                <a:latin typeface="Arial"/>
                <a:ea typeface="+mn-ea"/>
                <a:cs typeface="+mn-cs"/>
              </a:rPr>
              <a:t>BLIK for SOHO/SME</a:t>
            </a: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7" name="Prostokąt 6">
            <a:extLst>
              <a:ext uri="{FF2B5EF4-FFF2-40B4-BE49-F238E27FC236}">
                <a16:creationId xmlns:a16="http://schemas.microsoft.com/office/drawing/2014/main" id="{899759F1-B34B-CF41-0E87-C6B45251E85B}"/>
              </a:ext>
            </a:extLst>
          </p:cNvPr>
          <p:cNvSpPr/>
          <p:nvPr/>
        </p:nvSpPr>
        <p:spPr>
          <a:xfrm>
            <a:off x="3514418" y="1372953"/>
            <a:ext cx="5724992" cy="247955"/>
          </a:xfrm>
          <a:prstGeom prst="rect">
            <a:avLst/>
          </a:prstGeom>
          <a:solidFill>
            <a:srgbClr val="009597"/>
          </a:solidFill>
          <a:ln>
            <a:solidFill>
              <a:srgbClr val="0095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err="1">
                <a:ln>
                  <a:noFill/>
                </a:ln>
                <a:solidFill>
                  <a:srgbClr val="FFFFFF"/>
                </a:solidFill>
                <a:effectLst/>
                <a:uLnTx/>
                <a:uFillTx/>
                <a:latin typeface="Arial"/>
                <a:ea typeface="+mn-ea"/>
                <a:cs typeface="+mn-cs"/>
              </a:rPr>
              <a:t>Opening</a:t>
            </a:r>
            <a:r>
              <a:rPr kumimoji="0" lang="pl-PL" sz="1200" b="0" i="0" u="none" strike="noStrike" kern="1200" cap="none" spc="0" normalizeH="0" baseline="0" noProof="0" dirty="0">
                <a:ln>
                  <a:noFill/>
                </a:ln>
                <a:solidFill>
                  <a:srgbClr val="FFFFFF"/>
                </a:solidFill>
                <a:effectLst/>
                <a:uLnTx/>
                <a:uFillTx/>
                <a:latin typeface="Arial"/>
                <a:ea typeface="+mn-ea"/>
                <a:cs typeface="+mn-cs"/>
              </a:rPr>
              <a:t> banking </a:t>
            </a:r>
            <a:r>
              <a:rPr kumimoji="0" lang="pl-PL" sz="1200" b="0" i="0" u="none" strike="noStrike" kern="1200" cap="none" spc="0" normalizeH="0" baseline="0" noProof="0" dirty="0" err="1">
                <a:ln>
                  <a:noFill/>
                </a:ln>
                <a:solidFill>
                  <a:srgbClr val="FFFFFF"/>
                </a:solidFill>
                <a:effectLst/>
                <a:uLnTx/>
                <a:uFillTx/>
                <a:latin typeface="Arial"/>
                <a:ea typeface="+mn-ea"/>
                <a:cs typeface="+mn-cs"/>
              </a:rPr>
              <a:t>account</a:t>
            </a:r>
            <a:r>
              <a:rPr kumimoji="0" lang="pl-PL" sz="1200" b="0" i="0" u="none" strike="noStrike" kern="1200" cap="none" spc="0" normalizeH="0" baseline="0" noProof="0" dirty="0">
                <a:ln>
                  <a:noFill/>
                </a:ln>
                <a:solidFill>
                  <a:srgbClr val="FFFFFF"/>
                </a:solidFill>
                <a:effectLst/>
                <a:uLnTx/>
                <a:uFillTx/>
                <a:latin typeface="Arial"/>
                <a:ea typeface="+mn-ea"/>
                <a:cs typeface="+mn-cs"/>
              </a:rPr>
              <a:t> from </a:t>
            </a:r>
            <a:r>
              <a:rPr kumimoji="0" lang="pl-PL" sz="1200" b="0" i="0" u="none" strike="noStrike" kern="1200" cap="none" spc="0" normalizeH="0" baseline="0" noProof="0" dirty="0" err="1">
                <a:ln>
                  <a:noFill/>
                </a:ln>
                <a:solidFill>
                  <a:srgbClr val="FFFFFF"/>
                </a:solidFill>
                <a:effectLst/>
                <a:uLnTx/>
                <a:uFillTx/>
                <a:latin typeface="Arial"/>
                <a:ea typeface="+mn-ea"/>
                <a:cs typeface="+mn-cs"/>
              </a:rPr>
              <a:t>active</a:t>
            </a:r>
            <a:r>
              <a:rPr kumimoji="0" lang="pl-PL" sz="1200" b="0" i="0" u="none" strike="noStrike" kern="1200" cap="none" spc="0" normalizeH="0" baseline="0" noProof="0" dirty="0">
                <a:ln>
                  <a:noFill/>
                </a:ln>
                <a:solidFill>
                  <a:srgbClr val="FFFFFF"/>
                </a:solidFill>
                <a:effectLst/>
                <a:uLnTx/>
                <a:uFillTx/>
                <a:latin typeface="Arial"/>
                <a:ea typeface="+mn-ea"/>
                <a:cs typeface="+mn-cs"/>
              </a:rPr>
              <a:t> CA24 mobile</a:t>
            </a: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8" name="Prostokąt 7">
            <a:extLst>
              <a:ext uri="{FF2B5EF4-FFF2-40B4-BE49-F238E27FC236}">
                <a16:creationId xmlns:a16="http://schemas.microsoft.com/office/drawing/2014/main" id="{D356EBFA-F200-7B98-BBD0-5C67E1F1FB71}"/>
              </a:ext>
            </a:extLst>
          </p:cNvPr>
          <p:cNvSpPr/>
          <p:nvPr/>
        </p:nvSpPr>
        <p:spPr>
          <a:xfrm>
            <a:off x="7641528" y="1759075"/>
            <a:ext cx="3771832" cy="214480"/>
          </a:xfrm>
          <a:prstGeom prst="rect">
            <a:avLst/>
          </a:prstGeom>
          <a:solidFill>
            <a:schemeClr val="tx2">
              <a:lumMod val="60000"/>
              <a:lumOff val="40000"/>
            </a:schemeClr>
          </a:solidFill>
          <a:ln>
            <a:solidFill>
              <a:srgbClr val="0095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err="1">
                <a:ln>
                  <a:noFill/>
                </a:ln>
                <a:solidFill>
                  <a:srgbClr val="FFFFFF"/>
                </a:solidFill>
                <a:effectLst/>
                <a:uLnTx/>
                <a:uFillTx/>
                <a:latin typeface="Arial"/>
                <a:ea typeface="+mn-ea"/>
                <a:cs typeface="+mn-cs"/>
              </a:rPr>
              <a:t>Promotion</a:t>
            </a:r>
            <a:r>
              <a:rPr kumimoji="0" lang="pl-PL" sz="1200" b="0" i="0" u="none" strike="noStrike" kern="1200" cap="none" spc="0" normalizeH="0" baseline="0" noProof="0" dirty="0">
                <a:ln>
                  <a:noFill/>
                </a:ln>
                <a:solidFill>
                  <a:srgbClr val="FFFFFF"/>
                </a:solidFill>
                <a:effectLst/>
                <a:uLnTx/>
                <a:uFillTx/>
                <a:latin typeface="Arial"/>
                <a:ea typeface="+mn-ea"/>
                <a:cs typeface="+mn-cs"/>
              </a:rPr>
              <a:t> management in CA24mobile</a:t>
            </a: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10" name="Prostokąt 9">
            <a:extLst>
              <a:ext uri="{FF2B5EF4-FFF2-40B4-BE49-F238E27FC236}">
                <a16:creationId xmlns:a16="http://schemas.microsoft.com/office/drawing/2014/main" id="{E43F61D2-088D-FC5F-1140-B62DA8827F12}"/>
              </a:ext>
            </a:extLst>
          </p:cNvPr>
          <p:cNvSpPr/>
          <p:nvPr/>
        </p:nvSpPr>
        <p:spPr>
          <a:xfrm>
            <a:off x="1462538" y="2582105"/>
            <a:ext cx="5291830" cy="282439"/>
          </a:xfrm>
          <a:prstGeom prst="rect">
            <a:avLst/>
          </a:prstGeom>
          <a:solidFill>
            <a:srgbClr val="81B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srgbClr val="FFFFFF"/>
                </a:solidFill>
                <a:effectLst/>
                <a:uLnTx/>
                <a:uFillTx/>
                <a:latin typeface="Arial"/>
                <a:ea typeface="+mn-ea"/>
                <a:cs typeface="+mn-cs"/>
              </a:rPr>
              <a:t>MT940 </a:t>
            </a:r>
            <a:r>
              <a:rPr kumimoji="0" lang="pl-PL" sz="1200" b="0" i="0" u="none" strike="noStrike" kern="1200" cap="none" spc="0" normalizeH="0" baseline="0" noProof="0" dirty="0" err="1">
                <a:ln>
                  <a:noFill/>
                </a:ln>
                <a:solidFill>
                  <a:srgbClr val="FFFFFF"/>
                </a:solidFill>
                <a:effectLst/>
                <a:uLnTx/>
                <a:uFillTx/>
                <a:latin typeface="Arial"/>
                <a:ea typeface="+mn-ea"/>
                <a:cs typeface="+mn-cs"/>
              </a:rPr>
              <a:t>extension</a:t>
            </a:r>
            <a:r>
              <a:rPr kumimoji="0" lang="pl-PL" sz="1200" b="0" i="0" u="none" strike="noStrike" kern="1200" cap="none" spc="0" normalizeH="0" baseline="0" noProof="0" dirty="0">
                <a:ln>
                  <a:noFill/>
                </a:ln>
                <a:solidFill>
                  <a:srgbClr val="FFFFFF"/>
                </a:solidFill>
                <a:effectLst/>
                <a:uLnTx/>
                <a:uFillTx/>
                <a:latin typeface="Arial"/>
                <a:ea typeface="+mn-ea"/>
                <a:cs typeface="+mn-cs"/>
              </a:rPr>
              <a:t>  (</a:t>
            </a:r>
            <a:r>
              <a:rPr kumimoji="0" lang="pl-PL" sz="1200" b="0" i="0" u="none" strike="noStrike" kern="1200" cap="none" spc="0" normalizeH="0" baseline="0" noProof="0" dirty="0" err="1">
                <a:ln>
                  <a:noFill/>
                </a:ln>
                <a:solidFill>
                  <a:srgbClr val="FFFFFF"/>
                </a:solidFill>
                <a:effectLst/>
                <a:uLnTx/>
                <a:uFillTx/>
                <a:latin typeface="Arial"/>
                <a:ea typeface="+mn-ea"/>
                <a:cs typeface="+mn-cs"/>
              </a:rPr>
              <a:t>all</a:t>
            </a:r>
            <a:r>
              <a:rPr kumimoji="0" lang="pl-PL" sz="1200" b="0" i="0" u="none" strike="noStrike" kern="1200" cap="none" spc="0" normalizeH="0" baseline="0" noProof="0" dirty="0">
                <a:ln>
                  <a:noFill/>
                </a:ln>
                <a:solidFill>
                  <a:srgbClr val="FFFFFF"/>
                </a:solidFill>
                <a:effectLst/>
                <a:uLnTx/>
                <a:uFillTx/>
                <a:latin typeface="Arial"/>
                <a:ea typeface="+mn-ea"/>
                <a:cs typeface="+mn-cs"/>
              </a:rPr>
              <a:t> </a:t>
            </a:r>
            <a:r>
              <a:rPr kumimoji="0" lang="pl-PL" sz="1200" b="0" i="0" u="none" strike="noStrike" kern="1200" cap="none" spc="0" normalizeH="0" baseline="0" noProof="0" dirty="0" err="1">
                <a:ln>
                  <a:noFill/>
                </a:ln>
                <a:solidFill>
                  <a:srgbClr val="FFFFFF"/>
                </a:solidFill>
                <a:effectLst/>
                <a:uLnTx/>
                <a:uFillTx/>
                <a:latin typeface="Arial"/>
                <a:ea typeface="+mn-ea"/>
                <a:cs typeface="+mn-cs"/>
              </a:rPr>
              <a:t>accounts</a:t>
            </a:r>
            <a:r>
              <a:rPr kumimoji="0" lang="pl-PL" sz="1200" b="0" i="0" u="none" strike="noStrike" kern="1200" cap="none" spc="0" normalizeH="0" baseline="0" noProof="0" dirty="0">
                <a:ln>
                  <a:noFill/>
                </a:ln>
                <a:solidFill>
                  <a:srgbClr val="FFFFFF"/>
                </a:solidFill>
                <a:effectLst/>
                <a:uLnTx/>
                <a:uFillTx/>
                <a:latin typeface="Arial"/>
                <a:ea typeface="+mn-ea"/>
                <a:cs typeface="+mn-cs"/>
              </a:rPr>
              <a:t>, </a:t>
            </a:r>
            <a:r>
              <a:rPr kumimoji="0" lang="pl-PL" sz="1200" b="0" i="0" u="none" strike="noStrike" kern="1200" cap="none" spc="0" normalizeH="0" baseline="0" noProof="0" dirty="0" err="1">
                <a:ln>
                  <a:noFill/>
                </a:ln>
                <a:solidFill>
                  <a:srgbClr val="FFFFFF"/>
                </a:solidFill>
                <a:effectLst/>
                <a:uLnTx/>
                <a:uFillTx/>
                <a:latin typeface="Arial"/>
                <a:ea typeface="+mn-ea"/>
                <a:cs typeface="+mn-cs"/>
              </a:rPr>
              <a:t>extended</a:t>
            </a:r>
            <a:r>
              <a:rPr kumimoji="0" lang="pl-PL" sz="1200" b="0" i="0" u="none" strike="noStrike" kern="1200" cap="none" spc="0" normalizeH="0" baseline="0" noProof="0" dirty="0">
                <a:ln>
                  <a:noFill/>
                </a:ln>
                <a:solidFill>
                  <a:srgbClr val="FFFFFF"/>
                </a:solidFill>
                <a:effectLst/>
                <a:uLnTx/>
                <a:uFillTx/>
                <a:latin typeface="Arial"/>
                <a:ea typeface="+mn-ea"/>
                <a:cs typeface="+mn-cs"/>
              </a:rPr>
              <a:t> format)</a:t>
            </a: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13" name="Prostokąt 12">
            <a:extLst>
              <a:ext uri="{FF2B5EF4-FFF2-40B4-BE49-F238E27FC236}">
                <a16:creationId xmlns:a16="http://schemas.microsoft.com/office/drawing/2014/main" id="{E052E0F2-D609-11E3-44D0-8F4A49E52DA8}"/>
              </a:ext>
            </a:extLst>
          </p:cNvPr>
          <p:cNvSpPr/>
          <p:nvPr/>
        </p:nvSpPr>
        <p:spPr>
          <a:xfrm>
            <a:off x="9308683" y="1366132"/>
            <a:ext cx="2104677" cy="289314"/>
          </a:xfrm>
          <a:prstGeom prst="rect">
            <a:avLst/>
          </a:prstGeom>
          <a:solidFill>
            <a:srgbClr val="81B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srgbClr val="FFFFFF"/>
                </a:solidFill>
                <a:effectLst/>
                <a:uLnTx/>
                <a:uFillTx/>
                <a:latin typeface="Arial"/>
                <a:ea typeface="+mn-ea"/>
                <a:cs typeface="+mn-cs"/>
              </a:rPr>
              <a:t>Virtual </a:t>
            </a:r>
            <a:r>
              <a:rPr kumimoji="0" lang="pl-PL" sz="1200" b="0" i="0" u="none" strike="noStrike" kern="1200" cap="none" spc="0" normalizeH="0" baseline="0" noProof="0" dirty="0" err="1">
                <a:ln>
                  <a:noFill/>
                </a:ln>
                <a:solidFill>
                  <a:srgbClr val="FFFFFF"/>
                </a:solidFill>
                <a:effectLst/>
                <a:uLnTx/>
                <a:uFillTx/>
                <a:latin typeface="Arial"/>
                <a:ea typeface="+mn-ea"/>
                <a:cs typeface="+mn-cs"/>
              </a:rPr>
              <a:t>card</a:t>
            </a:r>
            <a:r>
              <a:rPr kumimoji="0" lang="pl-PL" sz="1200" b="0" i="0" u="none" strike="noStrike" kern="1200" cap="none" spc="0" normalizeH="0" baseline="0" noProof="0" dirty="0">
                <a:ln>
                  <a:noFill/>
                </a:ln>
                <a:solidFill>
                  <a:srgbClr val="FFFFFF"/>
                </a:solidFill>
                <a:effectLst/>
                <a:uLnTx/>
                <a:uFillTx/>
                <a:latin typeface="Arial"/>
                <a:ea typeface="+mn-ea"/>
                <a:cs typeface="+mn-cs"/>
              </a:rPr>
              <a:t> for SOHO</a:t>
            </a: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14" name="Prostokąt 13">
            <a:extLst>
              <a:ext uri="{FF2B5EF4-FFF2-40B4-BE49-F238E27FC236}">
                <a16:creationId xmlns:a16="http://schemas.microsoft.com/office/drawing/2014/main" id="{1F63A1E6-675B-12B9-D099-75D3FB6F885A}"/>
              </a:ext>
            </a:extLst>
          </p:cNvPr>
          <p:cNvSpPr/>
          <p:nvPr/>
        </p:nvSpPr>
        <p:spPr>
          <a:xfrm>
            <a:off x="7390145" y="2084445"/>
            <a:ext cx="2959106" cy="247955"/>
          </a:xfrm>
          <a:prstGeom prst="rect">
            <a:avLst/>
          </a:prstGeom>
          <a:solidFill>
            <a:schemeClr val="tx2">
              <a:lumMod val="60000"/>
              <a:lumOff val="40000"/>
            </a:schemeClr>
          </a:solidFill>
          <a:ln>
            <a:solidFill>
              <a:srgbClr val="0095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srgbClr val="FFFFFF"/>
                </a:solidFill>
                <a:effectLst/>
                <a:uLnTx/>
                <a:uFillTx/>
                <a:latin typeface="Arial"/>
                <a:ea typeface="+mn-ea"/>
                <a:cs typeface="+mn-cs"/>
              </a:rPr>
              <a:t>Debit </a:t>
            </a:r>
            <a:r>
              <a:rPr kumimoji="0" lang="pl-PL" sz="1200" b="0" i="0" u="none" strike="noStrike" kern="1200" cap="none" spc="0" normalizeH="0" baseline="0" noProof="0" dirty="0" err="1">
                <a:ln>
                  <a:noFill/>
                </a:ln>
                <a:solidFill>
                  <a:srgbClr val="FFFFFF"/>
                </a:solidFill>
                <a:effectLst/>
                <a:uLnTx/>
                <a:uFillTx/>
                <a:latin typeface="Arial"/>
                <a:ea typeface="+mn-ea"/>
                <a:cs typeface="+mn-cs"/>
              </a:rPr>
              <a:t>card</a:t>
            </a:r>
            <a:r>
              <a:rPr kumimoji="0" lang="pl-PL" sz="1200" b="0" i="0" u="none" strike="noStrike" kern="1200" cap="none" spc="0" normalizeH="0" baseline="0" noProof="0" dirty="0">
                <a:ln>
                  <a:noFill/>
                </a:ln>
                <a:solidFill>
                  <a:srgbClr val="FFFFFF"/>
                </a:solidFill>
                <a:effectLst/>
                <a:uLnTx/>
                <a:uFillTx/>
                <a:latin typeface="Arial"/>
                <a:ea typeface="+mn-ea"/>
                <a:cs typeface="+mn-cs"/>
              </a:rPr>
              <a:t> limit management </a:t>
            </a: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15" name="Gwiazda: 5 punktów 14">
            <a:extLst>
              <a:ext uri="{FF2B5EF4-FFF2-40B4-BE49-F238E27FC236}">
                <a16:creationId xmlns:a16="http://schemas.microsoft.com/office/drawing/2014/main" id="{3673CE90-C028-85E1-4DAA-F2D9DC5233E3}"/>
              </a:ext>
            </a:extLst>
          </p:cNvPr>
          <p:cNvSpPr/>
          <p:nvPr/>
        </p:nvSpPr>
        <p:spPr>
          <a:xfrm>
            <a:off x="10146489" y="2010865"/>
            <a:ext cx="376791" cy="335562"/>
          </a:xfrm>
          <a:prstGeom prst="star5">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FFFFFF"/>
              </a:solidFill>
              <a:effectLst/>
              <a:uLnTx/>
              <a:uFillTx/>
              <a:latin typeface="Arial"/>
              <a:ea typeface="+mn-ea"/>
              <a:cs typeface="+mn-cs"/>
            </a:endParaRPr>
          </a:p>
        </p:txBody>
      </p:sp>
      <p:sp>
        <p:nvSpPr>
          <p:cNvPr id="20" name="Gwiazda: 5 punktów 19">
            <a:extLst>
              <a:ext uri="{FF2B5EF4-FFF2-40B4-BE49-F238E27FC236}">
                <a16:creationId xmlns:a16="http://schemas.microsoft.com/office/drawing/2014/main" id="{B8811898-D94F-D857-C560-36EF747EB901}"/>
              </a:ext>
            </a:extLst>
          </p:cNvPr>
          <p:cNvSpPr/>
          <p:nvPr/>
        </p:nvSpPr>
        <p:spPr>
          <a:xfrm>
            <a:off x="10856657" y="6325186"/>
            <a:ext cx="376791" cy="335562"/>
          </a:xfrm>
          <a:prstGeom prst="star5">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FFFFFF"/>
              </a:solidFill>
              <a:effectLst/>
              <a:uLnTx/>
              <a:uFillTx/>
              <a:latin typeface="Arial"/>
              <a:ea typeface="+mn-ea"/>
              <a:cs typeface="+mn-cs"/>
            </a:endParaRPr>
          </a:p>
        </p:txBody>
      </p:sp>
      <p:sp>
        <p:nvSpPr>
          <p:cNvPr id="21" name="pole tekstowe 20">
            <a:extLst>
              <a:ext uri="{FF2B5EF4-FFF2-40B4-BE49-F238E27FC236}">
                <a16:creationId xmlns:a16="http://schemas.microsoft.com/office/drawing/2014/main" id="{92C3B7BF-0E0D-47CB-1537-03037F386A5A}"/>
              </a:ext>
            </a:extLst>
          </p:cNvPr>
          <p:cNvSpPr txBox="1"/>
          <p:nvPr/>
        </p:nvSpPr>
        <p:spPr>
          <a:xfrm>
            <a:off x="11243918" y="6325186"/>
            <a:ext cx="948082"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100" b="0" i="0" u="none" strike="noStrike" kern="1200" cap="none" spc="0" normalizeH="0" baseline="0" noProof="0" dirty="0" err="1">
                <a:ln>
                  <a:noFill/>
                </a:ln>
                <a:solidFill>
                  <a:srgbClr val="000000"/>
                </a:solidFill>
                <a:effectLst/>
                <a:uLnTx/>
                <a:uFillTx/>
                <a:latin typeface="Arial"/>
                <a:ea typeface="+mn-ea"/>
                <a:cs typeface="+mn-cs"/>
              </a:rPr>
              <a:t>Pain</a:t>
            </a:r>
            <a:r>
              <a:rPr kumimoji="0" lang="pl-PL" sz="1100" b="0" i="0" u="none" strike="noStrike" kern="1200" cap="none" spc="0" normalizeH="0" baseline="0" noProof="0" dirty="0">
                <a:ln>
                  <a:noFill/>
                </a:ln>
                <a:solidFill>
                  <a:srgbClr val="000000"/>
                </a:solidFill>
                <a:effectLst/>
                <a:uLnTx/>
                <a:uFillTx/>
                <a:latin typeface="Arial"/>
                <a:ea typeface="+mn-ea"/>
                <a:cs typeface="+mn-cs"/>
              </a:rPr>
              <a:t> point </a:t>
            </a:r>
            <a:r>
              <a:rPr kumimoji="0" lang="pl-PL" sz="1100" b="0" i="0" u="none" strike="noStrike" kern="1200" cap="none" spc="0" normalizeH="0" baseline="0" noProof="0" dirty="0" err="1">
                <a:ln>
                  <a:noFill/>
                </a:ln>
                <a:solidFill>
                  <a:srgbClr val="000000"/>
                </a:solidFill>
                <a:effectLst/>
                <a:uLnTx/>
                <a:uFillTx/>
                <a:latin typeface="Arial"/>
                <a:ea typeface="+mn-ea"/>
                <a:cs typeface="+mn-cs"/>
              </a:rPr>
              <a:t>elimination</a:t>
            </a:r>
            <a:endParaRPr kumimoji="0" lang="pl-PL"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22" name="pole tekstowe 21">
            <a:extLst>
              <a:ext uri="{FF2B5EF4-FFF2-40B4-BE49-F238E27FC236}">
                <a16:creationId xmlns:a16="http://schemas.microsoft.com/office/drawing/2014/main" id="{E3426A99-F847-6342-126B-4C958FDC3A2E}"/>
              </a:ext>
            </a:extLst>
          </p:cNvPr>
          <p:cNvSpPr txBox="1"/>
          <p:nvPr/>
        </p:nvSpPr>
        <p:spPr>
          <a:xfrm>
            <a:off x="6452833" y="2242862"/>
            <a:ext cx="833093"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100" b="0" i="0" u="none" strike="noStrike" kern="1200" cap="none" spc="0" normalizeH="0" baseline="0" noProof="0" dirty="0">
                <a:ln>
                  <a:noFill/>
                </a:ln>
                <a:solidFill>
                  <a:srgbClr val="000000"/>
                </a:solidFill>
                <a:effectLst/>
                <a:uLnTx/>
                <a:uFillTx/>
                <a:latin typeface="Arial"/>
                <a:ea typeface="+mn-ea"/>
                <a:cs typeface="+mn-cs"/>
              </a:rPr>
              <a:t>R3.2026</a:t>
            </a:r>
          </a:p>
        </p:txBody>
      </p:sp>
      <p:sp>
        <p:nvSpPr>
          <p:cNvPr id="38" name="Gwiazda: 5 punktów 37">
            <a:extLst>
              <a:ext uri="{FF2B5EF4-FFF2-40B4-BE49-F238E27FC236}">
                <a16:creationId xmlns:a16="http://schemas.microsoft.com/office/drawing/2014/main" id="{0EE9318F-CD9F-498A-A6C8-9D420BB0DBD1}"/>
              </a:ext>
            </a:extLst>
          </p:cNvPr>
          <p:cNvSpPr/>
          <p:nvPr/>
        </p:nvSpPr>
        <p:spPr>
          <a:xfrm>
            <a:off x="9001604" y="1306428"/>
            <a:ext cx="376791" cy="335562"/>
          </a:xfrm>
          <a:prstGeom prst="star5">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FFFFFF"/>
              </a:solidFill>
              <a:effectLst/>
              <a:uLnTx/>
              <a:uFillTx/>
              <a:latin typeface="Arial"/>
              <a:ea typeface="+mn-ea"/>
              <a:cs typeface="+mn-cs"/>
            </a:endParaRPr>
          </a:p>
        </p:txBody>
      </p:sp>
      <p:sp>
        <p:nvSpPr>
          <p:cNvPr id="9" name="Gwiazda: 5 punktów 8">
            <a:extLst>
              <a:ext uri="{FF2B5EF4-FFF2-40B4-BE49-F238E27FC236}">
                <a16:creationId xmlns:a16="http://schemas.microsoft.com/office/drawing/2014/main" id="{65B21B8E-ABBB-64EB-C722-90454368B638}"/>
              </a:ext>
            </a:extLst>
          </p:cNvPr>
          <p:cNvSpPr/>
          <p:nvPr/>
        </p:nvSpPr>
        <p:spPr>
          <a:xfrm>
            <a:off x="6524232" y="2493288"/>
            <a:ext cx="376791" cy="335562"/>
          </a:xfrm>
          <a:prstGeom prst="star5">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FFFFFF"/>
              </a:solidFill>
              <a:effectLst/>
              <a:uLnTx/>
              <a:uFillTx/>
              <a:latin typeface="Arial"/>
              <a:ea typeface="+mn-ea"/>
              <a:cs typeface="+mn-cs"/>
            </a:endParaRPr>
          </a:p>
        </p:txBody>
      </p:sp>
      <p:sp>
        <p:nvSpPr>
          <p:cNvPr id="35" name="Gwiazda: 5 punktów 34">
            <a:extLst>
              <a:ext uri="{FF2B5EF4-FFF2-40B4-BE49-F238E27FC236}">
                <a16:creationId xmlns:a16="http://schemas.microsoft.com/office/drawing/2014/main" id="{120DDE6B-1069-F2A2-CE2C-46B7173285F9}"/>
              </a:ext>
            </a:extLst>
          </p:cNvPr>
          <p:cNvSpPr/>
          <p:nvPr/>
        </p:nvSpPr>
        <p:spPr>
          <a:xfrm>
            <a:off x="3197826" y="1314427"/>
            <a:ext cx="376791" cy="335562"/>
          </a:xfrm>
          <a:prstGeom prst="star5">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FFFFFF"/>
              </a:solidFill>
              <a:effectLst/>
              <a:uLnTx/>
              <a:uFillTx/>
              <a:latin typeface="Arial"/>
              <a:ea typeface="+mn-ea"/>
              <a:cs typeface="+mn-cs"/>
            </a:endParaRPr>
          </a:p>
        </p:txBody>
      </p:sp>
      <p:sp>
        <p:nvSpPr>
          <p:cNvPr id="40" name="Prostokąt 39">
            <a:extLst>
              <a:ext uri="{FF2B5EF4-FFF2-40B4-BE49-F238E27FC236}">
                <a16:creationId xmlns:a16="http://schemas.microsoft.com/office/drawing/2014/main" id="{BC5713C8-BA20-AE5C-0366-6B110BF41630}"/>
              </a:ext>
            </a:extLst>
          </p:cNvPr>
          <p:cNvSpPr/>
          <p:nvPr/>
        </p:nvSpPr>
        <p:spPr>
          <a:xfrm>
            <a:off x="9189998" y="6417967"/>
            <a:ext cx="1643398" cy="278076"/>
          </a:xfrm>
          <a:prstGeom prst="rect">
            <a:avLst/>
          </a:prstGeom>
          <a:solidFill>
            <a:schemeClr val="tx2">
              <a:lumMod val="60000"/>
              <a:lumOff val="40000"/>
            </a:schemeClr>
          </a:solidFill>
          <a:ln>
            <a:solidFill>
              <a:srgbClr val="0095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srgbClr val="FFFFFF"/>
                </a:solidFill>
                <a:effectLst/>
                <a:uLnTx/>
                <a:uFillTx/>
                <a:latin typeface="Arial"/>
                <a:ea typeface="+mn-ea"/>
                <a:cs typeface="+mn-cs"/>
              </a:rPr>
              <a:t>TO BE CONFIRMED </a:t>
            </a: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44" name="Prostokąt 43">
            <a:extLst>
              <a:ext uri="{FF2B5EF4-FFF2-40B4-BE49-F238E27FC236}">
                <a16:creationId xmlns:a16="http://schemas.microsoft.com/office/drawing/2014/main" id="{5A112CFC-D990-68C5-7CA3-3520F15E37F6}"/>
              </a:ext>
            </a:extLst>
          </p:cNvPr>
          <p:cNvSpPr/>
          <p:nvPr/>
        </p:nvSpPr>
        <p:spPr>
          <a:xfrm rot="16200000">
            <a:off x="213357" y="3344068"/>
            <a:ext cx="497518" cy="330498"/>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100" b="1" i="0" u="none" strike="noStrike" kern="1200" cap="none" spc="0" normalizeH="0" baseline="0" noProof="0" dirty="0">
                <a:ln>
                  <a:noFill/>
                </a:ln>
                <a:solidFill>
                  <a:srgbClr val="FFFFFF"/>
                </a:solidFill>
                <a:effectLst/>
                <a:uLnTx/>
                <a:uFillTx/>
                <a:latin typeface="Arial"/>
                <a:ea typeface="+mn-ea"/>
                <a:cs typeface="+mn-cs"/>
              </a:rPr>
              <a:t>ATM</a:t>
            </a:r>
          </a:p>
        </p:txBody>
      </p:sp>
      <p:sp>
        <p:nvSpPr>
          <p:cNvPr id="46" name="Gwiazda: 5 punktów 45">
            <a:extLst>
              <a:ext uri="{FF2B5EF4-FFF2-40B4-BE49-F238E27FC236}">
                <a16:creationId xmlns:a16="http://schemas.microsoft.com/office/drawing/2014/main" id="{377923A6-E60B-8F2D-CAD2-0FA29D26F8DA}"/>
              </a:ext>
            </a:extLst>
          </p:cNvPr>
          <p:cNvSpPr/>
          <p:nvPr/>
        </p:nvSpPr>
        <p:spPr>
          <a:xfrm>
            <a:off x="6095999" y="3336569"/>
            <a:ext cx="376791" cy="335562"/>
          </a:xfrm>
          <a:prstGeom prst="star5">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FFFFFF"/>
              </a:solidFill>
              <a:effectLst/>
              <a:uLnTx/>
              <a:uFillTx/>
              <a:latin typeface="Arial"/>
              <a:ea typeface="+mn-ea"/>
              <a:cs typeface="+mn-cs"/>
            </a:endParaRPr>
          </a:p>
        </p:txBody>
      </p:sp>
      <p:sp>
        <p:nvSpPr>
          <p:cNvPr id="12" name="Prostokąt 11">
            <a:extLst>
              <a:ext uri="{FF2B5EF4-FFF2-40B4-BE49-F238E27FC236}">
                <a16:creationId xmlns:a16="http://schemas.microsoft.com/office/drawing/2014/main" id="{3E72B9BE-926B-CCED-C103-8FDDAB6F30D3}"/>
              </a:ext>
            </a:extLst>
          </p:cNvPr>
          <p:cNvSpPr/>
          <p:nvPr/>
        </p:nvSpPr>
        <p:spPr>
          <a:xfrm>
            <a:off x="958637" y="2971124"/>
            <a:ext cx="4350335" cy="259244"/>
          </a:xfrm>
          <a:prstGeom prst="rect">
            <a:avLst/>
          </a:prstGeom>
          <a:solidFill>
            <a:srgbClr val="009597"/>
          </a:solidFill>
          <a:ln>
            <a:solidFill>
              <a:srgbClr val="0095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srgbClr val="FFFFFF"/>
                </a:solidFill>
                <a:effectLst/>
                <a:uLnTx/>
                <a:uFillTx/>
                <a:latin typeface="Arial"/>
                <a:ea typeface="+mn-ea"/>
                <a:cs typeface="+mn-cs"/>
              </a:rPr>
              <a:t>LUMI – </a:t>
            </a:r>
            <a:r>
              <a:rPr kumimoji="0" lang="pl-PL" sz="1200" b="0" i="0" u="none" strike="noStrike" kern="1200" cap="none" spc="0" normalizeH="0" baseline="0" noProof="0" dirty="0" err="1">
                <a:ln>
                  <a:noFill/>
                </a:ln>
                <a:solidFill>
                  <a:srgbClr val="FFFFFF"/>
                </a:solidFill>
                <a:effectLst/>
                <a:uLnTx/>
                <a:uFillTx/>
                <a:latin typeface="Arial"/>
                <a:ea typeface="+mn-ea"/>
                <a:cs typeface="+mn-cs"/>
              </a:rPr>
              <a:t>syntesis</a:t>
            </a:r>
            <a:r>
              <a:rPr kumimoji="0" lang="pl-PL" sz="1200" b="0" i="0" u="none" strike="noStrike" kern="1200" cap="none" spc="0" normalizeH="0" baseline="0" noProof="0" dirty="0">
                <a:ln>
                  <a:noFill/>
                </a:ln>
                <a:solidFill>
                  <a:srgbClr val="FFFFFF"/>
                </a:solidFill>
                <a:effectLst/>
                <a:uLnTx/>
                <a:uFillTx/>
                <a:latin typeface="Arial"/>
                <a:ea typeface="+mn-ea"/>
                <a:cs typeface="+mn-cs"/>
              </a:rPr>
              <a:t> </a:t>
            </a:r>
            <a:r>
              <a:rPr kumimoji="0" lang="pl-PL" sz="1200" b="0" i="0" u="none" strike="noStrike" kern="1200" cap="none" spc="0" normalizeH="0" baseline="0" noProof="0" dirty="0" err="1">
                <a:ln>
                  <a:noFill/>
                </a:ln>
                <a:solidFill>
                  <a:srgbClr val="FFFFFF"/>
                </a:solidFill>
                <a:effectLst/>
                <a:uLnTx/>
                <a:uFillTx/>
                <a:latin typeface="Arial"/>
                <a:ea typeface="+mn-ea"/>
                <a:cs typeface="+mn-cs"/>
              </a:rPr>
              <a:t>before</a:t>
            </a:r>
            <a:r>
              <a:rPr kumimoji="0" lang="pl-PL" sz="1200" b="0" i="0" u="none" strike="noStrike" kern="1200" cap="none" spc="0" normalizeH="0" baseline="0" noProof="0" dirty="0">
                <a:ln>
                  <a:noFill/>
                </a:ln>
                <a:solidFill>
                  <a:srgbClr val="FFFFFF"/>
                </a:solidFill>
                <a:effectLst/>
                <a:uLnTx/>
                <a:uFillTx/>
                <a:latin typeface="Arial"/>
                <a:ea typeface="+mn-ea"/>
                <a:cs typeface="+mn-cs"/>
              </a:rPr>
              <a:t> </a:t>
            </a:r>
            <a:r>
              <a:rPr kumimoji="0" lang="pl-PL" sz="1200" b="0" i="0" u="none" strike="noStrike" kern="1200" cap="none" spc="0" normalizeH="0" baseline="0" noProof="0" dirty="0" err="1">
                <a:ln>
                  <a:noFill/>
                </a:ln>
                <a:solidFill>
                  <a:srgbClr val="FFFFFF"/>
                </a:solidFill>
                <a:effectLst/>
                <a:uLnTx/>
                <a:uFillTx/>
                <a:latin typeface="Arial"/>
                <a:ea typeface="+mn-ea"/>
                <a:cs typeface="+mn-cs"/>
              </a:rPr>
              <a:t>meeting</a:t>
            </a: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17" name="Prostokąt 16">
            <a:extLst>
              <a:ext uri="{FF2B5EF4-FFF2-40B4-BE49-F238E27FC236}">
                <a16:creationId xmlns:a16="http://schemas.microsoft.com/office/drawing/2014/main" id="{74DD7AEA-AE67-4A88-E261-96411E9A4A49}"/>
              </a:ext>
            </a:extLst>
          </p:cNvPr>
          <p:cNvSpPr/>
          <p:nvPr/>
        </p:nvSpPr>
        <p:spPr>
          <a:xfrm rot="16200000">
            <a:off x="263514" y="2865229"/>
            <a:ext cx="384446" cy="343257"/>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900" b="1" i="0" u="none" strike="noStrike" kern="1200" cap="none" spc="0" normalizeH="0" baseline="0" noProof="0" dirty="0">
                <a:ln>
                  <a:noFill/>
                </a:ln>
                <a:solidFill>
                  <a:srgbClr val="FFFFFF"/>
                </a:solidFill>
                <a:effectLst/>
                <a:uLnTx/>
                <a:uFillTx/>
                <a:latin typeface="Arial"/>
                <a:ea typeface="+mn-ea"/>
                <a:cs typeface="+mn-cs"/>
              </a:rPr>
              <a:t>FE </a:t>
            </a:r>
            <a:r>
              <a:rPr kumimoji="0" lang="pl-PL" sz="900" b="1" i="0" u="none" strike="noStrike" kern="1200" cap="none" spc="0" normalizeH="0" baseline="0" noProof="0" dirty="0" err="1">
                <a:ln>
                  <a:noFill/>
                </a:ln>
                <a:solidFill>
                  <a:srgbClr val="FFFFFF"/>
                </a:solidFill>
                <a:effectLst/>
                <a:uLnTx/>
                <a:uFillTx/>
                <a:latin typeface="Arial"/>
                <a:ea typeface="+mn-ea"/>
                <a:cs typeface="+mn-cs"/>
              </a:rPr>
              <a:t>adv</a:t>
            </a:r>
            <a:endParaRPr kumimoji="0" lang="pl-PL" sz="1100" b="1"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78401391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Prostokąt 24">
            <a:extLst>
              <a:ext uri="{FF2B5EF4-FFF2-40B4-BE49-F238E27FC236}">
                <a16:creationId xmlns:a16="http://schemas.microsoft.com/office/drawing/2014/main" id="{5F47A4EA-9223-D21A-813A-EFAFD916B3D6}"/>
              </a:ext>
            </a:extLst>
          </p:cNvPr>
          <p:cNvSpPr/>
          <p:nvPr/>
        </p:nvSpPr>
        <p:spPr>
          <a:xfrm>
            <a:off x="2501918" y="2864767"/>
            <a:ext cx="696367" cy="243163"/>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FFFFFF"/>
              </a:solidFill>
              <a:effectLst/>
              <a:uLnTx/>
              <a:uFillTx/>
              <a:latin typeface="Arial"/>
              <a:ea typeface="+mn-ea"/>
              <a:cs typeface="+mn-cs"/>
            </a:endParaRPr>
          </a:p>
        </p:txBody>
      </p:sp>
      <p:sp>
        <p:nvSpPr>
          <p:cNvPr id="75" name="Prostokąt: zaokrąglone rogi 74">
            <a:extLst>
              <a:ext uri="{FF2B5EF4-FFF2-40B4-BE49-F238E27FC236}">
                <a16:creationId xmlns:a16="http://schemas.microsoft.com/office/drawing/2014/main" id="{01D3B2EB-8D4E-4B95-8808-4D5111CDC861}"/>
              </a:ext>
            </a:extLst>
          </p:cNvPr>
          <p:cNvSpPr/>
          <p:nvPr/>
        </p:nvSpPr>
        <p:spPr>
          <a:xfrm>
            <a:off x="5896178" y="473691"/>
            <a:ext cx="6119476" cy="6410769"/>
          </a:xfrm>
          <a:prstGeom prst="roundRect">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 name="Tytuł 1">
            <a:extLst>
              <a:ext uri="{FF2B5EF4-FFF2-40B4-BE49-F238E27FC236}">
                <a16:creationId xmlns:a16="http://schemas.microsoft.com/office/drawing/2014/main" id="{44CC20B3-B8AF-46AA-A0F7-FC35DAD24652}"/>
              </a:ext>
            </a:extLst>
          </p:cNvPr>
          <p:cNvSpPr>
            <a:spLocks noGrp="1"/>
          </p:cNvSpPr>
          <p:nvPr>
            <p:ph type="title"/>
          </p:nvPr>
        </p:nvSpPr>
        <p:spPr>
          <a:xfrm>
            <a:off x="550334" y="-279842"/>
            <a:ext cx="11336189" cy="753533"/>
          </a:xfrm>
        </p:spPr>
        <p:txBody>
          <a:bodyPr/>
          <a:lstStyle/>
          <a:p>
            <a:pPr algn="ctr"/>
            <a:r>
              <a:rPr lang="pl-PL" sz="2800" dirty="0"/>
              <a:t>C</a:t>
            </a:r>
            <a:r>
              <a:rPr lang="en-GB" sz="2800" dirty="0" err="1"/>
              <a:t>redit</a:t>
            </a:r>
            <a:r>
              <a:rPr lang="en-GB" sz="2800" dirty="0"/>
              <a:t> process development for SOHO and SME</a:t>
            </a:r>
            <a:r>
              <a:rPr lang="pl-PL" sz="2800" dirty="0"/>
              <a:t> – 2026 </a:t>
            </a:r>
            <a:r>
              <a:rPr lang="pl-PL" sz="2800" dirty="0" err="1"/>
              <a:t>Roadmap</a:t>
            </a:r>
            <a:endParaRPr lang="en-GB" sz="2800" dirty="0"/>
          </a:p>
        </p:txBody>
      </p:sp>
      <p:cxnSp>
        <p:nvCxnSpPr>
          <p:cNvPr id="6" name="Łącznik prosty ze strzałką 5">
            <a:extLst>
              <a:ext uri="{FF2B5EF4-FFF2-40B4-BE49-F238E27FC236}">
                <a16:creationId xmlns:a16="http://schemas.microsoft.com/office/drawing/2014/main" id="{CB5C4971-BB95-4EE6-B431-B5E930C1B9D3}"/>
              </a:ext>
            </a:extLst>
          </p:cNvPr>
          <p:cNvCxnSpPr/>
          <p:nvPr/>
        </p:nvCxnSpPr>
        <p:spPr>
          <a:xfrm>
            <a:off x="550335" y="1905000"/>
            <a:ext cx="109982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 name="Prostokąt 6">
            <a:extLst>
              <a:ext uri="{FF2B5EF4-FFF2-40B4-BE49-F238E27FC236}">
                <a16:creationId xmlns:a16="http://schemas.microsoft.com/office/drawing/2014/main" id="{4D292C2B-0135-4BD1-84B4-733FC31A4A3D}"/>
              </a:ext>
            </a:extLst>
          </p:cNvPr>
          <p:cNvSpPr/>
          <p:nvPr/>
        </p:nvSpPr>
        <p:spPr>
          <a:xfrm>
            <a:off x="516215" y="768485"/>
            <a:ext cx="6469921" cy="264340"/>
          </a:xfrm>
          <a:prstGeom prst="rect">
            <a:avLst/>
          </a:prstGeom>
          <a:solidFill>
            <a:srgbClr val="007D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Arial"/>
                <a:ea typeface="+mn-ea"/>
                <a:cs typeface="+mn-cs"/>
              </a:rPr>
              <a:t>SOHO</a:t>
            </a:r>
            <a:endParaRPr kumimoji="0" lang="en-GB"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8" name="Prostokąt 7">
            <a:extLst>
              <a:ext uri="{FF2B5EF4-FFF2-40B4-BE49-F238E27FC236}">
                <a16:creationId xmlns:a16="http://schemas.microsoft.com/office/drawing/2014/main" id="{5FECF944-C2EC-48B6-B372-E8F78E98A4DE}"/>
              </a:ext>
            </a:extLst>
          </p:cNvPr>
          <p:cNvSpPr/>
          <p:nvPr/>
        </p:nvSpPr>
        <p:spPr>
          <a:xfrm>
            <a:off x="3170826" y="1077432"/>
            <a:ext cx="3815310" cy="262104"/>
          </a:xfrm>
          <a:prstGeom prst="rect">
            <a:avLst/>
          </a:prstGeom>
          <a:noFill/>
          <a:ln w="19050">
            <a:solidFill>
              <a:srgbClr val="007D8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009597"/>
                </a:solidFill>
                <a:effectLst/>
                <a:uLnTx/>
                <a:uFillTx/>
                <a:latin typeface="Arial"/>
                <a:ea typeface="+mn-ea"/>
                <a:cs typeface="+mn-cs"/>
              </a:rPr>
              <a:t>SOLO/SOHO MIX</a:t>
            </a:r>
            <a:endParaRPr kumimoji="0" lang="en-GB" sz="1050" b="0" i="0" u="none" strike="noStrike" kern="1200" cap="none" spc="0" normalizeH="0" baseline="0" noProof="0" dirty="0">
              <a:ln>
                <a:noFill/>
              </a:ln>
              <a:solidFill>
                <a:srgbClr val="009597"/>
              </a:solidFill>
              <a:effectLst/>
              <a:uLnTx/>
              <a:uFillTx/>
              <a:latin typeface="Arial"/>
              <a:ea typeface="+mn-ea"/>
              <a:cs typeface="+mn-cs"/>
            </a:endParaRPr>
          </a:p>
        </p:txBody>
      </p:sp>
      <p:sp>
        <p:nvSpPr>
          <p:cNvPr id="9" name="Prostokąt 8">
            <a:extLst>
              <a:ext uri="{FF2B5EF4-FFF2-40B4-BE49-F238E27FC236}">
                <a16:creationId xmlns:a16="http://schemas.microsoft.com/office/drawing/2014/main" id="{6AF2A53F-644D-4717-BA82-3C93817E6DEA}"/>
              </a:ext>
            </a:extLst>
          </p:cNvPr>
          <p:cNvSpPr/>
          <p:nvPr/>
        </p:nvSpPr>
        <p:spPr>
          <a:xfrm>
            <a:off x="550327" y="1378448"/>
            <a:ext cx="6435809" cy="227676"/>
          </a:xfrm>
          <a:prstGeom prst="rect">
            <a:avLst/>
          </a:prstGeom>
          <a:noFill/>
          <a:ln w="19050">
            <a:solidFill>
              <a:srgbClr val="007D8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009597"/>
                </a:solidFill>
                <a:effectLst/>
                <a:uLnTx/>
                <a:uFillTx/>
                <a:latin typeface="Arial"/>
                <a:ea typeface="+mn-ea"/>
                <a:cs typeface="+mn-cs"/>
              </a:rPr>
              <a:t>REMOTE ADVISORS</a:t>
            </a:r>
            <a:endParaRPr kumimoji="0" lang="en-GB" sz="1050" b="0" i="0" u="none" strike="noStrike" kern="1200" cap="none" spc="0" normalizeH="0" baseline="0" noProof="0" dirty="0">
              <a:ln>
                <a:noFill/>
              </a:ln>
              <a:solidFill>
                <a:srgbClr val="009597"/>
              </a:solidFill>
              <a:effectLst/>
              <a:uLnTx/>
              <a:uFillTx/>
              <a:latin typeface="Arial"/>
              <a:ea typeface="+mn-ea"/>
              <a:cs typeface="+mn-cs"/>
            </a:endParaRPr>
          </a:p>
        </p:txBody>
      </p:sp>
      <p:cxnSp>
        <p:nvCxnSpPr>
          <p:cNvPr id="13" name="Łącznik prosty 12">
            <a:extLst>
              <a:ext uri="{FF2B5EF4-FFF2-40B4-BE49-F238E27FC236}">
                <a16:creationId xmlns:a16="http://schemas.microsoft.com/office/drawing/2014/main" id="{590FF6C0-1FA0-45A3-84B4-83191F8C92E1}"/>
              </a:ext>
            </a:extLst>
          </p:cNvPr>
          <p:cNvCxnSpPr/>
          <p:nvPr/>
        </p:nvCxnSpPr>
        <p:spPr>
          <a:xfrm>
            <a:off x="3198285" y="1784339"/>
            <a:ext cx="0" cy="26035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Łącznik prosty 13">
            <a:extLst>
              <a:ext uri="{FF2B5EF4-FFF2-40B4-BE49-F238E27FC236}">
                <a16:creationId xmlns:a16="http://schemas.microsoft.com/office/drawing/2014/main" id="{61C5C4D4-15F8-4B74-9467-75C6F1E5133F}"/>
              </a:ext>
            </a:extLst>
          </p:cNvPr>
          <p:cNvCxnSpPr>
            <a:cxnSpLocks/>
          </p:cNvCxnSpPr>
          <p:nvPr/>
        </p:nvCxnSpPr>
        <p:spPr>
          <a:xfrm>
            <a:off x="8877794" y="1774825"/>
            <a:ext cx="0" cy="260350"/>
          </a:xfrm>
          <a:prstGeom prst="line">
            <a:avLst/>
          </a:prstGeom>
        </p:spPr>
        <p:style>
          <a:lnRef idx="1">
            <a:schemeClr val="accent1"/>
          </a:lnRef>
          <a:fillRef idx="0">
            <a:schemeClr val="accent1"/>
          </a:fillRef>
          <a:effectRef idx="0">
            <a:schemeClr val="accent1"/>
          </a:effectRef>
          <a:fontRef idx="minor">
            <a:schemeClr val="tx1"/>
          </a:fontRef>
        </p:style>
      </p:cxnSp>
      <p:sp>
        <p:nvSpPr>
          <p:cNvPr id="15" name="Prostokąt 14">
            <a:extLst>
              <a:ext uri="{FF2B5EF4-FFF2-40B4-BE49-F238E27FC236}">
                <a16:creationId xmlns:a16="http://schemas.microsoft.com/office/drawing/2014/main" id="{F06C3E6F-9123-43AA-A3DF-DE161ABDD2F8}"/>
              </a:ext>
            </a:extLst>
          </p:cNvPr>
          <p:cNvSpPr/>
          <p:nvPr/>
        </p:nvSpPr>
        <p:spPr>
          <a:xfrm>
            <a:off x="574058" y="1649486"/>
            <a:ext cx="2577716" cy="245182"/>
          </a:xfrm>
          <a:prstGeom prst="rect">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Arial"/>
                <a:ea typeface="+mn-ea"/>
                <a:cs typeface="+mn-cs"/>
              </a:rPr>
              <a:t>2025</a:t>
            </a: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16" name="Prostokąt 15">
            <a:extLst>
              <a:ext uri="{FF2B5EF4-FFF2-40B4-BE49-F238E27FC236}">
                <a16:creationId xmlns:a16="http://schemas.microsoft.com/office/drawing/2014/main" id="{1BC6217E-A53A-4584-9BBE-5C9F29DE5050}"/>
              </a:ext>
            </a:extLst>
          </p:cNvPr>
          <p:cNvSpPr/>
          <p:nvPr/>
        </p:nvSpPr>
        <p:spPr>
          <a:xfrm>
            <a:off x="3198286" y="1656290"/>
            <a:ext cx="2624226" cy="229096"/>
          </a:xfrm>
          <a:prstGeom prst="rect">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Arial"/>
                <a:ea typeface="+mn-ea"/>
                <a:cs typeface="+mn-cs"/>
              </a:rPr>
              <a:t>2026</a:t>
            </a: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17" name="Prostokąt 16">
            <a:extLst>
              <a:ext uri="{FF2B5EF4-FFF2-40B4-BE49-F238E27FC236}">
                <a16:creationId xmlns:a16="http://schemas.microsoft.com/office/drawing/2014/main" id="{93161FE0-A9DE-4576-9629-0F8CA96C08F1}"/>
              </a:ext>
            </a:extLst>
          </p:cNvPr>
          <p:cNvSpPr/>
          <p:nvPr/>
        </p:nvSpPr>
        <p:spPr>
          <a:xfrm>
            <a:off x="5871921" y="1648073"/>
            <a:ext cx="3003565" cy="218687"/>
          </a:xfrm>
          <a:prstGeom prst="rect">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Arial"/>
                <a:ea typeface="+mn-ea"/>
                <a:cs typeface="+mn-cs"/>
              </a:rPr>
              <a:t>2027</a:t>
            </a: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18" name="Prostokąt 17">
            <a:extLst>
              <a:ext uri="{FF2B5EF4-FFF2-40B4-BE49-F238E27FC236}">
                <a16:creationId xmlns:a16="http://schemas.microsoft.com/office/drawing/2014/main" id="{933F304A-3A2E-414E-8A4D-B7DA811CC583}"/>
              </a:ext>
            </a:extLst>
          </p:cNvPr>
          <p:cNvSpPr/>
          <p:nvPr/>
        </p:nvSpPr>
        <p:spPr>
          <a:xfrm>
            <a:off x="8877791" y="1649486"/>
            <a:ext cx="2497171" cy="221338"/>
          </a:xfrm>
          <a:prstGeom prst="rect">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Arial"/>
                <a:ea typeface="+mn-ea"/>
                <a:cs typeface="+mn-cs"/>
              </a:rPr>
              <a:t>2028</a:t>
            </a: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cxnSp>
        <p:nvCxnSpPr>
          <p:cNvPr id="20" name="Łącznik prosty 19">
            <a:extLst>
              <a:ext uri="{FF2B5EF4-FFF2-40B4-BE49-F238E27FC236}">
                <a16:creationId xmlns:a16="http://schemas.microsoft.com/office/drawing/2014/main" id="{26DB903A-60A5-4D90-AEAD-39A12047FD49}"/>
              </a:ext>
            </a:extLst>
          </p:cNvPr>
          <p:cNvCxnSpPr/>
          <p:nvPr/>
        </p:nvCxnSpPr>
        <p:spPr>
          <a:xfrm>
            <a:off x="5822514" y="1784339"/>
            <a:ext cx="0" cy="260350"/>
          </a:xfrm>
          <a:prstGeom prst="line">
            <a:avLst/>
          </a:prstGeom>
        </p:spPr>
        <p:style>
          <a:lnRef idx="1">
            <a:schemeClr val="accent1"/>
          </a:lnRef>
          <a:fillRef idx="0">
            <a:schemeClr val="accent1"/>
          </a:fillRef>
          <a:effectRef idx="0">
            <a:schemeClr val="accent1"/>
          </a:effectRef>
          <a:fontRef idx="minor">
            <a:schemeClr val="tx1"/>
          </a:fontRef>
        </p:style>
      </p:cxnSp>
      <p:sp>
        <p:nvSpPr>
          <p:cNvPr id="21" name="Prostokąt 20">
            <a:extLst>
              <a:ext uri="{FF2B5EF4-FFF2-40B4-BE49-F238E27FC236}">
                <a16:creationId xmlns:a16="http://schemas.microsoft.com/office/drawing/2014/main" id="{E33A406F-FA32-40BA-8FBA-5E50EC85ABFE}"/>
              </a:ext>
            </a:extLst>
          </p:cNvPr>
          <p:cNvSpPr/>
          <p:nvPr/>
        </p:nvSpPr>
        <p:spPr>
          <a:xfrm>
            <a:off x="5896178" y="427406"/>
            <a:ext cx="5473714" cy="302383"/>
          </a:xfrm>
          <a:prstGeom prst="rect">
            <a:avLst/>
          </a:prstGeom>
          <a:solidFill>
            <a:srgbClr val="007D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Arial"/>
                <a:ea typeface="+mn-ea"/>
                <a:cs typeface="+mn-cs"/>
              </a:rPr>
              <a:t>SME</a:t>
            </a:r>
          </a:p>
        </p:txBody>
      </p:sp>
      <p:sp>
        <p:nvSpPr>
          <p:cNvPr id="22" name="Prostokąt 21">
            <a:extLst>
              <a:ext uri="{FF2B5EF4-FFF2-40B4-BE49-F238E27FC236}">
                <a16:creationId xmlns:a16="http://schemas.microsoft.com/office/drawing/2014/main" id="{89909C11-F740-4308-A1AC-F463FE144955}"/>
              </a:ext>
            </a:extLst>
          </p:cNvPr>
          <p:cNvSpPr/>
          <p:nvPr/>
        </p:nvSpPr>
        <p:spPr>
          <a:xfrm>
            <a:off x="7020254" y="765592"/>
            <a:ext cx="4349633" cy="218688"/>
          </a:xfrm>
          <a:prstGeom prst="rect">
            <a:avLst/>
          </a:prstGeom>
          <a:noFill/>
          <a:ln w="19050">
            <a:solidFill>
              <a:srgbClr val="007D8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009597"/>
                </a:solidFill>
                <a:effectLst/>
                <a:uLnTx/>
                <a:uFillTx/>
                <a:latin typeface="Arial"/>
                <a:ea typeface="+mn-ea"/>
                <a:cs typeface="+mn-cs"/>
              </a:rPr>
              <a:t>SME SALES NETWORK</a:t>
            </a:r>
            <a:endParaRPr kumimoji="0" lang="en-GB" sz="1050" b="0" i="0" u="none" strike="noStrike" kern="1200" cap="none" spc="0" normalizeH="0" baseline="0" noProof="0" dirty="0">
              <a:ln>
                <a:noFill/>
              </a:ln>
              <a:solidFill>
                <a:srgbClr val="009597"/>
              </a:solidFill>
              <a:effectLst/>
              <a:uLnTx/>
              <a:uFillTx/>
              <a:latin typeface="Arial"/>
              <a:ea typeface="+mn-ea"/>
              <a:cs typeface="+mn-cs"/>
            </a:endParaRPr>
          </a:p>
        </p:txBody>
      </p:sp>
      <p:sp>
        <p:nvSpPr>
          <p:cNvPr id="38" name="pole tekstowe 37">
            <a:extLst>
              <a:ext uri="{FF2B5EF4-FFF2-40B4-BE49-F238E27FC236}">
                <a16:creationId xmlns:a16="http://schemas.microsoft.com/office/drawing/2014/main" id="{5B5F0D0D-226C-4F8D-8C58-7A83BA518C8B}"/>
              </a:ext>
            </a:extLst>
          </p:cNvPr>
          <p:cNvSpPr txBox="1"/>
          <p:nvPr/>
        </p:nvSpPr>
        <p:spPr>
          <a:xfrm>
            <a:off x="3993149" y="1841853"/>
            <a:ext cx="77134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a:ea typeface="+mn-ea"/>
                <a:cs typeface="+mn-cs"/>
              </a:rPr>
              <a:t>100%</a:t>
            </a: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62" name="Prostokąt 61">
            <a:extLst>
              <a:ext uri="{FF2B5EF4-FFF2-40B4-BE49-F238E27FC236}">
                <a16:creationId xmlns:a16="http://schemas.microsoft.com/office/drawing/2014/main" id="{DABAEAFB-5F3F-45C2-B367-E8B197633B71}"/>
              </a:ext>
            </a:extLst>
          </p:cNvPr>
          <p:cNvSpPr/>
          <p:nvPr/>
        </p:nvSpPr>
        <p:spPr>
          <a:xfrm>
            <a:off x="565009" y="2052333"/>
            <a:ext cx="3813986" cy="273351"/>
          </a:xfrm>
          <a:prstGeom prst="rect">
            <a:avLst/>
          </a:prstGeom>
          <a:solidFill>
            <a:srgbClr val="81B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Arial"/>
                <a:ea typeface="+mn-ea"/>
                <a:cs typeface="+mn-cs"/>
              </a:rPr>
              <a:t>Overdraft JDG</a:t>
            </a: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63" name="Prostokąt 62">
            <a:extLst>
              <a:ext uri="{FF2B5EF4-FFF2-40B4-BE49-F238E27FC236}">
                <a16:creationId xmlns:a16="http://schemas.microsoft.com/office/drawing/2014/main" id="{F6D25C3A-D1A1-460B-B3F1-C7BDBD2C7156}"/>
              </a:ext>
            </a:extLst>
          </p:cNvPr>
          <p:cNvSpPr/>
          <p:nvPr/>
        </p:nvSpPr>
        <p:spPr>
          <a:xfrm>
            <a:off x="559375" y="2591128"/>
            <a:ext cx="3813986" cy="261063"/>
          </a:xfrm>
          <a:prstGeom prst="rect">
            <a:avLst/>
          </a:prstGeom>
          <a:solidFill>
            <a:srgbClr val="81B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Arial"/>
                <a:ea typeface="+mn-ea"/>
                <a:cs typeface="+mn-cs"/>
              </a:rPr>
              <a:t>Business loan JDG</a:t>
            </a: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64" name="Prostokąt 63">
            <a:extLst>
              <a:ext uri="{FF2B5EF4-FFF2-40B4-BE49-F238E27FC236}">
                <a16:creationId xmlns:a16="http://schemas.microsoft.com/office/drawing/2014/main" id="{B639B16C-3F50-4D58-8980-5178FA73403E}"/>
              </a:ext>
            </a:extLst>
          </p:cNvPr>
          <p:cNvSpPr/>
          <p:nvPr/>
        </p:nvSpPr>
        <p:spPr>
          <a:xfrm>
            <a:off x="5452676" y="1951109"/>
            <a:ext cx="1010553" cy="485593"/>
          </a:xfrm>
          <a:prstGeom prst="rect">
            <a:avLst/>
          </a:prstGeom>
          <a:solidFill>
            <a:srgbClr val="81B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FFFFFF"/>
                </a:solidFill>
                <a:effectLst/>
                <a:uLnTx/>
                <a:uFillTx/>
                <a:latin typeface="Arial"/>
                <a:ea typeface="+mn-ea"/>
                <a:cs typeface="+mn-cs"/>
              </a:rPr>
              <a:t>OVD renewal and increase</a:t>
            </a:r>
            <a:endParaRPr kumimoji="0" lang="en-GB" sz="900" b="1" i="0" u="none" strike="noStrike" kern="1200" cap="none" spc="0" normalizeH="0" baseline="0" noProof="0" dirty="0">
              <a:ln>
                <a:noFill/>
              </a:ln>
              <a:solidFill>
                <a:srgbClr val="FFFFFF"/>
              </a:solidFill>
              <a:effectLst/>
              <a:uLnTx/>
              <a:uFillTx/>
              <a:latin typeface="Arial"/>
              <a:ea typeface="+mn-ea"/>
              <a:cs typeface="+mn-cs"/>
            </a:endParaRPr>
          </a:p>
        </p:txBody>
      </p:sp>
      <p:sp>
        <p:nvSpPr>
          <p:cNvPr id="65" name="Prostokąt 64">
            <a:extLst>
              <a:ext uri="{FF2B5EF4-FFF2-40B4-BE49-F238E27FC236}">
                <a16:creationId xmlns:a16="http://schemas.microsoft.com/office/drawing/2014/main" id="{7C0BDA3B-3269-487C-9791-45FD4B5AF564}"/>
              </a:ext>
            </a:extLst>
          </p:cNvPr>
          <p:cNvSpPr/>
          <p:nvPr/>
        </p:nvSpPr>
        <p:spPr>
          <a:xfrm>
            <a:off x="2544959" y="4075254"/>
            <a:ext cx="2243348" cy="251781"/>
          </a:xfrm>
          <a:prstGeom prst="rect">
            <a:avLst/>
          </a:prstGeom>
          <a:solidFill>
            <a:srgbClr val="7E95A5"/>
          </a:solidFill>
          <a:ln>
            <a:solidFill>
              <a:srgbClr val="7E95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Arial"/>
                <a:ea typeface="+mn-ea"/>
                <a:cs typeface="+mn-cs"/>
              </a:rPr>
              <a:t>Disbursement automation in ProCA</a:t>
            </a:r>
          </a:p>
        </p:txBody>
      </p:sp>
      <p:sp>
        <p:nvSpPr>
          <p:cNvPr id="66" name="Prostokąt 65">
            <a:extLst>
              <a:ext uri="{FF2B5EF4-FFF2-40B4-BE49-F238E27FC236}">
                <a16:creationId xmlns:a16="http://schemas.microsoft.com/office/drawing/2014/main" id="{D2B935CE-17B9-423D-989F-0C228F9D2041}"/>
              </a:ext>
            </a:extLst>
          </p:cNvPr>
          <p:cNvSpPr/>
          <p:nvPr/>
        </p:nvSpPr>
        <p:spPr>
          <a:xfrm>
            <a:off x="5865026" y="3124697"/>
            <a:ext cx="2999101" cy="395887"/>
          </a:xfrm>
          <a:prstGeom prst="rect">
            <a:avLst/>
          </a:prstGeom>
          <a:solidFill>
            <a:schemeClr val="accent5">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Arial"/>
                <a:ea typeface="+mn-ea"/>
                <a:cs typeface="+mn-cs"/>
              </a:rPr>
              <a:t>Business Loan for SME (civil and personal copartnerships)</a:t>
            </a: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67" name="Prostokąt 66">
            <a:extLst>
              <a:ext uri="{FF2B5EF4-FFF2-40B4-BE49-F238E27FC236}">
                <a16:creationId xmlns:a16="http://schemas.microsoft.com/office/drawing/2014/main" id="{9752741E-A810-44ED-8F0C-6EE496C9FE06}"/>
              </a:ext>
            </a:extLst>
          </p:cNvPr>
          <p:cNvSpPr/>
          <p:nvPr/>
        </p:nvSpPr>
        <p:spPr>
          <a:xfrm>
            <a:off x="5840471" y="2675579"/>
            <a:ext cx="2999102" cy="361703"/>
          </a:xfrm>
          <a:prstGeom prst="rect">
            <a:avLst/>
          </a:prstGeom>
          <a:solidFill>
            <a:schemeClr val="accent5">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Arial"/>
                <a:ea typeface="+mn-ea"/>
                <a:cs typeface="+mn-cs"/>
              </a:rPr>
              <a:t>OVD for SME (civil and personal copartnerships)</a:t>
            </a: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68" name="Prostokąt 67">
            <a:extLst>
              <a:ext uri="{FF2B5EF4-FFF2-40B4-BE49-F238E27FC236}">
                <a16:creationId xmlns:a16="http://schemas.microsoft.com/office/drawing/2014/main" id="{F4FD5280-03D2-4401-B2B0-FA71BD51649C}"/>
              </a:ext>
            </a:extLst>
          </p:cNvPr>
          <p:cNvSpPr/>
          <p:nvPr/>
        </p:nvSpPr>
        <p:spPr>
          <a:xfrm>
            <a:off x="8900912" y="3024355"/>
            <a:ext cx="2369832" cy="364486"/>
          </a:xfrm>
          <a:prstGeom prst="rect">
            <a:avLst/>
          </a:prstGeom>
          <a:solidFill>
            <a:schemeClr val="accent5">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Arial"/>
                <a:ea typeface="+mn-ea"/>
                <a:cs typeface="+mn-cs"/>
              </a:rPr>
              <a:t>Investment Loan</a:t>
            </a:r>
            <a:br>
              <a:rPr kumimoji="0" lang="en-GB" sz="1200" b="1" i="0" u="none" strike="noStrike" kern="1200" cap="none" spc="0" normalizeH="0" baseline="0" noProof="0">
                <a:ln>
                  <a:noFill/>
                </a:ln>
                <a:solidFill>
                  <a:srgbClr val="FFFFFF"/>
                </a:solidFill>
                <a:effectLst/>
                <a:uLnTx/>
                <a:uFillTx/>
                <a:latin typeface="Arial"/>
                <a:ea typeface="+mn-ea"/>
                <a:cs typeface="+mn-cs"/>
              </a:rPr>
            </a:br>
            <a:r>
              <a:rPr kumimoji="0" lang="en-GB" sz="1200" b="1" i="0" u="none" strike="noStrike" kern="1200" cap="none" spc="0" normalizeH="0" baseline="0" noProof="0">
                <a:ln>
                  <a:noFill/>
                </a:ln>
                <a:solidFill>
                  <a:srgbClr val="FFFFFF"/>
                </a:solidFill>
                <a:effectLst/>
                <a:uLnTx/>
                <a:uFillTx/>
                <a:latin typeface="Arial"/>
                <a:ea typeface="+mn-ea"/>
                <a:cs typeface="+mn-cs"/>
              </a:rPr>
              <a:t>(secured loans) - MVP</a:t>
            </a: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69" name="Prostokąt 68">
            <a:extLst>
              <a:ext uri="{FF2B5EF4-FFF2-40B4-BE49-F238E27FC236}">
                <a16:creationId xmlns:a16="http://schemas.microsoft.com/office/drawing/2014/main" id="{62B78B51-7685-47C1-8C4E-518299B57E68}"/>
              </a:ext>
            </a:extLst>
          </p:cNvPr>
          <p:cNvSpPr/>
          <p:nvPr/>
        </p:nvSpPr>
        <p:spPr>
          <a:xfrm>
            <a:off x="5844343" y="4954071"/>
            <a:ext cx="2962359" cy="230888"/>
          </a:xfrm>
          <a:prstGeom prst="rect">
            <a:avLst/>
          </a:prstGeom>
          <a:solidFill>
            <a:srgbClr val="009597"/>
          </a:solidFill>
          <a:ln>
            <a:solidFill>
              <a:srgbClr val="0095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a:ea typeface="+mn-ea"/>
                <a:cs typeface="+mn-cs"/>
              </a:rPr>
              <a:t>BBC BL for Preapproved in mobile</a:t>
            </a: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72" name="Prostokąt 71">
            <a:extLst>
              <a:ext uri="{FF2B5EF4-FFF2-40B4-BE49-F238E27FC236}">
                <a16:creationId xmlns:a16="http://schemas.microsoft.com/office/drawing/2014/main" id="{F6EAFDEF-835B-40B2-A70B-637458A85148}"/>
              </a:ext>
            </a:extLst>
          </p:cNvPr>
          <p:cNvSpPr/>
          <p:nvPr/>
        </p:nvSpPr>
        <p:spPr>
          <a:xfrm>
            <a:off x="154139" y="6375509"/>
            <a:ext cx="2821817" cy="261063"/>
          </a:xfrm>
          <a:prstGeom prst="rect">
            <a:avLst/>
          </a:prstGeom>
          <a:solidFill>
            <a:srgbClr val="81B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a:ea typeface="+mn-ea"/>
                <a:cs typeface="+mn-cs"/>
              </a:rPr>
              <a:t>New product coverage in ProCA</a:t>
            </a: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79" name="Prostokąt 78">
            <a:extLst>
              <a:ext uri="{FF2B5EF4-FFF2-40B4-BE49-F238E27FC236}">
                <a16:creationId xmlns:a16="http://schemas.microsoft.com/office/drawing/2014/main" id="{C57F18A7-6C7A-4656-9F87-7910899DA856}"/>
              </a:ext>
            </a:extLst>
          </p:cNvPr>
          <p:cNvSpPr/>
          <p:nvPr/>
        </p:nvSpPr>
        <p:spPr>
          <a:xfrm>
            <a:off x="5036464" y="3964712"/>
            <a:ext cx="722158" cy="506748"/>
          </a:xfrm>
          <a:prstGeom prst="rect">
            <a:avLst/>
          </a:prstGeom>
          <a:solidFill>
            <a:srgbClr val="7E95A5"/>
          </a:solidFill>
          <a:ln>
            <a:solidFill>
              <a:srgbClr val="7E95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FFFFFF"/>
                </a:solidFill>
                <a:effectLst/>
                <a:uLnTx/>
                <a:uFillTx/>
                <a:latin typeface="Arial"/>
                <a:ea typeface="+mn-ea"/>
                <a:cs typeface="+mn-cs"/>
              </a:rPr>
              <a:t>Integration with CEIDG</a:t>
            </a:r>
          </a:p>
        </p:txBody>
      </p:sp>
      <p:sp>
        <p:nvSpPr>
          <p:cNvPr id="80" name="Trójkąt równoramienny 79">
            <a:extLst>
              <a:ext uri="{FF2B5EF4-FFF2-40B4-BE49-F238E27FC236}">
                <a16:creationId xmlns:a16="http://schemas.microsoft.com/office/drawing/2014/main" id="{2C63E569-E6FE-4C1A-A216-4480FCF9D849}"/>
              </a:ext>
            </a:extLst>
          </p:cNvPr>
          <p:cNvSpPr/>
          <p:nvPr/>
        </p:nvSpPr>
        <p:spPr>
          <a:xfrm>
            <a:off x="4148264" y="2089625"/>
            <a:ext cx="235698" cy="206618"/>
          </a:xfrm>
          <a:prstGeom prst="triangle">
            <a:avLst/>
          </a:prstGeom>
          <a:solidFill>
            <a:srgbClr val="FFE600"/>
          </a:solidFill>
          <a:ln>
            <a:solidFill>
              <a:srgbClr val="FFE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82" name="Trójkąt równoramienny 81">
            <a:extLst>
              <a:ext uri="{FF2B5EF4-FFF2-40B4-BE49-F238E27FC236}">
                <a16:creationId xmlns:a16="http://schemas.microsoft.com/office/drawing/2014/main" id="{DDD39995-D092-49A5-8A69-245C9CF89777}"/>
              </a:ext>
            </a:extLst>
          </p:cNvPr>
          <p:cNvSpPr/>
          <p:nvPr/>
        </p:nvSpPr>
        <p:spPr>
          <a:xfrm>
            <a:off x="6228953" y="2218022"/>
            <a:ext cx="235698" cy="206618"/>
          </a:xfrm>
          <a:prstGeom prst="triangle">
            <a:avLst/>
          </a:prstGeom>
          <a:solidFill>
            <a:srgbClr val="FFE600"/>
          </a:solidFill>
          <a:ln>
            <a:solidFill>
              <a:srgbClr val="FFE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cxnSp>
        <p:nvCxnSpPr>
          <p:cNvPr id="85" name="Łącznik prosty 84">
            <a:extLst>
              <a:ext uri="{FF2B5EF4-FFF2-40B4-BE49-F238E27FC236}">
                <a16:creationId xmlns:a16="http://schemas.microsoft.com/office/drawing/2014/main" id="{2991ED12-C4A5-454A-974A-FDA1E3D59C4B}"/>
              </a:ext>
            </a:extLst>
          </p:cNvPr>
          <p:cNvCxnSpPr/>
          <p:nvPr/>
        </p:nvCxnSpPr>
        <p:spPr>
          <a:xfrm>
            <a:off x="57150" y="6223000"/>
            <a:ext cx="12052300" cy="101600"/>
          </a:xfrm>
          <a:prstGeom prst="line">
            <a:avLst/>
          </a:prstGeom>
        </p:spPr>
        <p:style>
          <a:lnRef idx="1">
            <a:schemeClr val="accent1"/>
          </a:lnRef>
          <a:fillRef idx="0">
            <a:schemeClr val="accent1"/>
          </a:fillRef>
          <a:effectRef idx="0">
            <a:schemeClr val="accent1"/>
          </a:effectRef>
          <a:fontRef idx="minor">
            <a:schemeClr val="tx1"/>
          </a:fontRef>
        </p:style>
      </p:cxnSp>
      <p:sp>
        <p:nvSpPr>
          <p:cNvPr id="87" name="Prostokąt 86">
            <a:extLst>
              <a:ext uri="{FF2B5EF4-FFF2-40B4-BE49-F238E27FC236}">
                <a16:creationId xmlns:a16="http://schemas.microsoft.com/office/drawing/2014/main" id="{11EC4752-A3A0-431B-951A-902A04065303}"/>
              </a:ext>
            </a:extLst>
          </p:cNvPr>
          <p:cNvSpPr/>
          <p:nvPr/>
        </p:nvSpPr>
        <p:spPr>
          <a:xfrm>
            <a:off x="8971489" y="3992419"/>
            <a:ext cx="1411815" cy="309938"/>
          </a:xfrm>
          <a:prstGeom prst="rect">
            <a:avLst/>
          </a:prstGeom>
          <a:noFill/>
          <a:ln w="19050">
            <a:solidFill>
              <a:srgbClr val="0095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a:ea typeface="+mn-ea"/>
                <a:cs typeface="+mn-cs"/>
              </a:rPr>
              <a:t>Price negotiation</a:t>
            </a:r>
            <a:endParaRPr kumimoji="0" lang="en-GB"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89" name="pole tekstowe 88">
            <a:extLst>
              <a:ext uri="{FF2B5EF4-FFF2-40B4-BE49-F238E27FC236}">
                <a16:creationId xmlns:a16="http://schemas.microsoft.com/office/drawing/2014/main" id="{2CBB55DF-FC27-40CC-939A-19DB5A89844B}"/>
              </a:ext>
            </a:extLst>
          </p:cNvPr>
          <p:cNvSpPr txBox="1"/>
          <p:nvPr/>
        </p:nvSpPr>
        <p:spPr>
          <a:xfrm>
            <a:off x="1738247" y="1856858"/>
            <a:ext cx="66675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a:ea typeface="+mn-ea"/>
                <a:cs typeface="+mn-cs"/>
              </a:rPr>
              <a:t>20%</a:t>
            </a: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48" name="Trójkąt równoramienny 47">
            <a:extLst>
              <a:ext uri="{FF2B5EF4-FFF2-40B4-BE49-F238E27FC236}">
                <a16:creationId xmlns:a16="http://schemas.microsoft.com/office/drawing/2014/main" id="{80ABD5D6-6D3A-44D8-B8EC-48EB277976F0}"/>
              </a:ext>
            </a:extLst>
          </p:cNvPr>
          <p:cNvSpPr/>
          <p:nvPr/>
        </p:nvSpPr>
        <p:spPr>
          <a:xfrm>
            <a:off x="1812296" y="2083273"/>
            <a:ext cx="235698" cy="206618"/>
          </a:xfrm>
          <a:prstGeom prst="triangle">
            <a:avLst/>
          </a:prstGeom>
          <a:solidFill>
            <a:srgbClr val="FFE600"/>
          </a:solidFill>
          <a:ln>
            <a:solidFill>
              <a:srgbClr val="FFE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50" name="Trójkąt równoramienny 49">
            <a:extLst>
              <a:ext uri="{FF2B5EF4-FFF2-40B4-BE49-F238E27FC236}">
                <a16:creationId xmlns:a16="http://schemas.microsoft.com/office/drawing/2014/main" id="{18AFD385-2997-42FD-BD86-5E48D4F2E5F1}"/>
              </a:ext>
            </a:extLst>
          </p:cNvPr>
          <p:cNvSpPr/>
          <p:nvPr/>
        </p:nvSpPr>
        <p:spPr>
          <a:xfrm>
            <a:off x="2935128" y="2083273"/>
            <a:ext cx="235698" cy="206618"/>
          </a:xfrm>
          <a:prstGeom prst="triangle">
            <a:avLst/>
          </a:prstGeom>
          <a:solidFill>
            <a:srgbClr val="FFE600"/>
          </a:solidFill>
          <a:ln>
            <a:solidFill>
              <a:srgbClr val="FFE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51" name="Trójkąt równoramienny 50">
            <a:extLst>
              <a:ext uri="{FF2B5EF4-FFF2-40B4-BE49-F238E27FC236}">
                <a16:creationId xmlns:a16="http://schemas.microsoft.com/office/drawing/2014/main" id="{F2E83ABB-167F-4190-AA94-A04249F089B1}"/>
              </a:ext>
            </a:extLst>
          </p:cNvPr>
          <p:cNvSpPr/>
          <p:nvPr/>
        </p:nvSpPr>
        <p:spPr>
          <a:xfrm>
            <a:off x="2334591" y="2627180"/>
            <a:ext cx="235698" cy="206618"/>
          </a:xfrm>
          <a:prstGeom prst="triangle">
            <a:avLst/>
          </a:prstGeom>
          <a:solidFill>
            <a:srgbClr val="FFE600"/>
          </a:solidFill>
          <a:ln>
            <a:solidFill>
              <a:srgbClr val="FFE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cxnSp>
        <p:nvCxnSpPr>
          <p:cNvPr id="5" name="Łącznik prosty 4">
            <a:extLst>
              <a:ext uri="{FF2B5EF4-FFF2-40B4-BE49-F238E27FC236}">
                <a16:creationId xmlns:a16="http://schemas.microsoft.com/office/drawing/2014/main" id="{958F1051-5C92-4C11-BD18-25778D20F726}"/>
              </a:ext>
            </a:extLst>
          </p:cNvPr>
          <p:cNvCxnSpPr/>
          <p:nvPr/>
        </p:nvCxnSpPr>
        <p:spPr>
          <a:xfrm flipH="1">
            <a:off x="3153460" y="2025662"/>
            <a:ext cx="46511" cy="4813311"/>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5" name="Łącznik prosty 54">
            <a:extLst>
              <a:ext uri="{FF2B5EF4-FFF2-40B4-BE49-F238E27FC236}">
                <a16:creationId xmlns:a16="http://schemas.microsoft.com/office/drawing/2014/main" id="{BA1C6FAD-9280-4B05-A241-D0941F99BC78}"/>
              </a:ext>
            </a:extLst>
          </p:cNvPr>
          <p:cNvCxnSpPr>
            <a:cxnSpLocks/>
          </p:cNvCxnSpPr>
          <p:nvPr/>
        </p:nvCxnSpPr>
        <p:spPr>
          <a:xfrm flipH="1">
            <a:off x="5769477" y="1736299"/>
            <a:ext cx="35654" cy="5094801"/>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6" name="Łącznik prosty 55">
            <a:extLst>
              <a:ext uri="{FF2B5EF4-FFF2-40B4-BE49-F238E27FC236}">
                <a16:creationId xmlns:a16="http://schemas.microsoft.com/office/drawing/2014/main" id="{67D5C274-1694-41BB-B2A4-9A5D0F32DD02}"/>
              </a:ext>
            </a:extLst>
          </p:cNvPr>
          <p:cNvCxnSpPr/>
          <p:nvPr/>
        </p:nvCxnSpPr>
        <p:spPr>
          <a:xfrm flipH="1">
            <a:off x="8828975" y="2034530"/>
            <a:ext cx="46511" cy="4813311"/>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7" name="pole tekstowe 56">
            <a:extLst>
              <a:ext uri="{FF2B5EF4-FFF2-40B4-BE49-F238E27FC236}">
                <a16:creationId xmlns:a16="http://schemas.microsoft.com/office/drawing/2014/main" id="{78346A28-CA4A-4ECA-B19B-F15DB9F96354}"/>
              </a:ext>
            </a:extLst>
          </p:cNvPr>
          <p:cNvSpPr txBox="1"/>
          <p:nvPr/>
        </p:nvSpPr>
        <p:spPr>
          <a:xfrm>
            <a:off x="2807975" y="1867547"/>
            <a:ext cx="66675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a:ea typeface="+mn-ea"/>
                <a:cs typeface="+mn-cs"/>
              </a:rPr>
              <a:t>80%</a:t>
            </a: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0" name="Prostokąt 9">
            <a:extLst>
              <a:ext uri="{FF2B5EF4-FFF2-40B4-BE49-F238E27FC236}">
                <a16:creationId xmlns:a16="http://schemas.microsoft.com/office/drawing/2014/main" id="{D7A7AD5D-47BF-4F7E-B5B8-72E1AC106C91}"/>
              </a:ext>
            </a:extLst>
          </p:cNvPr>
          <p:cNvSpPr/>
          <p:nvPr/>
        </p:nvSpPr>
        <p:spPr>
          <a:xfrm>
            <a:off x="1574455" y="3144660"/>
            <a:ext cx="1574038" cy="200013"/>
          </a:xfrm>
          <a:prstGeom prst="rect">
            <a:avLst/>
          </a:prstGeom>
          <a:solidFill>
            <a:schemeClr val="bg2"/>
          </a:solidFill>
          <a:ln>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a:ea typeface="+mn-ea"/>
                <a:cs typeface="+mn-cs"/>
              </a:rPr>
              <a:t>New Customer in ProCA</a:t>
            </a:r>
            <a:endParaRPr kumimoji="0" lang="en-GB"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58" name="Prostokąt 57">
            <a:extLst>
              <a:ext uri="{FF2B5EF4-FFF2-40B4-BE49-F238E27FC236}">
                <a16:creationId xmlns:a16="http://schemas.microsoft.com/office/drawing/2014/main" id="{143C5140-66C0-46C6-AE35-EB2476324E70}"/>
              </a:ext>
            </a:extLst>
          </p:cNvPr>
          <p:cNvSpPr/>
          <p:nvPr/>
        </p:nvSpPr>
        <p:spPr>
          <a:xfrm>
            <a:off x="1189271" y="3411369"/>
            <a:ext cx="1952079" cy="198066"/>
          </a:xfrm>
          <a:prstGeom prst="rect">
            <a:avLst/>
          </a:prstGeom>
          <a:solidFill>
            <a:schemeClr val="bg2"/>
          </a:solidFill>
          <a:ln>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a:ea typeface="+mn-ea"/>
                <a:cs typeface="+mn-cs"/>
              </a:rPr>
              <a:t>Other forms of accounting</a:t>
            </a:r>
            <a:endParaRPr kumimoji="0" lang="en-GB"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59" name="Prostokąt 58">
            <a:extLst>
              <a:ext uri="{FF2B5EF4-FFF2-40B4-BE49-F238E27FC236}">
                <a16:creationId xmlns:a16="http://schemas.microsoft.com/office/drawing/2014/main" id="{416EB61D-BDE1-4E88-B81B-6B94B2AFD116}"/>
              </a:ext>
            </a:extLst>
          </p:cNvPr>
          <p:cNvSpPr/>
          <p:nvPr/>
        </p:nvSpPr>
        <p:spPr>
          <a:xfrm>
            <a:off x="1189271" y="3690067"/>
            <a:ext cx="1939669" cy="219871"/>
          </a:xfrm>
          <a:prstGeom prst="rect">
            <a:avLst/>
          </a:prstGeom>
          <a:solidFill>
            <a:schemeClr val="bg2"/>
          </a:solidFill>
          <a:ln>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a:ea typeface="+mn-ea"/>
                <a:cs typeface="+mn-cs"/>
              </a:rPr>
              <a:t>Seasoning</a:t>
            </a:r>
            <a:endParaRPr kumimoji="0" lang="en-GB"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60" name="Prostokąt 59">
            <a:extLst>
              <a:ext uri="{FF2B5EF4-FFF2-40B4-BE49-F238E27FC236}">
                <a16:creationId xmlns:a16="http://schemas.microsoft.com/office/drawing/2014/main" id="{6EDD2891-226C-4C76-AB19-281C8F156A04}"/>
              </a:ext>
            </a:extLst>
          </p:cNvPr>
          <p:cNvSpPr/>
          <p:nvPr/>
        </p:nvSpPr>
        <p:spPr>
          <a:xfrm>
            <a:off x="550327" y="2860405"/>
            <a:ext cx="1952079" cy="231530"/>
          </a:xfrm>
          <a:prstGeom prst="rect">
            <a:avLst/>
          </a:prstGeom>
          <a:solidFill>
            <a:schemeClr val="bg2"/>
          </a:solidFill>
          <a:ln>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a:ea typeface="+mn-ea"/>
                <a:cs typeface="+mn-cs"/>
              </a:rPr>
              <a:t>Known customer JDG on KPiR</a:t>
            </a:r>
            <a:endParaRPr kumimoji="0" lang="en-GB"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61" name="Prostokąt 60">
            <a:extLst>
              <a:ext uri="{FF2B5EF4-FFF2-40B4-BE49-F238E27FC236}">
                <a16:creationId xmlns:a16="http://schemas.microsoft.com/office/drawing/2014/main" id="{FC9B5524-423F-4026-9417-9086E71D3B30}"/>
              </a:ext>
            </a:extLst>
          </p:cNvPr>
          <p:cNvSpPr/>
          <p:nvPr/>
        </p:nvSpPr>
        <p:spPr>
          <a:xfrm>
            <a:off x="2512773" y="2872147"/>
            <a:ext cx="1503538" cy="243897"/>
          </a:xfrm>
          <a:prstGeom prst="rect">
            <a:avLst/>
          </a:prstGeom>
          <a:noFill/>
          <a:ln>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a:ea typeface="+mn-ea"/>
                <a:cs typeface="+mn-cs"/>
              </a:rPr>
              <a:t>Additional income</a:t>
            </a:r>
            <a:endParaRPr kumimoji="0" lang="en-GB"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74" name="pole tekstowe 73">
            <a:extLst>
              <a:ext uri="{FF2B5EF4-FFF2-40B4-BE49-F238E27FC236}">
                <a16:creationId xmlns:a16="http://schemas.microsoft.com/office/drawing/2014/main" id="{66C9E965-0A90-4570-8B3B-6CF3EC9526FD}"/>
              </a:ext>
            </a:extLst>
          </p:cNvPr>
          <p:cNvSpPr txBox="1"/>
          <p:nvPr/>
        </p:nvSpPr>
        <p:spPr>
          <a:xfrm>
            <a:off x="3970966" y="2344665"/>
            <a:ext cx="77134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a:ea typeface="+mn-ea"/>
                <a:cs typeface="+mn-cs"/>
              </a:rPr>
              <a:t>100%</a:t>
            </a: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77" name="Trójkąt równoramienny 76">
            <a:extLst>
              <a:ext uri="{FF2B5EF4-FFF2-40B4-BE49-F238E27FC236}">
                <a16:creationId xmlns:a16="http://schemas.microsoft.com/office/drawing/2014/main" id="{55D3EBD6-3DA0-4B66-87F0-9ACD28C2B9BC}"/>
              </a:ext>
            </a:extLst>
          </p:cNvPr>
          <p:cNvSpPr/>
          <p:nvPr/>
        </p:nvSpPr>
        <p:spPr>
          <a:xfrm>
            <a:off x="4127487" y="2627723"/>
            <a:ext cx="235698" cy="206618"/>
          </a:xfrm>
          <a:prstGeom prst="triangle">
            <a:avLst/>
          </a:prstGeom>
          <a:solidFill>
            <a:srgbClr val="FFE600"/>
          </a:solidFill>
          <a:ln>
            <a:solidFill>
              <a:srgbClr val="FFE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78" name="Prostokąt 77">
            <a:extLst>
              <a:ext uri="{FF2B5EF4-FFF2-40B4-BE49-F238E27FC236}">
                <a16:creationId xmlns:a16="http://schemas.microsoft.com/office/drawing/2014/main" id="{06B26F27-E9AA-425F-B608-D512FBCB0F61}"/>
              </a:ext>
            </a:extLst>
          </p:cNvPr>
          <p:cNvSpPr/>
          <p:nvPr/>
        </p:nvSpPr>
        <p:spPr>
          <a:xfrm>
            <a:off x="3212082" y="3171573"/>
            <a:ext cx="581938" cy="227021"/>
          </a:xfrm>
          <a:prstGeom prst="rect">
            <a:avLst/>
          </a:prstGeom>
          <a:noFill/>
          <a:ln>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a:ea typeface="+mn-ea"/>
                <a:cs typeface="+mn-cs"/>
              </a:rPr>
              <a:t>Refinancing</a:t>
            </a:r>
          </a:p>
        </p:txBody>
      </p:sp>
      <p:sp>
        <p:nvSpPr>
          <p:cNvPr id="83" name="Prostokąt 82">
            <a:extLst>
              <a:ext uri="{FF2B5EF4-FFF2-40B4-BE49-F238E27FC236}">
                <a16:creationId xmlns:a16="http://schemas.microsoft.com/office/drawing/2014/main" id="{B2A6FDED-2C8D-4F3D-A385-13E1AAE85986}"/>
              </a:ext>
            </a:extLst>
          </p:cNvPr>
          <p:cNvSpPr/>
          <p:nvPr/>
        </p:nvSpPr>
        <p:spPr>
          <a:xfrm>
            <a:off x="4532297" y="3454768"/>
            <a:ext cx="1266847" cy="198491"/>
          </a:xfrm>
          <a:prstGeom prst="rect">
            <a:avLst/>
          </a:prstGeom>
          <a:noFill/>
          <a:ln>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a:ea typeface="+mn-ea"/>
                <a:cs typeface="+mn-cs"/>
              </a:rPr>
              <a:t>Financing for 1 day</a:t>
            </a:r>
          </a:p>
        </p:txBody>
      </p:sp>
      <p:sp>
        <p:nvSpPr>
          <p:cNvPr id="84" name="Trójkąt równoramienny 83">
            <a:extLst>
              <a:ext uri="{FF2B5EF4-FFF2-40B4-BE49-F238E27FC236}">
                <a16:creationId xmlns:a16="http://schemas.microsoft.com/office/drawing/2014/main" id="{7A699011-2186-461D-BAA4-29C385698C5B}"/>
              </a:ext>
            </a:extLst>
          </p:cNvPr>
          <p:cNvSpPr/>
          <p:nvPr/>
        </p:nvSpPr>
        <p:spPr>
          <a:xfrm>
            <a:off x="8575607" y="2825721"/>
            <a:ext cx="235698" cy="206618"/>
          </a:xfrm>
          <a:prstGeom prst="triangle">
            <a:avLst/>
          </a:prstGeom>
          <a:solidFill>
            <a:srgbClr val="FFE600"/>
          </a:solidFill>
          <a:ln>
            <a:solidFill>
              <a:srgbClr val="FFE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91" name="Trójkąt równoramienny 90">
            <a:extLst>
              <a:ext uri="{FF2B5EF4-FFF2-40B4-BE49-F238E27FC236}">
                <a16:creationId xmlns:a16="http://schemas.microsoft.com/office/drawing/2014/main" id="{384819C2-39EF-43B3-A1D3-F1963CC23022}"/>
              </a:ext>
            </a:extLst>
          </p:cNvPr>
          <p:cNvSpPr/>
          <p:nvPr/>
        </p:nvSpPr>
        <p:spPr>
          <a:xfrm>
            <a:off x="7170980" y="2832545"/>
            <a:ext cx="235698" cy="192969"/>
          </a:xfrm>
          <a:prstGeom prst="triangle">
            <a:avLst/>
          </a:prstGeom>
          <a:solidFill>
            <a:srgbClr val="FFE600"/>
          </a:solidFill>
          <a:ln>
            <a:solidFill>
              <a:srgbClr val="FFE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92" name="Trójkąt równoramienny 91">
            <a:extLst>
              <a:ext uri="{FF2B5EF4-FFF2-40B4-BE49-F238E27FC236}">
                <a16:creationId xmlns:a16="http://schemas.microsoft.com/office/drawing/2014/main" id="{42815456-CDD3-4A5B-A7DA-F68B9F5F2C0E}"/>
              </a:ext>
            </a:extLst>
          </p:cNvPr>
          <p:cNvSpPr/>
          <p:nvPr/>
        </p:nvSpPr>
        <p:spPr>
          <a:xfrm>
            <a:off x="11028845" y="3182223"/>
            <a:ext cx="230211" cy="206618"/>
          </a:xfrm>
          <a:prstGeom prst="triangle">
            <a:avLst/>
          </a:prstGeom>
          <a:solidFill>
            <a:srgbClr val="FFE600"/>
          </a:solidFill>
          <a:ln>
            <a:solidFill>
              <a:srgbClr val="FFE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93" name="Prostokąt 92">
            <a:extLst>
              <a:ext uri="{FF2B5EF4-FFF2-40B4-BE49-F238E27FC236}">
                <a16:creationId xmlns:a16="http://schemas.microsoft.com/office/drawing/2014/main" id="{5A5B56B7-EE04-4ACE-B696-209B10A9D619}"/>
              </a:ext>
            </a:extLst>
          </p:cNvPr>
          <p:cNvSpPr/>
          <p:nvPr/>
        </p:nvSpPr>
        <p:spPr>
          <a:xfrm>
            <a:off x="3191310" y="4949775"/>
            <a:ext cx="2548147" cy="225212"/>
          </a:xfrm>
          <a:prstGeom prst="rect">
            <a:avLst/>
          </a:prstGeom>
          <a:solidFill>
            <a:srgbClr val="009597"/>
          </a:solidFill>
          <a:ln>
            <a:solidFill>
              <a:srgbClr val="0095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FFFFFF"/>
                </a:solidFill>
                <a:effectLst/>
                <a:uLnTx/>
                <a:uFillTx/>
                <a:latin typeface="Arial"/>
                <a:ea typeface="+mn-ea"/>
                <a:cs typeface="+mn-cs"/>
              </a:rPr>
              <a:t>BBC OVD for Preapproved in mobile</a:t>
            </a:r>
            <a:endParaRPr kumimoji="0" lang="en-GB" sz="1100" b="0" i="0" u="none" strike="noStrike" kern="1200" cap="none" spc="0" normalizeH="0" baseline="0" noProof="0" dirty="0">
              <a:ln>
                <a:noFill/>
              </a:ln>
              <a:solidFill>
                <a:srgbClr val="FFFFFF"/>
              </a:solidFill>
              <a:effectLst/>
              <a:uLnTx/>
              <a:uFillTx/>
              <a:latin typeface="Arial"/>
              <a:ea typeface="+mn-ea"/>
              <a:cs typeface="+mn-cs"/>
            </a:endParaRPr>
          </a:p>
        </p:txBody>
      </p:sp>
      <p:sp>
        <p:nvSpPr>
          <p:cNvPr id="94" name="Prostokąt 93">
            <a:extLst>
              <a:ext uri="{FF2B5EF4-FFF2-40B4-BE49-F238E27FC236}">
                <a16:creationId xmlns:a16="http://schemas.microsoft.com/office/drawing/2014/main" id="{0AB7DA4F-E8C3-4EBA-A7C5-ED31EFA45BBD}"/>
              </a:ext>
            </a:extLst>
          </p:cNvPr>
          <p:cNvSpPr/>
          <p:nvPr/>
        </p:nvSpPr>
        <p:spPr>
          <a:xfrm>
            <a:off x="3210863" y="5251149"/>
            <a:ext cx="2494357" cy="372855"/>
          </a:xfrm>
          <a:prstGeom prst="rect">
            <a:avLst/>
          </a:prstGeom>
          <a:solidFill>
            <a:srgbClr val="009597"/>
          </a:solidFill>
          <a:ln>
            <a:solidFill>
              <a:srgbClr val="0095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Signing of credit application in </a:t>
            </a:r>
            <a:r>
              <a:rPr kumimoji="0" lang="en-GB" sz="1200" b="0" i="0" u="none" strike="noStrike" kern="1200" cap="none" spc="0" normalizeH="0" baseline="0" noProof="0" dirty="0" err="1">
                <a:ln>
                  <a:noFill/>
                </a:ln>
                <a:solidFill>
                  <a:srgbClr val="FFFFFF"/>
                </a:solidFill>
                <a:effectLst/>
                <a:uLnTx/>
                <a:uFillTx/>
                <a:latin typeface="Arial"/>
                <a:ea typeface="+mn-ea"/>
                <a:cs typeface="+mn-cs"/>
              </a:rPr>
              <a:t>eBank</a:t>
            </a:r>
            <a:r>
              <a:rPr kumimoji="0" lang="en-GB" sz="1200" b="0" i="0" u="none" strike="noStrike" kern="1200" cap="none" spc="0" normalizeH="0" baseline="0" noProof="0" dirty="0">
                <a:ln>
                  <a:noFill/>
                </a:ln>
                <a:solidFill>
                  <a:srgbClr val="FFFFFF"/>
                </a:solidFill>
                <a:effectLst/>
                <a:uLnTx/>
                <a:uFillTx/>
                <a:latin typeface="Arial"/>
                <a:ea typeface="+mn-ea"/>
                <a:cs typeface="+mn-cs"/>
              </a:rPr>
              <a:t> </a:t>
            </a:r>
          </a:p>
        </p:txBody>
      </p:sp>
      <p:sp>
        <p:nvSpPr>
          <p:cNvPr id="95" name="Prostokąt 94">
            <a:extLst>
              <a:ext uri="{FF2B5EF4-FFF2-40B4-BE49-F238E27FC236}">
                <a16:creationId xmlns:a16="http://schemas.microsoft.com/office/drawing/2014/main" id="{909AEA8D-7B2B-47DC-881A-43E64566E6B3}"/>
              </a:ext>
            </a:extLst>
          </p:cNvPr>
          <p:cNvSpPr/>
          <p:nvPr/>
        </p:nvSpPr>
        <p:spPr>
          <a:xfrm>
            <a:off x="3189895" y="5683428"/>
            <a:ext cx="1416137" cy="240809"/>
          </a:xfrm>
          <a:prstGeom prst="rect">
            <a:avLst/>
          </a:prstGeom>
          <a:solidFill>
            <a:srgbClr val="009597"/>
          </a:solidFill>
          <a:ln>
            <a:solidFill>
              <a:srgbClr val="0095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a:ea typeface="+mn-ea"/>
                <a:cs typeface="+mn-cs"/>
              </a:rPr>
              <a:t>Credit simulation</a:t>
            </a: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96" name="Prostokąt 95">
            <a:extLst>
              <a:ext uri="{FF2B5EF4-FFF2-40B4-BE49-F238E27FC236}">
                <a16:creationId xmlns:a16="http://schemas.microsoft.com/office/drawing/2014/main" id="{F5AD56E7-94A3-4AC5-960F-6E520DADF3B0}"/>
              </a:ext>
            </a:extLst>
          </p:cNvPr>
          <p:cNvSpPr/>
          <p:nvPr/>
        </p:nvSpPr>
        <p:spPr>
          <a:xfrm>
            <a:off x="3025076" y="6375509"/>
            <a:ext cx="1951055" cy="261063"/>
          </a:xfrm>
          <a:prstGeom prst="rect">
            <a:avLst/>
          </a:prstGeom>
          <a:solidFill>
            <a:srgbClr val="7E95A5"/>
          </a:solidFill>
          <a:ln>
            <a:solidFill>
              <a:srgbClr val="7E95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a:ea typeface="+mn-ea"/>
                <a:cs typeface="+mn-cs"/>
              </a:rPr>
              <a:t>Automation in ProCA</a:t>
            </a: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97" name="Prostokąt 96">
            <a:extLst>
              <a:ext uri="{FF2B5EF4-FFF2-40B4-BE49-F238E27FC236}">
                <a16:creationId xmlns:a16="http://schemas.microsoft.com/office/drawing/2014/main" id="{620F31F9-C65E-430F-8D21-01120EE4ED51}"/>
              </a:ext>
            </a:extLst>
          </p:cNvPr>
          <p:cNvSpPr/>
          <p:nvPr/>
        </p:nvSpPr>
        <p:spPr>
          <a:xfrm>
            <a:off x="5035242" y="6373376"/>
            <a:ext cx="2321775" cy="271481"/>
          </a:xfrm>
          <a:prstGeom prst="rect">
            <a:avLst/>
          </a:prstGeom>
          <a:solidFill>
            <a:srgbClr val="009597"/>
          </a:solidFill>
          <a:ln>
            <a:solidFill>
              <a:srgbClr val="0095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a:ea typeface="+mn-ea"/>
                <a:cs typeface="+mn-cs"/>
              </a:rPr>
              <a:t>Digitalization for client</a:t>
            </a: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98" name="Prostokąt 97">
            <a:extLst>
              <a:ext uri="{FF2B5EF4-FFF2-40B4-BE49-F238E27FC236}">
                <a16:creationId xmlns:a16="http://schemas.microsoft.com/office/drawing/2014/main" id="{626F0F29-E421-400A-9774-857B2AA743A8}"/>
              </a:ext>
            </a:extLst>
          </p:cNvPr>
          <p:cNvSpPr/>
          <p:nvPr/>
        </p:nvSpPr>
        <p:spPr>
          <a:xfrm>
            <a:off x="5838462" y="5286256"/>
            <a:ext cx="2945967" cy="286457"/>
          </a:xfrm>
          <a:prstGeom prst="rect">
            <a:avLst/>
          </a:prstGeom>
          <a:solidFill>
            <a:srgbClr val="009597"/>
          </a:solidFill>
          <a:ln>
            <a:solidFill>
              <a:srgbClr val="0095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a:ea typeface="+mn-ea"/>
                <a:cs typeface="+mn-cs"/>
              </a:rPr>
              <a:t>PB and OVD in Strefa Biznesu</a:t>
            </a: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99" name="Prostokąt 98">
            <a:extLst>
              <a:ext uri="{FF2B5EF4-FFF2-40B4-BE49-F238E27FC236}">
                <a16:creationId xmlns:a16="http://schemas.microsoft.com/office/drawing/2014/main" id="{84494C12-0660-4F15-AEB8-35FFE882F108}"/>
              </a:ext>
            </a:extLst>
          </p:cNvPr>
          <p:cNvSpPr/>
          <p:nvPr/>
        </p:nvSpPr>
        <p:spPr>
          <a:xfrm>
            <a:off x="5840526" y="5708200"/>
            <a:ext cx="2892446" cy="372855"/>
          </a:xfrm>
          <a:prstGeom prst="rect">
            <a:avLst/>
          </a:prstGeom>
          <a:solidFill>
            <a:srgbClr val="009597"/>
          </a:solidFill>
          <a:ln>
            <a:solidFill>
              <a:srgbClr val="0095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solidFill>
                <a:effectLst/>
                <a:uLnTx/>
                <a:uFillTx/>
                <a:latin typeface="Arial"/>
                <a:ea typeface="+mn-ea"/>
                <a:cs typeface="+mn-cs"/>
              </a:rPr>
              <a:t>Signing of </a:t>
            </a:r>
            <a:r>
              <a:rPr kumimoji="0" lang="pl-PL" sz="1050" b="0" i="0" u="none" strike="noStrike" kern="1200" cap="none" spc="0" normalizeH="0" baseline="0" noProof="0" dirty="0">
                <a:ln>
                  <a:noFill/>
                </a:ln>
                <a:solidFill>
                  <a:srgbClr val="FFFFFF"/>
                </a:solidFill>
                <a:effectLst/>
                <a:uLnTx/>
                <a:uFillTx/>
                <a:latin typeface="Arial"/>
                <a:ea typeface="+mn-ea"/>
                <a:cs typeface="+mn-cs"/>
              </a:rPr>
              <a:t>c</a:t>
            </a:r>
            <a:r>
              <a:rPr kumimoji="0" lang="en-GB" sz="1050" b="0" i="0" u="none" strike="noStrike" kern="1200" cap="none" spc="0" normalizeH="0" baseline="0" noProof="0" dirty="0" err="1">
                <a:ln>
                  <a:noFill/>
                </a:ln>
                <a:solidFill>
                  <a:srgbClr val="FFFFFF"/>
                </a:solidFill>
                <a:effectLst/>
                <a:uLnTx/>
                <a:uFillTx/>
                <a:latin typeface="Arial"/>
                <a:ea typeface="+mn-ea"/>
                <a:cs typeface="+mn-cs"/>
              </a:rPr>
              <a:t>redit</a:t>
            </a:r>
            <a:r>
              <a:rPr kumimoji="0" lang="en-GB" sz="1050" b="0" i="0" u="none" strike="noStrike" kern="1200" cap="none" spc="0" normalizeH="0" baseline="0" noProof="0" dirty="0">
                <a:ln>
                  <a:noFill/>
                </a:ln>
                <a:solidFill>
                  <a:srgbClr val="FFFFFF"/>
                </a:solidFill>
                <a:effectLst/>
                <a:uLnTx/>
                <a:uFillTx/>
                <a:latin typeface="Arial"/>
                <a:ea typeface="+mn-ea"/>
                <a:cs typeface="+mn-cs"/>
              </a:rPr>
              <a:t> agreement with spouse in </a:t>
            </a:r>
            <a:r>
              <a:rPr kumimoji="0" lang="en-GB" sz="1050" b="0" i="0" u="none" strike="noStrike" kern="1200" cap="none" spc="0" normalizeH="0" baseline="0" noProof="0" dirty="0" err="1">
                <a:ln>
                  <a:noFill/>
                </a:ln>
                <a:solidFill>
                  <a:srgbClr val="FFFFFF"/>
                </a:solidFill>
                <a:effectLst/>
                <a:uLnTx/>
                <a:uFillTx/>
                <a:latin typeface="Arial"/>
                <a:ea typeface="+mn-ea"/>
                <a:cs typeface="+mn-cs"/>
              </a:rPr>
              <a:t>eBank</a:t>
            </a:r>
            <a:r>
              <a:rPr kumimoji="0" lang="en-GB" sz="1050" b="0" i="0" u="none" strike="noStrike" kern="1200" cap="none" spc="0" normalizeH="0" baseline="0" noProof="0" dirty="0">
                <a:ln>
                  <a:noFill/>
                </a:ln>
                <a:solidFill>
                  <a:srgbClr val="FFFFFF"/>
                </a:solidFill>
                <a:effectLst/>
                <a:uLnTx/>
                <a:uFillTx/>
                <a:latin typeface="Arial"/>
                <a:ea typeface="+mn-ea"/>
                <a:cs typeface="+mn-cs"/>
              </a:rPr>
              <a:t>/mobile</a:t>
            </a:r>
          </a:p>
        </p:txBody>
      </p:sp>
      <p:sp>
        <p:nvSpPr>
          <p:cNvPr id="100" name="Prostokąt 99">
            <a:extLst>
              <a:ext uri="{FF2B5EF4-FFF2-40B4-BE49-F238E27FC236}">
                <a16:creationId xmlns:a16="http://schemas.microsoft.com/office/drawing/2014/main" id="{C8CA71F4-01CA-4C3D-8C4E-E668EC85B6F8}"/>
              </a:ext>
            </a:extLst>
          </p:cNvPr>
          <p:cNvSpPr/>
          <p:nvPr/>
        </p:nvSpPr>
        <p:spPr>
          <a:xfrm>
            <a:off x="7429288" y="6375508"/>
            <a:ext cx="1411815" cy="261064"/>
          </a:xfrm>
          <a:prstGeom prst="rect">
            <a:avLst/>
          </a:prstGeom>
          <a:noFill/>
          <a:ln w="19050">
            <a:solidFill>
              <a:srgbClr val="0095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a:ea typeface="+mn-ea"/>
                <a:cs typeface="+mn-cs"/>
              </a:rPr>
              <a:t>New tools</a:t>
            </a:r>
            <a:endParaRPr kumimoji="0" lang="en-GB"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70" name="Prostokąt 69">
            <a:extLst>
              <a:ext uri="{FF2B5EF4-FFF2-40B4-BE49-F238E27FC236}">
                <a16:creationId xmlns:a16="http://schemas.microsoft.com/office/drawing/2014/main" id="{C7C86A09-852E-4D59-A732-AD3DA4D43E42}"/>
              </a:ext>
            </a:extLst>
          </p:cNvPr>
          <p:cNvSpPr/>
          <p:nvPr/>
        </p:nvSpPr>
        <p:spPr>
          <a:xfrm>
            <a:off x="4518313" y="3693791"/>
            <a:ext cx="1283773" cy="173193"/>
          </a:xfrm>
          <a:prstGeom prst="rect">
            <a:avLst/>
          </a:prstGeom>
          <a:noFill/>
          <a:ln>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a:ea typeface="+mn-ea"/>
                <a:cs typeface="+mn-cs"/>
              </a:rPr>
              <a:t>Professionalists</a:t>
            </a:r>
            <a:endParaRPr kumimoji="0" lang="en-GB"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71" name="Prostokąt 70">
            <a:extLst>
              <a:ext uri="{FF2B5EF4-FFF2-40B4-BE49-F238E27FC236}">
                <a16:creationId xmlns:a16="http://schemas.microsoft.com/office/drawing/2014/main" id="{794AFC61-72BF-468E-9D54-58C4C2AB5690}"/>
              </a:ext>
            </a:extLst>
          </p:cNvPr>
          <p:cNvSpPr/>
          <p:nvPr/>
        </p:nvSpPr>
        <p:spPr>
          <a:xfrm>
            <a:off x="8910826" y="1966573"/>
            <a:ext cx="2999101" cy="395887"/>
          </a:xfrm>
          <a:prstGeom prst="rect">
            <a:avLst/>
          </a:prstGeom>
          <a:solidFill>
            <a:schemeClr val="accent5">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Arial"/>
                <a:ea typeface="+mn-ea"/>
                <a:cs typeface="+mn-cs"/>
              </a:rPr>
              <a:t>Business Loan for SME (capital corporations) and flow for SMEs</a:t>
            </a: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73" name="Prostokąt 72">
            <a:extLst>
              <a:ext uri="{FF2B5EF4-FFF2-40B4-BE49-F238E27FC236}">
                <a16:creationId xmlns:a16="http://schemas.microsoft.com/office/drawing/2014/main" id="{BE095913-2B2F-482F-B5D6-B07B39D9BF94}"/>
              </a:ext>
            </a:extLst>
          </p:cNvPr>
          <p:cNvSpPr/>
          <p:nvPr/>
        </p:nvSpPr>
        <p:spPr>
          <a:xfrm>
            <a:off x="8910826" y="2446871"/>
            <a:ext cx="2999102" cy="361703"/>
          </a:xfrm>
          <a:prstGeom prst="rect">
            <a:avLst/>
          </a:prstGeom>
          <a:solidFill>
            <a:schemeClr val="accent5">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Arial"/>
                <a:ea typeface="+mn-ea"/>
                <a:cs typeface="+mn-cs"/>
              </a:rPr>
              <a:t>OVD for SME (capital corporations)</a:t>
            </a:r>
            <a:br>
              <a:rPr kumimoji="0" lang="en-GB" sz="1200" b="1" i="0" u="none" strike="noStrike" kern="1200" cap="none" spc="0" normalizeH="0" baseline="0" noProof="0">
                <a:ln>
                  <a:noFill/>
                </a:ln>
                <a:solidFill>
                  <a:srgbClr val="FFFFFF"/>
                </a:solidFill>
                <a:effectLst/>
                <a:uLnTx/>
                <a:uFillTx/>
                <a:latin typeface="Arial"/>
                <a:ea typeface="+mn-ea"/>
                <a:cs typeface="+mn-cs"/>
              </a:rPr>
            </a:br>
            <a:r>
              <a:rPr kumimoji="0" lang="en-GB" sz="1200" b="1" i="0" u="none" strike="noStrike" kern="1200" cap="none" spc="0" normalizeH="0" baseline="0" noProof="0">
                <a:ln>
                  <a:noFill/>
                </a:ln>
                <a:solidFill>
                  <a:srgbClr val="FFFFFF"/>
                </a:solidFill>
                <a:effectLst/>
                <a:uLnTx/>
                <a:uFillTx/>
                <a:latin typeface="Arial"/>
                <a:ea typeface="+mn-ea"/>
                <a:cs typeface="+mn-cs"/>
              </a:rPr>
              <a:t>and flow for SMEs</a:t>
            </a: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81" name="Prostokąt 80">
            <a:extLst>
              <a:ext uri="{FF2B5EF4-FFF2-40B4-BE49-F238E27FC236}">
                <a16:creationId xmlns:a16="http://schemas.microsoft.com/office/drawing/2014/main" id="{AE2A47BB-85EF-4242-88AC-80D2B919CD04}"/>
              </a:ext>
            </a:extLst>
          </p:cNvPr>
          <p:cNvSpPr/>
          <p:nvPr/>
        </p:nvSpPr>
        <p:spPr>
          <a:xfrm>
            <a:off x="8899743" y="4968347"/>
            <a:ext cx="2962359" cy="230888"/>
          </a:xfrm>
          <a:prstGeom prst="rect">
            <a:avLst/>
          </a:prstGeom>
          <a:solidFill>
            <a:srgbClr val="009597"/>
          </a:solidFill>
          <a:ln>
            <a:solidFill>
              <a:srgbClr val="0095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Pre-approved limit </a:t>
            </a:r>
            <a:r>
              <a:rPr kumimoji="0" lang="en-GB" sz="1200" b="0" i="0" u="none" strike="noStrike" kern="1200" cap="none" spc="0" normalizeH="0" baseline="0" noProof="0" dirty="0" err="1">
                <a:ln>
                  <a:noFill/>
                </a:ln>
                <a:solidFill>
                  <a:srgbClr val="FFFFFF"/>
                </a:solidFill>
                <a:effectLst/>
                <a:uLnTx/>
                <a:uFillTx/>
                <a:latin typeface="Arial"/>
                <a:ea typeface="+mn-ea"/>
                <a:cs typeface="+mn-cs"/>
              </a:rPr>
              <a:t>managments</a:t>
            </a: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90" name="Prostokąt 89">
            <a:extLst>
              <a:ext uri="{FF2B5EF4-FFF2-40B4-BE49-F238E27FC236}">
                <a16:creationId xmlns:a16="http://schemas.microsoft.com/office/drawing/2014/main" id="{CBD6F467-9FF0-4077-BF0E-7BC0EE257E87}"/>
              </a:ext>
            </a:extLst>
          </p:cNvPr>
          <p:cNvSpPr/>
          <p:nvPr/>
        </p:nvSpPr>
        <p:spPr>
          <a:xfrm>
            <a:off x="8971489" y="3573367"/>
            <a:ext cx="1411815" cy="309938"/>
          </a:xfrm>
          <a:prstGeom prst="rect">
            <a:avLst/>
          </a:prstGeom>
          <a:noFill/>
          <a:ln w="19050">
            <a:solidFill>
              <a:srgbClr val="0095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a:ea typeface="+mn-ea"/>
                <a:cs typeface="+mn-cs"/>
              </a:rPr>
              <a:t>Revenues-based assessment</a:t>
            </a:r>
            <a:endParaRPr kumimoji="0" lang="en-GB"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88" name="Trójkąt równoramienny 87">
            <a:extLst>
              <a:ext uri="{FF2B5EF4-FFF2-40B4-BE49-F238E27FC236}">
                <a16:creationId xmlns:a16="http://schemas.microsoft.com/office/drawing/2014/main" id="{EF60DAF7-B305-47BD-BCDF-B68D63451877}"/>
              </a:ext>
            </a:extLst>
          </p:cNvPr>
          <p:cNvSpPr/>
          <p:nvPr/>
        </p:nvSpPr>
        <p:spPr>
          <a:xfrm>
            <a:off x="8635949" y="3313645"/>
            <a:ext cx="235698" cy="192969"/>
          </a:xfrm>
          <a:prstGeom prst="triangle">
            <a:avLst/>
          </a:prstGeom>
          <a:solidFill>
            <a:srgbClr val="FFE600"/>
          </a:solidFill>
          <a:ln>
            <a:solidFill>
              <a:srgbClr val="FFE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101" name="Trójkąt równoramienny 100">
            <a:extLst>
              <a:ext uri="{FF2B5EF4-FFF2-40B4-BE49-F238E27FC236}">
                <a16:creationId xmlns:a16="http://schemas.microsoft.com/office/drawing/2014/main" id="{F58D772A-3220-4943-A854-594C2958FF79}"/>
              </a:ext>
            </a:extLst>
          </p:cNvPr>
          <p:cNvSpPr/>
          <p:nvPr/>
        </p:nvSpPr>
        <p:spPr>
          <a:xfrm>
            <a:off x="7862603" y="3313645"/>
            <a:ext cx="235698" cy="192969"/>
          </a:xfrm>
          <a:prstGeom prst="triangle">
            <a:avLst/>
          </a:prstGeom>
          <a:solidFill>
            <a:srgbClr val="FFE600"/>
          </a:solidFill>
          <a:ln>
            <a:solidFill>
              <a:srgbClr val="FFE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102" name="Trójkąt równoramienny 101">
            <a:extLst>
              <a:ext uri="{FF2B5EF4-FFF2-40B4-BE49-F238E27FC236}">
                <a16:creationId xmlns:a16="http://schemas.microsoft.com/office/drawing/2014/main" id="{832A8BC4-338D-4B96-84B9-5A824177E3DF}"/>
              </a:ext>
            </a:extLst>
          </p:cNvPr>
          <p:cNvSpPr/>
          <p:nvPr/>
        </p:nvSpPr>
        <p:spPr>
          <a:xfrm>
            <a:off x="11650825" y="2591128"/>
            <a:ext cx="235698" cy="192969"/>
          </a:xfrm>
          <a:prstGeom prst="triangle">
            <a:avLst/>
          </a:prstGeom>
          <a:solidFill>
            <a:srgbClr val="FFE600"/>
          </a:solidFill>
          <a:ln>
            <a:solidFill>
              <a:srgbClr val="FFE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104" name="Trójkąt równoramienny 103">
            <a:extLst>
              <a:ext uri="{FF2B5EF4-FFF2-40B4-BE49-F238E27FC236}">
                <a16:creationId xmlns:a16="http://schemas.microsoft.com/office/drawing/2014/main" id="{C25F1756-75BA-40A8-9BBD-1A24AA63FDE3}"/>
              </a:ext>
            </a:extLst>
          </p:cNvPr>
          <p:cNvSpPr/>
          <p:nvPr/>
        </p:nvSpPr>
        <p:spPr>
          <a:xfrm>
            <a:off x="11674229" y="2152389"/>
            <a:ext cx="235698" cy="192969"/>
          </a:xfrm>
          <a:prstGeom prst="triangle">
            <a:avLst/>
          </a:prstGeom>
          <a:solidFill>
            <a:srgbClr val="FFE600"/>
          </a:solidFill>
          <a:ln>
            <a:solidFill>
              <a:srgbClr val="FFE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cxnSp>
        <p:nvCxnSpPr>
          <p:cNvPr id="107" name="Łącznik prosty 106">
            <a:extLst>
              <a:ext uri="{FF2B5EF4-FFF2-40B4-BE49-F238E27FC236}">
                <a16:creationId xmlns:a16="http://schemas.microsoft.com/office/drawing/2014/main" id="{3E7E8D4E-0D1B-4D8A-B41F-6E54A99FDADA}"/>
              </a:ext>
            </a:extLst>
          </p:cNvPr>
          <p:cNvCxnSpPr>
            <a:cxnSpLocks/>
          </p:cNvCxnSpPr>
          <p:nvPr/>
        </p:nvCxnSpPr>
        <p:spPr>
          <a:xfrm flipH="1">
            <a:off x="6420657" y="1618576"/>
            <a:ext cx="52791" cy="5239424"/>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 name="Dymek mowy: prostokąt z zaokrąglonymi rogami 3">
            <a:extLst>
              <a:ext uri="{FF2B5EF4-FFF2-40B4-BE49-F238E27FC236}">
                <a16:creationId xmlns:a16="http://schemas.microsoft.com/office/drawing/2014/main" id="{C99BA207-EFD1-49F1-A7E8-F56ADA9BC974}"/>
              </a:ext>
            </a:extLst>
          </p:cNvPr>
          <p:cNvSpPr/>
          <p:nvPr/>
        </p:nvSpPr>
        <p:spPr>
          <a:xfrm>
            <a:off x="7218982" y="1059785"/>
            <a:ext cx="1975330" cy="532055"/>
          </a:xfrm>
          <a:prstGeom prst="wedgeRoundRectCallout">
            <a:avLst>
              <a:gd name="adj1" fmla="val -86841"/>
              <a:gd name="adj2" fmla="val 153791"/>
              <a:gd name="adj3" fmla="val 16667"/>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Arial"/>
                <a:ea typeface="+mn-ea"/>
                <a:cs typeface="+mn-cs"/>
              </a:rPr>
              <a:t>Delivery of full scope for SOHO</a:t>
            </a:r>
          </a:p>
        </p:txBody>
      </p:sp>
      <p:sp>
        <p:nvSpPr>
          <p:cNvPr id="27" name="Prostokąt 26">
            <a:extLst>
              <a:ext uri="{FF2B5EF4-FFF2-40B4-BE49-F238E27FC236}">
                <a16:creationId xmlns:a16="http://schemas.microsoft.com/office/drawing/2014/main" id="{E45FC2CC-472F-80B9-5F41-06D74BB32CD8}"/>
              </a:ext>
            </a:extLst>
          </p:cNvPr>
          <p:cNvSpPr/>
          <p:nvPr/>
        </p:nvSpPr>
        <p:spPr>
          <a:xfrm>
            <a:off x="5888729" y="3667680"/>
            <a:ext cx="1973874" cy="374272"/>
          </a:xfrm>
          <a:prstGeom prst="rect">
            <a:avLst/>
          </a:prstGeom>
          <a:solidFill>
            <a:srgbClr val="81B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err="1">
                <a:ln>
                  <a:noFill/>
                </a:ln>
                <a:solidFill>
                  <a:srgbClr val="FFFFFF"/>
                </a:solidFill>
                <a:effectLst/>
                <a:uLnTx/>
                <a:uFillTx/>
                <a:latin typeface="Arial"/>
                <a:ea typeface="+mn-ea"/>
                <a:cs typeface="+mn-cs"/>
              </a:rPr>
              <a:t>Pre-approved</a:t>
            </a:r>
            <a:r>
              <a:rPr kumimoji="0" lang="pl-PL" sz="1200" b="0" i="0" u="none" strike="noStrike" kern="1200" cap="none" spc="0" normalizeH="0" baseline="0" noProof="0" dirty="0">
                <a:ln>
                  <a:noFill/>
                </a:ln>
                <a:solidFill>
                  <a:srgbClr val="FFFFFF"/>
                </a:solidFill>
                <a:effectLst/>
                <a:uLnTx/>
                <a:uFillTx/>
                <a:latin typeface="Arial"/>
                <a:ea typeface="+mn-ea"/>
                <a:cs typeface="+mn-cs"/>
              </a:rPr>
              <a:t> for investment </a:t>
            </a:r>
            <a:r>
              <a:rPr kumimoji="0" lang="pl-PL" sz="1200" b="0" i="0" u="none" strike="noStrike" kern="1200" cap="none" spc="0" normalizeH="0" baseline="0" noProof="0" dirty="0" err="1">
                <a:ln>
                  <a:noFill/>
                </a:ln>
                <a:solidFill>
                  <a:srgbClr val="FFFFFF"/>
                </a:solidFill>
                <a:effectLst/>
                <a:uLnTx/>
                <a:uFillTx/>
                <a:latin typeface="Arial"/>
                <a:ea typeface="+mn-ea"/>
                <a:cs typeface="+mn-cs"/>
              </a:rPr>
              <a:t>loan</a:t>
            </a: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3" name="Prostokąt 2">
            <a:extLst>
              <a:ext uri="{FF2B5EF4-FFF2-40B4-BE49-F238E27FC236}">
                <a16:creationId xmlns:a16="http://schemas.microsoft.com/office/drawing/2014/main" id="{72B2AE94-FC7D-05A3-CEAF-554F05F3375B}"/>
              </a:ext>
            </a:extLst>
          </p:cNvPr>
          <p:cNvSpPr/>
          <p:nvPr/>
        </p:nvSpPr>
        <p:spPr>
          <a:xfrm>
            <a:off x="4894114" y="4549193"/>
            <a:ext cx="864508" cy="331607"/>
          </a:xfrm>
          <a:prstGeom prst="rect">
            <a:avLst/>
          </a:prstGeom>
          <a:solidFill>
            <a:srgbClr val="7E95A5"/>
          </a:solidFill>
          <a:ln>
            <a:solidFill>
              <a:srgbClr val="7E95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FFFFFF"/>
                </a:solidFill>
                <a:effectLst/>
                <a:uLnTx/>
                <a:uFillTx/>
                <a:latin typeface="Arial"/>
                <a:ea typeface="+mn-ea"/>
                <a:cs typeface="+mn-cs"/>
              </a:rPr>
              <a:t>Integration with</a:t>
            </a:r>
            <a:r>
              <a:rPr kumimoji="0" lang="pl-PL" sz="900" b="0" i="0" u="none" strike="noStrike" kern="1200" cap="none" spc="0" normalizeH="0" baseline="0" noProof="0" dirty="0">
                <a:ln>
                  <a:noFill/>
                </a:ln>
                <a:solidFill>
                  <a:srgbClr val="FFFFFF"/>
                </a:solidFill>
                <a:effectLst/>
                <a:uLnTx/>
                <a:uFillTx/>
                <a:latin typeface="Arial"/>
                <a:ea typeface="+mn-ea"/>
                <a:cs typeface="+mn-cs"/>
              </a:rPr>
              <a:t> </a:t>
            </a:r>
            <a:r>
              <a:rPr kumimoji="0" lang="pl-PL" sz="900" b="0" i="0" u="none" strike="noStrike" kern="1200" cap="none" spc="0" normalizeH="0" baseline="0" noProof="0" dirty="0" err="1">
                <a:ln>
                  <a:noFill/>
                </a:ln>
                <a:solidFill>
                  <a:srgbClr val="FFFFFF"/>
                </a:solidFill>
                <a:effectLst/>
                <a:uLnTx/>
                <a:uFillTx/>
                <a:latin typeface="Arial"/>
                <a:ea typeface="+mn-ea"/>
                <a:cs typeface="+mn-cs"/>
              </a:rPr>
              <a:t>Nuxeo</a:t>
            </a:r>
            <a:endParaRPr kumimoji="0" lang="en-GB" sz="900" b="0" i="0" u="none" strike="noStrike" kern="1200" cap="none" spc="0" normalizeH="0" baseline="0" noProof="0" dirty="0">
              <a:ln>
                <a:noFill/>
              </a:ln>
              <a:solidFill>
                <a:srgbClr val="FFFFFF"/>
              </a:solidFill>
              <a:effectLst/>
              <a:uLnTx/>
              <a:uFillTx/>
              <a:latin typeface="Arial"/>
              <a:ea typeface="+mn-ea"/>
              <a:cs typeface="+mn-cs"/>
            </a:endParaRPr>
          </a:p>
        </p:txBody>
      </p:sp>
      <p:sp>
        <p:nvSpPr>
          <p:cNvPr id="28" name="Prostokąt 27">
            <a:extLst>
              <a:ext uri="{FF2B5EF4-FFF2-40B4-BE49-F238E27FC236}">
                <a16:creationId xmlns:a16="http://schemas.microsoft.com/office/drawing/2014/main" id="{6FD93BAC-DEA9-7B8E-F9A7-616D16F96920}"/>
              </a:ext>
            </a:extLst>
          </p:cNvPr>
          <p:cNvSpPr/>
          <p:nvPr/>
        </p:nvSpPr>
        <p:spPr>
          <a:xfrm>
            <a:off x="5888729" y="4146660"/>
            <a:ext cx="1973874" cy="374272"/>
          </a:xfrm>
          <a:prstGeom prst="rect">
            <a:avLst/>
          </a:prstGeom>
          <a:solidFill>
            <a:srgbClr val="81B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err="1">
                <a:ln>
                  <a:noFill/>
                </a:ln>
                <a:solidFill>
                  <a:srgbClr val="FFFFFF"/>
                </a:solidFill>
                <a:effectLst/>
                <a:uLnTx/>
                <a:uFillTx/>
                <a:latin typeface="Arial"/>
                <a:ea typeface="+mn-ea"/>
                <a:cs typeface="+mn-cs"/>
              </a:rPr>
              <a:t>Credit</a:t>
            </a:r>
            <a:r>
              <a:rPr kumimoji="0" lang="pl-PL" sz="1200" b="0" i="0" u="none" strike="noStrike" kern="1200" cap="none" spc="0" normalizeH="0" baseline="0" noProof="0" dirty="0">
                <a:ln>
                  <a:noFill/>
                </a:ln>
                <a:solidFill>
                  <a:srgbClr val="FFFFFF"/>
                </a:solidFill>
                <a:effectLst/>
                <a:uLnTx/>
                <a:uFillTx/>
                <a:latin typeface="Arial"/>
                <a:ea typeface="+mn-ea"/>
                <a:cs typeface="+mn-cs"/>
              </a:rPr>
              <a:t> </a:t>
            </a:r>
            <a:r>
              <a:rPr kumimoji="0" lang="pl-PL" sz="1200" b="0" i="0" u="none" strike="noStrike" kern="1200" cap="none" spc="0" normalizeH="0" baseline="0" noProof="0" dirty="0" err="1">
                <a:ln>
                  <a:noFill/>
                </a:ln>
                <a:solidFill>
                  <a:srgbClr val="FFFFFF"/>
                </a:solidFill>
                <a:effectLst/>
                <a:uLnTx/>
                <a:uFillTx/>
                <a:latin typeface="Arial"/>
                <a:ea typeface="+mn-ea"/>
                <a:cs typeface="+mn-cs"/>
              </a:rPr>
              <a:t>simulation</a:t>
            </a:r>
            <a:r>
              <a:rPr kumimoji="0" lang="pl-PL" sz="1200" b="0" i="0" u="none" strike="noStrike" kern="1200" cap="none" spc="0" normalizeH="0" baseline="0" noProof="0" dirty="0">
                <a:ln>
                  <a:noFill/>
                </a:ln>
                <a:solidFill>
                  <a:srgbClr val="FFFFFF"/>
                </a:solidFill>
                <a:effectLst/>
                <a:uLnTx/>
                <a:uFillTx/>
                <a:latin typeface="Arial"/>
                <a:ea typeface="+mn-ea"/>
                <a:cs typeface="+mn-cs"/>
              </a:rPr>
              <a:t> in </a:t>
            </a:r>
            <a:r>
              <a:rPr kumimoji="0" lang="pl-PL" sz="1200" b="0" i="0" u="none" strike="noStrike" kern="1200" cap="none" spc="0" normalizeH="0" baseline="0" noProof="0" dirty="0" err="1">
                <a:ln>
                  <a:noFill/>
                </a:ln>
                <a:solidFill>
                  <a:srgbClr val="FFFFFF"/>
                </a:solidFill>
                <a:effectLst/>
                <a:uLnTx/>
                <a:uFillTx/>
                <a:latin typeface="Arial"/>
                <a:ea typeface="+mn-ea"/>
                <a:cs typeface="+mn-cs"/>
              </a:rPr>
              <a:t>ProCA</a:t>
            </a: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3803880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2" name="Łącznik prosty 21">
            <a:extLst>
              <a:ext uri="{FF2B5EF4-FFF2-40B4-BE49-F238E27FC236}">
                <a16:creationId xmlns:a16="http://schemas.microsoft.com/office/drawing/2014/main" id="{6F675330-A04E-4E99-BE17-F3EC74A92BDA}"/>
              </a:ext>
            </a:extLst>
          </p:cNvPr>
          <p:cNvCxnSpPr>
            <a:cxnSpLocks/>
          </p:cNvCxnSpPr>
          <p:nvPr/>
        </p:nvCxnSpPr>
        <p:spPr>
          <a:xfrm>
            <a:off x="5666964" y="684546"/>
            <a:ext cx="0" cy="5676490"/>
          </a:xfrm>
          <a:prstGeom prst="line">
            <a:avLst/>
          </a:prstGeom>
          <a:ln w="19050"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5" name="Prostokąt 4">
            <a:extLst>
              <a:ext uri="{FF2B5EF4-FFF2-40B4-BE49-F238E27FC236}">
                <a16:creationId xmlns:a16="http://schemas.microsoft.com/office/drawing/2014/main" id="{2F16B605-135D-46AF-86AA-5077388AEDA8}"/>
              </a:ext>
            </a:extLst>
          </p:cNvPr>
          <p:cNvSpPr/>
          <p:nvPr/>
        </p:nvSpPr>
        <p:spPr>
          <a:xfrm>
            <a:off x="11041961" y="2684385"/>
            <a:ext cx="1088587" cy="856648"/>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600" b="1" i="0" u="none" strike="noStrike" kern="1200" cap="none" spc="0" normalizeH="0" baseline="0" noProof="0" dirty="0">
                <a:ln>
                  <a:noFill/>
                </a:ln>
                <a:solidFill>
                  <a:schemeClr val="tx1"/>
                </a:solidFill>
                <a:effectLst/>
                <a:uLnTx/>
                <a:uFillTx/>
                <a:latin typeface="Trebuchet MS"/>
                <a:ea typeface="+mn-ea"/>
                <a:cs typeface="+mn-cs"/>
              </a:rPr>
              <a:t>Strategic </a:t>
            </a:r>
            <a:r>
              <a:rPr kumimoji="0" lang="pl-PL" sz="1600" b="1" i="0" u="none" strike="noStrike" kern="1200" cap="none" spc="0" normalizeH="0" baseline="0" noProof="0" dirty="0" err="1">
                <a:ln>
                  <a:noFill/>
                </a:ln>
                <a:solidFill>
                  <a:schemeClr val="tx1"/>
                </a:solidFill>
                <a:effectLst/>
                <a:uLnTx/>
                <a:uFillTx/>
                <a:latin typeface="Trebuchet MS"/>
                <a:ea typeface="+mn-ea"/>
                <a:cs typeface="+mn-cs"/>
              </a:rPr>
              <a:t>goals</a:t>
            </a:r>
            <a:endParaRPr kumimoji="0" lang="pl-PL" sz="1600" b="1" i="0" u="none" strike="noStrike" kern="1200" cap="none" spc="0" normalizeH="0" baseline="0" noProof="0" dirty="0">
              <a:ln>
                <a:noFill/>
              </a:ln>
              <a:solidFill>
                <a:schemeClr val="tx1"/>
              </a:solidFill>
              <a:effectLst/>
              <a:uLnTx/>
              <a:uFillTx/>
              <a:latin typeface="Trebuchet MS"/>
              <a:ea typeface="+mn-ea"/>
              <a:cs typeface="+mn-cs"/>
            </a:endParaRPr>
          </a:p>
        </p:txBody>
      </p:sp>
      <p:cxnSp>
        <p:nvCxnSpPr>
          <p:cNvPr id="8" name="Łącznik prosty ze strzałką 7">
            <a:extLst>
              <a:ext uri="{FF2B5EF4-FFF2-40B4-BE49-F238E27FC236}">
                <a16:creationId xmlns:a16="http://schemas.microsoft.com/office/drawing/2014/main" id="{239E87A2-2362-4A45-88E2-217AEFCBA7D2}"/>
              </a:ext>
            </a:extLst>
          </p:cNvPr>
          <p:cNvCxnSpPr>
            <a:cxnSpLocks/>
            <a:stCxn id="6" idx="3"/>
            <a:endCxn id="5" idx="1"/>
          </p:cNvCxnSpPr>
          <p:nvPr/>
        </p:nvCxnSpPr>
        <p:spPr>
          <a:xfrm flipV="1">
            <a:off x="1076761" y="3112709"/>
            <a:ext cx="9965200" cy="19353"/>
          </a:xfrm>
          <a:prstGeom prst="straightConnector1">
            <a:avLst/>
          </a:prstGeom>
          <a:ln w="5715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9" name="Prostokąt 8">
            <a:extLst>
              <a:ext uri="{FF2B5EF4-FFF2-40B4-BE49-F238E27FC236}">
                <a16:creationId xmlns:a16="http://schemas.microsoft.com/office/drawing/2014/main" id="{FAB63CA0-3E99-482C-B746-15E64D61078A}"/>
              </a:ext>
            </a:extLst>
          </p:cNvPr>
          <p:cNvSpPr/>
          <p:nvPr/>
        </p:nvSpPr>
        <p:spPr>
          <a:xfrm>
            <a:off x="4984059" y="2000991"/>
            <a:ext cx="3055759" cy="1025086"/>
          </a:xfrm>
          <a:prstGeom prst="rect">
            <a:avLst/>
          </a:prstGeom>
          <a:solidFill>
            <a:schemeClr val="tx2">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srgbClr val="FFFFFF"/>
                </a:solidFill>
                <a:effectLst/>
                <a:uLnTx/>
                <a:uFillTx/>
                <a:latin typeface="Trebuchet MS"/>
                <a:ea typeface="+mn-ea"/>
                <a:cs typeface="+mn-cs"/>
              </a:rPr>
              <a:t>Contact </a:t>
            </a:r>
            <a:r>
              <a:rPr kumimoji="0" lang="pl-PL" sz="1200" b="0" i="0" u="none" strike="noStrike" kern="1200" cap="none" spc="0" normalizeH="0" baseline="0" noProof="0" dirty="0" err="1">
                <a:ln>
                  <a:noFill/>
                </a:ln>
                <a:solidFill>
                  <a:srgbClr val="FFFFFF"/>
                </a:solidFill>
                <a:effectLst/>
                <a:uLnTx/>
                <a:uFillTx/>
                <a:latin typeface="Trebuchet MS"/>
                <a:ea typeface="+mn-ea"/>
                <a:cs typeface="+mn-cs"/>
              </a:rPr>
              <a:t>channels</a:t>
            </a:r>
            <a:r>
              <a:rPr kumimoji="0" lang="pl-PL" sz="1200" b="0" i="0" u="none" strike="noStrike" kern="1200" cap="none" spc="0" normalizeH="0" baseline="0" noProof="0" dirty="0">
                <a:ln>
                  <a:noFill/>
                </a:ln>
                <a:solidFill>
                  <a:srgbClr val="FFFFFF"/>
                </a:solidFill>
                <a:effectLst/>
                <a:uLnTx/>
                <a:uFillTx/>
                <a:latin typeface="Trebuchet MS"/>
                <a:ea typeface="+mn-ea"/>
                <a:cs typeface="+mn-cs"/>
              </a:rPr>
              <a:t> / </a:t>
            </a:r>
            <a:r>
              <a:rPr kumimoji="0" lang="pl-PL" sz="1200" b="0" i="0" u="none" strike="noStrike" kern="1200" cap="none" spc="0" normalizeH="0" baseline="0" noProof="0" dirty="0" err="1">
                <a:ln>
                  <a:noFill/>
                </a:ln>
                <a:solidFill>
                  <a:srgbClr val="FFFFFF"/>
                </a:solidFill>
                <a:effectLst/>
                <a:uLnTx/>
                <a:uFillTx/>
                <a:latin typeface="Trebuchet MS"/>
                <a:ea typeface="+mn-ea"/>
                <a:cs typeface="+mn-cs"/>
              </a:rPr>
              <a:t>omnichannel</a:t>
            </a:r>
            <a:r>
              <a:rPr kumimoji="0" lang="pl-PL" sz="1200" b="0" i="0" u="none" strike="noStrike" kern="1200" cap="none" spc="0" normalizeH="0" baseline="0" noProof="0" dirty="0">
                <a:ln>
                  <a:noFill/>
                </a:ln>
                <a:solidFill>
                  <a:srgbClr val="FFFFFF"/>
                </a:solidFill>
                <a:effectLst/>
                <a:uLnTx/>
                <a:uFillTx/>
                <a:latin typeface="Trebuchet MS"/>
                <a:ea typeface="+mn-ea"/>
                <a:cs typeface="+mn-cs"/>
              </a:rPr>
              <a:t> </a:t>
            </a:r>
            <a:r>
              <a:rPr kumimoji="0" lang="pl-PL" sz="1200" b="0" i="0" u="none" strike="noStrike" kern="1200" cap="none" spc="0" normalizeH="0" baseline="0" noProof="0" dirty="0" err="1">
                <a:ln>
                  <a:noFill/>
                </a:ln>
                <a:solidFill>
                  <a:srgbClr val="FFFFFF"/>
                </a:solidFill>
                <a:effectLst/>
                <a:uLnTx/>
                <a:uFillTx/>
                <a:latin typeface="Trebuchet MS"/>
                <a:ea typeface="+mn-ea"/>
                <a:cs typeface="+mn-cs"/>
              </a:rPr>
              <a:t>strategy</a:t>
            </a:r>
            <a:endParaRPr kumimoji="0" lang="pl-PL"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10" name="Strzałka: w prawo 9">
            <a:extLst>
              <a:ext uri="{FF2B5EF4-FFF2-40B4-BE49-F238E27FC236}">
                <a16:creationId xmlns:a16="http://schemas.microsoft.com/office/drawing/2014/main" id="{A44B28EB-BF24-42AB-9309-288242941BA9}"/>
              </a:ext>
            </a:extLst>
          </p:cNvPr>
          <p:cNvSpPr/>
          <p:nvPr/>
        </p:nvSpPr>
        <p:spPr>
          <a:xfrm>
            <a:off x="1331050" y="846773"/>
            <a:ext cx="9305041" cy="642477"/>
          </a:xfrm>
          <a:prstGeom prst="rightArrow">
            <a:avLst/>
          </a:prstGeom>
          <a:solidFill>
            <a:srgbClr val="00B05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srgbClr val="FFFFFF"/>
                </a:solidFill>
                <a:effectLst/>
                <a:uLnTx/>
                <a:uFillTx/>
                <a:latin typeface="Trebuchet MS"/>
                <a:ea typeface="+mn-ea"/>
                <a:cs typeface="+mn-cs"/>
              </a:rPr>
              <a:t>           </a:t>
            </a:r>
            <a:r>
              <a:rPr kumimoji="0" lang="pl-PL" sz="1200" b="0" i="0" u="none" strike="noStrike" kern="1200" cap="none" spc="0" normalizeH="0" baseline="0" noProof="0" dirty="0" err="1">
                <a:ln>
                  <a:noFill/>
                </a:ln>
                <a:solidFill>
                  <a:srgbClr val="FFFFFF"/>
                </a:solidFill>
                <a:effectLst/>
                <a:uLnTx/>
                <a:uFillTx/>
                <a:latin typeface="Trebuchet MS"/>
                <a:ea typeface="+mn-ea"/>
                <a:cs typeface="+mn-cs"/>
              </a:rPr>
              <a:t>Customer</a:t>
            </a:r>
            <a:r>
              <a:rPr kumimoji="0" lang="pl-PL" sz="1200" b="0" i="0" u="none" strike="noStrike" kern="1200" cap="none" spc="0" normalizeH="0" baseline="0" noProof="0" dirty="0">
                <a:ln>
                  <a:noFill/>
                </a:ln>
                <a:solidFill>
                  <a:srgbClr val="FFFFFF"/>
                </a:solidFill>
                <a:effectLst/>
                <a:uLnTx/>
                <a:uFillTx/>
                <a:latin typeface="Trebuchet MS"/>
                <a:ea typeface="+mn-ea"/>
                <a:cs typeface="+mn-cs"/>
              </a:rPr>
              <a:t> </a:t>
            </a:r>
            <a:r>
              <a:rPr kumimoji="0" lang="pl-PL" sz="1200" b="0" i="0" u="none" strike="noStrike" kern="1200" cap="none" spc="0" normalizeH="0" baseline="0" noProof="0" dirty="0" err="1">
                <a:ln>
                  <a:noFill/>
                </a:ln>
                <a:solidFill>
                  <a:srgbClr val="FFFFFF"/>
                </a:solidFill>
                <a:effectLst/>
                <a:uLnTx/>
                <a:uFillTx/>
                <a:latin typeface="Trebuchet MS"/>
                <a:ea typeface="+mn-ea"/>
                <a:cs typeface="+mn-cs"/>
              </a:rPr>
              <a:t>needs</a:t>
            </a:r>
            <a:r>
              <a:rPr kumimoji="0" lang="pl-PL" sz="1200" b="0" i="0" u="none" strike="noStrike" kern="1200" cap="none" spc="0" normalizeH="0" baseline="0" noProof="0" dirty="0">
                <a:ln>
                  <a:noFill/>
                </a:ln>
                <a:solidFill>
                  <a:srgbClr val="FFFFFF"/>
                </a:solidFill>
                <a:effectLst/>
                <a:uLnTx/>
                <a:uFillTx/>
                <a:latin typeface="Trebuchet MS"/>
                <a:ea typeface="+mn-ea"/>
                <a:cs typeface="+mn-cs"/>
              </a:rPr>
              <a:t> </a:t>
            </a:r>
            <a:r>
              <a:rPr kumimoji="0" lang="pl-PL" sz="1200" b="0" i="0" u="none" strike="noStrike" kern="1200" cap="none" spc="0" normalizeH="0" baseline="0" noProof="0" dirty="0" err="1">
                <a:ln>
                  <a:noFill/>
                </a:ln>
                <a:solidFill>
                  <a:srgbClr val="FFFFFF"/>
                </a:solidFill>
                <a:effectLst/>
                <a:uLnTx/>
                <a:uFillTx/>
                <a:latin typeface="Trebuchet MS"/>
                <a:ea typeface="+mn-ea"/>
                <a:cs typeface="+mn-cs"/>
              </a:rPr>
              <a:t>changing</a:t>
            </a:r>
            <a:r>
              <a:rPr kumimoji="0" lang="pl-PL" sz="1200" b="0" i="0" u="none" strike="noStrike" kern="1200" cap="none" spc="0" normalizeH="0" baseline="0" noProof="0" dirty="0">
                <a:ln>
                  <a:noFill/>
                </a:ln>
                <a:solidFill>
                  <a:srgbClr val="FFFFFF"/>
                </a:solidFill>
                <a:effectLst/>
                <a:uLnTx/>
                <a:uFillTx/>
                <a:latin typeface="Trebuchet MS"/>
                <a:ea typeface="+mn-ea"/>
                <a:cs typeface="+mn-cs"/>
              </a:rPr>
              <a:t> </a:t>
            </a:r>
          </a:p>
        </p:txBody>
      </p:sp>
      <p:sp>
        <p:nvSpPr>
          <p:cNvPr id="16" name="Prostokąt 15">
            <a:extLst>
              <a:ext uri="{FF2B5EF4-FFF2-40B4-BE49-F238E27FC236}">
                <a16:creationId xmlns:a16="http://schemas.microsoft.com/office/drawing/2014/main" id="{9623781A-E942-4503-8D6F-A4C79888115D}"/>
              </a:ext>
            </a:extLst>
          </p:cNvPr>
          <p:cNvSpPr/>
          <p:nvPr/>
        </p:nvSpPr>
        <p:spPr>
          <a:xfrm>
            <a:off x="3290047" y="3237831"/>
            <a:ext cx="7023315" cy="330122"/>
          </a:xfrm>
          <a:prstGeom prst="rect">
            <a:avLst/>
          </a:prstGeom>
          <a:solidFill>
            <a:schemeClr val="tx2">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err="1">
                <a:ln>
                  <a:noFill/>
                </a:ln>
                <a:solidFill>
                  <a:srgbClr val="FFFFFF"/>
                </a:solidFill>
                <a:effectLst/>
                <a:uLnTx/>
                <a:uFillTx/>
                <a:latin typeface="Trebuchet MS"/>
                <a:ea typeface="+mn-ea"/>
                <a:cs typeface="+mn-cs"/>
              </a:rPr>
              <a:t>Traffic</a:t>
            </a:r>
            <a:r>
              <a:rPr kumimoji="0" lang="pl-PL" sz="1200" b="0" i="0" u="none" strike="noStrike" kern="1200" cap="none" spc="0" normalizeH="0" baseline="0" noProof="0" dirty="0">
                <a:ln>
                  <a:noFill/>
                </a:ln>
                <a:solidFill>
                  <a:srgbClr val="FFFFFF"/>
                </a:solidFill>
                <a:effectLst/>
                <a:uLnTx/>
                <a:uFillTx/>
                <a:latin typeface="Trebuchet MS"/>
                <a:ea typeface="+mn-ea"/>
                <a:cs typeface="+mn-cs"/>
              </a:rPr>
              <a:t> </a:t>
            </a:r>
            <a:r>
              <a:rPr kumimoji="0" lang="pl-PL" sz="1200" b="0" i="0" u="none" strike="noStrike" kern="1200" cap="none" spc="0" normalizeH="0" baseline="0" noProof="0" dirty="0" err="1">
                <a:ln>
                  <a:noFill/>
                </a:ln>
                <a:solidFill>
                  <a:srgbClr val="FFFFFF"/>
                </a:solidFill>
                <a:effectLst/>
                <a:uLnTx/>
                <a:uFillTx/>
                <a:latin typeface="Trebuchet MS"/>
                <a:ea typeface="+mn-ea"/>
                <a:cs typeface="+mn-cs"/>
              </a:rPr>
              <a:t>orchestration</a:t>
            </a:r>
            <a:endParaRPr kumimoji="0" lang="pl-PL"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23" name="Prostokąt 22">
            <a:extLst>
              <a:ext uri="{FF2B5EF4-FFF2-40B4-BE49-F238E27FC236}">
                <a16:creationId xmlns:a16="http://schemas.microsoft.com/office/drawing/2014/main" id="{ED4254C6-E3DE-4DCA-A30C-F8067E703484}"/>
              </a:ext>
            </a:extLst>
          </p:cNvPr>
          <p:cNvSpPr/>
          <p:nvPr/>
        </p:nvSpPr>
        <p:spPr>
          <a:xfrm>
            <a:off x="8107308" y="2461639"/>
            <a:ext cx="2237872" cy="537615"/>
          </a:xfrm>
          <a:prstGeom prst="rect">
            <a:avLst/>
          </a:prstGeom>
          <a:noFill/>
          <a:ln w="19050" cap="rnd" cmpd="sng" algn="ctr">
            <a:solidFill>
              <a:schemeClr val="bg1">
                <a:lumMod val="50000"/>
              </a:schemeClr>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err="1">
                <a:ln>
                  <a:noFill/>
                </a:ln>
                <a:solidFill>
                  <a:srgbClr val="575757">
                    <a:lumMod val="50000"/>
                  </a:srgbClr>
                </a:solidFill>
                <a:effectLst/>
                <a:uLnTx/>
                <a:uFillTx/>
                <a:latin typeface="Trebuchet MS"/>
                <a:ea typeface="+mn-ea"/>
                <a:cs typeface="+mn-cs"/>
              </a:rPr>
              <a:t>Projects</a:t>
            </a:r>
            <a:r>
              <a:rPr kumimoji="0" lang="pl-PL" sz="1200" b="0" i="0" u="none" strike="noStrike" kern="1200" cap="none" spc="0" normalizeH="0" baseline="0" noProof="0" dirty="0">
                <a:ln>
                  <a:noFill/>
                </a:ln>
                <a:solidFill>
                  <a:srgbClr val="575757">
                    <a:lumMod val="50000"/>
                  </a:srgbClr>
                </a:solidFill>
                <a:effectLst/>
                <a:uLnTx/>
                <a:uFillTx/>
                <a:latin typeface="Trebuchet MS"/>
                <a:ea typeface="+mn-ea"/>
                <a:cs typeface="+mn-cs"/>
              </a:rPr>
              <a:t> / </a:t>
            </a:r>
            <a:r>
              <a:rPr kumimoji="0" lang="pl-PL" sz="1200" b="0" i="0" u="none" strike="noStrike" kern="1200" cap="none" spc="0" normalizeH="0" baseline="0" noProof="0" dirty="0" err="1">
                <a:ln>
                  <a:noFill/>
                </a:ln>
                <a:solidFill>
                  <a:srgbClr val="575757">
                    <a:lumMod val="50000"/>
                  </a:srgbClr>
                </a:solidFill>
                <a:effectLst/>
                <a:uLnTx/>
                <a:uFillTx/>
                <a:latin typeface="Trebuchet MS"/>
                <a:ea typeface="+mn-ea"/>
                <a:cs typeface="+mn-cs"/>
              </a:rPr>
              <a:t>initiatives</a:t>
            </a:r>
            <a:r>
              <a:rPr kumimoji="0" lang="pl-PL" sz="1200" b="0" i="0" u="none" strike="noStrike" kern="1200" cap="none" spc="0" normalizeH="0" baseline="0" noProof="0" dirty="0">
                <a:ln>
                  <a:noFill/>
                </a:ln>
                <a:solidFill>
                  <a:srgbClr val="575757">
                    <a:lumMod val="50000"/>
                  </a:srgbClr>
                </a:solidFill>
                <a:effectLst/>
                <a:uLnTx/>
                <a:uFillTx/>
                <a:latin typeface="Trebuchet MS"/>
                <a:ea typeface="+mn-ea"/>
                <a:cs typeface="+mn-cs"/>
              </a:rPr>
              <a:t> </a:t>
            </a:r>
            <a:r>
              <a:rPr kumimoji="0" lang="pl-PL" sz="1200" b="0" i="0" u="none" strike="noStrike" kern="1200" cap="none" spc="0" normalizeH="0" baseline="0" noProof="0" dirty="0" err="1">
                <a:ln>
                  <a:noFill/>
                </a:ln>
                <a:solidFill>
                  <a:srgbClr val="575757">
                    <a:lumMod val="50000"/>
                  </a:srgbClr>
                </a:solidFill>
                <a:effectLst/>
                <a:uLnTx/>
                <a:uFillTx/>
                <a:latin typeface="Trebuchet MS"/>
                <a:ea typeface="+mn-ea"/>
                <a:cs typeface="+mn-cs"/>
              </a:rPr>
              <a:t>based</a:t>
            </a:r>
            <a:r>
              <a:rPr kumimoji="0" lang="pl-PL" sz="1200" b="0" i="0" u="none" strike="noStrike" kern="1200" cap="none" spc="0" normalizeH="0" baseline="0" noProof="0" dirty="0">
                <a:ln>
                  <a:noFill/>
                </a:ln>
                <a:solidFill>
                  <a:srgbClr val="575757">
                    <a:lumMod val="50000"/>
                  </a:srgbClr>
                </a:solidFill>
                <a:effectLst/>
                <a:uLnTx/>
                <a:uFillTx/>
                <a:latin typeface="Trebuchet MS"/>
                <a:ea typeface="+mn-ea"/>
                <a:cs typeface="+mn-cs"/>
              </a:rPr>
              <a:t> on </a:t>
            </a:r>
            <a:r>
              <a:rPr kumimoji="0" lang="pl-PL" sz="1200" b="0" i="0" u="none" strike="noStrike" kern="1200" cap="none" spc="0" normalizeH="0" baseline="0" noProof="0" dirty="0" err="1">
                <a:ln>
                  <a:noFill/>
                </a:ln>
                <a:solidFill>
                  <a:srgbClr val="575757">
                    <a:lumMod val="50000"/>
                  </a:srgbClr>
                </a:solidFill>
                <a:effectLst/>
                <a:uLnTx/>
                <a:uFillTx/>
                <a:latin typeface="Trebuchet MS"/>
                <a:ea typeface="+mn-ea"/>
                <a:cs typeface="+mn-cs"/>
              </a:rPr>
              <a:t>contact</a:t>
            </a:r>
            <a:r>
              <a:rPr kumimoji="0" lang="pl-PL" sz="1200" b="0" i="0" u="none" strike="noStrike" kern="1200" cap="none" spc="0" normalizeH="0" baseline="0" noProof="0" dirty="0">
                <a:ln>
                  <a:noFill/>
                </a:ln>
                <a:solidFill>
                  <a:srgbClr val="575757">
                    <a:lumMod val="50000"/>
                  </a:srgbClr>
                </a:solidFill>
                <a:effectLst/>
                <a:uLnTx/>
                <a:uFillTx/>
                <a:latin typeface="Trebuchet MS"/>
                <a:ea typeface="+mn-ea"/>
                <a:cs typeface="+mn-cs"/>
              </a:rPr>
              <a:t> </a:t>
            </a:r>
            <a:r>
              <a:rPr kumimoji="0" lang="pl-PL" sz="1200" b="0" i="0" u="none" strike="noStrike" kern="1200" cap="none" spc="0" normalizeH="0" baseline="0" noProof="0" dirty="0" err="1">
                <a:ln>
                  <a:noFill/>
                </a:ln>
                <a:solidFill>
                  <a:srgbClr val="575757">
                    <a:lumMod val="50000"/>
                  </a:srgbClr>
                </a:solidFill>
                <a:effectLst/>
                <a:uLnTx/>
                <a:uFillTx/>
                <a:latin typeface="Trebuchet MS"/>
                <a:ea typeface="+mn-ea"/>
                <a:cs typeface="+mn-cs"/>
              </a:rPr>
              <a:t>channels</a:t>
            </a:r>
            <a:r>
              <a:rPr kumimoji="0" lang="pl-PL" sz="1200" b="0" i="0" u="none" strike="noStrike" kern="1200" cap="none" spc="0" normalizeH="0" baseline="0" noProof="0" dirty="0">
                <a:ln>
                  <a:noFill/>
                </a:ln>
                <a:solidFill>
                  <a:srgbClr val="575757">
                    <a:lumMod val="50000"/>
                  </a:srgbClr>
                </a:solidFill>
                <a:effectLst/>
                <a:uLnTx/>
                <a:uFillTx/>
                <a:latin typeface="Trebuchet MS"/>
                <a:ea typeface="+mn-ea"/>
                <a:cs typeface="+mn-cs"/>
              </a:rPr>
              <a:t> / </a:t>
            </a:r>
            <a:r>
              <a:rPr kumimoji="0" lang="pl-PL" sz="1200" b="0" i="0" u="none" strike="noStrike" kern="1200" cap="none" spc="0" normalizeH="0" baseline="0" noProof="0" dirty="0" err="1">
                <a:ln>
                  <a:noFill/>
                </a:ln>
                <a:solidFill>
                  <a:srgbClr val="575757">
                    <a:lumMod val="50000"/>
                  </a:srgbClr>
                </a:solidFill>
                <a:effectLst/>
                <a:uLnTx/>
                <a:uFillTx/>
                <a:latin typeface="Trebuchet MS"/>
                <a:ea typeface="+mn-ea"/>
                <a:cs typeface="+mn-cs"/>
              </a:rPr>
              <a:t>omnichannel</a:t>
            </a:r>
            <a:r>
              <a:rPr kumimoji="0" lang="pl-PL" sz="1200" b="0" i="0" u="none" strike="noStrike" kern="1200" cap="none" spc="0" normalizeH="0" baseline="0" noProof="0" dirty="0">
                <a:ln>
                  <a:noFill/>
                </a:ln>
                <a:solidFill>
                  <a:srgbClr val="575757">
                    <a:lumMod val="50000"/>
                  </a:srgbClr>
                </a:solidFill>
                <a:effectLst/>
                <a:uLnTx/>
                <a:uFillTx/>
                <a:latin typeface="Trebuchet MS"/>
                <a:ea typeface="+mn-ea"/>
                <a:cs typeface="+mn-cs"/>
              </a:rPr>
              <a:t> </a:t>
            </a:r>
            <a:r>
              <a:rPr kumimoji="0" lang="pl-PL" sz="1200" b="0" i="0" u="none" strike="noStrike" kern="1200" cap="none" spc="0" normalizeH="0" baseline="0" noProof="0" dirty="0" err="1">
                <a:ln>
                  <a:noFill/>
                </a:ln>
                <a:solidFill>
                  <a:srgbClr val="575757">
                    <a:lumMod val="50000"/>
                  </a:srgbClr>
                </a:solidFill>
                <a:effectLst/>
                <a:uLnTx/>
                <a:uFillTx/>
                <a:latin typeface="Trebuchet MS"/>
                <a:ea typeface="+mn-ea"/>
                <a:cs typeface="+mn-cs"/>
              </a:rPr>
              <a:t>strategy</a:t>
            </a:r>
            <a:endParaRPr kumimoji="0" lang="pl-PL" sz="1200" b="0" i="0" u="none" strike="noStrike" kern="1200" cap="none" spc="0" normalizeH="0" baseline="0" noProof="0" dirty="0">
              <a:ln>
                <a:noFill/>
              </a:ln>
              <a:solidFill>
                <a:srgbClr val="575757">
                  <a:lumMod val="50000"/>
                </a:srgbClr>
              </a:solidFill>
              <a:effectLst/>
              <a:uLnTx/>
              <a:uFillTx/>
              <a:latin typeface="Trebuchet MS"/>
              <a:ea typeface="+mn-ea"/>
              <a:cs typeface="+mn-cs"/>
            </a:endParaRPr>
          </a:p>
        </p:txBody>
      </p:sp>
      <p:sp>
        <p:nvSpPr>
          <p:cNvPr id="27" name="pole tekstowe 26">
            <a:extLst>
              <a:ext uri="{FF2B5EF4-FFF2-40B4-BE49-F238E27FC236}">
                <a16:creationId xmlns:a16="http://schemas.microsoft.com/office/drawing/2014/main" id="{66727F79-61AC-4C4F-B398-4B878093BC63}"/>
              </a:ext>
            </a:extLst>
          </p:cNvPr>
          <p:cNvSpPr txBox="1"/>
          <p:nvPr/>
        </p:nvSpPr>
        <p:spPr>
          <a:xfrm>
            <a:off x="3418728" y="561498"/>
            <a:ext cx="1615239" cy="423516"/>
          </a:xfrm>
          <a:prstGeom prst="rect">
            <a:avLst/>
          </a:prstGeom>
          <a:noFill/>
          <a:ln w="9525" cap="rnd">
            <a:noFill/>
            <a:prstDash val="solid"/>
          </a:ln>
          <a:effectLst/>
          <a:extLst>
            <a:ext uri="{91240B29-F687-4F45-9708-019B960494DF}">
              <a14:hiddenLine xmlns:a14="http://schemas.microsoft.com/office/drawing/2010/main" w="9525" cap="rnd">
                <a:solidFill>
                  <a:srgbClr val="575757"/>
                </a:solidFill>
                <a:prstDash val="solid"/>
              </a14:hiddenLine>
            </a:ext>
          </a:extLst>
        </p:spPr>
        <p:txBody>
          <a:bodyPr vert="horz" wrap="square" lIns="36576" tIns="36576" rIns="36576" bIns="36576"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pl-PL" sz="1800" b="0" i="0" u="none" strike="noStrike" kern="1200" cap="none" spc="0" normalizeH="0" baseline="0" noProof="0" dirty="0">
                <a:ln>
                  <a:noFill/>
                </a:ln>
                <a:solidFill>
                  <a:srgbClr val="575757"/>
                </a:solidFill>
                <a:effectLst/>
                <a:uLnTx/>
                <a:uFillTx/>
                <a:latin typeface="Trebuchet MS"/>
                <a:ea typeface="+mn-ea"/>
                <a:cs typeface="+mn-cs"/>
                <a:sym typeface="Trebuchet MS" panose="020B0603020202020204" pitchFamily="34" charset="0"/>
              </a:rPr>
              <a:t>2025</a:t>
            </a:r>
          </a:p>
        </p:txBody>
      </p:sp>
      <p:sp>
        <p:nvSpPr>
          <p:cNvPr id="28" name="pole tekstowe 27">
            <a:extLst>
              <a:ext uri="{FF2B5EF4-FFF2-40B4-BE49-F238E27FC236}">
                <a16:creationId xmlns:a16="http://schemas.microsoft.com/office/drawing/2014/main" id="{EE4B9961-B88A-4896-B2C9-72DEE033790D}"/>
              </a:ext>
            </a:extLst>
          </p:cNvPr>
          <p:cNvSpPr txBox="1"/>
          <p:nvPr/>
        </p:nvSpPr>
        <p:spPr>
          <a:xfrm>
            <a:off x="6349869" y="569280"/>
            <a:ext cx="1615239" cy="423516"/>
          </a:xfrm>
          <a:prstGeom prst="rect">
            <a:avLst/>
          </a:prstGeom>
          <a:noFill/>
          <a:ln w="9525" cap="rnd">
            <a:noFill/>
            <a:prstDash val="solid"/>
          </a:ln>
          <a:effectLst/>
          <a:extLst>
            <a:ext uri="{91240B29-F687-4F45-9708-019B960494DF}">
              <a14:hiddenLine xmlns:a14="http://schemas.microsoft.com/office/drawing/2010/main" w="9525" cap="rnd">
                <a:solidFill>
                  <a:srgbClr val="575757"/>
                </a:solidFill>
                <a:prstDash val="solid"/>
              </a14:hiddenLine>
            </a:ext>
          </a:extLst>
        </p:spPr>
        <p:txBody>
          <a:bodyPr vert="horz" wrap="square" lIns="36576" tIns="36576" rIns="36576" bIns="36576"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pl-PL" sz="1800" b="0" i="0" u="none" strike="noStrike" kern="1200" cap="none" spc="0" normalizeH="0" baseline="0" noProof="0" dirty="0">
                <a:ln>
                  <a:noFill/>
                </a:ln>
                <a:solidFill>
                  <a:srgbClr val="575757"/>
                </a:solidFill>
                <a:effectLst/>
                <a:uLnTx/>
                <a:uFillTx/>
                <a:latin typeface="Trebuchet MS"/>
                <a:ea typeface="+mn-ea"/>
                <a:cs typeface="+mn-cs"/>
                <a:sym typeface="Trebuchet MS" panose="020B0603020202020204" pitchFamily="34" charset="0"/>
              </a:rPr>
              <a:t>2026</a:t>
            </a:r>
          </a:p>
        </p:txBody>
      </p:sp>
      <p:sp>
        <p:nvSpPr>
          <p:cNvPr id="13" name="Prostokąt 12">
            <a:extLst>
              <a:ext uri="{FF2B5EF4-FFF2-40B4-BE49-F238E27FC236}">
                <a16:creationId xmlns:a16="http://schemas.microsoft.com/office/drawing/2014/main" id="{954C79BD-9E25-4BB3-9DF0-A5D5988B978D}"/>
              </a:ext>
            </a:extLst>
          </p:cNvPr>
          <p:cNvSpPr/>
          <p:nvPr/>
        </p:nvSpPr>
        <p:spPr>
          <a:xfrm>
            <a:off x="1331050" y="5200211"/>
            <a:ext cx="8843891" cy="295154"/>
          </a:xfrm>
          <a:prstGeom prst="rect">
            <a:avLst/>
          </a:prstGeom>
          <a:solidFill>
            <a:schemeClr val="tx2">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err="1">
                <a:ln>
                  <a:noFill/>
                </a:ln>
                <a:solidFill>
                  <a:srgbClr val="FFFFFF"/>
                </a:solidFill>
                <a:effectLst/>
                <a:uLnTx/>
                <a:uFillTx/>
                <a:latin typeface="Trebuchet MS"/>
                <a:ea typeface="+mn-ea"/>
                <a:cs typeface="+mn-cs"/>
              </a:rPr>
              <a:t>Advisors</a:t>
            </a:r>
            <a:r>
              <a:rPr kumimoji="0" lang="pl-PL" sz="1200" b="0" i="0" u="none" strike="noStrike" kern="1200" cap="none" spc="0" normalizeH="0" baseline="0" noProof="0" dirty="0">
                <a:ln>
                  <a:noFill/>
                </a:ln>
                <a:solidFill>
                  <a:srgbClr val="FFFFFF"/>
                </a:solidFill>
                <a:effectLst/>
                <a:uLnTx/>
                <a:uFillTx/>
                <a:latin typeface="Trebuchet MS"/>
                <a:ea typeface="+mn-ea"/>
                <a:cs typeface="+mn-cs"/>
              </a:rPr>
              <a:t> </a:t>
            </a:r>
            <a:r>
              <a:rPr kumimoji="0" lang="pl-PL" sz="1200" b="0" i="0" u="none" strike="noStrike" kern="1200" cap="none" spc="0" normalizeH="0" baseline="0" noProof="0" dirty="0" err="1">
                <a:ln>
                  <a:noFill/>
                </a:ln>
                <a:solidFill>
                  <a:srgbClr val="FFFFFF"/>
                </a:solidFill>
                <a:effectLst/>
                <a:uLnTx/>
                <a:uFillTx/>
                <a:latin typeface="Trebuchet MS"/>
                <a:ea typeface="+mn-ea"/>
                <a:cs typeface="+mn-cs"/>
              </a:rPr>
              <a:t>universalism</a:t>
            </a:r>
            <a:endParaRPr kumimoji="0" lang="pl-PL"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15" name="Prostokąt 14">
            <a:extLst>
              <a:ext uri="{FF2B5EF4-FFF2-40B4-BE49-F238E27FC236}">
                <a16:creationId xmlns:a16="http://schemas.microsoft.com/office/drawing/2014/main" id="{C9A30324-5975-4B25-B27A-55DE29E288B5}"/>
              </a:ext>
            </a:extLst>
          </p:cNvPr>
          <p:cNvSpPr/>
          <p:nvPr/>
        </p:nvSpPr>
        <p:spPr>
          <a:xfrm>
            <a:off x="1909482" y="4171485"/>
            <a:ext cx="8184777" cy="346727"/>
          </a:xfrm>
          <a:prstGeom prst="rect">
            <a:avLst/>
          </a:prstGeom>
          <a:solidFill>
            <a:schemeClr val="tx2">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err="1">
                <a:ln>
                  <a:noFill/>
                </a:ln>
                <a:solidFill>
                  <a:srgbClr val="FFFFFF"/>
                </a:solidFill>
                <a:effectLst/>
                <a:uLnTx/>
                <a:uFillTx/>
                <a:latin typeface="Trebuchet MS"/>
                <a:ea typeface="+mn-ea"/>
                <a:cs typeface="+mn-cs"/>
              </a:rPr>
              <a:t>Inbound</a:t>
            </a:r>
            <a:r>
              <a:rPr kumimoji="0" lang="pl-PL" sz="1200" b="0" i="0" u="none" strike="noStrike" kern="1200" cap="none" spc="0" normalizeH="0" baseline="0" noProof="0" dirty="0">
                <a:ln>
                  <a:noFill/>
                </a:ln>
                <a:solidFill>
                  <a:srgbClr val="FFFFFF"/>
                </a:solidFill>
                <a:effectLst/>
                <a:uLnTx/>
                <a:uFillTx/>
                <a:latin typeface="Trebuchet MS"/>
                <a:ea typeface="+mn-ea"/>
                <a:cs typeface="+mn-cs"/>
              </a:rPr>
              <a:t> </a:t>
            </a:r>
            <a:r>
              <a:rPr kumimoji="0" lang="pl-PL" sz="1200" b="0" i="0" u="none" strike="noStrike" kern="1200" cap="none" spc="0" normalizeH="0" baseline="0" noProof="0" dirty="0" err="1">
                <a:ln>
                  <a:noFill/>
                </a:ln>
                <a:solidFill>
                  <a:srgbClr val="FFFFFF"/>
                </a:solidFill>
                <a:effectLst/>
                <a:uLnTx/>
                <a:uFillTx/>
                <a:latin typeface="Trebuchet MS"/>
                <a:ea typeface="+mn-ea"/>
                <a:cs typeface="+mn-cs"/>
              </a:rPr>
              <a:t>sales</a:t>
            </a:r>
            <a:endParaRPr kumimoji="0" lang="pl-PL"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18" name="Prostokąt 17">
            <a:extLst>
              <a:ext uri="{FF2B5EF4-FFF2-40B4-BE49-F238E27FC236}">
                <a16:creationId xmlns:a16="http://schemas.microsoft.com/office/drawing/2014/main" id="{9D18B470-02A7-4451-8C92-1352411D04AB}"/>
              </a:ext>
            </a:extLst>
          </p:cNvPr>
          <p:cNvSpPr/>
          <p:nvPr/>
        </p:nvSpPr>
        <p:spPr>
          <a:xfrm>
            <a:off x="3280767" y="3681925"/>
            <a:ext cx="5652031" cy="327230"/>
          </a:xfrm>
          <a:prstGeom prst="rect">
            <a:avLst/>
          </a:prstGeom>
          <a:solidFill>
            <a:schemeClr val="tx2">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srgbClr val="FFFFFF"/>
                </a:solidFill>
                <a:effectLst/>
                <a:uLnTx/>
                <a:uFillTx/>
                <a:latin typeface="Trebuchet MS"/>
                <a:ea typeface="+mn-ea"/>
                <a:cs typeface="+mn-cs"/>
              </a:rPr>
              <a:t>TOP 10 CC </a:t>
            </a:r>
            <a:r>
              <a:rPr kumimoji="0" lang="pl-PL" sz="1200" b="0" i="0" u="none" strike="noStrike" kern="1200" cap="none" spc="0" normalizeH="0" baseline="0" noProof="0" dirty="0" err="1">
                <a:ln>
                  <a:noFill/>
                </a:ln>
                <a:solidFill>
                  <a:srgbClr val="FFFFFF"/>
                </a:solidFill>
                <a:effectLst/>
                <a:uLnTx/>
                <a:uFillTx/>
                <a:latin typeface="Trebuchet MS"/>
                <a:ea typeface="+mn-ea"/>
                <a:cs typeface="+mn-cs"/>
              </a:rPr>
              <a:t>operations</a:t>
            </a:r>
            <a:r>
              <a:rPr kumimoji="0" lang="pl-PL" sz="1200" b="0" i="0" u="none" strike="noStrike" kern="1200" cap="none" spc="0" normalizeH="0" baseline="0" noProof="0" dirty="0">
                <a:ln>
                  <a:noFill/>
                </a:ln>
                <a:solidFill>
                  <a:srgbClr val="FFFFFF"/>
                </a:solidFill>
                <a:effectLst/>
                <a:uLnTx/>
                <a:uFillTx/>
                <a:latin typeface="Trebuchet MS"/>
                <a:ea typeface="+mn-ea"/>
                <a:cs typeface="+mn-cs"/>
              </a:rPr>
              <a:t> out of the </a:t>
            </a:r>
            <a:r>
              <a:rPr kumimoji="0" lang="pl-PL" sz="1200" b="0" i="0" u="none" strike="noStrike" kern="1200" cap="none" spc="0" normalizeH="0" baseline="0" noProof="0" dirty="0" err="1">
                <a:ln>
                  <a:noFill/>
                </a:ln>
                <a:solidFill>
                  <a:srgbClr val="FFFFFF"/>
                </a:solidFill>
                <a:effectLst/>
                <a:uLnTx/>
                <a:uFillTx/>
                <a:latin typeface="Trebuchet MS"/>
                <a:ea typeface="+mn-ea"/>
                <a:cs typeface="+mn-cs"/>
              </a:rPr>
              <a:t>scope</a:t>
            </a:r>
            <a:r>
              <a:rPr kumimoji="0" lang="pl-PL" sz="1200" b="0" i="0" u="none" strike="noStrike" kern="1200" cap="none" spc="0" normalizeH="0" baseline="0" noProof="0" dirty="0">
                <a:ln>
                  <a:noFill/>
                </a:ln>
                <a:solidFill>
                  <a:srgbClr val="FFFFFF"/>
                </a:solidFill>
                <a:effectLst/>
                <a:uLnTx/>
                <a:uFillTx/>
                <a:latin typeface="Trebuchet MS"/>
                <a:ea typeface="+mn-ea"/>
                <a:cs typeface="+mn-cs"/>
              </a:rPr>
              <a:t> in the </a:t>
            </a:r>
            <a:r>
              <a:rPr kumimoji="0" lang="pl-PL" sz="1200" b="0" i="0" u="none" strike="noStrike" kern="1200" cap="none" spc="0" normalizeH="0" baseline="0" noProof="0" dirty="0" err="1">
                <a:ln>
                  <a:noFill/>
                </a:ln>
                <a:solidFill>
                  <a:srgbClr val="FFFFFF"/>
                </a:solidFill>
                <a:effectLst/>
                <a:uLnTx/>
                <a:uFillTx/>
                <a:latin typeface="Trebuchet MS"/>
                <a:ea typeface="+mn-ea"/>
                <a:cs typeface="+mn-cs"/>
              </a:rPr>
              <a:t>future</a:t>
            </a:r>
            <a:endParaRPr kumimoji="0" lang="pl-PL"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25" name="Strzałka: w prawo 24">
            <a:extLst>
              <a:ext uri="{FF2B5EF4-FFF2-40B4-BE49-F238E27FC236}">
                <a16:creationId xmlns:a16="http://schemas.microsoft.com/office/drawing/2014/main" id="{F753142E-2D1C-418D-B71D-5236DF2C8876}"/>
              </a:ext>
            </a:extLst>
          </p:cNvPr>
          <p:cNvSpPr/>
          <p:nvPr/>
        </p:nvSpPr>
        <p:spPr>
          <a:xfrm>
            <a:off x="1331052" y="5852179"/>
            <a:ext cx="9305042" cy="642477"/>
          </a:xfrm>
          <a:prstGeom prst="rightArrow">
            <a:avLst/>
          </a:prstGeom>
          <a:solidFill>
            <a:srgbClr val="92D05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err="1">
                <a:ln>
                  <a:noFill/>
                </a:ln>
                <a:solidFill>
                  <a:srgbClr val="FFFFFF"/>
                </a:solidFill>
                <a:effectLst/>
                <a:uLnTx/>
                <a:uFillTx/>
                <a:latin typeface="Trebuchet MS"/>
                <a:ea typeface="+mn-ea"/>
                <a:cs typeface="+mn-cs"/>
              </a:rPr>
              <a:t>Advisors</a:t>
            </a:r>
            <a:r>
              <a:rPr kumimoji="0" lang="pl-PL" sz="1200" b="0" i="0" u="none" strike="noStrike" kern="1200" cap="none" spc="0" normalizeH="0" baseline="0" noProof="0" dirty="0">
                <a:ln>
                  <a:noFill/>
                </a:ln>
                <a:solidFill>
                  <a:srgbClr val="FFFFFF"/>
                </a:solidFill>
                <a:effectLst/>
                <a:uLnTx/>
                <a:uFillTx/>
                <a:latin typeface="Trebuchet MS"/>
                <a:ea typeface="+mn-ea"/>
                <a:cs typeface="+mn-cs"/>
              </a:rPr>
              <a:t>’ </a:t>
            </a:r>
            <a:r>
              <a:rPr kumimoji="0" lang="pl-PL" sz="1200" b="0" i="0" u="none" strike="noStrike" kern="1200" cap="none" spc="0" normalizeH="0" baseline="0" noProof="0" dirty="0" err="1">
                <a:ln>
                  <a:noFill/>
                </a:ln>
                <a:solidFill>
                  <a:srgbClr val="FFFFFF"/>
                </a:solidFill>
                <a:effectLst/>
                <a:uLnTx/>
                <a:uFillTx/>
                <a:latin typeface="Trebuchet MS"/>
                <a:ea typeface="+mn-ea"/>
                <a:cs typeface="+mn-cs"/>
              </a:rPr>
              <a:t>tools</a:t>
            </a:r>
            <a:r>
              <a:rPr kumimoji="0" lang="pl-PL" sz="1200" b="0" i="0" u="none" strike="noStrike" kern="1200" cap="none" spc="0" normalizeH="0" baseline="0" noProof="0" dirty="0">
                <a:ln>
                  <a:noFill/>
                </a:ln>
                <a:solidFill>
                  <a:srgbClr val="FFFFFF"/>
                </a:solidFill>
                <a:effectLst/>
                <a:uLnTx/>
                <a:uFillTx/>
                <a:latin typeface="Trebuchet MS"/>
                <a:ea typeface="+mn-ea"/>
                <a:cs typeface="+mn-cs"/>
              </a:rPr>
              <a:t> + </a:t>
            </a:r>
            <a:r>
              <a:rPr kumimoji="0" lang="pl-PL" sz="1200" b="0" i="0" u="none" strike="noStrike" kern="1200" cap="none" spc="0" normalizeH="0" baseline="0" noProof="0" dirty="0" err="1">
                <a:ln>
                  <a:noFill/>
                </a:ln>
                <a:solidFill>
                  <a:srgbClr val="FFFFFF"/>
                </a:solidFill>
                <a:effectLst/>
                <a:uLnTx/>
                <a:uFillTx/>
                <a:latin typeface="Trebuchet MS"/>
                <a:ea typeface="+mn-ea"/>
                <a:cs typeface="+mn-cs"/>
              </a:rPr>
              <a:t>calls</a:t>
            </a:r>
            <a:r>
              <a:rPr kumimoji="0" lang="pl-PL" sz="1200" b="0" i="0" u="none" strike="noStrike" kern="1200" cap="none" spc="0" normalizeH="0" baseline="0" noProof="0" dirty="0">
                <a:ln>
                  <a:noFill/>
                </a:ln>
                <a:solidFill>
                  <a:srgbClr val="FFFFFF"/>
                </a:solidFill>
                <a:effectLst/>
                <a:uLnTx/>
                <a:uFillTx/>
                <a:latin typeface="Trebuchet MS"/>
                <a:ea typeface="+mn-ea"/>
                <a:cs typeface="+mn-cs"/>
              </a:rPr>
              <a:t> routing </a:t>
            </a:r>
            <a:r>
              <a:rPr kumimoji="0" lang="pl-PL" sz="1200" b="0" i="0" u="none" strike="noStrike" kern="1200" cap="none" spc="0" normalizeH="0" baseline="0" noProof="0" dirty="0" err="1">
                <a:ln>
                  <a:noFill/>
                </a:ln>
                <a:solidFill>
                  <a:srgbClr val="FFFFFF"/>
                </a:solidFill>
                <a:effectLst/>
                <a:uLnTx/>
                <a:uFillTx/>
                <a:latin typeface="Trebuchet MS"/>
                <a:ea typeface="+mn-ea"/>
                <a:cs typeface="+mn-cs"/>
              </a:rPr>
              <a:t>changes</a:t>
            </a:r>
            <a:endParaRPr kumimoji="0" lang="pl-PL"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24" name="Title 1">
            <a:extLst>
              <a:ext uri="{FF2B5EF4-FFF2-40B4-BE49-F238E27FC236}">
                <a16:creationId xmlns:a16="http://schemas.microsoft.com/office/drawing/2014/main" id="{A69ED80E-619E-45DC-B70F-5075BE04C11F}"/>
              </a:ext>
            </a:extLst>
          </p:cNvPr>
          <p:cNvSpPr txBox="1">
            <a:spLocks/>
          </p:cNvSpPr>
          <p:nvPr/>
        </p:nvSpPr>
        <p:spPr>
          <a:xfrm>
            <a:off x="160506" y="169581"/>
            <a:ext cx="9912408" cy="4431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pl-PL" sz="3200" b="1" i="0" u="none" strike="noStrike" kern="1200" cap="none" spc="0" normalizeH="0" baseline="0" noProof="0" dirty="0" err="1">
                <a:ln>
                  <a:noFill/>
                </a:ln>
                <a:solidFill>
                  <a:srgbClr val="008C8A"/>
                </a:solidFill>
                <a:effectLst/>
                <a:uLnTx/>
                <a:uFillTx/>
                <a:latin typeface="Arial Black" panose="020B0A04020102020204" pitchFamily="34" charset="0"/>
                <a:ea typeface="Calibri" panose="020F0502020204030204" pitchFamily="34" charset="0"/>
                <a:cs typeface="Calibri" panose="020F0502020204030204" pitchFamily="34" charset="0"/>
                <a:sym typeface="Trebuchet MS" panose="020B0603020202020204" pitchFamily="34" charset="0"/>
              </a:rPr>
              <a:t>Inbound</a:t>
            </a:r>
            <a:r>
              <a:rPr kumimoji="0" lang="pl-PL" sz="3200" b="1" i="0" u="none" strike="noStrike" kern="1200" cap="none" spc="0" normalizeH="0" baseline="0" noProof="0" dirty="0">
                <a:ln>
                  <a:noFill/>
                </a:ln>
                <a:solidFill>
                  <a:srgbClr val="008C8A"/>
                </a:solidFill>
                <a:effectLst/>
                <a:uLnTx/>
                <a:uFillTx/>
                <a:latin typeface="Arial Black" panose="020B0A04020102020204" pitchFamily="34" charset="0"/>
                <a:ea typeface="Calibri" panose="020F0502020204030204" pitchFamily="34" charset="0"/>
                <a:cs typeface="Calibri" panose="020F0502020204030204" pitchFamily="34" charset="0"/>
                <a:sym typeface="Trebuchet MS" panose="020B0603020202020204" pitchFamily="34" charset="0"/>
              </a:rPr>
              <a:t> </a:t>
            </a:r>
            <a:r>
              <a:rPr kumimoji="0" lang="pl-PL" sz="3200" b="1" i="0" u="none" strike="noStrike" kern="1200" cap="none" spc="0" normalizeH="0" baseline="0" noProof="0" dirty="0" err="1">
                <a:ln>
                  <a:noFill/>
                </a:ln>
                <a:solidFill>
                  <a:srgbClr val="008C8A"/>
                </a:solidFill>
                <a:effectLst/>
                <a:uLnTx/>
                <a:uFillTx/>
                <a:latin typeface="Arial Black" panose="020B0A04020102020204" pitchFamily="34" charset="0"/>
                <a:ea typeface="Calibri" panose="020F0502020204030204" pitchFamily="34" charset="0"/>
                <a:cs typeface="Calibri" panose="020F0502020204030204" pitchFamily="34" charset="0"/>
                <a:sym typeface="Trebuchet MS" panose="020B0603020202020204" pitchFamily="34" charset="0"/>
              </a:rPr>
              <a:t>boost</a:t>
            </a:r>
            <a:r>
              <a:rPr kumimoji="0" lang="pl-PL" sz="3200" b="1" i="0" u="none" strike="noStrike" kern="1200" cap="none" spc="0" normalizeH="0" baseline="0" noProof="0" dirty="0">
                <a:ln>
                  <a:noFill/>
                </a:ln>
                <a:solidFill>
                  <a:srgbClr val="008C8A"/>
                </a:solidFill>
                <a:effectLst/>
                <a:uLnTx/>
                <a:uFillTx/>
                <a:latin typeface="Arial Black" panose="020B0A04020102020204" pitchFamily="34" charset="0"/>
                <a:ea typeface="Calibri" panose="020F0502020204030204" pitchFamily="34" charset="0"/>
                <a:cs typeface="Calibri" panose="020F0502020204030204" pitchFamily="34" charset="0"/>
                <a:sym typeface="Trebuchet MS" panose="020B0603020202020204" pitchFamily="34" charset="0"/>
              </a:rPr>
              <a:t>– </a:t>
            </a:r>
            <a:r>
              <a:rPr kumimoji="0" lang="pl-PL" sz="3200" b="1" i="0" u="none" strike="noStrike" kern="1200" cap="none" spc="0" normalizeH="0" baseline="0" noProof="0" dirty="0" err="1">
                <a:ln>
                  <a:noFill/>
                </a:ln>
                <a:solidFill>
                  <a:srgbClr val="008C8A"/>
                </a:solidFill>
                <a:effectLst/>
                <a:uLnTx/>
                <a:uFillTx/>
                <a:latin typeface="Arial Black" panose="020B0A04020102020204" pitchFamily="34" charset="0"/>
                <a:ea typeface="Calibri" panose="020F0502020204030204" pitchFamily="34" charset="0"/>
                <a:cs typeface="Calibri" panose="020F0502020204030204" pitchFamily="34" charset="0"/>
                <a:sym typeface="Trebuchet MS" panose="020B0603020202020204" pitchFamily="34" charset="0"/>
              </a:rPr>
              <a:t>activities</a:t>
            </a:r>
            <a:r>
              <a:rPr kumimoji="0" lang="pl-PL" sz="3200" b="1" i="0" u="none" strike="noStrike" kern="1200" cap="none" spc="0" normalizeH="0" baseline="0" noProof="0" dirty="0">
                <a:ln>
                  <a:noFill/>
                </a:ln>
                <a:solidFill>
                  <a:srgbClr val="008C8A"/>
                </a:solidFill>
                <a:effectLst/>
                <a:uLnTx/>
                <a:uFillTx/>
                <a:latin typeface="Arial Black" panose="020B0A04020102020204" pitchFamily="34" charset="0"/>
                <a:ea typeface="Calibri" panose="020F0502020204030204" pitchFamily="34" charset="0"/>
                <a:cs typeface="Calibri" panose="020F0502020204030204" pitchFamily="34" charset="0"/>
                <a:sym typeface="Trebuchet MS" panose="020B0603020202020204" pitchFamily="34" charset="0"/>
              </a:rPr>
              <a:t> &amp; </a:t>
            </a:r>
            <a:r>
              <a:rPr kumimoji="0" lang="pl-PL" sz="3200" b="1" i="0" u="none" strike="noStrike" kern="1200" cap="none" spc="0" normalizeH="0" baseline="0" noProof="0" dirty="0" err="1">
                <a:ln>
                  <a:noFill/>
                </a:ln>
                <a:solidFill>
                  <a:srgbClr val="008C8A"/>
                </a:solidFill>
                <a:effectLst/>
                <a:uLnTx/>
                <a:uFillTx/>
                <a:latin typeface="Arial Black" panose="020B0A04020102020204" pitchFamily="34" charset="0"/>
                <a:ea typeface="Calibri" panose="020F0502020204030204" pitchFamily="34" charset="0"/>
                <a:cs typeface="Calibri" panose="020F0502020204030204" pitchFamily="34" charset="0"/>
                <a:sym typeface="Trebuchet MS" panose="020B0603020202020204" pitchFamily="34" charset="0"/>
              </a:rPr>
              <a:t>connections</a:t>
            </a:r>
            <a:endParaRPr kumimoji="0" lang="en-AU" sz="3200" b="1" i="0" u="none" strike="noStrike" kern="1200" cap="none" spc="0" normalizeH="0" baseline="0" noProof="0" dirty="0">
              <a:ln>
                <a:noFill/>
              </a:ln>
              <a:solidFill>
                <a:srgbClr val="008C8A"/>
              </a:solidFill>
              <a:effectLst/>
              <a:uLnTx/>
              <a:uFillTx/>
              <a:latin typeface="Arial Black" panose="020B0A04020102020204" pitchFamily="34" charset="0"/>
              <a:ea typeface="Calibri" panose="020F0502020204030204" pitchFamily="34" charset="0"/>
              <a:cs typeface="Calibri" panose="020F0502020204030204" pitchFamily="34" charset="0"/>
              <a:sym typeface="Trebuchet MS" panose="020B0603020202020204" pitchFamily="34" charset="0"/>
            </a:endParaRPr>
          </a:p>
        </p:txBody>
      </p:sp>
      <p:sp>
        <p:nvSpPr>
          <p:cNvPr id="26" name="Prostokąt 25">
            <a:extLst>
              <a:ext uri="{FF2B5EF4-FFF2-40B4-BE49-F238E27FC236}">
                <a16:creationId xmlns:a16="http://schemas.microsoft.com/office/drawing/2014/main" id="{C9AABA9B-B05A-422F-AA30-4460C279BDD3}"/>
              </a:ext>
            </a:extLst>
          </p:cNvPr>
          <p:cNvSpPr/>
          <p:nvPr/>
        </p:nvSpPr>
        <p:spPr>
          <a:xfrm>
            <a:off x="2608447" y="5602465"/>
            <a:ext cx="7584423" cy="323206"/>
          </a:xfrm>
          <a:prstGeom prst="rect">
            <a:avLst/>
          </a:prstGeom>
          <a:solidFill>
            <a:schemeClr val="tx2">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srgbClr val="FFFFFF"/>
                </a:solidFill>
                <a:effectLst/>
                <a:uLnTx/>
                <a:uFillTx/>
                <a:latin typeface="Trebuchet MS"/>
                <a:ea typeface="+mn-ea"/>
                <a:cs typeface="+mn-cs"/>
              </a:rPr>
              <a:t>New </a:t>
            </a:r>
            <a:r>
              <a:rPr kumimoji="0" lang="pl-PL" sz="1200" b="0" i="0" u="none" strike="noStrike" kern="1200" cap="none" spc="0" normalizeH="0" baseline="0" noProof="0" dirty="0" err="1">
                <a:ln>
                  <a:noFill/>
                </a:ln>
                <a:solidFill>
                  <a:srgbClr val="FFFFFF"/>
                </a:solidFill>
                <a:effectLst/>
                <a:uLnTx/>
                <a:uFillTx/>
                <a:latin typeface="Trebuchet MS"/>
                <a:ea typeface="+mn-ea"/>
                <a:cs typeface="+mn-cs"/>
              </a:rPr>
              <a:t>efficiency</a:t>
            </a:r>
            <a:r>
              <a:rPr kumimoji="0" lang="pl-PL" sz="1200" b="0" i="0" u="none" strike="noStrike" kern="1200" cap="none" spc="0" normalizeH="0" baseline="0" noProof="0" dirty="0">
                <a:ln>
                  <a:noFill/>
                </a:ln>
                <a:solidFill>
                  <a:srgbClr val="FFFFFF"/>
                </a:solidFill>
                <a:effectLst/>
                <a:uLnTx/>
                <a:uFillTx/>
                <a:latin typeface="Trebuchet MS"/>
                <a:ea typeface="+mn-ea"/>
                <a:cs typeface="+mn-cs"/>
              </a:rPr>
              <a:t> model</a:t>
            </a:r>
          </a:p>
        </p:txBody>
      </p:sp>
      <p:sp>
        <p:nvSpPr>
          <p:cNvPr id="6" name="Prostokąt 5">
            <a:extLst>
              <a:ext uri="{FF2B5EF4-FFF2-40B4-BE49-F238E27FC236}">
                <a16:creationId xmlns:a16="http://schemas.microsoft.com/office/drawing/2014/main" id="{384DBB90-6DCC-4E73-8061-3C5BCBD63355}"/>
              </a:ext>
            </a:extLst>
          </p:cNvPr>
          <p:cNvSpPr/>
          <p:nvPr/>
        </p:nvSpPr>
        <p:spPr>
          <a:xfrm>
            <a:off x="71191" y="2703738"/>
            <a:ext cx="1005570" cy="856648"/>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pl-PL" sz="1600" b="1" dirty="0">
                <a:solidFill>
                  <a:schemeClr val="tx1"/>
                </a:solidFill>
                <a:latin typeface="Trebuchet MS"/>
              </a:rPr>
              <a:t>As </a:t>
            </a:r>
            <a:r>
              <a:rPr lang="pl-PL" sz="1600" b="1" dirty="0" err="1">
                <a:solidFill>
                  <a:schemeClr val="tx1"/>
                </a:solidFill>
                <a:latin typeface="Trebuchet MS"/>
              </a:rPr>
              <a:t>is</a:t>
            </a:r>
            <a:endParaRPr lang="pl-PL" sz="1600" b="1" dirty="0">
              <a:solidFill>
                <a:schemeClr val="tx1"/>
              </a:solidFill>
              <a:latin typeface="Trebuchet MS"/>
            </a:endParaRPr>
          </a:p>
        </p:txBody>
      </p:sp>
      <p:sp>
        <p:nvSpPr>
          <p:cNvPr id="38" name="Prostokąt 37">
            <a:extLst>
              <a:ext uri="{FF2B5EF4-FFF2-40B4-BE49-F238E27FC236}">
                <a16:creationId xmlns:a16="http://schemas.microsoft.com/office/drawing/2014/main" id="{25424570-5F81-444D-9D39-7CA4B360B38F}"/>
              </a:ext>
            </a:extLst>
          </p:cNvPr>
          <p:cNvSpPr/>
          <p:nvPr/>
        </p:nvSpPr>
        <p:spPr>
          <a:xfrm>
            <a:off x="3968153" y="4568046"/>
            <a:ext cx="1527212" cy="562055"/>
          </a:xfrm>
          <a:prstGeom prst="rect">
            <a:avLst/>
          </a:prstGeom>
          <a:solidFill>
            <a:schemeClr val="tx2">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pl-PL" sz="1200" dirty="0">
                <a:solidFill>
                  <a:srgbClr val="FFFFFF"/>
                </a:solidFill>
                <a:latin typeface="Trebuchet MS"/>
              </a:rPr>
              <a:t>New </a:t>
            </a:r>
            <a:r>
              <a:rPr lang="pl-PL" sz="1200" dirty="0" err="1">
                <a:solidFill>
                  <a:srgbClr val="FFFFFF"/>
                </a:solidFill>
                <a:latin typeface="Trebuchet MS"/>
              </a:rPr>
              <a:t>organisational</a:t>
            </a:r>
            <a:r>
              <a:rPr lang="pl-PL" sz="1200" dirty="0">
                <a:solidFill>
                  <a:srgbClr val="FFFFFF"/>
                </a:solidFill>
                <a:latin typeface="Trebuchet MS"/>
              </a:rPr>
              <a:t> </a:t>
            </a:r>
            <a:r>
              <a:rPr lang="pl-PL" sz="1200" dirty="0" err="1">
                <a:solidFill>
                  <a:srgbClr val="FFFFFF"/>
                </a:solidFill>
                <a:latin typeface="Trebuchet MS"/>
              </a:rPr>
              <a:t>structure</a:t>
            </a:r>
            <a:r>
              <a:rPr lang="pl-PL" sz="1200" dirty="0">
                <a:solidFill>
                  <a:srgbClr val="FFFFFF"/>
                </a:solidFill>
                <a:latin typeface="Trebuchet MS"/>
              </a:rPr>
              <a:t> – </a:t>
            </a:r>
            <a:r>
              <a:rPr lang="pl-PL" sz="1200" dirty="0" err="1">
                <a:solidFill>
                  <a:srgbClr val="FFFFFF"/>
                </a:solidFill>
                <a:latin typeface="Trebuchet MS"/>
              </a:rPr>
              <a:t>phase</a:t>
            </a:r>
            <a:r>
              <a:rPr lang="pl-PL" sz="1200" dirty="0">
                <a:solidFill>
                  <a:srgbClr val="FFFFFF"/>
                </a:solidFill>
                <a:latin typeface="Trebuchet MS"/>
              </a:rPr>
              <a:t> 2</a:t>
            </a:r>
            <a:endParaRPr kumimoji="0" lang="pl-PL"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14" name="Strzałka: w prawo 13">
            <a:extLst>
              <a:ext uri="{FF2B5EF4-FFF2-40B4-BE49-F238E27FC236}">
                <a16:creationId xmlns:a16="http://schemas.microsoft.com/office/drawing/2014/main" id="{C652B8E3-DFB8-487C-93B1-D9559FF2AE71}"/>
              </a:ext>
            </a:extLst>
          </p:cNvPr>
          <p:cNvSpPr/>
          <p:nvPr/>
        </p:nvSpPr>
        <p:spPr>
          <a:xfrm>
            <a:off x="1331050" y="1267077"/>
            <a:ext cx="9305043" cy="642477"/>
          </a:xfrm>
          <a:prstGeom prst="rightArrow">
            <a:avLst/>
          </a:prstGeom>
          <a:solidFill>
            <a:srgbClr val="92D05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err="1">
                <a:ln>
                  <a:noFill/>
                </a:ln>
                <a:solidFill>
                  <a:srgbClr val="FFFFFF"/>
                </a:solidFill>
                <a:effectLst/>
                <a:uLnTx/>
                <a:uFillTx/>
                <a:latin typeface="Trebuchet MS"/>
                <a:ea typeface="+mn-ea"/>
                <a:cs typeface="+mn-cs"/>
              </a:rPr>
              <a:t>Process</a:t>
            </a:r>
            <a:r>
              <a:rPr kumimoji="0" lang="pl-PL" sz="1200" b="0" i="0" u="none" strike="noStrike" kern="1200" cap="none" spc="0" normalizeH="0" baseline="0" noProof="0" dirty="0">
                <a:ln>
                  <a:noFill/>
                </a:ln>
                <a:solidFill>
                  <a:srgbClr val="FFFFFF"/>
                </a:solidFill>
                <a:effectLst/>
                <a:uLnTx/>
                <a:uFillTx/>
                <a:latin typeface="Trebuchet MS"/>
                <a:ea typeface="+mn-ea"/>
                <a:cs typeface="+mn-cs"/>
              </a:rPr>
              <a:t> / products </a:t>
            </a:r>
            <a:r>
              <a:rPr kumimoji="0" lang="pl-PL" sz="1200" b="0" i="0" u="none" strike="noStrike" kern="1200" cap="none" spc="0" normalizeH="0" baseline="0" noProof="0" dirty="0" err="1">
                <a:ln>
                  <a:noFill/>
                </a:ln>
                <a:solidFill>
                  <a:srgbClr val="FFFFFF"/>
                </a:solidFill>
                <a:effectLst/>
                <a:uLnTx/>
                <a:uFillTx/>
                <a:latin typeface="Trebuchet MS"/>
                <a:ea typeface="+mn-ea"/>
                <a:cs typeface="+mn-cs"/>
              </a:rPr>
              <a:t>digitisation</a:t>
            </a:r>
            <a:endParaRPr kumimoji="0" lang="pl-PL" sz="1200" b="0" i="0" u="none" strike="noStrike" kern="1200" cap="none" spc="0" normalizeH="0" baseline="0" noProof="0" dirty="0">
              <a:ln>
                <a:noFill/>
              </a:ln>
              <a:solidFill>
                <a:srgbClr val="FFFFFF"/>
              </a:solidFill>
              <a:effectLst/>
              <a:uLnTx/>
              <a:uFillTx/>
              <a:latin typeface="Trebuchet MS"/>
              <a:ea typeface="+mn-ea"/>
              <a:cs typeface="+mn-cs"/>
            </a:endParaRPr>
          </a:p>
        </p:txBody>
      </p:sp>
      <p:pic>
        <p:nvPicPr>
          <p:cNvPr id="34" name="Obraz 33">
            <a:extLst>
              <a:ext uri="{FF2B5EF4-FFF2-40B4-BE49-F238E27FC236}">
                <a16:creationId xmlns:a16="http://schemas.microsoft.com/office/drawing/2014/main" id="{D8C6CF70-E467-43D2-8E81-F9BF67FC62EB}"/>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10925067" y="1883491"/>
            <a:ext cx="1211176" cy="1173438"/>
          </a:xfrm>
          <a:prstGeom prst="rect">
            <a:avLst/>
          </a:prstGeom>
        </p:spPr>
      </p:pic>
      <p:pic>
        <p:nvPicPr>
          <p:cNvPr id="35" name="Obraz 34">
            <a:extLst>
              <a:ext uri="{FF2B5EF4-FFF2-40B4-BE49-F238E27FC236}">
                <a16:creationId xmlns:a16="http://schemas.microsoft.com/office/drawing/2014/main" id="{E8A5C04F-BBE9-4D10-9E80-6981B05BF86A}"/>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39463" y="2053938"/>
            <a:ext cx="1034716" cy="895117"/>
          </a:xfrm>
          <a:prstGeom prst="rect">
            <a:avLst/>
          </a:prstGeom>
        </p:spPr>
      </p:pic>
      <p:sp>
        <p:nvSpPr>
          <p:cNvPr id="2" name="Prostokąt 1">
            <a:extLst>
              <a:ext uri="{FF2B5EF4-FFF2-40B4-BE49-F238E27FC236}">
                <a16:creationId xmlns:a16="http://schemas.microsoft.com/office/drawing/2014/main" id="{9B50947F-96CF-5AF0-7B87-9747CA7D4A03}"/>
              </a:ext>
            </a:extLst>
          </p:cNvPr>
          <p:cNvSpPr/>
          <p:nvPr/>
        </p:nvSpPr>
        <p:spPr>
          <a:xfrm>
            <a:off x="6069798" y="4562369"/>
            <a:ext cx="1523110" cy="562055"/>
          </a:xfrm>
          <a:prstGeom prst="rect">
            <a:avLst/>
          </a:prstGeom>
          <a:solidFill>
            <a:schemeClr val="tx2">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pl-PL" sz="1200" dirty="0">
                <a:solidFill>
                  <a:srgbClr val="FFFFFF"/>
                </a:solidFill>
                <a:latin typeface="Trebuchet MS"/>
              </a:rPr>
              <a:t>New </a:t>
            </a:r>
            <a:r>
              <a:rPr lang="pl-PL" sz="1200" dirty="0" err="1">
                <a:solidFill>
                  <a:srgbClr val="FFFFFF"/>
                </a:solidFill>
                <a:latin typeface="Trebuchet MS"/>
              </a:rPr>
              <a:t>organisational</a:t>
            </a:r>
            <a:r>
              <a:rPr lang="pl-PL" sz="1200" dirty="0">
                <a:solidFill>
                  <a:srgbClr val="FFFFFF"/>
                </a:solidFill>
                <a:latin typeface="Trebuchet MS"/>
              </a:rPr>
              <a:t> </a:t>
            </a:r>
            <a:r>
              <a:rPr lang="pl-PL" sz="1200" dirty="0" err="1">
                <a:solidFill>
                  <a:srgbClr val="FFFFFF"/>
                </a:solidFill>
                <a:latin typeface="Trebuchet MS"/>
              </a:rPr>
              <a:t>structure</a:t>
            </a:r>
            <a:r>
              <a:rPr lang="pl-PL" sz="1200" dirty="0">
                <a:solidFill>
                  <a:srgbClr val="FFFFFF"/>
                </a:solidFill>
                <a:latin typeface="Trebuchet MS"/>
              </a:rPr>
              <a:t> – </a:t>
            </a:r>
            <a:r>
              <a:rPr lang="pl-PL" sz="1200" dirty="0" err="1">
                <a:solidFill>
                  <a:srgbClr val="FFFFFF"/>
                </a:solidFill>
                <a:latin typeface="Trebuchet MS"/>
              </a:rPr>
              <a:t>phase</a:t>
            </a:r>
            <a:r>
              <a:rPr lang="pl-PL" sz="1200" dirty="0">
                <a:solidFill>
                  <a:srgbClr val="FFFFFF"/>
                </a:solidFill>
                <a:latin typeface="Trebuchet MS"/>
              </a:rPr>
              <a:t> 3</a:t>
            </a:r>
            <a:endParaRPr kumimoji="0" lang="pl-PL"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3" name="Prostokąt 2">
            <a:extLst>
              <a:ext uri="{FF2B5EF4-FFF2-40B4-BE49-F238E27FC236}">
                <a16:creationId xmlns:a16="http://schemas.microsoft.com/office/drawing/2014/main" id="{AF6CDA77-FC10-A0F9-8A65-DEB25B4379F3}"/>
              </a:ext>
            </a:extLst>
          </p:cNvPr>
          <p:cNvSpPr/>
          <p:nvPr/>
        </p:nvSpPr>
        <p:spPr>
          <a:xfrm>
            <a:off x="8082190" y="2000791"/>
            <a:ext cx="2330479" cy="429919"/>
          </a:xfrm>
          <a:prstGeom prst="rect">
            <a:avLst/>
          </a:prstGeom>
          <a:solidFill>
            <a:schemeClr val="tx2">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pl-PL" sz="1200" dirty="0">
                <a:solidFill>
                  <a:srgbClr val="FFFFFF"/>
                </a:solidFill>
                <a:latin typeface="Trebuchet MS"/>
              </a:rPr>
              <a:t>LUMI for CC</a:t>
            </a:r>
            <a:endParaRPr kumimoji="0" lang="pl-PL" sz="1200" b="0" i="0" u="none" strike="noStrike" kern="1200" cap="none" spc="0" normalizeH="0" baseline="0" noProof="0" dirty="0">
              <a:ln>
                <a:noFill/>
              </a:ln>
              <a:solidFill>
                <a:srgbClr val="FFFFFF"/>
              </a:solidFill>
              <a:effectLst/>
              <a:uLnTx/>
              <a:uFillTx/>
              <a:latin typeface="Trebuchet MS"/>
              <a:ea typeface="+mn-ea"/>
              <a:cs typeface="+mn-cs"/>
            </a:endParaRPr>
          </a:p>
        </p:txBody>
      </p:sp>
    </p:spTree>
    <p:extLst>
      <p:ext uri="{BB962C8B-B14F-4D97-AF65-F5344CB8AC3E}">
        <p14:creationId xmlns:p14="http://schemas.microsoft.com/office/powerpoint/2010/main" val="273910428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ymbol zastępczy numeru slajdu 2">
            <a:extLst>
              <a:ext uri="{FF2B5EF4-FFF2-40B4-BE49-F238E27FC236}">
                <a16:creationId xmlns:a16="http://schemas.microsoft.com/office/drawing/2014/main" id="{7BFEC89C-D8C0-1B31-0834-124CBE1CB4C2}"/>
              </a:ext>
            </a:extLst>
          </p:cNvPr>
          <p:cNvSpPr>
            <a:spLocks noGrp="1"/>
          </p:cNvSpPr>
          <p:nvPr>
            <p:ph type="sldNum" sz="quarter" idx="10"/>
          </p:nvPr>
        </p:nvSpPr>
        <p:spPr/>
        <p:txBody>
          <a:bodyPr/>
          <a:lstStyle/>
          <a:p>
            <a:pPr defTabSz="467539"/>
            <a:fld id="{332DF002-2E43-485C-89F8-8DCEF59D6C4F}" type="slidenum">
              <a:rPr lang="pl-PL">
                <a:latin typeface="Arial"/>
              </a:rPr>
              <a:pPr defTabSz="467539"/>
              <a:t>5</a:t>
            </a:fld>
            <a:endParaRPr lang="pl-PL" dirty="0">
              <a:latin typeface="Arial"/>
            </a:endParaRPr>
          </a:p>
        </p:txBody>
      </p:sp>
      <p:sp>
        <p:nvSpPr>
          <p:cNvPr id="83" name="Prostokąt 82">
            <a:extLst>
              <a:ext uri="{FF2B5EF4-FFF2-40B4-BE49-F238E27FC236}">
                <a16:creationId xmlns:a16="http://schemas.microsoft.com/office/drawing/2014/main" id="{A5CCCCF1-0F83-408E-8722-C4CEEC51822A}"/>
              </a:ext>
            </a:extLst>
          </p:cNvPr>
          <p:cNvSpPr/>
          <p:nvPr/>
        </p:nvSpPr>
        <p:spPr>
          <a:xfrm>
            <a:off x="2844475" y="1377321"/>
            <a:ext cx="6343461" cy="4624087"/>
          </a:xfrm>
          <a:prstGeom prst="rect">
            <a:avLst/>
          </a:prstGeom>
          <a:noFill/>
          <a:ln w="28575" cap="rnd" cmpd="sng" algn="ctr">
            <a:solidFill>
              <a:srgbClr val="30847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l-PL" sz="1200" b="0" i="0" u="none" strike="noStrike" kern="0" cap="none" spc="0" normalizeH="0" baseline="0" noProof="0" dirty="0">
              <a:ln>
                <a:noFill/>
              </a:ln>
              <a:solidFill>
                <a:srgbClr val="FFFFFF"/>
              </a:solidFill>
              <a:effectLst/>
              <a:uLnTx/>
              <a:uFillTx/>
              <a:latin typeface="Trebuchet MS"/>
              <a:ea typeface="+mn-ea"/>
              <a:cs typeface="+mn-cs"/>
            </a:endParaRPr>
          </a:p>
        </p:txBody>
      </p:sp>
      <p:pic>
        <p:nvPicPr>
          <p:cNvPr id="84" name="Obraz 83">
            <a:extLst>
              <a:ext uri="{FF2B5EF4-FFF2-40B4-BE49-F238E27FC236}">
                <a16:creationId xmlns:a16="http://schemas.microsoft.com/office/drawing/2014/main" id="{18B1F072-F9DC-40DA-A581-13AB285D2392}"/>
              </a:ext>
            </a:extLst>
          </p:cNvPr>
          <p:cNvPicPr>
            <a:picLocks noChangeAspect="1"/>
          </p:cNvPicPr>
          <p:nvPr/>
        </p:nvPicPr>
        <p:blipFill>
          <a:blip r:embed="rId2">
            <a:duotone>
              <a:srgbClr val="9A9A9A">
                <a:shade val="45000"/>
                <a:satMod val="135000"/>
              </a:srgbClr>
              <a:prstClr val="white"/>
            </a:duotone>
            <a:alphaModFix amt="50000"/>
          </a:blip>
          <a:stretch>
            <a:fillRect/>
          </a:stretch>
        </p:blipFill>
        <p:spPr>
          <a:xfrm>
            <a:off x="3630469" y="1902067"/>
            <a:ext cx="3771648" cy="3432345"/>
          </a:xfrm>
          <a:prstGeom prst="rect">
            <a:avLst/>
          </a:prstGeom>
        </p:spPr>
      </p:pic>
      <p:sp>
        <p:nvSpPr>
          <p:cNvPr id="85" name="Rectangle: Rounded Corners 14">
            <a:extLst>
              <a:ext uri="{FF2B5EF4-FFF2-40B4-BE49-F238E27FC236}">
                <a16:creationId xmlns:a16="http://schemas.microsoft.com/office/drawing/2014/main" id="{544D19E3-FF40-4248-BCBB-E92FAD0A4DA8}"/>
              </a:ext>
            </a:extLst>
          </p:cNvPr>
          <p:cNvSpPr/>
          <p:nvPr/>
        </p:nvSpPr>
        <p:spPr>
          <a:xfrm>
            <a:off x="187797" y="135517"/>
            <a:ext cx="9031862" cy="686600"/>
          </a:xfrm>
          <a:prstGeom prst="roundRect">
            <a:avLst>
              <a:gd name="adj" fmla="val 2942"/>
            </a:avLst>
          </a:prstGeom>
        </p:spPr>
        <p:txBody>
          <a:bodyPr vert="horz" wrap="square" lIns="0" tIns="0" rIns="0" bIns="0" rtlCol="0" anchor="t">
            <a:spAutoFit/>
          </a:bodyPr>
          <a:lstStyle/>
          <a:p>
            <a:pPr>
              <a:lnSpc>
                <a:spcPct val="90000"/>
              </a:lnSpc>
              <a:spcBef>
                <a:spcPct val="0"/>
              </a:spcBef>
            </a:pPr>
            <a:endParaRPr lang="en-AU" sz="3200" b="1" dirty="0">
              <a:solidFill>
                <a:srgbClr val="008C8A"/>
              </a:solidFill>
              <a:latin typeface="Calibri" panose="020F0502020204030204" pitchFamily="34" charset="0"/>
              <a:ea typeface="Calibri" panose="020F0502020204030204" pitchFamily="34" charset="0"/>
              <a:cs typeface="Calibri" panose="020F0502020204030204" pitchFamily="34" charset="0"/>
              <a:sym typeface="Trebuchet MS" panose="020B0603020202020204" pitchFamily="34" charset="0"/>
            </a:endParaRPr>
          </a:p>
        </p:txBody>
      </p:sp>
      <p:sp>
        <p:nvSpPr>
          <p:cNvPr id="86" name="Title 1">
            <a:extLst>
              <a:ext uri="{FF2B5EF4-FFF2-40B4-BE49-F238E27FC236}">
                <a16:creationId xmlns:a16="http://schemas.microsoft.com/office/drawing/2014/main" id="{BC9FF222-0F2E-45BC-8E01-FBEC48D2DEE1}"/>
              </a:ext>
            </a:extLst>
          </p:cNvPr>
          <p:cNvSpPr txBox="1">
            <a:spLocks/>
          </p:cNvSpPr>
          <p:nvPr/>
        </p:nvSpPr>
        <p:spPr>
          <a:xfrm>
            <a:off x="187797" y="257593"/>
            <a:ext cx="10053483" cy="443198"/>
          </a:xfrm>
          <a:prstGeom prst="rect">
            <a:avLst/>
          </a:prstGeom>
        </p:spPr>
        <p:txBody>
          <a:bodyPr vert="horz" wrap="square" lIns="0" tIns="0" rIns="0" bIns="0" rtlCol="0" anchor="t">
            <a:spAutoFit/>
          </a:bodyPr>
          <a:lstStyle>
            <a:defPPr>
              <a:defRPr lang="pl-PL"/>
            </a:defPPr>
            <a:lvl1pPr>
              <a:lnSpc>
                <a:spcPct val="90000"/>
              </a:lnSpc>
              <a:spcBef>
                <a:spcPct val="0"/>
              </a:spcBef>
              <a:buNone/>
              <a:defRPr sz="3200" b="1">
                <a:solidFill>
                  <a:srgbClr val="008C8A"/>
                </a:solidFill>
                <a:latin typeface="Calibri" panose="020F0502020204030204" pitchFamily="34" charset="0"/>
                <a:ea typeface="Calibri" panose="020F0502020204030204" pitchFamily="34" charset="0"/>
                <a:cs typeface="Calibri" panose="020F0502020204030204" pitchFamily="34" charset="0"/>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pl-PL" sz="3200" b="1" i="0" u="none" strike="noStrike" kern="0" cap="none" spc="0" normalizeH="0" baseline="0" noProof="0" dirty="0" err="1">
                <a:ln>
                  <a:noFill/>
                </a:ln>
                <a:solidFill>
                  <a:srgbClr val="008C8A"/>
                </a:solidFill>
                <a:effectLst/>
                <a:uLnTx/>
                <a:uFillTx/>
                <a:latin typeface="Arial Black" panose="020B0A04020102020204" pitchFamily="34" charset="0"/>
              </a:rPr>
              <a:t>Inbound</a:t>
            </a:r>
            <a:r>
              <a:rPr kumimoji="0" lang="pl-PL" sz="3200" b="1" i="0" u="none" strike="noStrike" kern="0" cap="none" spc="0" normalizeH="0" baseline="0" noProof="0" dirty="0">
                <a:ln>
                  <a:noFill/>
                </a:ln>
                <a:solidFill>
                  <a:srgbClr val="008C8A"/>
                </a:solidFill>
                <a:effectLst/>
                <a:uLnTx/>
                <a:uFillTx/>
                <a:latin typeface="Arial Black" panose="020B0A04020102020204" pitchFamily="34" charset="0"/>
              </a:rPr>
              <a:t> </a:t>
            </a:r>
            <a:r>
              <a:rPr kumimoji="0" lang="pl-PL" sz="3200" b="1" i="0" u="none" strike="noStrike" kern="0" cap="none" spc="0" normalizeH="0" baseline="0" noProof="0" dirty="0" err="1">
                <a:ln>
                  <a:noFill/>
                </a:ln>
                <a:solidFill>
                  <a:srgbClr val="008C8A"/>
                </a:solidFill>
                <a:effectLst/>
                <a:uLnTx/>
                <a:uFillTx/>
                <a:latin typeface="Arial Black" panose="020B0A04020102020204" pitchFamily="34" charset="0"/>
              </a:rPr>
              <a:t>traffic</a:t>
            </a:r>
            <a:r>
              <a:rPr kumimoji="0" lang="pl-PL" sz="3200" b="1" i="0" u="none" strike="noStrike" kern="0" cap="none" spc="0" normalizeH="0" baseline="0" noProof="0" dirty="0">
                <a:ln>
                  <a:noFill/>
                </a:ln>
                <a:solidFill>
                  <a:srgbClr val="008C8A"/>
                </a:solidFill>
                <a:effectLst/>
                <a:uLnTx/>
                <a:uFillTx/>
                <a:latin typeface="Arial Black" panose="020B0A04020102020204" pitchFamily="34" charset="0"/>
              </a:rPr>
              <a:t> </a:t>
            </a:r>
            <a:r>
              <a:rPr kumimoji="0" lang="pl-PL" sz="3200" b="1" i="0" u="none" strike="noStrike" kern="0" cap="none" spc="0" normalizeH="0" baseline="0" noProof="0" dirty="0" err="1">
                <a:ln>
                  <a:noFill/>
                </a:ln>
                <a:solidFill>
                  <a:srgbClr val="008C8A"/>
                </a:solidFill>
                <a:effectLst/>
                <a:uLnTx/>
                <a:uFillTx/>
                <a:latin typeface="Arial Black" panose="020B0A04020102020204" pitchFamily="34" charset="0"/>
              </a:rPr>
              <a:t>orchestration</a:t>
            </a:r>
            <a:r>
              <a:rPr kumimoji="0" lang="pl-PL" sz="3200" b="1" i="0" u="none" strike="noStrike" kern="0" cap="none" spc="0" normalizeH="0" baseline="0" noProof="0" dirty="0">
                <a:ln>
                  <a:noFill/>
                </a:ln>
                <a:solidFill>
                  <a:srgbClr val="008C8A"/>
                </a:solidFill>
                <a:effectLst/>
                <a:uLnTx/>
                <a:uFillTx/>
                <a:latin typeface="Arial Black" panose="020B0A04020102020204" pitchFamily="34" charset="0"/>
              </a:rPr>
              <a:t> – the </a:t>
            </a:r>
            <a:r>
              <a:rPr kumimoji="0" lang="pl-PL" sz="3200" b="1" i="0" u="none" strike="noStrike" kern="0" cap="none" spc="0" normalizeH="0" baseline="0" noProof="0" dirty="0" err="1">
                <a:ln>
                  <a:noFill/>
                </a:ln>
                <a:solidFill>
                  <a:srgbClr val="008C8A"/>
                </a:solidFill>
                <a:effectLst/>
                <a:uLnTx/>
                <a:uFillTx/>
                <a:latin typeface="Arial Black" panose="020B0A04020102020204" pitchFamily="34" charset="0"/>
              </a:rPr>
              <a:t>first</a:t>
            </a:r>
            <a:r>
              <a:rPr kumimoji="0" lang="pl-PL" sz="3200" b="1" i="0" u="none" strike="noStrike" kern="0" cap="none" spc="0" normalizeH="0" baseline="0" noProof="0" dirty="0">
                <a:ln>
                  <a:noFill/>
                </a:ln>
                <a:solidFill>
                  <a:srgbClr val="008C8A"/>
                </a:solidFill>
                <a:effectLst/>
                <a:uLnTx/>
                <a:uFillTx/>
                <a:latin typeface="Arial Black" panose="020B0A04020102020204" pitchFamily="34" charset="0"/>
              </a:rPr>
              <a:t> step</a:t>
            </a:r>
            <a:endParaRPr kumimoji="0" lang="en-AU" sz="3200" b="1" i="0" u="none" strike="noStrike" kern="0" cap="none" spc="0" normalizeH="0" baseline="0" noProof="0" dirty="0">
              <a:ln>
                <a:noFill/>
              </a:ln>
              <a:solidFill>
                <a:srgbClr val="008C8A"/>
              </a:solidFill>
              <a:effectLst/>
              <a:uLnTx/>
              <a:uFillTx/>
              <a:latin typeface="Arial Black" panose="020B0A04020102020204" pitchFamily="34" charset="0"/>
            </a:endParaRPr>
          </a:p>
        </p:txBody>
      </p:sp>
      <p:grpSp>
        <p:nvGrpSpPr>
          <p:cNvPr id="87" name="Grupa 86">
            <a:extLst>
              <a:ext uri="{FF2B5EF4-FFF2-40B4-BE49-F238E27FC236}">
                <a16:creationId xmlns:a16="http://schemas.microsoft.com/office/drawing/2014/main" id="{BD3EFAB9-CFFC-4CC3-BCB0-9C8EABBAE397}"/>
              </a:ext>
            </a:extLst>
          </p:cNvPr>
          <p:cNvGrpSpPr/>
          <p:nvPr/>
        </p:nvGrpSpPr>
        <p:grpSpPr>
          <a:xfrm>
            <a:off x="3164026" y="2318094"/>
            <a:ext cx="2912932" cy="2539443"/>
            <a:chOff x="700088" y="1565275"/>
            <a:chExt cx="3206750" cy="2795588"/>
          </a:xfrm>
          <a:solidFill>
            <a:srgbClr val="308470"/>
          </a:solidFill>
        </p:grpSpPr>
        <p:sp>
          <p:nvSpPr>
            <p:cNvPr id="88" name="Freeform 5">
              <a:extLst>
                <a:ext uri="{FF2B5EF4-FFF2-40B4-BE49-F238E27FC236}">
                  <a16:creationId xmlns:a16="http://schemas.microsoft.com/office/drawing/2014/main" id="{F47AD327-5514-4DB2-A205-1FCC76CF9D39}"/>
                </a:ext>
              </a:extLst>
            </p:cNvPr>
            <p:cNvSpPr>
              <a:spLocks/>
            </p:cNvSpPr>
            <p:nvPr/>
          </p:nvSpPr>
          <p:spPr bwMode="auto">
            <a:xfrm>
              <a:off x="1639888" y="2120900"/>
              <a:ext cx="758825" cy="700088"/>
            </a:xfrm>
            <a:custGeom>
              <a:avLst/>
              <a:gdLst>
                <a:gd name="T0" fmla="*/ 569 w 647"/>
                <a:gd name="T1" fmla="*/ 304 h 596"/>
                <a:gd name="T2" fmla="*/ 598 w 647"/>
                <a:gd name="T3" fmla="*/ 393 h 596"/>
                <a:gd name="T4" fmla="*/ 584 w 647"/>
                <a:gd name="T5" fmla="*/ 458 h 596"/>
                <a:gd name="T6" fmla="*/ 575 w 647"/>
                <a:gd name="T7" fmla="*/ 563 h 596"/>
                <a:gd name="T8" fmla="*/ 487 w 647"/>
                <a:gd name="T9" fmla="*/ 567 h 596"/>
                <a:gd name="T10" fmla="*/ 411 w 647"/>
                <a:gd name="T11" fmla="*/ 561 h 596"/>
                <a:gd name="T12" fmla="*/ 360 w 647"/>
                <a:gd name="T13" fmla="*/ 530 h 596"/>
                <a:gd name="T14" fmla="*/ 315 w 647"/>
                <a:gd name="T15" fmla="*/ 518 h 596"/>
                <a:gd name="T16" fmla="*/ 223 w 647"/>
                <a:gd name="T17" fmla="*/ 512 h 596"/>
                <a:gd name="T18" fmla="*/ 170 w 647"/>
                <a:gd name="T19" fmla="*/ 482 h 596"/>
                <a:gd name="T20" fmla="*/ 128 w 647"/>
                <a:gd name="T21" fmla="*/ 469 h 596"/>
                <a:gd name="T22" fmla="*/ 79 w 647"/>
                <a:gd name="T23" fmla="*/ 476 h 596"/>
                <a:gd name="T24" fmla="*/ 90 w 647"/>
                <a:gd name="T25" fmla="*/ 429 h 596"/>
                <a:gd name="T26" fmla="*/ 53 w 647"/>
                <a:gd name="T27" fmla="*/ 353 h 596"/>
                <a:gd name="T28" fmla="*/ 37 w 647"/>
                <a:gd name="T29" fmla="*/ 260 h 596"/>
                <a:gd name="T30" fmla="*/ 0 w 647"/>
                <a:gd name="T31" fmla="*/ 178 h 596"/>
                <a:gd name="T32" fmla="*/ 41 w 647"/>
                <a:gd name="T33" fmla="*/ 118 h 596"/>
                <a:gd name="T34" fmla="*/ 56 w 647"/>
                <a:gd name="T35" fmla="*/ 79 h 596"/>
                <a:gd name="T36" fmla="*/ 104 w 647"/>
                <a:gd name="T37" fmla="*/ 93 h 596"/>
                <a:gd name="T38" fmla="*/ 137 w 647"/>
                <a:gd name="T39" fmla="*/ 67 h 596"/>
                <a:gd name="T40" fmla="*/ 118 w 647"/>
                <a:gd name="T41" fmla="*/ 40 h 596"/>
                <a:gd name="T42" fmla="*/ 149 w 647"/>
                <a:gd name="T43" fmla="*/ 10 h 596"/>
                <a:gd name="T44" fmla="*/ 183 w 647"/>
                <a:gd name="T45" fmla="*/ 21 h 596"/>
                <a:gd name="T46" fmla="*/ 208 w 647"/>
                <a:gd name="T47" fmla="*/ 0 h 596"/>
                <a:gd name="T48" fmla="*/ 263 w 647"/>
                <a:gd name="T49" fmla="*/ 25 h 596"/>
                <a:gd name="T50" fmla="*/ 338 w 647"/>
                <a:gd name="T51" fmla="*/ 38 h 596"/>
                <a:gd name="T52" fmla="*/ 380 w 647"/>
                <a:gd name="T53" fmla="*/ 25 h 596"/>
                <a:gd name="T54" fmla="*/ 431 w 647"/>
                <a:gd name="T55" fmla="*/ 57 h 596"/>
                <a:gd name="T56" fmla="*/ 455 w 647"/>
                <a:gd name="T57" fmla="*/ 51 h 596"/>
                <a:gd name="T58" fmla="*/ 498 w 647"/>
                <a:gd name="T59" fmla="*/ 54 h 596"/>
                <a:gd name="T60" fmla="*/ 517 w 647"/>
                <a:gd name="T61" fmla="*/ 133 h 596"/>
                <a:gd name="T62" fmla="*/ 586 w 647"/>
                <a:gd name="T63" fmla="*/ 156 h 596"/>
                <a:gd name="T64" fmla="*/ 621 w 647"/>
                <a:gd name="T65" fmla="*/ 153 h 596"/>
                <a:gd name="T66" fmla="*/ 647 w 647"/>
                <a:gd name="T67" fmla="*/ 198 h 596"/>
                <a:gd name="T68" fmla="*/ 626 w 647"/>
                <a:gd name="T69" fmla="*/ 278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47" h="596">
                  <a:moveTo>
                    <a:pt x="626" y="278"/>
                  </a:moveTo>
                  <a:cubicBezTo>
                    <a:pt x="569" y="304"/>
                    <a:pt x="569" y="304"/>
                    <a:pt x="569" y="304"/>
                  </a:cubicBezTo>
                  <a:cubicBezTo>
                    <a:pt x="575" y="339"/>
                    <a:pt x="575" y="339"/>
                    <a:pt x="575" y="339"/>
                  </a:cubicBezTo>
                  <a:cubicBezTo>
                    <a:pt x="598" y="393"/>
                    <a:pt x="598" y="393"/>
                    <a:pt x="598" y="393"/>
                  </a:cubicBezTo>
                  <a:cubicBezTo>
                    <a:pt x="569" y="433"/>
                    <a:pt x="569" y="433"/>
                    <a:pt x="569" y="433"/>
                  </a:cubicBezTo>
                  <a:cubicBezTo>
                    <a:pt x="584" y="458"/>
                    <a:pt x="584" y="458"/>
                    <a:pt x="584" y="458"/>
                  </a:cubicBezTo>
                  <a:cubicBezTo>
                    <a:pt x="563" y="536"/>
                    <a:pt x="563" y="536"/>
                    <a:pt x="563" y="536"/>
                  </a:cubicBezTo>
                  <a:cubicBezTo>
                    <a:pt x="575" y="563"/>
                    <a:pt x="575" y="563"/>
                    <a:pt x="575" y="563"/>
                  </a:cubicBezTo>
                  <a:cubicBezTo>
                    <a:pt x="510" y="584"/>
                    <a:pt x="510" y="584"/>
                    <a:pt x="510" y="584"/>
                  </a:cubicBezTo>
                  <a:cubicBezTo>
                    <a:pt x="487" y="567"/>
                    <a:pt x="487" y="567"/>
                    <a:pt x="487" y="567"/>
                  </a:cubicBezTo>
                  <a:cubicBezTo>
                    <a:pt x="487" y="567"/>
                    <a:pt x="461" y="583"/>
                    <a:pt x="449" y="589"/>
                  </a:cubicBezTo>
                  <a:cubicBezTo>
                    <a:pt x="436" y="596"/>
                    <a:pt x="411" y="561"/>
                    <a:pt x="411" y="561"/>
                  </a:cubicBezTo>
                  <a:cubicBezTo>
                    <a:pt x="403" y="541"/>
                    <a:pt x="403" y="541"/>
                    <a:pt x="403" y="541"/>
                  </a:cubicBezTo>
                  <a:cubicBezTo>
                    <a:pt x="360" y="530"/>
                    <a:pt x="360" y="530"/>
                    <a:pt x="360" y="530"/>
                  </a:cubicBezTo>
                  <a:cubicBezTo>
                    <a:pt x="346" y="543"/>
                    <a:pt x="346" y="543"/>
                    <a:pt x="346" y="543"/>
                  </a:cubicBezTo>
                  <a:cubicBezTo>
                    <a:pt x="315" y="518"/>
                    <a:pt x="315" y="518"/>
                    <a:pt x="315" y="518"/>
                  </a:cubicBezTo>
                  <a:cubicBezTo>
                    <a:pt x="295" y="544"/>
                    <a:pt x="295" y="544"/>
                    <a:pt x="295" y="544"/>
                  </a:cubicBezTo>
                  <a:cubicBezTo>
                    <a:pt x="223" y="512"/>
                    <a:pt x="223" y="512"/>
                    <a:pt x="223" y="512"/>
                  </a:cubicBezTo>
                  <a:cubicBezTo>
                    <a:pt x="214" y="496"/>
                    <a:pt x="214" y="496"/>
                    <a:pt x="214" y="496"/>
                  </a:cubicBezTo>
                  <a:cubicBezTo>
                    <a:pt x="170" y="482"/>
                    <a:pt x="170" y="482"/>
                    <a:pt x="170" y="482"/>
                  </a:cubicBezTo>
                  <a:cubicBezTo>
                    <a:pt x="147" y="496"/>
                    <a:pt x="147" y="496"/>
                    <a:pt x="147" y="496"/>
                  </a:cubicBezTo>
                  <a:cubicBezTo>
                    <a:pt x="128" y="469"/>
                    <a:pt x="128" y="469"/>
                    <a:pt x="128" y="469"/>
                  </a:cubicBezTo>
                  <a:cubicBezTo>
                    <a:pt x="99" y="479"/>
                    <a:pt x="99" y="479"/>
                    <a:pt x="99" y="479"/>
                  </a:cubicBezTo>
                  <a:cubicBezTo>
                    <a:pt x="79" y="476"/>
                    <a:pt x="79" y="476"/>
                    <a:pt x="79" y="476"/>
                  </a:cubicBezTo>
                  <a:cubicBezTo>
                    <a:pt x="69" y="439"/>
                    <a:pt x="69" y="439"/>
                    <a:pt x="69" y="439"/>
                  </a:cubicBezTo>
                  <a:cubicBezTo>
                    <a:pt x="90" y="429"/>
                    <a:pt x="90" y="429"/>
                    <a:pt x="90" y="429"/>
                  </a:cubicBezTo>
                  <a:cubicBezTo>
                    <a:pt x="83" y="379"/>
                    <a:pt x="83" y="379"/>
                    <a:pt x="83" y="379"/>
                  </a:cubicBezTo>
                  <a:cubicBezTo>
                    <a:pt x="53" y="353"/>
                    <a:pt x="53" y="353"/>
                    <a:pt x="53" y="353"/>
                  </a:cubicBezTo>
                  <a:cubicBezTo>
                    <a:pt x="30" y="339"/>
                    <a:pt x="30" y="339"/>
                    <a:pt x="30" y="339"/>
                  </a:cubicBezTo>
                  <a:cubicBezTo>
                    <a:pt x="37" y="260"/>
                    <a:pt x="37" y="260"/>
                    <a:pt x="37" y="260"/>
                  </a:cubicBezTo>
                  <a:cubicBezTo>
                    <a:pt x="36" y="202"/>
                    <a:pt x="36" y="202"/>
                    <a:pt x="36" y="202"/>
                  </a:cubicBezTo>
                  <a:cubicBezTo>
                    <a:pt x="0" y="178"/>
                    <a:pt x="0" y="178"/>
                    <a:pt x="0" y="178"/>
                  </a:cubicBezTo>
                  <a:cubicBezTo>
                    <a:pt x="25" y="136"/>
                    <a:pt x="25" y="136"/>
                    <a:pt x="25" y="136"/>
                  </a:cubicBezTo>
                  <a:cubicBezTo>
                    <a:pt x="41" y="118"/>
                    <a:pt x="41" y="118"/>
                    <a:pt x="41" y="118"/>
                  </a:cubicBezTo>
                  <a:cubicBezTo>
                    <a:pt x="44" y="88"/>
                    <a:pt x="44" y="88"/>
                    <a:pt x="44" y="88"/>
                  </a:cubicBezTo>
                  <a:cubicBezTo>
                    <a:pt x="56" y="79"/>
                    <a:pt x="56" y="79"/>
                    <a:pt x="56" y="79"/>
                  </a:cubicBezTo>
                  <a:cubicBezTo>
                    <a:pt x="70" y="93"/>
                    <a:pt x="70" y="93"/>
                    <a:pt x="70" y="93"/>
                  </a:cubicBezTo>
                  <a:cubicBezTo>
                    <a:pt x="104" y="93"/>
                    <a:pt x="104" y="93"/>
                    <a:pt x="104" y="93"/>
                  </a:cubicBezTo>
                  <a:cubicBezTo>
                    <a:pt x="122" y="88"/>
                    <a:pt x="122" y="88"/>
                    <a:pt x="122" y="88"/>
                  </a:cubicBezTo>
                  <a:cubicBezTo>
                    <a:pt x="137" y="67"/>
                    <a:pt x="137" y="67"/>
                    <a:pt x="137" y="67"/>
                  </a:cubicBezTo>
                  <a:cubicBezTo>
                    <a:pt x="111" y="52"/>
                    <a:pt x="111" y="52"/>
                    <a:pt x="111" y="52"/>
                  </a:cubicBezTo>
                  <a:cubicBezTo>
                    <a:pt x="118" y="40"/>
                    <a:pt x="118" y="40"/>
                    <a:pt x="118" y="40"/>
                  </a:cubicBezTo>
                  <a:cubicBezTo>
                    <a:pt x="118" y="40"/>
                    <a:pt x="148" y="32"/>
                    <a:pt x="148" y="32"/>
                  </a:cubicBezTo>
                  <a:cubicBezTo>
                    <a:pt x="147" y="32"/>
                    <a:pt x="149" y="10"/>
                    <a:pt x="149" y="10"/>
                  </a:cubicBezTo>
                  <a:cubicBezTo>
                    <a:pt x="149" y="10"/>
                    <a:pt x="170" y="8"/>
                    <a:pt x="170" y="8"/>
                  </a:cubicBezTo>
                  <a:cubicBezTo>
                    <a:pt x="183" y="21"/>
                    <a:pt x="183" y="21"/>
                    <a:pt x="183" y="21"/>
                  </a:cubicBezTo>
                  <a:cubicBezTo>
                    <a:pt x="190" y="24"/>
                    <a:pt x="190" y="24"/>
                    <a:pt x="190" y="24"/>
                  </a:cubicBezTo>
                  <a:cubicBezTo>
                    <a:pt x="208" y="0"/>
                    <a:pt x="208" y="0"/>
                    <a:pt x="208" y="0"/>
                  </a:cubicBezTo>
                  <a:cubicBezTo>
                    <a:pt x="249" y="8"/>
                    <a:pt x="249" y="8"/>
                    <a:pt x="249" y="8"/>
                  </a:cubicBezTo>
                  <a:cubicBezTo>
                    <a:pt x="263" y="25"/>
                    <a:pt x="263" y="25"/>
                    <a:pt x="263" y="25"/>
                  </a:cubicBezTo>
                  <a:cubicBezTo>
                    <a:pt x="324" y="25"/>
                    <a:pt x="324" y="25"/>
                    <a:pt x="324" y="25"/>
                  </a:cubicBezTo>
                  <a:cubicBezTo>
                    <a:pt x="324" y="25"/>
                    <a:pt x="338" y="38"/>
                    <a:pt x="338" y="38"/>
                  </a:cubicBezTo>
                  <a:cubicBezTo>
                    <a:pt x="339" y="38"/>
                    <a:pt x="360" y="16"/>
                    <a:pt x="360" y="16"/>
                  </a:cubicBezTo>
                  <a:cubicBezTo>
                    <a:pt x="380" y="25"/>
                    <a:pt x="380" y="25"/>
                    <a:pt x="380" y="25"/>
                  </a:cubicBezTo>
                  <a:cubicBezTo>
                    <a:pt x="381" y="51"/>
                    <a:pt x="381" y="51"/>
                    <a:pt x="381" y="51"/>
                  </a:cubicBezTo>
                  <a:cubicBezTo>
                    <a:pt x="431" y="57"/>
                    <a:pt x="431" y="57"/>
                    <a:pt x="431" y="57"/>
                  </a:cubicBezTo>
                  <a:cubicBezTo>
                    <a:pt x="447" y="50"/>
                    <a:pt x="447" y="50"/>
                    <a:pt x="447" y="50"/>
                  </a:cubicBezTo>
                  <a:cubicBezTo>
                    <a:pt x="455" y="51"/>
                    <a:pt x="455" y="51"/>
                    <a:pt x="455" y="51"/>
                  </a:cubicBezTo>
                  <a:cubicBezTo>
                    <a:pt x="479" y="44"/>
                    <a:pt x="479" y="44"/>
                    <a:pt x="479" y="44"/>
                  </a:cubicBezTo>
                  <a:cubicBezTo>
                    <a:pt x="498" y="54"/>
                    <a:pt x="498" y="54"/>
                    <a:pt x="498" y="54"/>
                  </a:cubicBezTo>
                  <a:cubicBezTo>
                    <a:pt x="498" y="98"/>
                    <a:pt x="498" y="98"/>
                    <a:pt x="498" y="98"/>
                  </a:cubicBezTo>
                  <a:cubicBezTo>
                    <a:pt x="517" y="133"/>
                    <a:pt x="517" y="133"/>
                    <a:pt x="517" y="133"/>
                  </a:cubicBezTo>
                  <a:cubicBezTo>
                    <a:pt x="552" y="128"/>
                    <a:pt x="552" y="128"/>
                    <a:pt x="552" y="128"/>
                  </a:cubicBezTo>
                  <a:cubicBezTo>
                    <a:pt x="586" y="156"/>
                    <a:pt x="586" y="156"/>
                    <a:pt x="586" y="156"/>
                  </a:cubicBezTo>
                  <a:cubicBezTo>
                    <a:pt x="586" y="156"/>
                    <a:pt x="615" y="148"/>
                    <a:pt x="615" y="148"/>
                  </a:cubicBezTo>
                  <a:cubicBezTo>
                    <a:pt x="615" y="148"/>
                    <a:pt x="621" y="153"/>
                    <a:pt x="621" y="153"/>
                  </a:cubicBezTo>
                  <a:cubicBezTo>
                    <a:pt x="626" y="182"/>
                    <a:pt x="626" y="182"/>
                    <a:pt x="626" y="182"/>
                  </a:cubicBezTo>
                  <a:cubicBezTo>
                    <a:pt x="647" y="198"/>
                    <a:pt x="647" y="198"/>
                    <a:pt x="647" y="198"/>
                  </a:cubicBezTo>
                  <a:cubicBezTo>
                    <a:pt x="605" y="231"/>
                    <a:pt x="605" y="231"/>
                    <a:pt x="605" y="231"/>
                  </a:cubicBezTo>
                  <a:lnTo>
                    <a:pt x="626" y="278"/>
                  </a:lnTo>
                  <a:close/>
                </a:path>
              </a:pathLst>
            </a:custGeom>
            <a:grpFill/>
            <a:ln>
              <a:solidFill>
                <a:srgbClr val="FFFFFF"/>
              </a:solidFill>
            </a:ln>
          </p:spPr>
          <p:txBody>
            <a:bodyPr vert="horz" wrap="square" lIns="121920" tIns="60960" rIns="121920" bIns="60960" numCol="1" anchor="t" anchorCtr="0" compatLnSpc="1">
              <a:prstTxWarp prst="textNoShape">
                <a:avLst/>
              </a:prstTxWarp>
            </a:bodyPr>
            <a:lstStyle/>
            <a:p>
              <a:pPr marL="0" marR="0" lvl="0" indent="0" defTabSz="467539"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000000"/>
                </a:solidFill>
                <a:effectLst/>
                <a:uLnTx/>
                <a:uFillTx/>
              </a:endParaRPr>
            </a:p>
          </p:txBody>
        </p:sp>
        <p:sp>
          <p:nvSpPr>
            <p:cNvPr id="89" name="Freeform 6">
              <a:extLst>
                <a:ext uri="{FF2B5EF4-FFF2-40B4-BE49-F238E27FC236}">
                  <a16:creationId xmlns:a16="http://schemas.microsoft.com/office/drawing/2014/main" id="{66FEAB6A-4C4A-4DA3-B654-FFDB9DD72641}"/>
                </a:ext>
              </a:extLst>
            </p:cNvPr>
            <p:cNvSpPr>
              <a:spLocks/>
            </p:cNvSpPr>
            <p:nvPr/>
          </p:nvSpPr>
          <p:spPr bwMode="auto">
            <a:xfrm>
              <a:off x="2163763" y="1657350"/>
              <a:ext cx="1116013" cy="736600"/>
            </a:xfrm>
            <a:custGeom>
              <a:avLst/>
              <a:gdLst>
                <a:gd name="T0" fmla="*/ 887 w 949"/>
                <a:gd name="T1" fmla="*/ 113 h 628"/>
                <a:gd name="T2" fmla="*/ 869 w 949"/>
                <a:gd name="T3" fmla="*/ 66 h 628"/>
                <a:gd name="T4" fmla="*/ 917 w 949"/>
                <a:gd name="T5" fmla="*/ 0 h 628"/>
                <a:gd name="T6" fmla="*/ 211 w 949"/>
                <a:gd name="T7" fmla="*/ 39 h 628"/>
                <a:gd name="T8" fmla="*/ 198 w 949"/>
                <a:gd name="T9" fmla="*/ 39 h 628"/>
                <a:gd name="T10" fmla="*/ 192 w 949"/>
                <a:gd name="T11" fmla="*/ 46 h 628"/>
                <a:gd name="T12" fmla="*/ 183 w 949"/>
                <a:gd name="T13" fmla="*/ 50 h 628"/>
                <a:gd name="T14" fmla="*/ 173 w 949"/>
                <a:gd name="T15" fmla="*/ 60 h 628"/>
                <a:gd name="T16" fmla="*/ 165 w 949"/>
                <a:gd name="T17" fmla="*/ 67 h 628"/>
                <a:gd name="T18" fmla="*/ 153 w 949"/>
                <a:gd name="T19" fmla="*/ 83 h 628"/>
                <a:gd name="T20" fmla="*/ 147 w 949"/>
                <a:gd name="T21" fmla="*/ 95 h 628"/>
                <a:gd name="T22" fmla="*/ 134 w 949"/>
                <a:gd name="T23" fmla="*/ 107 h 628"/>
                <a:gd name="T24" fmla="*/ 113 w 949"/>
                <a:gd name="T25" fmla="*/ 113 h 628"/>
                <a:gd name="T26" fmla="*/ 106 w 949"/>
                <a:gd name="T27" fmla="*/ 122 h 628"/>
                <a:gd name="T28" fmla="*/ 97 w 949"/>
                <a:gd name="T29" fmla="*/ 132 h 628"/>
                <a:gd name="T30" fmla="*/ 85 w 949"/>
                <a:gd name="T31" fmla="*/ 143 h 628"/>
                <a:gd name="T32" fmla="*/ 80 w 949"/>
                <a:gd name="T33" fmla="*/ 149 h 628"/>
                <a:gd name="T34" fmla="*/ 77 w 949"/>
                <a:gd name="T35" fmla="*/ 155 h 628"/>
                <a:gd name="T36" fmla="*/ 73 w 949"/>
                <a:gd name="T37" fmla="*/ 169 h 628"/>
                <a:gd name="T38" fmla="*/ 69 w 949"/>
                <a:gd name="T39" fmla="*/ 165 h 628"/>
                <a:gd name="T40" fmla="*/ 71 w 949"/>
                <a:gd name="T41" fmla="*/ 163 h 628"/>
                <a:gd name="T42" fmla="*/ 63 w 949"/>
                <a:gd name="T43" fmla="*/ 151 h 628"/>
                <a:gd name="T44" fmla="*/ 40 w 949"/>
                <a:gd name="T45" fmla="*/ 159 h 628"/>
                <a:gd name="T46" fmla="*/ 31 w 949"/>
                <a:gd name="T47" fmla="*/ 161 h 628"/>
                <a:gd name="T48" fmla="*/ 43 w 949"/>
                <a:gd name="T49" fmla="*/ 254 h 628"/>
                <a:gd name="T50" fmla="*/ 69 w 949"/>
                <a:gd name="T51" fmla="*/ 276 h 628"/>
                <a:gd name="T52" fmla="*/ 96 w 949"/>
                <a:gd name="T53" fmla="*/ 275 h 628"/>
                <a:gd name="T54" fmla="*/ 129 w 949"/>
                <a:gd name="T55" fmla="*/ 283 h 628"/>
                <a:gd name="T56" fmla="*/ 68 w 949"/>
                <a:gd name="T57" fmla="*/ 341 h 628"/>
                <a:gd name="T58" fmla="*/ 66 w 949"/>
                <a:gd name="T59" fmla="*/ 380 h 628"/>
                <a:gd name="T60" fmla="*/ 27 w 949"/>
                <a:gd name="T61" fmla="*/ 433 h 628"/>
                <a:gd name="T62" fmla="*/ 8 w 949"/>
                <a:gd name="T63" fmla="*/ 446 h 628"/>
                <a:gd name="T64" fmla="*/ 51 w 949"/>
                <a:gd name="T65" fmla="*/ 449 h 628"/>
                <a:gd name="T66" fmla="*/ 70 w 949"/>
                <a:gd name="T67" fmla="*/ 528 h 628"/>
                <a:gd name="T68" fmla="*/ 139 w 949"/>
                <a:gd name="T69" fmla="*/ 551 h 628"/>
                <a:gd name="T70" fmla="*/ 174 w 949"/>
                <a:gd name="T71" fmla="*/ 548 h 628"/>
                <a:gd name="T72" fmla="*/ 200 w 949"/>
                <a:gd name="T73" fmla="*/ 593 h 628"/>
                <a:gd name="T74" fmla="*/ 227 w 949"/>
                <a:gd name="T75" fmla="*/ 622 h 628"/>
                <a:gd name="T76" fmla="*/ 238 w 949"/>
                <a:gd name="T77" fmla="*/ 603 h 628"/>
                <a:gd name="T78" fmla="*/ 275 w 949"/>
                <a:gd name="T79" fmla="*/ 619 h 628"/>
                <a:gd name="T80" fmla="*/ 344 w 949"/>
                <a:gd name="T81" fmla="*/ 613 h 628"/>
                <a:gd name="T82" fmla="*/ 369 w 949"/>
                <a:gd name="T83" fmla="*/ 577 h 628"/>
                <a:gd name="T84" fmla="*/ 412 w 949"/>
                <a:gd name="T85" fmla="*/ 569 h 628"/>
                <a:gd name="T86" fmla="*/ 446 w 949"/>
                <a:gd name="T87" fmla="*/ 534 h 628"/>
                <a:gd name="T88" fmla="*/ 494 w 949"/>
                <a:gd name="T89" fmla="*/ 520 h 628"/>
                <a:gd name="T90" fmla="*/ 533 w 949"/>
                <a:gd name="T91" fmla="*/ 514 h 628"/>
                <a:gd name="T92" fmla="*/ 601 w 949"/>
                <a:gd name="T93" fmla="*/ 469 h 628"/>
                <a:gd name="T94" fmla="*/ 667 w 949"/>
                <a:gd name="T95" fmla="*/ 434 h 628"/>
                <a:gd name="T96" fmla="*/ 670 w 949"/>
                <a:gd name="T97" fmla="*/ 432 h 628"/>
                <a:gd name="T98" fmla="*/ 724 w 949"/>
                <a:gd name="T99" fmla="*/ 437 h 628"/>
                <a:gd name="T100" fmla="*/ 745 w 949"/>
                <a:gd name="T101" fmla="*/ 419 h 628"/>
                <a:gd name="T102" fmla="*/ 853 w 949"/>
                <a:gd name="T103" fmla="*/ 331 h 628"/>
                <a:gd name="T104" fmla="*/ 876 w 949"/>
                <a:gd name="T105" fmla="*/ 316 h 628"/>
                <a:gd name="T106" fmla="*/ 949 w 949"/>
                <a:gd name="T107" fmla="*/ 217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49" h="628">
                  <a:moveTo>
                    <a:pt x="893" y="148"/>
                  </a:moveTo>
                  <a:cubicBezTo>
                    <a:pt x="892" y="134"/>
                    <a:pt x="887" y="113"/>
                    <a:pt x="887" y="113"/>
                  </a:cubicBezTo>
                  <a:cubicBezTo>
                    <a:pt x="887" y="113"/>
                    <a:pt x="856" y="93"/>
                    <a:pt x="856" y="85"/>
                  </a:cubicBezTo>
                  <a:cubicBezTo>
                    <a:pt x="857" y="76"/>
                    <a:pt x="861" y="69"/>
                    <a:pt x="869" y="66"/>
                  </a:cubicBezTo>
                  <a:cubicBezTo>
                    <a:pt x="878" y="63"/>
                    <a:pt x="924" y="44"/>
                    <a:pt x="926" y="34"/>
                  </a:cubicBezTo>
                  <a:cubicBezTo>
                    <a:pt x="929" y="25"/>
                    <a:pt x="932" y="25"/>
                    <a:pt x="917" y="0"/>
                  </a:cubicBezTo>
                  <a:cubicBezTo>
                    <a:pt x="917" y="0"/>
                    <a:pt x="625" y="110"/>
                    <a:pt x="219" y="41"/>
                  </a:cubicBezTo>
                  <a:cubicBezTo>
                    <a:pt x="216" y="40"/>
                    <a:pt x="213" y="39"/>
                    <a:pt x="211" y="39"/>
                  </a:cubicBezTo>
                  <a:cubicBezTo>
                    <a:pt x="207" y="39"/>
                    <a:pt x="204" y="38"/>
                    <a:pt x="201" y="38"/>
                  </a:cubicBezTo>
                  <a:cubicBezTo>
                    <a:pt x="199" y="37"/>
                    <a:pt x="199" y="37"/>
                    <a:pt x="198" y="39"/>
                  </a:cubicBezTo>
                  <a:cubicBezTo>
                    <a:pt x="198" y="40"/>
                    <a:pt x="198" y="41"/>
                    <a:pt x="197" y="42"/>
                  </a:cubicBezTo>
                  <a:cubicBezTo>
                    <a:pt x="196" y="44"/>
                    <a:pt x="194" y="45"/>
                    <a:pt x="192" y="46"/>
                  </a:cubicBezTo>
                  <a:cubicBezTo>
                    <a:pt x="190" y="47"/>
                    <a:pt x="188" y="46"/>
                    <a:pt x="187" y="47"/>
                  </a:cubicBezTo>
                  <a:cubicBezTo>
                    <a:pt x="185" y="47"/>
                    <a:pt x="184" y="49"/>
                    <a:pt x="183" y="50"/>
                  </a:cubicBezTo>
                  <a:cubicBezTo>
                    <a:pt x="180" y="53"/>
                    <a:pt x="176" y="49"/>
                    <a:pt x="174" y="54"/>
                  </a:cubicBezTo>
                  <a:cubicBezTo>
                    <a:pt x="173" y="55"/>
                    <a:pt x="173" y="58"/>
                    <a:pt x="173" y="60"/>
                  </a:cubicBezTo>
                  <a:cubicBezTo>
                    <a:pt x="172" y="62"/>
                    <a:pt x="172" y="64"/>
                    <a:pt x="170" y="65"/>
                  </a:cubicBezTo>
                  <a:cubicBezTo>
                    <a:pt x="168" y="67"/>
                    <a:pt x="167" y="66"/>
                    <a:pt x="165" y="67"/>
                  </a:cubicBezTo>
                  <a:cubicBezTo>
                    <a:pt x="163" y="68"/>
                    <a:pt x="162" y="71"/>
                    <a:pt x="161" y="72"/>
                  </a:cubicBezTo>
                  <a:cubicBezTo>
                    <a:pt x="158" y="76"/>
                    <a:pt x="156" y="80"/>
                    <a:pt x="153" y="83"/>
                  </a:cubicBezTo>
                  <a:cubicBezTo>
                    <a:pt x="152" y="85"/>
                    <a:pt x="150" y="87"/>
                    <a:pt x="149" y="89"/>
                  </a:cubicBezTo>
                  <a:cubicBezTo>
                    <a:pt x="147" y="91"/>
                    <a:pt x="147" y="93"/>
                    <a:pt x="147" y="95"/>
                  </a:cubicBezTo>
                  <a:cubicBezTo>
                    <a:pt x="147" y="100"/>
                    <a:pt x="145" y="103"/>
                    <a:pt x="140" y="104"/>
                  </a:cubicBezTo>
                  <a:cubicBezTo>
                    <a:pt x="138" y="105"/>
                    <a:pt x="136" y="106"/>
                    <a:pt x="134" y="107"/>
                  </a:cubicBezTo>
                  <a:cubicBezTo>
                    <a:pt x="129" y="107"/>
                    <a:pt x="125" y="107"/>
                    <a:pt x="121" y="108"/>
                  </a:cubicBezTo>
                  <a:cubicBezTo>
                    <a:pt x="118" y="108"/>
                    <a:pt x="115" y="111"/>
                    <a:pt x="113" y="113"/>
                  </a:cubicBezTo>
                  <a:cubicBezTo>
                    <a:pt x="112" y="114"/>
                    <a:pt x="112" y="116"/>
                    <a:pt x="111" y="117"/>
                  </a:cubicBezTo>
                  <a:cubicBezTo>
                    <a:pt x="110" y="119"/>
                    <a:pt x="107" y="120"/>
                    <a:pt x="106" y="122"/>
                  </a:cubicBezTo>
                  <a:cubicBezTo>
                    <a:pt x="104" y="123"/>
                    <a:pt x="103" y="125"/>
                    <a:pt x="102" y="126"/>
                  </a:cubicBezTo>
                  <a:cubicBezTo>
                    <a:pt x="100" y="128"/>
                    <a:pt x="98" y="130"/>
                    <a:pt x="97" y="132"/>
                  </a:cubicBezTo>
                  <a:cubicBezTo>
                    <a:pt x="94" y="135"/>
                    <a:pt x="92" y="137"/>
                    <a:pt x="89" y="140"/>
                  </a:cubicBezTo>
                  <a:cubicBezTo>
                    <a:pt x="88" y="141"/>
                    <a:pt x="87" y="142"/>
                    <a:pt x="85" y="143"/>
                  </a:cubicBezTo>
                  <a:cubicBezTo>
                    <a:pt x="84" y="145"/>
                    <a:pt x="84" y="146"/>
                    <a:pt x="83" y="147"/>
                  </a:cubicBezTo>
                  <a:cubicBezTo>
                    <a:pt x="82" y="148"/>
                    <a:pt x="81" y="148"/>
                    <a:pt x="80" y="149"/>
                  </a:cubicBezTo>
                  <a:cubicBezTo>
                    <a:pt x="80" y="149"/>
                    <a:pt x="79" y="150"/>
                    <a:pt x="79" y="151"/>
                  </a:cubicBezTo>
                  <a:cubicBezTo>
                    <a:pt x="78" y="152"/>
                    <a:pt x="78" y="154"/>
                    <a:pt x="77" y="155"/>
                  </a:cubicBezTo>
                  <a:cubicBezTo>
                    <a:pt x="76" y="158"/>
                    <a:pt x="77" y="162"/>
                    <a:pt x="76" y="165"/>
                  </a:cubicBezTo>
                  <a:cubicBezTo>
                    <a:pt x="76" y="167"/>
                    <a:pt x="75" y="168"/>
                    <a:pt x="73" y="169"/>
                  </a:cubicBezTo>
                  <a:cubicBezTo>
                    <a:pt x="71" y="170"/>
                    <a:pt x="68" y="170"/>
                    <a:pt x="67" y="168"/>
                  </a:cubicBezTo>
                  <a:cubicBezTo>
                    <a:pt x="66" y="166"/>
                    <a:pt x="68" y="166"/>
                    <a:pt x="69" y="165"/>
                  </a:cubicBezTo>
                  <a:cubicBezTo>
                    <a:pt x="70" y="164"/>
                    <a:pt x="70" y="164"/>
                    <a:pt x="70" y="163"/>
                  </a:cubicBezTo>
                  <a:cubicBezTo>
                    <a:pt x="70" y="163"/>
                    <a:pt x="71" y="163"/>
                    <a:pt x="71" y="163"/>
                  </a:cubicBezTo>
                  <a:cubicBezTo>
                    <a:pt x="72" y="162"/>
                    <a:pt x="69" y="158"/>
                    <a:pt x="69" y="157"/>
                  </a:cubicBezTo>
                  <a:cubicBezTo>
                    <a:pt x="68" y="154"/>
                    <a:pt x="65" y="152"/>
                    <a:pt x="63" y="151"/>
                  </a:cubicBezTo>
                  <a:cubicBezTo>
                    <a:pt x="57" y="147"/>
                    <a:pt x="49" y="151"/>
                    <a:pt x="44" y="155"/>
                  </a:cubicBezTo>
                  <a:cubicBezTo>
                    <a:pt x="42" y="156"/>
                    <a:pt x="42" y="158"/>
                    <a:pt x="40" y="159"/>
                  </a:cubicBezTo>
                  <a:cubicBezTo>
                    <a:pt x="38" y="160"/>
                    <a:pt x="36" y="161"/>
                    <a:pt x="34" y="161"/>
                  </a:cubicBezTo>
                  <a:cubicBezTo>
                    <a:pt x="33" y="162"/>
                    <a:pt x="32" y="162"/>
                    <a:pt x="31" y="161"/>
                  </a:cubicBezTo>
                  <a:cubicBezTo>
                    <a:pt x="28" y="215"/>
                    <a:pt x="28" y="215"/>
                    <a:pt x="28" y="215"/>
                  </a:cubicBezTo>
                  <a:cubicBezTo>
                    <a:pt x="28" y="215"/>
                    <a:pt x="43" y="254"/>
                    <a:pt x="43" y="254"/>
                  </a:cubicBezTo>
                  <a:cubicBezTo>
                    <a:pt x="43" y="254"/>
                    <a:pt x="62" y="254"/>
                    <a:pt x="62" y="254"/>
                  </a:cubicBezTo>
                  <a:cubicBezTo>
                    <a:pt x="69" y="276"/>
                    <a:pt x="69" y="276"/>
                    <a:pt x="69" y="276"/>
                  </a:cubicBezTo>
                  <a:cubicBezTo>
                    <a:pt x="85" y="295"/>
                    <a:pt x="85" y="295"/>
                    <a:pt x="85" y="295"/>
                  </a:cubicBezTo>
                  <a:cubicBezTo>
                    <a:pt x="96" y="275"/>
                    <a:pt x="96" y="275"/>
                    <a:pt x="96" y="275"/>
                  </a:cubicBezTo>
                  <a:cubicBezTo>
                    <a:pt x="123" y="279"/>
                    <a:pt x="123" y="279"/>
                    <a:pt x="123" y="279"/>
                  </a:cubicBezTo>
                  <a:cubicBezTo>
                    <a:pt x="129" y="283"/>
                    <a:pt x="129" y="283"/>
                    <a:pt x="129" y="283"/>
                  </a:cubicBezTo>
                  <a:cubicBezTo>
                    <a:pt x="103" y="344"/>
                    <a:pt x="103" y="344"/>
                    <a:pt x="103" y="344"/>
                  </a:cubicBezTo>
                  <a:cubicBezTo>
                    <a:pt x="68" y="341"/>
                    <a:pt x="68" y="341"/>
                    <a:pt x="68" y="341"/>
                  </a:cubicBezTo>
                  <a:cubicBezTo>
                    <a:pt x="57" y="360"/>
                    <a:pt x="57" y="360"/>
                    <a:pt x="57" y="360"/>
                  </a:cubicBezTo>
                  <a:cubicBezTo>
                    <a:pt x="66" y="380"/>
                    <a:pt x="66" y="380"/>
                    <a:pt x="66" y="380"/>
                  </a:cubicBezTo>
                  <a:cubicBezTo>
                    <a:pt x="41" y="401"/>
                    <a:pt x="41" y="401"/>
                    <a:pt x="41" y="401"/>
                  </a:cubicBezTo>
                  <a:cubicBezTo>
                    <a:pt x="27" y="433"/>
                    <a:pt x="27" y="433"/>
                    <a:pt x="27" y="433"/>
                  </a:cubicBezTo>
                  <a:cubicBezTo>
                    <a:pt x="0" y="445"/>
                    <a:pt x="0" y="445"/>
                    <a:pt x="0" y="445"/>
                  </a:cubicBezTo>
                  <a:cubicBezTo>
                    <a:pt x="8" y="446"/>
                    <a:pt x="8" y="446"/>
                    <a:pt x="8" y="446"/>
                  </a:cubicBezTo>
                  <a:cubicBezTo>
                    <a:pt x="32" y="439"/>
                    <a:pt x="32" y="439"/>
                    <a:pt x="32" y="439"/>
                  </a:cubicBezTo>
                  <a:cubicBezTo>
                    <a:pt x="51" y="449"/>
                    <a:pt x="51" y="449"/>
                    <a:pt x="51" y="449"/>
                  </a:cubicBezTo>
                  <a:cubicBezTo>
                    <a:pt x="51" y="493"/>
                    <a:pt x="51" y="493"/>
                    <a:pt x="51" y="493"/>
                  </a:cubicBezTo>
                  <a:cubicBezTo>
                    <a:pt x="70" y="528"/>
                    <a:pt x="70" y="528"/>
                    <a:pt x="70" y="528"/>
                  </a:cubicBezTo>
                  <a:cubicBezTo>
                    <a:pt x="105" y="523"/>
                    <a:pt x="105" y="523"/>
                    <a:pt x="105" y="523"/>
                  </a:cubicBezTo>
                  <a:cubicBezTo>
                    <a:pt x="139" y="551"/>
                    <a:pt x="139" y="551"/>
                    <a:pt x="139" y="551"/>
                  </a:cubicBezTo>
                  <a:cubicBezTo>
                    <a:pt x="139" y="551"/>
                    <a:pt x="168" y="543"/>
                    <a:pt x="168" y="543"/>
                  </a:cubicBezTo>
                  <a:cubicBezTo>
                    <a:pt x="168" y="543"/>
                    <a:pt x="174" y="548"/>
                    <a:pt x="174" y="548"/>
                  </a:cubicBezTo>
                  <a:cubicBezTo>
                    <a:pt x="179" y="577"/>
                    <a:pt x="179" y="577"/>
                    <a:pt x="179" y="577"/>
                  </a:cubicBezTo>
                  <a:cubicBezTo>
                    <a:pt x="200" y="593"/>
                    <a:pt x="200" y="593"/>
                    <a:pt x="200" y="593"/>
                  </a:cubicBezTo>
                  <a:cubicBezTo>
                    <a:pt x="200" y="618"/>
                    <a:pt x="200" y="618"/>
                    <a:pt x="200" y="618"/>
                  </a:cubicBezTo>
                  <a:cubicBezTo>
                    <a:pt x="200" y="618"/>
                    <a:pt x="227" y="628"/>
                    <a:pt x="227" y="622"/>
                  </a:cubicBezTo>
                  <a:cubicBezTo>
                    <a:pt x="227" y="616"/>
                    <a:pt x="224" y="609"/>
                    <a:pt x="227" y="607"/>
                  </a:cubicBezTo>
                  <a:cubicBezTo>
                    <a:pt x="230" y="605"/>
                    <a:pt x="235" y="605"/>
                    <a:pt x="238" y="603"/>
                  </a:cubicBezTo>
                  <a:cubicBezTo>
                    <a:pt x="240" y="601"/>
                    <a:pt x="243" y="599"/>
                    <a:pt x="243" y="599"/>
                  </a:cubicBezTo>
                  <a:cubicBezTo>
                    <a:pt x="275" y="619"/>
                    <a:pt x="275" y="619"/>
                    <a:pt x="275" y="619"/>
                  </a:cubicBezTo>
                  <a:cubicBezTo>
                    <a:pt x="275" y="619"/>
                    <a:pt x="292" y="606"/>
                    <a:pt x="299" y="608"/>
                  </a:cubicBezTo>
                  <a:cubicBezTo>
                    <a:pt x="306" y="610"/>
                    <a:pt x="341" y="614"/>
                    <a:pt x="344" y="613"/>
                  </a:cubicBezTo>
                  <a:cubicBezTo>
                    <a:pt x="348" y="612"/>
                    <a:pt x="370" y="611"/>
                    <a:pt x="370" y="611"/>
                  </a:cubicBezTo>
                  <a:cubicBezTo>
                    <a:pt x="370" y="611"/>
                    <a:pt x="364" y="582"/>
                    <a:pt x="369" y="577"/>
                  </a:cubicBezTo>
                  <a:cubicBezTo>
                    <a:pt x="373" y="573"/>
                    <a:pt x="380" y="567"/>
                    <a:pt x="380" y="567"/>
                  </a:cubicBezTo>
                  <a:cubicBezTo>
                    <a:pt x="380" y="567"/>
                    <a:pt x="412" y="569"/>
                    <a:pt x="412" y="569"/>
                  </a:cubicBezTo>
                  <a:cubicBezTo>
                    <a:pt x="412" y="569"/>
                    <a:pt x="429" y="555"/>
                    <a:pt x="435" y="547"/>
                  </a:cubicBezTo>
                  <a:cubicBezTo>
                    <a:pt x="441" y="539"/>
                    <a:pt x="442" y="535"/>
                    <a:pt x="446" y="534"/>
                  </a:cubicBezTo>
                  <a:cubicBezTo>
                    <a:pt x="450" y="534"/>
                    <a:pt x="479" y="534"/>
                    <a:pt x="483" y="531"/>
                  </a:cubicBezTo>
                  <a:cubicBezTo>
                    <a:pt x="488" y="527"/>
                    <a:pt x="495" y="527"/>
                    <a:pt x="494" y="520"/>
                  </a:cubicBezTo>
                  <a:cubicBezTo>
                    <a:pt x="493" y="513"/>
                    <a:pt x="493" y="503"/>
                    <a:pt x="503" y="502"/>
                  </a:cubicBezTo>
                  <a:cubicBezTo>
                    <a:pt x="512" y="501"/>
                    <a:pt x="533" y="514"/>
                    <a:pt x="533" y="514"/>
                  </a:cubicBezTo>
                  <a:cubicBezTo>
                    <a:pt x="533" y="514"/>
                    <a:pt x="572" y="470"/>
                    <a:pt x="573" y="470"/>
                  </a:cubicBezTo>
                  <a:cubicBezTo>
                    <a:pt x="574" y="470"/>
                    <a:pt x="601" y="469"/>
                    <a:pt x="601" y="469"/>
                  </a:cubicBezTo>
                  <a:cubicBezTo>
                    <a:pt x="601" y="469"/>
                    <a:pt x="621" y="450"/>
                    <a:pt x="639" y="444"/>
                  </a:cubicBezTo>
                  <a:cubicBezTo>
                    <a:pt x="653" y="439"/>
                    <a:pt x="663" y="437"/>
                    <a:pt x="667" y="434"/>
                  </a:cubicBezTo>
                  <a:cubicBezTo>
                    <a:pt x="667" y="434"/>
                    <a:pt x="667" y="434"/>
                    <a:pt x="667" y="434"/>
                  </a:cubicBezTo>
                  <a:cubicBezTo>
                    <a:pt x="669" y="433"/>
                    <a:pt x="669" y="433"/>
                    <a:pt x="670" y="432"/>
                  </a:cubicBezTo>
                  <a:cubicBezTo>
                    <a:pt x="672" y="429"/>
                    <a:pt x="681" y="419"/>
                    <a:pt x="685" y="421"/>
                  </a:cubicBezTo>
                  <a:cubicBezTo>
                    <a:pt x="688" y="422"/>
                    <a:pt x="724" y="437"/>
                    <a:pt x="724" y="437"/>
                  </a:cubicBezTo>
                  <a:cubicBezTo>
                    <a:pt x="724" y="437"/>
                    <a:pt x="738" y="437"/>
                    <a:pt x="737" y="437"/>
                  </a:cubicBezTo>
                  <a:cubicBezTo>
                    <a:pt x="737" y="437"/>
                    <a:pt x="739" y="422"/>
                    <a:pt x="745" y="419"/>
                  </a:cubicBezTo>
                  <a:cubicBezTo>
                    <a:pt x="751" y="417"/>
                    <a:pt x="790" y="402"/>
                    <a:pt x="796" y="395"/>
                  </a:cubicBezTo>
                  <a:cubicBezTo>
                    <a:pt x="803" y="388"/>
                    <a:pt x="853" y="331"/>
                    <a:pt x="853" y="331"/>
                  </a:cubicBezTo>
                  <a:cubicBezTo>
                    <a:pt x="868" y="329"/>
                    <a:pt x="868" y="329"/>
                    <a:pt x="868" y="329"/>
                  </a:cubicBezTo>
                  <a:cubicBezTo>
                    <a:pt x="868" y="329"/>
                    <a:pt x="876" y="316"/>
                    <a:pt x="876" y="316"/>
                  </a:cubicBezTo>
                  <a:cubicBezTo>
                    <a:pt x="877" y="316"/>
                    <a:pt x="930" y="280"/>
                    <a:pt x="930" y="280"/>
                  </a:cubicBezTo>
                  <a:cubicBezTo>
                    <a:pt x="949" y="217"/>
                    <a:pt x="949" y="217"/>
                    <a:pt x="949" y="217"/>
                  </a:cubicBezTo>
                  <a:cubicBezTo>
                    <a:pt x="949" y="217"/>
                    <a:pt x="895" y="162"/>
                    <a:pt x="893" y="148"/>
                  </a:cubicBezTo>
                  <a:close/>
                </a:path>
              </a:pathLst>
            </a:custGeom>
            <a:grpFill/>
            <a:ln>
              <a:solidFill>
                <a:srgbClr val="FFFFFF"/>
              </a:solidFill>
            </a:ln>
          </p:spPr>
          <p:txBody>
            <a:bodyPr vert="horz" wrap="square" lIns="121920" tIns="60960" rIns="121920" bIns="60960" numCol="1" anchor="t" anchorCtr="0" compatLnSpc="1">
              <a:prstTxWarp prst="textNoShape">
                <a:avLst/>
              </a:prstTxWarp>
            </a:bodyPr>
            <a:lstStyle/>
            <a:p>
              <a:pPr marL="0" marR="0" lvl="0" indent="0" defTabSz="467539"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000000"/>
                </a:solidFill>
                <a:effectLst/>
                <a:uLnTx/>
                <a:uFillTx/>
              </a:endParaRPr>
            </a:p>
          </p:txBody>
        </p:sp>
        <p:sp>
          <p:nvSpPr>
            <p:cNvPr id="90" name="Freeform 7">
              <a:extLst>
                <a:ext uri="{FF2B5EF4-FFF2-40B4-BE49-F238E27FC236}">
                  <a16:creationId xmlns:a16="http://schemas.microsoft.com/office/drawing/2014/main" id="{7C653977-2257-4618-A3CF-A16F23B3DC9C}"/>
                </a:ext>
              </a:extLst>
            </p:cNvPr>
            <p:cNvSpPr>
              <a:spLocks/>
            </p:cNvSpPr>
            <p:nvPr/>
          </p:nvSpPr>
          <p:spPr bwMode="auto">
            <a:xfrm>
              <a:off x="2947988" y="1636713"/>
              <a:ext cx="742950" cy="1077913"/>
            </a:xfrm>
            <a:custGeom>
              <a:avLst/>
              <a:gdLst>
                <a:gd name="T0" fmla="*/ 629 w 633"/>
                <a:gd name="T1" fmla="*/ 716 h 919"/>
                <a:gd name="T2" fmla="*/ 466 w 633"/>
                <a:gd name="T3" fmla="*/ 895 h 919"/>
                <a:gd name="T4" fmla="*/ 463 w 633"/>
                <a:gd name="T5" fmla="*/ 914 h 919"/>
                <a:gd name="T6" fmla="*/ 449 w 633"/>
                <a:gd name="T7" fmla="*/ 910 h 919"/>
                <a:gd name="T8" fmla="*/ 427 w 633"/>
                <a:gd name="T9" fmla="*/ 912 h 919"/>
                <a:gd name="T10" fmla="*/ 378 w 633"/>
                <a:gd name="T11" fmla="*/ 881 h 919"/>
                <a:gd name="T12" fmla="*/ 327 w 633"/>
                <a:gd name="T13" fmla="*/ 883 h 919"/>
                <a:gd name="T14" fmla="*/ 294 w 633"/>
                <a:gd name="T15" fmla="*/ 879 h 919"/>
                <a:gd name="T16" fmla="*/ 281 w 633"/>
                <a:gd name="T17" fmla="*/ 852 h 919"/>
                <a:gd name="T18" fmla="*/ 243 w 633"/>
                <a:gd name="T19" fmla="*/ 794 h 919"/>
                <a:gd name="T20" fmla="*/ 252 w 633"/>
                <a:gd name="T21" fmla="*/ 737 h 919"/>
                <a:gd name="T22" fmla="*/ 226 w 633"/>
                <a:gd name="T23" fmla="*/ 723 h 919"/>
                <a:gd name="T24" fmla="*/ 200 w 633"/>
                <a:gd name="T25" fmla="*/ 719 h 919"/>
                <a:gd name="T26" fmla="*/ 210 w 633"/>
                <a:gd name="T27" fmla="*/ 692 h 919"/>
                <a:gd name="T28" fmla="*/ 182 w 633"/>
                <a:gd name="T29" fmla="*/ 687 h 919"/>
                <a:gd name="T30" fmla="*/ 150 w 633"/>
                <a:gd name="T31" fmla="*/ 696 h 919"/>
                <a:gd name="T32" fmla="*/ 121 w 633"/>
                <a:gd name="T33" fmla="*/ 649 h 919"/>
                <a:gd name="T34" fmla="*/ 100 w 633"/>
                <a:gd name="T35" fmla="*/ 626 h 919"/>
                <a:gd name="T36" fmla="*/ 44 w 633"/>
                <a:gd name="T37" fmla="*/ 582 h 919"/>
                <a:gd name="T38" fmla="*/ 29 w 633"/>
                <a:gd name="T39" fmla="*/ 541 h 919"/>
                <a:gd name="T40" fmla="*/ 13 w 633"/>
                <a:gd name="T41" fmla="*/ 480 h 919"/>
                <a:gd name="T42" fmla="*/ 0 w 633"/>
                <a:gd name="T43" fmla="*/ 452 h 919"/>
                <a:gd name="T44" fmla="*/ 18 w 633"/>
                <a:gd name="T45" fmla="*/ 439 h 919"/>
                <a:gd name="T46" fmla="*/ 70 w 633"/>
                <a:gd name="T47" fmla="*/ 455 h 919"/>
                <a:gd name="T48" fmla="*/ 129 w 633"/>
                <a:gd name="T49" fmla="*/ 413 h 919"/>
                <a:gd name="T50" fmla="*/ 201 w 633"/>
                <a:gd name="T51" fmla="*/ 347 h 919"/>
                <a:gd name="T52" fmla="*/ 263 w 633"/>
                <a:gd name="T53" fmla="*/ 298 h 919"/>
                <a:gd name="T54" fmla="*/ 226 w 633"/>
                <a:gd name="T55" fmla="*/ 166 h 919"/>
                <a:gd name="T56" fmla="*/ 189 w 633"/>
                <a:gd name="T57" fmla="*/ 103 h 919"/>
                <a:gd name="T58" fmla="*/ 259 w 633"/>
                <a:gd name="T59" fmla="*/ 52 h 919"/>
                <a:gd name="T60" fmla="*/ 261 w 633"/>
                <a:gd name="T61" fmla="*/ 0 h 919"/>
                <a:gd name="T62" fmla="*/ 280 w 633"/>
                <a:gd name="T63" fmla="*/ 15 h 919"/>
                <a:gd name="T64" fmla="*/ 301 w 633"/>
                <a:gd name="T65" fmla="*/ 21 h 919"/>
                <a:gd name="T66" fmla="*/ 308 w 633"/>
                <a:gd name="T67" fmla="*/ 38 h 919"/>
                <a:gd name="T68" fmla="*/ 328 w 633"/>
                <a:gd name="T69" fmla="*/ 32 h 919"/>
                <a:gd name="T70" fmla="*/ 344 w 633"/>
                <a:gd name="T71" fmla="*/ 43 h 919"/>
                <a:gd name="T72" fmla="*/ 356 w 633"/>
                <a:gd name="T73" fmla="*/ 53 h 919"/>
                <a:gd name="T74" fmla="*/ 428 w 633"/>
                <a:gd name="T75" fmla="*/ 86 h 919"/>
                <a:gd name="T76" fmla="*/ 451 w 633"/>
                <a:gd name="T77" fmla="*/ 127 h 919"/>
                <a:gd name="T78" fmla="*/ 452 w 633"/>
                <a:gd name="T79" fmla="*/ 167 h 919"/>
                <a:gd name="T80" fmla="*/ 481 w 633"/>
                <a:gd name="T81" fmla="*/ 247 h 919"/>
                <a:gd name="T82" fmla="*/ 570 w 633"/>
                <a:gd name="T83" fmla="*/ 471 h 919"/>
                <a:gd name="T84" fmla="*/ 590 w 633"/>
                <a:gd name="T85" fmla="*/ 489 h 919"/>
                <a:gd name="T86" fmla="*/ 601 w 633"/>
                <a:gd name="T87" fmla="*/ 534 h 919"/>
                <a:gd name="T88" fmla="*/ 633 w 633"/>
                <a:gd name="T89" fmla="*/ 611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33" h="919">
                  <a:moveTo>
                    <a:pt x="633" y="611"/>
                  </a:moveTo>
                  <a:cubicBezTo>
                    <a:pt x="633" y="611"/>
                    <a:pt x="629" y="715"/>
                    <a:pt x="629" y="716"/>
                  </a:cubicBezTo>
                  <a:cubicBezTo>
                    <a:pt x="629" y="717"/>
                    <a:pt x="530" y="765"/>
                    <a:pt x="530" y="765"/>
                  </a:cubicBezTo>
                  <a:cubicBezTo>
                    <a:pt x="466" y="895"/>
                    <a:pt x="466" y="895"/>
                    <a:pt x="466" y="895"/>
                  </a:cubicBezTo>
                  <a:cubicBezTo>
                    <a:pt x="466" y="895"/>
                    <a:pt x="469" y="907"/>
                    <a:pt x="471" y="919"/>
                  </a:cubicBezTo>
                  <a:cubicBezTo>
                    <a:pt x="470" y="918"/>
                    <a:pt x="466" y="914"/>
                    <a:pt x="463" y="914"/>
                  </a:cubicBezTo>
                  <a:cubicBezTo>
                    <a:pt x="460" y="914"/>
                    <a:pt x="455" y="916"/>
                    <a:pt x="451" y="912"/>
                  </a:cubicBezTo>
                  <a:cubicBezTo>
                    <a:pt x="450" y="912"/>
                    <a:pt x="450" y="911"/>
                    <a:pt x="449" y="910"/>
                  </a:cubicBezTo>
                  <a:cubicBezTo>
                    <a:pt x="445" y="907"/>
                    <a:pt x="439" y="902"/>
                    <a:pt x="437" y="904"/>
                  </a:cubicBezTo>
                  <a:cubicBezTo>
                    <a:pt x="435" y="907"/>
                    <a:pt x="429" y="917"/>
                    <a:pt x="427" y="912"/>
                  </a:cubicBezTo>
                  <a:cubicBezTo>
                    <a:pt x="425" y="907"/>
                    <a:pt x="424" y="899"/>
                    <a:pt x="418" y="896"/>
                  </a:cubicBezTo>
                  <a:cubicBezTo>
                    <a:pt x="412" y="893"/>
                    <a:pt x="396" y="882"/>
                    <a:pt x="378" y="881"/>
                  </a:cubicBezTo>
                  <a:cubicBezTo>
                    <a:pt x="361" y="881"/>
                    <a:pt x="347" y="878"/>
                    <a:pt x="342" y="880"/>
                  </a:cubicBezTo>
                  <a:cubicBezTo>
                    <a:pt x="336" y="882"/>
                    <a:pt x="334" y="886"/>
                    <a:pt x="327" y="883"/>
                  </a:cubicBezTo>
                  <a:cubicBezTo>
                    <a:pt x="320" y="880"/>
                    <a:pt x="309" y="870"/>
                    <a:pt x="305" y="873"/>
                  </a:cubicBezTo>
                  <a:cubicBezTo>
                    <a:pt x="300" y="875"/>
                    <a:pt x="294" y="885"/>
                    <a:pt x="294" y="879"/>
                  </a:cubicBezTo>
                  <a:cubicBezTo>
                    <a:pt x="293" y="873"/>
                    <a:pt x="297" y="869"/>
                    <a:pt x="293" y="865"/>
                  </a:cubicBezTo>
                  <a:cubicBezTo>
                    <a:pt x="288" y="861"/>
                    <a:pt x="280" y="859"/>
                    <a:pt x="281" y="852"/>
                  </a:cubicBezTo>
                  <a:cubicBezTo>
                    <a:pt x="283" y="846"/>
                    <a:pt x="284" y="833"/>
                    <a:pt x="276" y="827"/>
                  </a:cubicBezTo>
                  <a:cubicBezTo>
                    <a:pt x="269" y="821"/>
                    <a:pt x="243" y="794"/>
                    <a:pt x="243" y="794"/>
                  </a:cubicBezTo>
                  <a:cubicBezTo>
                    <a:pt x="243" y="794"/>
                    <a:pt x="259" y="769"/>
                    <a:pt x="257" y="761"/>
                  </a:cubicBezTo>
                  <a:cubicBezTo>
                    <a:pt x="254" y="753"/>
                    <a:pt x="253" y="742"/>
                    <a:pt x="252" y="737"/>
                  </a:cubicBezTo>
                  <a:cubicBezTo>
                    <a:pt x="252" y="733"/>
                    <a:pt x="251" y="717"/>
                    <a:pt x="243" y="717"/>
                  </a:cubicBezTo>
                  <a:cubicBezTo>
                    <a:pt x="235" y="717"/>
                    <a:pt x="227" y="719"/>
                    <a:pt x="226" y="723"/>
                  </a:cubicBezTo>
                  <a:cubicBezTo>
                    <a:pt x="224" y="728"/>
                    <a:pt x="223" y="729"/>
                    <a:pt x="218" y="728"/>
                  </a:cubicBezTo>
                  <a:cubicBezTo>
                    <a:pt x="212" y="726"/>
                    <a:pt x="203" y="726"/>
                    <a:pt x="200" y="719"/>
                  </a:cubicBezTo>
                  <a:cubicBezTo>
                    <a:pt x="197" y="713"/>
                    <a:pt x="196" y="710"/>
                    <a:pt x="196" y="709"/>
                  </a:cubicBezTo>
                  <a:cubicBezTo>
                    <a:pt x="196" y="708"/>
                    <a:pt x="211" y="698"/>
                    <a:pt x="210" y="692"/>
                  </a:cubicBezTo>
                  <a:cubicBezTo>
                    <a:pt x="209" y="686"/>
                    <a:pt x="212" y="683"/>
                    <a:pt x="205" y="683"/>
                  </a:cubicBezTo>
                  <a:cubicBezTo>
                    <a:pt x="199" y="682"/>
                    <a:pt x="185" y="682"/>
                    <a:pt x="182" y="687"/>
                  </a:cubicBezTo>
                  <a:cubicBezTo>
                    <a:pt x="179" y="691"/>
                    <a:pt x="174" y="695"/>
                    <a:pt x="171" y="695"/>
                  </a:cubicBezTo>
                  <a:cubicBezTo>
                    <a:pt x="167" y="695"/>
                    <a:pt x="155" y="701"/>
                    <a:pt x="150" y="696"/>
                  </a:cubicBezTo>
                  <a:cubicBezTo>
                    <a:pt x="146" y="690"/>
                    <a:pt x="133" y="674"/>
                    <a:pt x="130" y="665"/>
                  </a:cubicBezTo>
                  <a:cubicBezTo>
                    <a:pt x="126" y="657"/>
                    <a:pt x="125" y="651"/>
                    <a:pt x="121" y="649"/>
                  </a:cubicBezTo>
                  <a:cubicBezTo>
                    <a:pt x="117" y="648"/>
                    <a:pt x="100" y="644"/>
                    <a:pt x="100" y="644"/>
                  </a:cubicBezTo>
                  <a:cubicBezTo>
                    <a:pt x="100" y="644"/>
                    <a:pt x="100" y="626"/>
                    <a:pt x="100" y="626"/>
                  </a:cubicBezTo>
                  <a:cubicBezTo>
                    <a:pt x="100" y="626"/>
                    <a:pt x="70" y="595"/>
                    <a:pt x="63" y="594"/>
                  </a:cubicBezTo>
                  <a:cubicBezTo>
                    <a:pt x="56" y="592"/>
                    <a:pt x="45" y="588"/>
                    <a:pt x="44" y="582"/>
                  </a:cubicBezTo>
                  <a:cubicBezTo>
                    <a:pt x="43" y="577"/>
                    <a:pt x="43" y="575"/>
                    <a:pt x="40" y="569"/>
                  </a:cubicBezTo>
                  <a:cubicBezTo>
                    <a:pt x="37" y="564"/>
                    <a:pt x="34" y="547"/>
                    <a:pt x="29" y="541"/>
                  </a:cubicBezTo>
                  <a:cubicBezTo>
                    <a:pt x="25" y="536"/>
                    <a:pt x="2" y="522"/>
                    <a:pt x="6" y="510"/>
                  </a:cubicBezTo>
                  <a:cubicBezTo>
                    <a:pt x="10" y="498"/>
                    <a:pt x="15" y="487"/>
                    <a:pt x="13" y="480"/>
                  </a:cubicBezTo>
                  <a:cubicBezTo>
                    <a:pt x="11" y="474"/>
                    <a:pt x="1" y="453"/>
                    <a:pt x="0" y="452"/>
                  </a:cubicBezTo>
                  <a:cubicBezTo>
                    <a:pt x="0" y="452"/>
                    <a:pt x="0" y="452"/>
                    <a:pt x="0" y="452"/>
                  </a:cubicBezTo>
                  <a:cubicBezTo>
                    <a:pt x="2" y="451"/>
                    <a:pt x="2" y="451"/>
                    <a:pt x="3" y="450"/>
                  </a:cubicBezTo>
                  <a:cubicBezTo>
                    <a:pt x="5" y="447"/>
                    <a:pt x="14" y="437"/>
                    <a:pt x="18" y="439"/>
                  </a:cubicBezTo>
                  <a:cubicBezTo>
                    <a:pt x="21" y="440"/>
                    <a:pt x="57" y="455"/>
                    <a:pt x="57" y="455"/>
                  </a:cubicBezTo>
                  <a:cubicBezTo>
                    <a:pt x="57" y="455"/>
                    <a:pt x="71" y="455"/>
                    <a:pt x="70" y="455"/>
                  </a:cubicBezTo>
                  <a:cubicBezTo>
                    <a:pt x="70" y="455"/>
                    <a:pt x="72" y="440"/>
                    <a:pt x="78" y="437"/>
                  </a:cubicBezTo>
                  <a:cubicBezTo>
                    <a:pt x="84" y="435"/>
                    <a:pt x="123" y="420"/>
                    <a:pt x="129" y="413"/>
                  </a:cubicBezTo>
                  <a:cubicBezTo>
                    <a:pt x="136" y="406"/>
                    <a:pt x="186" y="349"/>
                    <a:pt x="186" y="349"/>
                  </a:cubicBezTo>
                  <a:cubicBezTo>
                    <a:pt x="201" y="347"/>
                    <a:pt x="201" y="347"/>
                    <a:pt x="201" y="347"/>
                  </a:cubicBezTo>
                  <a:cubicBezTo>
                    <a:pt x="201" y="347"/>
                    <a:pt x="209" y="334"/>
                    <a:pt x="209" y="334"/>
                  </a:cubicBezTo>
                  <a:cubicBezTo>
                    <a:pt x="210" y="334"/>
                    <a:pt x="263" y="298"/>
                    <a:pt x="263" y="298"/>
                  </a:cubicBezTo>
                  <a:cubicBezTo>
                    <a:pt x="282" y="235"/>
                    <a:pt x="282" y="235"/>
                    <a:pt x="282" y="235"/>
                  </a:cubicBezTo>
                  <a:cubicBezTo>
                    <a:pt x="282" y="235"/>
                    <a:pt x="228" y="180"/>
                    <a:pt x="226" y="166"/>
                  </a:cubicBezTo>
                  <a:cubicBezTo>
                    <a:pt x="225" y="152"/>
                    <a:pt x="220" y="131"/>
                    <a:pt x="220" y="131"/>
                  </a:cubicBezTo>
                  <a:cubicBezTo>
                    <a:pt x="220" y="131"/>
                    <a:pt x="189" y="111"/>
                    <a:pt x="189" y="103"/>
                  </a:cubicBezTo>
                  <a:cubicBezTo>
                    <a:pt x="190" y="94"/>
                    <a:pt x="194" y="87"/>
                    <a:pt x="202" y="84"/>
                  </a:cubicBezTo>
                  <a:cubicBezTo>
                    <a:pt x="211" y="81"/>
                    <a:pt x="257" y="62"/>
                    <a:pt x="259" y="52"/>
                  </a:cubicBezTo>
                  <a:cubicBezTo>
                    <a:pt x="262" y="43"/>
                    <a:pt x="265" y="43"/>
                    <a:pt x="250" y="18"/>
                  </a:cubicBezTo>
                  <a:cubicBezTo>
                    <a:pt x="261" y="0"/>
                    <a:pt x="261" y="0"/>
                    <a:pt x="261" y="0"/>
                  </a:cubicBezTo>
                  <a:cubicBezTo>
                    <a:pt x="275" y="3"/>
                    <a:pt x="275" y="3"/>
                    <a:pt x="275" y="3"/>
                  </a:cubicBezTo>
                  <a:cubicBezTo>
                    <a:pt x="280" y="15"/>
                    <a:pt x="280" y="15"/>
                    <a:pt x="280" y="15"/>
                  </a:cubicBezTo>
                  <a:cubicBezTo>
                    <a:pt x="294" y="6"/>
                    <a:pt x="294" y="6"/>
                    <a:pt x="294" y="6"/>
                  </a:cubicBezTo>
                  <a:cubicBezTo>
                    <a:pt x="301" y="21"/>
                    <a:pt x="301" y="21"/>
                    <a:pt x="301" y="21"/>
                  </a:cubicBezTo>
                  <a:cubicBezTo>
                    <a:pt x="313" y="22"/>
                    <a:pt x="313" y="22"/>
                    <a:pt x="313" y="22"/>
                  </a:cubicBezTo>
                  <a:cubicBezTo>
                    <a:pt x="308" y="38"/>
                    <a:pt x="308" y="38"/>
                    <a:pt x="308" y="38"/>
                  </a:cubicBezTo>
                  <a:cubicBezTo>
                    <a:pt x="322" y="42"/>
                    <a:pt x="322" y="42"/>
                    <a:pt x="322" y="42"/>
                  </a:cubicBezTo>
                  <a:cubicBezTo>
                    <a:pt x="328" y="32"/>
                    <a:pt x="328" y="32"/>
                    <a:pt x="328" y="32"/>
                  </a:cubicBezTo>
                  <a:cubicBezTo>
                    <a:pt x="335" y="32"/>
                    <a:pt x="335" y="32"/>
                    <a:pt x="335" y="32"/>
                  </a:cubicBezTo>
                  <a:cubicBezTo>
                    <a:pt x="344" y="43"/>
                    <a:pt x="344" y="43"/>
                    <a:pt x="344" y="43"/>
                  </a:cubicBezTo>
                  <a:cubicBezTo>
                    <a:pt x="350" y="44"/>
                    <a:pt x="350" y="44"/>
                    <a:pt x="350" y="44"/>
                  </a:cubicBezTo>
                  <a:cubicBezTo>
                    <a:pt x="350" y="44"/>
                    <a:pt x="356" y="53"/>
                    <a:pt x="356" y="53"/>
                  </a:cubicBezTo>
                  <a:cubicBezTo>
                    <a:pt x="356" y="54"/>
                    <a:pt x="405" y="60"/>
                    <a:pt x="405" y="60"/>
                  </a:cubicBezTo>
                  <a:cubicBezTo>
                    <a:pt x="428" y="86"/>
                    <a:pt x="428" y="86"/>
                    <a:pt x="428" y="86"/>
                  </a:cubicBezTo>
                  <a:cubicBezTo>
                    <a:pt x="435" y="90"/>
                    <a:pt x="435" y="90"/>
                    <a:pt x="435" y="90"/>
                  </a:cubicBezTo>
                  <a:cubicBezTo>
                    <a:pt x="451" y="127"/>
                    <a:pt x="451" y="127"/>
                    <a:pt x="451" y="127"/>
                  </a:cubicBezTo>
                  <a:cubicBezTo>
                    <a:pt x="447" y="155"/>
                    <a:pt x="447" y="155"/>
                    <a:pt x="447" y="155"/>
                  </a:cubicBezTo>
                  <a:cubicBezTo>
                    <a:pt x="452" y="167"/>
                    <a:pt x="452" y="167"/>
                    <a:pt x="452" y="167"/>
                  </a:cubicBezTo>
                  <a:cubicBezTo>
                    <a:pt x="476" y="217"/>
                    <a:pt x="476" y="217"/>
                    <a:pt x="476" y="217"/>
                  </a:cubicBezTo>
                  <a:cubicBezTo>
                    <a:pt x="481" y="247"/>
                    <a:pt x="481" y="247"/>
                    <a:pt x="481" y="247"/>
                  </a:cubicBezTo>
                  <a:cubicBezTo>
                    <a:pt x="490" y="257"/>
                    <a:pt x="490" y="257"/>
                    <a:pt x="490" y="257"/>
                  </a:cubicBezTo>
                  <a:cubicBezTo>
                    <a:pt x="570" y="471"/>
                    <a:pt x="570" y="471"/>
                    <a:pt x="570" y="471"/>
                  </a:cubicBezTo>
                  <a:cubicBezTo>
                    <a:pt x="590" y="474"/>
                    <a:pt x="590" y="474"/>
                    <a:pt x="590" y="474"/>
                  </a:cubicBezTo>
                  <a:cubicBezTo>
                    <a:pt x="590" y="474"/>
                    <a:pt x="590" y="488"/>
                    <a:pt x="590" y="489"/>
                  </a:cubicBezTo>
                  <a:cubicBezTo>
                    <a:pt x="590" y="489"/>
                    <a:pt x="601" y="498"/>
                    <a:pt x="601" y="498"/>
                  </a:cubicBezTo>
                  <a:cubicBezTo>
                    <a:pt x="601" y="534"/>
                    <a:pt x="601" y="534"/>
                    <a:pt x="601" y="534"/>
                  </a:cubicBezTo>
                  <a:cubicBezTo>
                    <a:pt x="626" y="566"/>
                    <a:pt x="626" y="566"/>
                    <a:pt x="626" y="566"/>
                  </a:cubicBezTo>
                  <a:lnTo>
                    <a:pt x="633" y="611"/>
                  </a:lnTo>
                  <a:close/>
                </a:path>
              </a:pathLst>
            </a:custGeom>
            <a:grpFill/>
            <a:ln>
              <a:solidFill>
                <a:srgbClr val="FFFFFF"/>
              </a:solidFill>
            </a:ln>
          </p:spPr>
          <p:txBody>
            <a:bodyPr vert="horz" wrap="square" lIns="121920" tIns="60960" rIns="121920" bIns="60960" numCol="1" anchor="t" anchorCtr="0" compatLnSpc="1">
              <a:prstTxWarp prst="textNoShape">
                <a:avLst/>
              </a:prstTxWarp>
            </a:bodyPr>
            <a:lstStyle/>
            <a:p>
              <a:pPr marL="0" marR="0" lvl="0" indent="0" defTabSz="467539"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000000"/>
                </a:solidFill>
                <a:effectLst/>
                <a:uLnTx/>
                <a:uFillTx/>
              </a:endParaRPr>
            </a:p>
          </p:txBody>
        </p:sp>
        <p:sp>
          <p:nvSpPr>
            <p:cNvPr id="91" name="Freeform 8">
              <a:extLst>
                <a:ext uri="{FF2B5EF4-FFF2-40B4-BE49-F238E27FC236}">
                  <a16:creationId xmlns:a16="http://schemas.microsoft.com/office/drawing/2014/main" id="{F9D3F09E-CB06-4026-934B-311A79F5B7CE}"/>
                </a:ext>
              </a:extLst>
            </p:cNvPr>
            <p:cNvSpPr>
              <a:spLocks/>
            </p:cNvSpPr>
            <p:nvPr/>
          </p:nvSpPr>
          <p:spPr bwMode="auto">
            <a:xfrm>
              <a:off x="3054350" y="2703513"/>
              <a:ext cx="852488" cy="992188"/>
            </a:xfrm>
            <a:custGeom>
              <a:avLst/>
              <a:gdLst>
                <a:gd name="T0" fmla="*/ 714 w 726"/>
                <a:gd name="T1" fmla="*/ 645 h 846"/>
                <a:gd name="T2" fmla="*/ 722 w 726"/>
                <a:gd name="T3" fmla="*/ 661 h 846"/>
                <a:gd name="T4" fmla="*/ 671 w 726"/>
                <a:gd name="T5" fmla="*/ 749 h 846"/>
                <a:gd name="T6" fmla="*/ 620 w 726"/>
                <a:gd name="T7" fmla="*/ 803 h 846"/>
                <a:gd name="T8" fmla="*/ 544 w 726"/>
                <a:gd name="T9" fmla="*/ 797 h 846"/>
                <a:gd name="T10" fmla="*/ 492 w 726"/>
                <a:gd name="T11" fmla="*/ 798 h 846"/>
                <a:gd name="T12" fmla="*/ 420 w 726"/>
                <a:gd name="T13" fmla="*/ 846 h 846"/>
                <a:gd name="T14" fmla="*/ 366 w 726"/>
                <a:gd name="T15" fmla="*/ 844 h 846"/>
                <a:gd name="T16" fmla="*/ 282 w 726"/>
                <a:gd name="T17" fmla="*/ 835 h 846"/>
                <a:gd name="T18" fmla="*/ 280 w 726"/>
                <a:gd name="T19" fmla="*/ 795 h 846"/>
                <a:gd name="T20" fmla="*/ 307 w 726"/>
                <a:gd name="T21" fmla="*/ 772 h 846"/>
                <a:gd name="T22" fmla="*/ 296 w 726"/>
                <a:gd name="T23" fmla="*/ 731 h 846"/>
                <a:gd name="T24" fmla="*/ 216 w 726"/>
                <a:gd name="T25" fmla="*/ 719 h 846"/>
                <a:gd name="T26" fmla="*/ 205 w 726"/>
                <a:gd name="T27" fmla="*/ 666 h 846"/>
                <a:gd name="T28" fmla="*/ 134 w 726"/>
                <a:gd name="T29" fmla="*/ 670 h 846"/>
                <a:gd name="T30" fmla="*/ 106 w 726"/>
                <a:gd name="T31" fmla="*/ 653 h 846"/>
                <a:gd name="T32" fmla="*/ 74 w 726"/>
                <a:gd name="T33" fmla="*/ 537 h 846"/>
                <a:gd name="T34" fmla="*/ 72 w 726"/>
                <a:gd name="T35" fmla="*/ 490 h 846"/>
                <a:gd name="T36" fmla="*/ 73 w 726"/>
                <a:gd name="T37" fmla="*/ 435 h 846"/>
                <a:gd name="T38" fmla="*/ 78 w 726"/>
                <a:gd name="T39" fmla="*/ 399 h 846"/>
                <a:gd name="T40" fmla="*/ 70 w 726"/>
                <a:gd name="T41" fmla="*/ 358 h 846"/>
                <a:gd name="T42" fmla="*/ 33 w 726"/>
                <a:gd name="T43" fmla="*/ 354 h 846"/>
                <a:gd name="T44" fmla="*/ 12 w 726"/>
                <a:gd name="T45" fmla="*/ 318 h 846"/>
                <a:gd name="T46" fmla="*/ 61 w 726"/>
                <a:gd name="T47" fmla="*/ 317 h 846"/>
                <a:gd name="T48" fmla="*/ 74 w 726"/>
                <a:gd name="T49" fmla="*/ 282 h 846"/>
                <a:gd name="T50" fmla="*/ 80 w 726"/>
                <a:gd name="T51" fmla="*/ 256 h 846"/>
                <a:gd name="T52" fmla="*/ 60 w 726"/>
                <a:gd name="T53" fmla="*/ 176 h 846"/>
                <a:gd name="T54" fmla="*/ 185 w 726"/>
                <a:gd name="T55" fmla="*/ 149 h 846"/>
                <a:gd name="T56" fmla="*/ 246 w 726"/>
                <a:gd name="T57" fmla="*/ 124 h 846"/>
                <a:gd name="T58" fmla="*/ 270 w 726"/>
                <a:gd name="T59" fmla="*/ 88 h 846"/>
                <a:gd name="T60" fmla="*/ 320 w 726"/>
                <a:gd name="T61" fmla="*/ 69 h 846"/>
                <a:gd name="T62" fmla="*/ 358 w 726"/>
                <a:gd name="T63" fmla="*/ 0 h 846"/>
                <a:gd name="T64" fmla="*/ 372 w 726"/>
                <a:gd name="T65" fmla="*/ 4 h 846"/>
                <a:gd name="T66" fmla="*/ 380 w 726"/>
                <a:gd name="T67" fmla="*/ 9 h 846"/>
                <a:gd name="T68" fmla="*/ 410 w 726"/>
                <a:gd name="T69" fmla="*/ 25 h 846"/>
                <a:gd name="T70" fmla="*/ 449 w 726"/>
                <a:gd name="T71" fmla="*/ 33 h 846"/>
                <a:gd name="T72" fmla="*/ 498 w 726"/>
                <a:gd name="T73" fmla="*/ 64 h 846"/>
                <a:gd name="T74" fmla="*/ 518 w 726"/>
                <a:gd name="T75" fmla="*/ 98 h 846"/>
                <a:gd name="T76" fmla="*/ 515 w 726"/>
                <a:gd name="T77" fmla="*/ 120 h 846"/>
                <a:gd name="T78" fmla="*/ 512 w 726"/>
                <a:gd name="T79" fmla="*/ 136 h 846"/>
                <a:gd name="T80" fmla="*/ 516 w 726"/>
                <a:gd name="T81" fmla="*/ 158 h 846"/>
                <a:gd name="T82" fmla="*/ 516 w 726"/>
                <a:gd name="T83" fmla="*/ 177 h 846"/>
                <a:gd name="T84" fmla="*/ 502 w 726"/>
                <a:gd name="T85" fmla="*/ 220 h 846"/>
                <a:gd name="T86" fmla="*/ 505 w 726"/>
                <a:gd name="T87" fmla="*/ 264 h 846"/>
                <a:gd name="T88" fmla="*/ 516 w 726"/>
                <a:gd name="T89" fmla="*/ 299 h 846"/>
                <a:gd name="T90" fmla="*/ 534 w 726"/>
                <a:gd name="T91" fmla="*/ 311 h 846"/>
                <a:gd name="T92" fmla="*/ 546 w 726"/>
                <a:gd name="T93" fmla="*/ 331 h 846"/>
                <a:gd name="T94" fmla="*/ 553 w 726"/>
                <a:gd name="T95" fmla="*/ 385 h 846"/>
                <a:gd name="T96" fmla="*/ 580 w 726"/>
                <a:gd name="T97" fmla="*/ 426 h 846"/>
                <a:gd name="T98" fmla="*/ 622 w 726"/>
                <a:gd name="T99" fmla="*/ 472 h 846"/>
                <a:gd name="T100" fmla="*/ 646 w 726"/>
                <a:gd name="T101" fmla="*/ 508 h 846"/>
                <a:gd name="T102" fmla="*/ 673 w 726"/>
                <a:gd name="T103" fmla="*/ 541 h 846"/>
                <a:gd name="T104" fmla="*/ 725 w 726"/>
                <a:gd name="T105" fmla="*/ 571 h 846"/>
                <a:gd name="T106" fmla="*/ 678 w 726"/>
                <a:gd name="T107" fmla="*/ 612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26" h="846">
                  <a:moveTo>
                    <a:pt x="678" y="612"/>
                  </a:moveTo>
                  <a:cubicBezTo>
                    <a:pt x="714" y="645"/>
                    <a:pt x="714" y="645"/>
                    <a:pt x="714" y="645"/>
                  </a:cubicBezTo>
                  <a:cubicBezTo>
                    <a:pt x="715" y="656"/>
                    <a:pt x="715" y="656"/>
                    <a:pt x="715" y="656"/>
                  </a:cubicBezTo>
                  <a:cubicBezTo>
                    <a:pt x="722" y="661"/>
                    <a:pt x="722" y="661"/>
                    <a:pt x="722" y="661"/>
                  </a:cubicBezTo>
                  <a:cubicBezTo>
                    <a:pt x="706" y="731"/>
                    <a:pt x="706" y="731"/>
                    <a:pt x="706" y="731"/>
                  </a:cubicBezTo>
                  <a:cubicBezTo>
                    <a:pt x="671" y="749"/>
                    <a:pt x="671" y="749"/>
                    <a:pt x="671" y="749"/>
                  </a:cubicBezTo>
                  <a:cubicBezTo>
                    <a:pt x="639" y="756"/>
                    <a:pt x="639" y="756"/>
                    <a:pt x="639" y="756"/>
                  </a:cubicBezTo>
                  <a:cubicBezTo>
                    <a:pt x="620" y="803"/>
                    <a:pt x="620" y="803"/>
                    <a:pt x="620" y="803"/>
                  </a:cubicBezTo>
                  <a:cubicBezTo>
                    <a:pt x="607" y="822"/>
                    <a:pt x="607" y="822"/>
                    <a:pt x="607" y="822"/>
                  </a:cubicBezTo>
                  <a:cubicBezTo>
                    <a:pt x="567" y="816"/>
                    <a:pt x="552" y="803"/>
                    <a:pt x="544" y="797"/>
                  </a:cubicBezTo>
                  <a:cubicBezTo>
                    <a:pt x="537" y="791"/>
                    <a:pt x="512" y="781"/>
                    <a:pt x="512" y="781"/>
                  </a:cubicBezTo>
                  <a:cubicBezTo>
                    <a:pt x="492" y="798"/>
                    <a:pt x="492" y="798"/>
                    <a:pt x="492" y="798"/>
                  </a:cubicBezTo>
                  <a:cubicBezTo>
                    <a:pt x="460" y="790"/>
                    <a:pt x="460" y="790"/>
                    <a:pt x="460" y="790"/>
                  </a:cubicBezTo>
                  <a:cubicBezTo>
                    <a:pt x="420" y="846"/>
                    <a:pt x="420" y="846"/>
                    <a:pt x="420" y="846"/>
                  </a:cubicBezTo>
                  <a:cubicBezTo>
                    <a:pt x="383" y="843"/>
                    <a:pt x="383" y="843"/>
                    <a:pt x="383" y="843"/>
                  </a:cubicBezTo>
                  <a:cubicBezTo>
                    <a:pt x="366" y="844"/>
                    <a:pt x="366" y="844"/>
                    <a:pt x="366" y="844"/>
                  </a:cubicBezTo>
                  <a:cubicBezTo>
                    <a:pt x="338" y="824"/>
                    <a:pt x="338" y="824"/>
                    <a:pt x="338" y="824"/>
                  </a:cubicBezTo>
                  <a:cubicBezTo>
                    <a:pt x="282" y="835"/>
                    <a:pt x="282" y="835"/>
                    <a:pt x="282" y="835"/>
                  </a:cubicBezTo>
                  <a:cubicBezTo>
                    <a:pt x="282" y="835"/>
                    <a:pt x="268" y="815"/>
                    <a:pt x="265" y="812"/>
                  </a:cubicBezTo>
                  <a:cubicBezTo>
                    <a:pt x="262" y="809"/>
                    <a:pt x="274" y="801"/>
                    <a:pt x="280" y="795"/>
                  </a:cubicBezTo>
                  <a:cubicBezTo>
                    <a:pt x="285" y="789"/>
                    <a:pt x="300" y="783"/>
                    <a:pt x="308" y="783"/>
                  </a:cubicBezTo>
                  <a:cubicBezTo>
                    <a:pt x="317" y="783"/>
                    <a:pt x="310" y="775"/>
                    <a:pt x="307" y="772"/>
                  </a:cubicBezTo>
                  <a:cubicBezTo>
                    <a:pt x="304" y="770"/>
                    <a:pt x="305" y="765"/>
                    <a:pt x="299" y="759"/>
                  </a:cubicBezTo>
                  <a:cubicBezTo>
                    <a:pt x="293" y="754"/>
                    <a:pt x="299" y="732"/>
                    <a:pt x="296" y="731"/>
                  </a:cubicBezTo>
                  <a:cubicBezTo>
                    <a:pt x="293" y="731"/>
                    <a:pt x="254" y="713"/>
                    <a:pt x="244" y="709"/>
                  </a:cubicBezTo>
                  <a:cubicBezTo>
                    <a:pt x="234" y="705"/>
                    <a:pt x="216" y="719"/>
                    <a:pt x="216" y="719"/>
                  </a:cubicBezTo>
                  <a:cubicBezTo>
                    <a:pt x="191" y="700"/>
                    <a:pt x="191" y="700"/>
                    <a:pt x="191" y="700"/>
                  </a:cubicBezTo>
                  <a:cubicBezTo>
                    <a:pt x="205" y="666"/>
                    <a:pt x="205" y="666"/>
                    <a:pt x="205" y="666"/>
                  </a:cubicBezTo>
                  <a:cubicBezTo>
                    <a:pt x="176" y="646"/>
                    <a:pt x="176" y="646"/>
                    <a:pt x="176" y="646"/>
                  </a:cubicBezTo>
                  <a:cubicBezTo>
                    <a:pt x="176" y="646"/>
                    <a:pt x="146" y="664"/>
                    <a:pt x="134" y="670"/>
                  </a:cubicBezTo>
                  <a:cubicBezTo>
                    <a:pt x="126" y="674"/>
                    <a:pt x="119" y="673"/>
                    <a:pt x="114" y="666"/>
                  </a:cubicBezTo>
                  <a:cubicBezTo>
                    <a:pt x="111" y="663"/>
                    <a:pt x="108" y="659"/>
                    <a:pt x="106" y="653"/>
                  </a:cubicBezTo>
                  <a:cubicBezTo>
                    <a:pt x="98" y="637"/>
                    <a:pt x="77" y="567"/>
                    <a:pt x="77" y="567"/>
                  </a:cubicBezTo>
                  <a:cubicBezTo>
                    <a:pt x="77" y="567"/>
                    <a:pt x="72" y="545"/>
                    <a:pt x="74" y="537"/>
                  </a:cubicBezTo>
                  <a:cubicBezTo>
                    <a:pt x="76" y="530"/>
                    <a:pt x="74" y="518"/>
                    <a:pt x="72" y="512"/>
                  </a:cubicBezTo>
                  <a:cubicBezTo>
                    <a:pt x="71" y="505"/>
                    <a:pt x="69" y="497"/>
                    <a:pt x="72" y="490"/>
                  </a:cubicBezTo>
                  <a:cubicBezTo>
                    <a:pt x="76" y="482"/>
                    <a:pt x="80" y="470"/>
                    <a:pt x="80" y="458"/>
                  </a:cubicBezTo>
                  <a:cubicBezTo>
                    <a:pt x="81" y="446"/>
                    <a:pt x="86" y="439"/>
                    <a:pt x="73" y="435"/>
                  </a:cubicBezTo>
                  <a:cubicBezTo>
                    <a:pt x="60" y="431"/>
                    <a:pt x="58" y="415"/>
                    <a:pt x="64" y="411"/>
                  </a:cubicBezTo>
                  <a:cubicBezTo>
                    <a:pt x="71" y="407"/>
                    <a:pt x="80" y="408"/>
                    <a:pt x="78" y="399"/>
                  </a:cubicBezTo>
                  <a:cubicBezTo>
                    <a:pt x="77" y="390"/>
                    <a:pt x="74" y="387"/>
                    <a:pt x="74" y="381"/>
                  </a:cubicBezTo>
                  <a:cubicBezTo>
                    <a:pt x="73" y="374"/>
                    <a:pt x="69" y="365"/>
                    <a:pt x="70" y="358"/>
                  </a:cubicBezTo>
                  <a:cubicBezTo>
                    <a:pt x="70" y="351"/>
                    <a:pt x="71" y="345"/>
                    <a:pt x="67" y="347"/>
                  </a:cubicBezTo>
                  <a:cubicBezTo>
                    <a:pt x="63" y="349"/>
                    <a:pt x="41" y="358"/>
                    <a:pt x="33" y="354"/>
                  </a:cubicBezTo>
                  <a:cubicBezTo>
                    <a:pt x="25" y="350"/>
                    <a:pt x="0" y="333"/>
                    <a:pt x="1" y="329"/>
                  </a:cubicBezTo>
                  <a:cubicBezTo>
                    <a:pt x="2" y="325"/>
                    <a:pt x="6" y="316"/>
                    <a:pt x="12" y="318"/>
                  </a:cubicBezTo>
                  <a:cubicBezTo>
                    <a:pt x="17" y="321"/>
                    <a:pt x="32" y="332"/>
                    <a:pt x="39" y="329"/>
                  </a:cubicBezTo>
                  <a:cubicBezTo>
                    <a:pt x="46" y="326"/>
                    <a:pt x="58" y="322"/>
                    <a:pt x="61" y="317"/>
                  </a:cubicBezTo>
                  <a:cubicBezTo>
                    <a:pt x="64" y="312"/>
                    <a:pt x="73" y="293"/>
                    <a:pt x="78" y="290"/>
                  </a:cubicBezTo>
                  <a:cubicBezTo>
                    <a:pt x="83" y="287"/>
                    <a:pt x="79" y="288"/>
                    <a:pt x="74" y="282"/>
                  </a:cubicBezTo>
                  <a:cubicBezTo>
                    <a:pt x="70" y="276"/>
                    <a:pt x="59" y="269"/>
                    <a:pt x="66" y="266"/>
                  </a:cubicBezTo>
                  <a:cubicBezTo>
                    <a:pt x="73" y="263"/>
                    <a:pt x="80" y="256"/>
                    <a:pt x="80" y="256"/>
                  </a:cubicBezTo>
                  <a:cubicBezTo>
                    <a:pt x="59" y="233"/>
                    <a:pt x="59" y="233"/>
                    <a:pt x="59" y="233"/>
                  </a:cubicBezTo>
                  <a:cubicBezTo>
                    <a:pt x="60" y="176"/>
                    <a:pt x="60" y="176"/>
                    <a:pt x="60" y="176"/>
                  </a:cubicBezTo>
                  <a:cubicBezTo>
                    <a:pt x="103" y="150"/>
                    <a:pt x="103" y="150"/>
                    <a:pt x="103" y="150"/>
                  </a:cubicBezTo>
                  <a:cubicBezTo>
                    <a:pt x="185" y="149"/>
                    <a:pt x="185" y="149"/>
                    <a:pt x="185" y="149"/>
                  </a:cubicBezTo>
                  <a:cubicBezTo>
                    <a:pt x="217" y="117"/>
                    <a:pt x="217" y="117"/>
                    <a:pt x="217" y="117"/>
                  </a:cubicBezTo>
                  <a:cubicBezTo>
                    <a:pt x="246" y="124"/>
                    <a:pt x="246" y="124"/>
                    <a:pt x="246" y="124"/>
                  </a:cubicBezTo>
                  <a:cubicBezTo>
                    <a:pt x="246" y="124"/>
                    <a:pt x="249" y="95"/>
                    <a:pt x="255" y="91"/>
                  </a:cubicBezTo>
                  <a:cubicBezTo>
                    <a:pt x="261" y="87"/>
                    <a:pt x="265" y="86"/>
                    <a:pt x="270" y="88"/>
                  </a:cubicBezTo>
                  <a:cubicBezTo>
                    <a:pt x="275" y="91"/>
                    <a:pt x="302" y="108"/>
                    <a:pt x="309" y="96"/>
                  </a:cubicBezTo>
                  <a:cubicBezTo>
                    <a:pt x="315" y="85"/>
                    <a:pt x="313" y="75"/>
                    <a:pt x="320" y="69"/>
                  </a:cubicBezTo>
                  <a:cubicBezTo>
                    <a:pt x="327" y="62"/>
                    <a:pt x="348" y="48"/>
                    <a:pt x="351" y="38"/>
                  </a:cubicBezTo>
                  <a:cubicBezTo>
                    <a:pt x="353" y="29"/>
                    <a:pt x="358" y="0"/>
                    <a:pt x="358" y="0"/>
                  </a:cubicBezTo>
                  <a:cubicBezTo>
                    <a:pt x="359" y="1"/>
                    <a:pt x="359" y="2"/>
                    <a:pt x="360" y="2"/>
                  </a:cubicBezTo>
                  <a:cubicBezTo>
                    <a:pt x="364" y="6"/>
                    <a:pt x="369" y="4"/>
                    <a:pt x="372" y="4"/>
                  </a:cubicBezTo>
                  <a:cubicBezTo>
                    <a:pt x="375" y="4"/>
                    <a:pt x="379" y="8"/>
                    <a:pt x="380" y="9"/>
                  </a:cubicBezTo>
                  <a:cubicBezTo>
                    <a:pt x="380" y="9"/>
                    <a:pt x="380" y="9"/>
                    <a:pt x="380" y="9"/>
                  </a:cubicBezTo>
                  <a:cubicBezTo>
                    <a:pt x="380" y="9"/>
                    <a:pt x="380" y="10"/>
                    <a:pt x="380" y="10"/>
                  </a:cubicBezTo>
                  <a:cubicBezTo>
                    <a:pt x="382" y="22"/>
                    <a:pt x="402" y="26"/>
                    <a:pt x="410" y="25"/>
                  </a:cubicBezTo>
                  <a:cubicBezTo>
                    <a:pt x="418" y="24"/>
                    <a:pt x="420" y="28"/>
                    <a:pt x="427" y="33"/>
                  </a:cubicBezTo>
                  <a:cubicBezTo>
                    <a:pt x="435" y="38"/>
                    <a:pt x="440" y="35"/>
                    <a:pt x="449" y="33"/>
                  </a:cubicBezTo>
                  <a:cubicBezTo>
                    <a:pt x="458" y="30"/>
                    <a:pt x="460" y="43"/>
                    <a:pt x="463" y="51"/>
                  </a:cubicBezTo>
                  <a:cubicBezTo>
                    <a:pt x="465" y="59"/>
                    <a:pt x="493" y="63"/>
                    <a:pt x="498" y="64"/>
                  </a:cubicBezTo>
                  <a:cubicBezTo>
                    <a:pt x="503" y="66"/>
                    <a:pt x="504" y="71"/>
                    <a:pt x="503" y="77"/>
                  </a:cubicBezTo>
                  <a:cubicBezTo>
                    <a:pt x="502" y="83"/>
                    <a:pt x="515" y="95"/>
                    <a:pt x="518" y="98"/>
                  </a:cubicBezTo>
                  <a:cubicBezTo>
                    <a:pt x="520" y="101"/>
                    <a:pt x="518" y="103"/>
                    <a:pt x="515" y="107"/>
                  </a:cubicBezTo>
                  <a:cubicBezTo>
                    <a:pt x="513" y="112"/>
                    <a:pt x="514" y="117"/>
                    <a:pt x="515" y="120"/>
                  </a:cubicBezTo>
                  <a:cubicBezTo>
                    <a:pt x="516" y="123"/>
                    <a:pt x="517" y="125"/>
                    <a:pt x="515" y="129"/>
                  </a:cubicBezTo>
                  <a:cubicBezTo>
                    <a:pt x="513" y="133"/>
                    <a:pt x="512" y="132"/>
                    <a:pt x="512" y="136"/>
                  </a:cubicBezTo>
                  <a:cubicBezTo>
                    <a:pt x="513" y="140"/>
                    <a:pt x="512" y="142"/>
                    <a:pt x="509" y="145"/>
                  </a:cubicBezTo>
                  <a:cubicBezTo>
                    <a:pt x="505" y="148"/>
                    <a:pt x="510" y="154"/>
                    <a:pt x="516" y="158"/>
                  </a:cubicBezTo>
                  <a:cubicBezTo>
                    <a:pt x="521" y="162"/>
                    <a:pt x="512" y="163"/>
                    <a:pt x="507" y="165"/>
                  </a:cubicBezTo>
                  <a:cubicBezTo>
                    <a:pt x="501" y="167"/>
                    <a:pt x="511" y="174"/>
                    <a:pt x="516" y="177"/>
                  </a:cubicBezTo>
                  <a:cubicBezTo>
                    <a:pt x="522" y="179"/>
                    <a:pt x="518" y="192"/>
                    <a:pt x="518" y="200"/>
                  </a:cubicBezTo>
                  <a:cubicBezTo>
                    <a:pt x="519" y="208"/>
                    <a:pt x="509" y="212"/>
                    <a:pt x="502" y="220"/>
                  </a:cubicBezTo>
                  <a:cubicBezTo>
                    <a:pt x="495" y="227"/>
                    <a:pt x="501" y="235"/>
                    <a:pt x="504" y="241"/>
                  </a:cubicBezTo>
                  <a:cubicBezTo>
                    <a:pt x="506" y="247"/>
                    <a:pt x="504" y="254"/>
                    <a:pt x="505" y="264"/>
                  </a:cubicBezTo>
                  <a:cubicBezTo>
                    <a:pt x="506" y="274"/>
                    <a:pt x="511" y="275"/>
                    <a:pt x="516" y="280"/>
                  </a:cubicBezTo>
                  <a:cubicBezTo>
                    <a:pt x="520" y="285"/>
                    <a:pt x="516" y="291"/>
                    <a:pt x="516" y="299"/>
                  </a:cubicBezTo>
                  <a:cubicBezTo>
                    <a:pt x="516" y="308"/>
                    <a:pt x="525" y="303"/>
                    <a:pt x="530" y="300"/>
                  </a:cubicBezTo>
                  <a:cubicBezTo>
                    <a:pt x="535" y="297"/>
                    <a:pt x="536" y="305"/>
                    <a:pt x="534" y="311"/>
                  </a:cubicBezTo>
                  <a:cubicBezTo>
                    <a:pt x="533" y="317"/>
                    <a:pt x="537" y="318"/>
                    <a:pt x="547" y="320"/>
                  </a:cubicBezTo>
                  <a:cubicBezTo>
                    <a:pt x="557" y="321"/>
                    <a:pt x="550" y="325"/>
                    <a:pt x="546" y="331"/>
                  </a:cubicBezTo>
                  <a:cubicBezTo>
                    <a:pt x="543" y="338"/>
                    <a:pt x="552" y="338"/>
                    <a:pt x="559" y="344"/>
                  </a:cubicBezTo>
                  <a:cubicBezTo>
                    <a:pt x="566" y="351"/>
                    <a:pt x="555" y="370"/>
                    <a:pt x="553" y="385"/>
                  </a:cubicBezTo>
                  <a:cubicBezTo>
                    <a:pt x="552" y="400"/>
                    <a:pt x="568" y="410"/>
                    <a:pt x="575" y="412"/>
                  </a:cubicBezTo>
                  <a:cubicBezTo>
                    <a:pt x="582" y="414"/>
                    <a:pt x="580" y="416"/>
                    <a:pt x="580" y="426"/>
                  </a:cubicBezTo>
                  <a:cubicBezTo>
                    <a:pt x="581" y="437"/>
                    <a:pt x="606" y="447"/>
                    <a:pt x="615" y="451"/>
                  </a:cubicBezTo>
                  <a:cubicBezTo>
                    <a:pt x="623" y="455"/>
                    <a:pt x="620" y="455"/>
                    <a:pt x="622" y="472"/>
                  </a:cubicBezTo>
                  <a:cubicBezTo>
                    <a:pt x="625" y="488"/>
                    <a:pt x="636" y="493"/>
                    <a:pt x="642" y="497"/>
                  </a:cubicBezTo>
                  <a:cubicBezTo>
                    <a:pt x="648" y="501"/>
                    <a:pt x="645" y="500"/>
                    <a:pt x="646" y="508"/>
                  </a:cubicBezTo>
                  <a:cubicBezTo>
                    <a:pt x="648" y="517"/>
                    <a:pt x="655" y="522"/>
                    <a:pt x="661" y="527"/>
                  </a:cubicBezTo>
                  <a:cubicBezTo>
                    <a:pt x="668" y="532"/>
                    <a:pt x="667" y="530"/>
                    <a:pt x="673" y="541"/>
                  </a:cubicBezTo>
                  <a:cubicBezTo>
                    <a:pt x="678" y="553"/>
                    <a:pt x="704" y="559"/>
                    <a:pt x="709" y="560"/>
                  </a:cubicBezTo>
                  <a:cubicBezTo>
                    <a:pt x="714" y="561"/>
                    <a:pt x="723" y="561"/>
                    <a:pt x="725" y="571"/>
                  </a:cubicBezTo>
                  <a:cubicBezTo>
                    <a:pt x="726" y="581"/>
                    <a:pt x="698" y="579"/>
                    <a:pt x="683" y="584"/>
                  </a:cubicBezTo>
                  <a:cubicBezTo>
                    <a:pt x="668" y="589"/>
                    <a:pt x="678" y="612"/>
                    <a:pt x="678" y="612"/>
                  </a:cubicBezTo>
                  <a:close/>
                </a:path>
              </a:pathLst>
            </a:custGeom>
            <a:grpFill/>
            <a:ln>
              <a:solidFill>
                <a:srgbClr val="FFFFFF"/>
              </a:solidFill>
            </a:ln>
          </p:spPr>
          <p:txBody>
            <a:bodyPr vert="horz" wrap="square" lIns="121920" tIns="60960" rIns="121920" bIns="60960" numCol="1" anchor="t" anchorCtr="0" compatLnSpc="1">
              <a:prstTxWarp prst="textNoShape">
                <a:avLst/>
              </a:prstTxWarp>
            </a:bodyPr>
            <a:lstStyle/>
            <a:p>
              <a:pPr marL="0" marR="0" lvl="0" indent="0" defTabSz="467539"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000000"/>
                </a:solidFill>
                <a:effectLst/>
                <a:uLnTx/>
                <a:uFillTx/>
              </a:endParaRPr>
            </a:p>
          </p:txBody>
        </p:sp>
        <p:sp>
          <p:nvSpPr>
            <p:cNvPr id="92" name="Freeform 9">
              <a:extLst>
                <a:ext uri="{FF2B5EF4-FFF2-40B4-BE49-F238E27FC236}">
                  <a16:creationId xmlns:a16="http://schemas.microsoft.com/office/drawing/2014/main" id="{E7D61FB4-2BBA-4BFB-A49A-C564799AAE2B}"/>
                </a:ext>
              </a:extLst>
            </p:cNvPr>
            <p:cNvSpPr>
              <a:spLocks/>
            </p:cNvSpPr>
            <p:nvPr/>
          </p:nvSpPr>
          <p:spPr bwMode="auto">
            <a:xfrm>
              <a:off x="2998788" y="3462338"/>
              <a:ext cx="768350" cy="868363"/>
            </a:xfrm>
            <a:custGeom>
              <a:avLst/>
              <a:gdLst>
                <a:gd name="T0" fmla="*/ 637 w 654"/>
                <a:gd name="T1" fmla="*/ 198 h 741"/>
                <a:gd name="T2" fmla="*/ 530 w 654"/>
                <a:gd name="T3" fmla="*/ 368 h 741"/>
                <a:gd name="T4" fmla="*/ 450 w 654"/>
                <a:gd name="T5" fmla="*/ 499 h 741"/>
                <a:gd name="T6" fmla="*/ 447 w 654"/>
                <a:gd name="T7" fmla="*/ 523 h 741"/>
                <a:gd name="T8" fmla="*/ 466 w 654"/>
                <a:gd name="T9" fmla="*/ 554 h 741"/>
                <a:gd name="T10" fmla="*/ 475 w 654"/>
                <a:gd name="T11" fmla="*/ 632 h 741"/>
                <a:gd name="T12" fmla="*/ 481 w 654"/>
                <a:gd name="T13" fmla="*/ 660 h 741"/>
                <a:gd name="T14" fmla="*/ 490 w 654"/>
                <a:gd name="T15" fmla="*/ 674 h 741"/>
                <a:gd name="T16" fmla="*/ 530 w 654"/>
                <a:gd name="T17" fmla="*/ 713 h 741"/>
                <a:gd name="T18" fmla="*/ 524 w 654"/>
                <a:gd name="T19" fmla="*/ 741 h 741"/>
                <a:gd name="T20" fmla="*/ 405 w 654"/>
                <a:gd name="T21" fmla="*/ 714 h 741"/>
                <a:gd name="T22" fmla="*/ 349 w 654"/>
                <a:gd name="T23" fmla="*/ 702 h 741"/>
                <a:gd name="T24" fmla="*/ 327 w 654"/>
                <a:gd name="T25" fmla="*/ 696 h 741"/>
                <a:gd name="T26" fmla="*/ 268 w 654"/>
                <a:gd name="T27" fmla="*/ 645 h 741"/>
                <a:gd name="T28" fmla="*/ 236 w 654"/>
                <a:gd name="T29" fmla="*/ 624 h 741"/>
                <a:gd name="T30" fmla="*/ 207 w 654"/>
                <a:gd name="T31" fmla="*/ 634 h 741"/>
                <a:gd name="T32" fmla="*/ 172 w 654"/>
                <a:gd name="T33" fmla="*/ 614 h 741"/>
                <a:gd name="T34" fmla="*/ 149 w 654"/>
                <a:gd name="T35" fmla="*/ 602 h 741"/>
                <a:gd name="T36" fmla="*/ 97 w 654"/>
                <a:gd name="T37" fmla="*/ 621 h 741"/>
                <a:gd name="T38" fmla="*/ 73 w 654"/>
                <a:gd name="T39" fmla="*/ 541 h 741"/>
                <a:gd name="T40" fmla="*/ 69 w 654"/>
                <a:gd name="T41" fmla="*/ 497 h 741"/>
                <a:gd name="T42" fmla="*/ 23 w 654"/>
                <a:gd name="T43" fmla="*/ 465 h 741"/>
                <a:gd name="T44" fmla="*/ 40 w 654"/>
                <a:gd name="T45" fmla="*/ 426 h 741"/>
                <a:gd name="T46" fmla="*/ 15 w 654"/>
                <a:gd name="T47" fmla="*/ 395 h 741"/>
                <a:gd name="T48" fmla="*/ 17 w 654"/>
                <a:gd name="T49" fmla="*/ 322 h 741"/>
                <a:gd name="T50" fmla="*/ 9 w 654"/>
                <a:gd name="T51" fmla="*/ 252 h 741"/>
                <a:gd name="T52" fmla="*/ 16 w 654"/>
                <a:gd name="T53" fmla="*/ 227 h 741"/>
                <a:gd name="T54" fmla="*/ 51 w 654"/>
                <a:gd name="T55" fmla="*/ 199 h 741"/>
                <a:gd name="T56" fmla="*/ 104 w 654"/>
                <a:gd name="T57" fmla="*/ 153 h 741"/>
                <a:gd name="T58" fmla="*/ 140 w 654"/>
                <a:gd name="T59" fmla="*/ 85 h 741"/>
                <a:gd name="T60" fmla="*/ 161 w 654"/>
                <a:gd name="T61" fmla="*/ 20 h 741"/>
                <a:gd name="T62" fmla="*/ 223 w 654"/>
                <a:gd name="T63" fmla="*/ 0 h 741"/>
                <a:gd name="T64" fmla="*/ 238 w 654"/>
                <a:gd name="T65" fmla="*/ 54 h 741"/>
                <a:gd name="T66" fmla="*/ 291 w 654"/>
                <a:gd name="T67" fmla="*/ 63 h 741"/>
                <a:gd name="T68" fmla="*/ 346 w 654"/>
                <a:gd name="T69" fmla="*/ 113 h 741"/>
                <a:gd name="T70" fmla="*/ 355 w 654"/>
                <a:gd name="T71" fmla="*/ 137 h 741"/>
                <a:gd name="T72" fmla="*/ 312 w 654"/>
                <a:gd name="T73" fmla="*/ 166 h 741"/>
                <a:gd name="T74" fmla="*/ 385 w 654"/>
                <a:gd name="T75" fmla="*/ 178 h 741"/>
                <a:gd name="T76" fmla="*/ 430 w 654"/>
                <a:gd name="T77" fmla="*/ 197 h 741"/>
                <a:gd name="T78" fmla="*/ 507 w 654"/>
                <a:gd name="T79" fmla="*/ 144 h 741"/>
                <a:gd name="T80" fmla="*/ 559 w 654"/>
                <a:gd name="T81" fmla="*/ 135 h 741"/>
                <a:gd name="T82" fmla="*/ 654 w 654"/>
                <a:gd name="T83" fmla="*/ 176 h 7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54" h="741">
                  <a:moveTo>
                    <a:pt x="654" y="176"/>
                  </a:moveTo>
                  <a:cubicBezTo>
                    <a:pt x="637" y="198"/>
                    <a:pt x="637" y="198"/>
                    <a:pt x="637" y="198"/>
                  </a:cubicBezTo>
                  <a:cubicBezTo>
                    <a:pt x="590" y="267"/>
                    <a:pt x="590" y="267"/>
                    <a:pt x="590" y="267"/>
                  </a:cubicBezTo>
                  <a:cubicBezTo>
                    <a:pt x="530" y="368"/>
                    <a:pt x="530" y="368"/>
                    <a:pt x="530" y="368"/>
                  </a:cubicBezTo>
                  <a:cubicBezTo>
                    <a:pt x="499" y="432"/>
                    <a:pt x="499" y="432"/>
                    <a:pt x="499" y="432"/>
                  </a:cubicBezTo>
                  <a:cubicBezTo>
                    <a:pt x="450" y="499"/>
                    <a:pt x="450" y="499"/>
                    <a:pt x="450" y="499"/>
                  </a:cubicBezTo>
                  <a:cubicBezTo>
                    <a:pt x="455" y="513"/>
                    <a:pt x="455" y="513"/>
                    <a:pt x="455" y="513"/>
                  </a:cubicBezTo>
                  <a:cubicBezTo>
                    <a:pt x="447" y="523"/>
                    <a:pt x="447" y="523"/>
                    <a:pt x="447" y="523"/>
                  </a:cubicBezTo>
                  <a:cubicBezTo>
                    <a:pt x="448" y="538"/>
                    <a:pt x="448" y="538"/>
                    <a:pt x="448" y="538"/>
                  </a:cubicBezTo>
                  <a:cubicBezTo>
                    <a:pt x="466" y="554"/>
                    <a:pt x="466" y="554"/>
                    <a:pt x="466" y="554"/>
                  </a:cubicBezTo>
                  <a:cubicBezTo>
                    <a:pt x="464" y="585"/>
                    <a:pt x="464" y="585"/>
                    <a:pt x="464" y="585"/>
                  </a:cubicBezTo>
                  <a:cubicBezTo>
                    <a:pt x="464" y="585"/>
                    <a:pt x="474" y="625"/>
                    <a:pt x="475" y="632"/>
                  </a:cubicBezTo>
                  <a:cubicBezTo>
                    <a:pt x="476" y="638"/>
                    <a:pt x="478" y="647"/>
                    <a:pt x="477" y="652"/>
                  </a:cubicBezTo>
                  <a:cubicBezTo>
                    <a:pt x="476" y="656"/>
                    <a:pt x="479" y="658"/>
                    <a:pt x="481" y="660"/>
                  </a:cubicBezTo>
                  <a:cubicBezTo>
                    <a:pt x="483" y="661"/>
                    <a:pt x="484" y="662"/>
                    <a:pt x="484" y="665"/>
                  </a:cubicBezTo>
                  <a:cubicBezTo>
                    <a:pt x="483" y="668"/>
                    <a:pt x="486" y="670"/>
                    <a:pt x="490" y="674"/>
                  </a:cubicBezTo>
                  <a:cubicBezTo>
                    <a:pt x="494" y="677"/>
                    <a:pt x="493" y="682"/>
                    <a:pt x="489" y="687"/>
                  </a:cubicBezTo>
                  <a:cubicBezTo>
                    <a:pt x="486" y="692"/>
                    <a:pt x="519" y="709"/>
                    <a:pt x="530" y="713"/>
                  </a:cubicBezTo>
                  <a:cubicBezTo>
                    <a:pt x="541" y="717"/>
                    <a:pt x="536" y="731"/>
                    <a:pt x="536" y="731"/>
                  </a:cubicBezTo>
                  <a:cubicBezTo>
                    <a:pt x="524" y="741"/>
                    <a:pt x="524" y="741"/>
                    <a:pt x="524" y="741"/>
                  </a:cubicBezTo>
                  <a:cubicBezTo>
                    <a:pt x="450" y="714"/>
                    <a:pt x="450" y="714"/>
                    <a:pt x="450" y="714"/>
                  </a:cubicBezTo>
                  <a:cubicBezTo>
                    <a:pt x="450" y="714"/>
                    <a:pt x="407" y="714"/>
                    <a:pt x="405" y="714"/>
                  </a:cubicBezTo>
                  <a:cubicBezTo>
                    <a:pt x="404" y="714"/>
                    <a:pt x="387" y="699"/>
                    <a:pt x="387" y="699"/>
                  </a:cubicBezTo>
                  <a:cubicBezTo>
                    <a:pt x="387" y="699"/>
                    <a:pt x="350" y="702"/>
                    <a:pt x="349" y="702"/>
                  </a:cubicBezTo>
                  <a:cubicBezTo>
                    <a:pt x="349" y="702"/>
                    <a:pt x="342" y="692"/>
                    <a:pt x="342" y="692"/>
                  </a:cubicBezTo>
                  <a:cubicBezTo>
                    <a:pt x="342" y="692"/>
                    <a:pt x="327" y="696"/>
                    <a:pt x="327" y="696"/>
                  </a:cubicBezTo>
                  <a:cubicBezTo>
                    <a:pt x="326" y="696"/>
                    <a:pt x="299" y="686"/>
                    <a:pt x="299" y="686"/>
                  </a:cubicBezTo>
                  <a:cubicBezTo>
                    <a:pt x="268" y="645"/>
                    <a:pt x="268" y="645"/>
                    <a:pt x="268" y="645"/>
                  </a:cubicBezTo>
                  <a:cubicBezTo>
                    <a:pt x="238" y="632"/>
                    <a:pt x="238" y="632"/>
                    <a:pt x="238" y="632"/>
                  </a:cubicBezTo>
                  <a:cubicBezTo>
                    <a:pt x="236" y="624"/>
                    <a:pt x="236" y="624"/>
                    <a:pt x="236" y="624"/>
                  </a:cubicBezTo>
                  <a:cubicBezTo>
                    <a:pt x="236" y="624"/>
                    <a:pt x="225" y="619"/>
                    <a:pt x="224" y="619"/>
                  </a:cubicBezTo>
                  <a:cubicBezTo>
                    <a:pt x="224" y="619"/>
                    <a:pt x="207" y="634"/>
                    <a:pt x="207" y="634"/>
                  </a:cubicBezTo>
                  <a:cubicBezTo>
                    <a:pt x="206" y="634"/>
                    <a:pt x="197" y="613"/>
                    <a:pt x="197" y="613"/>
                  </a:cubicBezTo>
                  <a:cubicBezTo>
                    <a:pt x="196" y="613"/>
                    <a:pt x="172" y="614"/>
                    <a:pt x="172" y="614"/>
                  </a:cubicBezTo>
                  <a:cubicBezTo>
                    <a:pt x="171" y="614"/>
                    <a:pt x="163" y="603"/>
                    <a:pt x="163" y="603"/>
                  </a:cubicBezTo>
                  <a:cubicBezTo>
                    <a:pt x="163" y="603"/>
                    <a:pt x="150" y="602"/>
                    <a:pt x="149" y="602"/>
                  </a:cubicBezTo>
                  <a:cubicBezTo>
                    <a:pt x="149" y="602"/>
                    <a:pt x="98" y="621"/>
                    <a:pt x="98" y="621"/>
                  </a:cubicBezTo>
                  <a:cubicBezTo>
                    <a:pt x="97" y="621"/>
                    <a:pt x="97" y="621"/>
                    <a:pt x="97" y="621"/>
                  </a:cubicBezTo>
                  <a:cubicBezTo>
                    <a:pt x="97" y="621"/>
                    <a:pt x="91" y="556"/>
                    <a:pt x="84" y="552"/>
                  </a:cubicBezTo>
                  <a:cubicBezTo>
                    <a:pt x="77" y="548"/>
                    <a:pt x="72" y="547"/>
                    <a:pt x="73" y="541"/>
                  </a:cubicBezTo>
                  <a:cubicBezTo>
                    <a:pt x="73" y="534"/>
                    <a:pt x="83" y="520"/>
                    <a:pt x="78" y="514"/>
                  </a:cubicBezTo>
                  <a:cubicBezTo>
                    <a:pt x="74" y="508"/>
                    <a:pt x="72" y="511"/>
                    <a:pt x="69" y="497"/>
                  </a:cubicBezTo>
                  <a:cubicBezTo>
                    <a:pt x="65" y="482"/>
                    <a:pt x="55" y="470"/>
                    <a:pt x="55" y="470"/>
                  </a:cubicBezTo>
                  <a:cubicBezTo>
                    <a:pt x="23" y="465"/>
                    <a:pt x="23" y="465"/>
                    <a:pt x="23" y="465"/>
                  </a:cubicBezTo>
                  <a:cubicBezTo>
                    <a:pt x="16" y="447"/>
                    <a:pt x="16" y="447"/>
                    <a:pt x="16" y="447"/>
                  </a:cubicBezTo>
                  <a:cubicBezTo>
                    <a:pt x="16" y="447"/>
                    <a:pt x="38" y="438"/>
                    <a:pt x="40" y="426"/>
                  </a:cubicBezTo>
                  <a:cubicBezTo>
                    <a:pt x="43" y="415"/>
                    <a:pt x="46" y="410"/>
                    <a:pt x="46" y="410"/>
                  </a:cubicBezTo>
                  <a:cubicBezTo>
                    <a:pt x="15" y="395"/>
                    <a:pt x="15" y="395"/>
                    <a:pt x="15" y="395"/>
                  </a:cubicBezTo>
                  <a:cubicBezTo>
                    <a:pt x="15" y="395"/>
                    <a:pt x="10" y="371"/>
                    <a:pt x="13" y="358"/>
                  </a:cubicBezTo>
                  <a:cubicBezTo>
                    <a:pt x="16" y="346"/>
                    <a:pt x="20" y="329"/>
                    <a:pt x="17" y="322"/>
                  </a:cubicBezTo>
                  <a:cubicBezTo>
                    <a:pt x="14" y="315"/>
                    <a:pt x="0" y="282"/>
                    <a:pt x="3" y="273"/>
                  </a:cubicBezTo>
                  <a:cubicBezTo>
                    <a:pt x="6" y="265"/>
                    <a:pt x="10" y="261"/>
                    <a:pt x="9" y="252"/>
                  </a:cubicBezTo>
                  <a:cubicBezTo>
                    <a:pt x="9" y="245"/>
                    <a:pt x="8" y="241"/>
                    <a:pt x="5" y="239"/>
                  </a:cubicBezTo>
                  <a:cubicBezTo>
                    <a:pt x="5" y="239"/>
                    <a:pt x="12" y="232"/>
                    <a:pt x="16" y="227"/>
                  </a:cubicBezTo>
                  <a:cubicBezTo>
                    <a:pt x="21" y="222"/>
                    <a:pt x="21" y="218"/>
                    <a:pt x="29" y="216"/>
                  </a:cubicBezTo>
                  <a:cubicBezTo>
                    <a:pt x="37" y="214"/>
                    <a:pt x="44" y="204"/>
                    <a:pt x="51" y="199"/>
                  </a:cubicBezTo>
                  <a:cubicBezTo>
                    <a:pt x="58" y="195"/>
                    <a:pt x="59" y="186"/>
                    <a:pt x="60" y="180"/>
                  </a:cubicBezTo>
                  <a:cubicBezTo>
                    <a:pt x="60" y="174"/>
                    <a:pt x="96" y="159"/>
                    <a:pt x="104" y="153"/>
                  </a:cubicBezTo>
                  <a:cubicBezTo>
                    <a:pt x="111" y="148"/>
                    <a:pt x="117" y="126"/>
                    <a:pt x="119" y="115"/>
                  </a:cubicBezTo>
                  <a:cubicBezTo>
                    <a:pt x="122" y="103"/>
                    <a:pt x="136" y="91"/>
                    <a:pt x="140" y="85"/>
                  </a:cubicBezTo>
                  <a:cubicBezTo>
                    <a:pt x="144" y="80"/>
                    <a:pt x="153" y="64"/>
                    <a:pt x="156" y="57"/>
                  </a:cubicBezTo>
                  <a:cubicBezTo>
                    <a:pt x="159" y="50"/>
                    <a:pt x="161" y="20"/>
                    <a:pt x="161" y="20"/>
                  </a:cubicBezTo>
                  <a:cubicBezTo>
                    <a:pt x="166" y="27"/>
                    <a:pt x="173" y="28"/>
                    <a:pt x="181" y="24"/>
                  </a:cubicBezTo>
                  <a:cubicBezTo>
                    <a:pt x="193" y="18"/>
                    <a:pt x="223" y="0"/>
                    <a:pt x="223" y="0"/>
                  </a:cubicBezTo>
                  <a:cubicBezTo>
                    <a:pt x="252" y="20"/>
                    <a:pt x="252" y="20"/>
                    <a:pt x="252" y="20"/>
                  </a:cubicBezTo>
                  <a:cubicBezTo>
                    <a:pt x="238" y="54"/>
                    <a:pt x="238" y="54"/>
                    <a:pt x="238" y="54"/>
                  </a:cubicBezTo>
                  <a:cubicBezTo>
                    <a:pt x="263" y="73"/>
                    <a:pt x="263" y="73"/>
                    <a:pt x="263" y="73"/>
                  </a:cubicBezTo>
                  <a:cubicBezTo>
                    <a:pt x="263" y="73"/>
                    <a:pt x="281" y="59"/>
                    <a:pt x="291" y="63"/>
                  </a:cubicBezTo>
                  <a:cubicBezTo>
                    <a:pt x="301" y="67"/>
                    <a:pt x="340" y="85"/>
                    <a:pt x="343" y="85"/>
                  </a:cubicBezTo>
                  <a:cubicBezTo>
                    <a:pt x="346" y="86"/>
                    <a:pt x="340" y="108"/>
                    <a:pt x="346" y="113"/>
                  </a:cubicBezTo>
                  <a:cubicBezTo>
                    <a:pt x="352" y="119"/>
                    <a:pt x="351" y="124"/>
                    <a:pt x="354" y="126"/>
                  </a:cubicBezTo>
                  <a:cubicBezTo>
                    <a:pt x="357" y="129"/>
                    <a:pt x="364" y="137"/>
                    <a:pt x="355" y="137"/>
                  </a:cubicBezTo>
                  <a:cubicBezTo>
                    <a:pt x="347" y="137"/>
                    <a:pt x="332" y="143"/>
                    <a:pt x="327" y="149"/>
                  </a:cubicBezTo>
                  <a:cubicBezTo>
                    <a:pt x="321" y="155"/>
                    <a:pt x="309" y="163"/>
                    <a:pt x="312" y="166"/>
                  </a:cubicBezTo>
                  <a:cubicBezTo>
                    <a:pt x="315" y="169"/>
                    <a:pt x="329" y="189"/>
                    <a:pt x="329" y="189"/>
                  </a:cubicBezTo>
                  <a:cubicBezTo>
                    <a:pt x="385" y="178"/>
                    <a:pt x="385" y="178"/>
                    <a:pt x="385" y="178"/>
                  </a:cubicBezTo>
                  <a:cubicBezTo>
                    <a:pt x="413" y="198"/>
                    <a:pt x="413" y="198"/>
                    <a:pt x="413" y="198"/>
                  </a:cubicBezTo>
                  <a:cubicBezTo>
                    <a:pt x="430" y="197"/>
                    <a:pt x="430" y="197"/>
                    <a:pt x="430" y="197"/>
                  </a:cubicBezTo>
                  <a:cubicBezTo>
                    <a:pt x="467" y="200"/>
                    <a:pt x="467" y="200"/>
                    <a:pt x="467" y="200"/>
                  </a:cubicBezTo>
                  <a:cubicBezTo>
                    <a:pt x="507" y="144"/>
                    <a:pt x="507" y="144"/>
                    <a:pt x="507" y="144"/>
                  </a:cubicBezTo>
                  <a:cubicBezTo>
                    <a:pt x="539" y="152"/>
                    <a:pt x="539" y="152"/>
                    <a:pt x="539" y="152"/>
                  </a:cubicBezTo>
                  <a:cubicBezTo>
                    <a:pt x="559" y="135"/>
                    <a:pt x="559" y="135"/>
                    <a:pt x="559" y="135"/>
                  </a:cubicBezTo>
                  <a:cubicBezTo>
                    <a:pt x="559" y="135"/>
                    <a:pt x="584" y="145"/>
                    <a:pt x="591" y="151"/>
                  </a:cubicBezTo>
                  <a:cubicBezTo>
                    <a:pt x="599" y="157"/>
                    <a:pt x="614" y="170"/>
                    <a:pt x="654" y="176"/>
                  </a:cubicBezTo>
                  <a:close/>
                </a:path>
              </a:pathLst>
            </a:custGeom>
            <a:grpFill/>
            <a:ln>
              <a:solidFill>
                <a:srgbClr val="FFFFFF"/>
              </a:solidFill>
            </a:ln>
          </p:spPr>
          <p:txBody>
            <a:bodyPr vert="horz" wrap="square" lIns="121920" tIns="60960" rIns="121920" bIns="60960" numCol="1" anchor="t" anchorCtr="0" compatLnSpc="1">
              <a:prstTxWarp prst="textNoShape">
                <a:avLst/>
              </a:prstTxWarp>
            </a:bodyPr>
            <a:lstStyle/>
            <a:p>
              <a:pPr marL="0" marR="0" lvl="0" indent="0" defTabSz="467539"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000000"/>
                </a:solidFill>
                <a:effectLst/>
                <a:uLnTx/>
                <a:uFillTx/>
              </a:endParaRPr>
            </a:p>
          </p:txBody>
        </p:sp>
        <p:sp>
          <p:nvSpPr>
            <p:cNvPr id="93" name="Freeform 10">
              <a:extLst>
                <a:ext uri="{FF2B5EF4-FFF2-40B4-BE49-F238E27FC236}">
                  <a16:creationId xmlns:a16="http://schemas.microsoft.com/office/drawing/2014/main" id="{6931A23A-7267-4D8E-907B-48E98DCB36A0}"/>
                </a:ext>
              </a:extLst>
            </p:cNvPr>
            <p:cNvSpPr>
              <a:spLocks/>
            </p:cNvSpPr>
            <p:nvPr/>
          </p:nvSpPr>
          <p:spPr bwMode="auto">
            <a:xfrm>
              <a:off x="2328863" y="3687763"/>
              <a:ext cx="784225" cy="673100"/>
            </a:xfrm>
            <a:custGeom>
              <a:avLst/>
              <a:gdLst>
                <a:gd name="T0" fmla="*/ 644 w 668"/>
                <a:gd name="T1" fmla="*/ 349 h 574"/>
                <a:gd name="T2" fmla="*/ 640 w 668"/>
                <a:gd name="T3" fmla="*/ 305 h 574"/>
                <a:gd name="T4" fmla="*/ 594 w 668"/>
                <a:gd name="T5" fmla="*/ 273 h 574"/>
                <a:gd name="T6" fmla="*/ 611 w 668"/>
                <a:gd name="T7" fmla="*/ 234 h 574"/>
                <a:gd name="T8" fmla="*/ 586 w 668"/>
                <a:gd name="T9" fmla="*/ 203 h 574"/>
                <a:gd name="T10" fmla="*/ 588 w 668"/>
                <a:gd name="T11" fmla="*/ 130 h 574"/>
                <a:gd name="T12" fmla="*/ 580 w 668"/>
                <a:gd name="T13" fmla="*/ 60 h 574"/>
                <a:gd name="T14" fmla="*/ 576 w 668"/>
                <a:gd name="T15" fmla="*/ 47 h 574"/>
                <a:gd name="T16" fmla="*/ 557 w 668"/>
                <a:gd name="T17" fmla="*/ 39 h 574"/>
                <a:gd name="T18" fmla="*/ 442 w 668"/>
                <a:gd name="T19" fmla="*/ 119 h 574"/>
                <a:gd name="T20" fmla="*/ 321 w 668"/>
                <a:gd name="T21" fmla="*/ 0 h 574"/>
                <a:gd name="T22" fmla="*/ 200 w 668"/>
                <a:gd name="T23" fmla="*/ 15 h 574"/>
                <a:gd name="T24" fmla="*/ 161 w 668"/>
                <a:gd name="T25" fmla="*/ 41 h 574"/>
                <a:gd name="T26" fmla="*/ 120 w 668"/>
                <a:gd name="T27" fmla="*/ 56 h 574"/>
                <a:gd name="T28" fmla="*/ 79 w 668"/>
                <a:gd name="T29" fmla="*/ 60 h 574"/>
                <a:gd name="T30" fmla="*/ 54 w 668"/>
                <a:gd name="T31" fmla="*/ 98 h 574"/>
                <a:gd name="T32" fmla="*/ 67 w 668"/>
                <a:gd name="T33" fmla="*/ 137 h 574"/>
                <a:gd name="T34" fmla="*/ 55 w 668"/>
                <a:gd name="T35" fmla="*/ 169 h 574"/>
                <a:gd name="T36" fmla="*/ 31 w 668"/>
                <a:gd name="T37" fmla="*/ 209 h 574"/>
                <a:gd name="T38" fmla="*/ 1 w 668"/>
                <a:gd name="T39" fmla="*/ 252 h 574"/>
                <a:gd name="T40" fmla="*/ 36 w 668"/>
                <a:gd name="T41" fmla="*/ 292 h 574"/>
                <a:gd name="T42" fmla="*/ 68 w 668"/>
                <a:gd name="T43" fmla="*/ 322 h 574"/>
                <a:gd name="T44" fmla="*/ 102 w 668"/>
                <a:gd name="T45" fmla="*/ 340 h 574"/>
                <a:gd name="T46" fmla="*/ 91 w 668"/>
                <a:gd name="T47" fmla="*/ 374 h 574"/>
                <a:gd name="T48" fmla="*/ 128 w 668"/>
                <a:gd name="T49" fmla="*/ 401 h 574"/>
                <a:gd name="T50" fmla="*/ 157 w 668"/>
                <a:gd name="T51" fmla="*/ 446 h 574"/>
                <a:gd name="T52" fmla="*/ 229 w 668"/>
                <a:gd name="T53" fmla="*/ 481 h 574"/>
                <a:gd name="T54" fmla="*/ 227 w 668"/>
                <a:gd name="T55" fmla="*/ 503 h 574"/>
                <a:gd name="T56" fmla="*/ 230 w 668"/>
                <a:gd name="T57" fmla="*/ 524 h 574"/>
                <a:gd name="T58" fmla="*/ 222 w 668"/>
                <a:gd name="T59" fmla="*/ 558 h 574"/>
                <a:gd name="T60" fmla="*/ 259 w 668"/>
                <a:gd name="T61" fmla="*/ 567 h 574"/>
                <a:gd name="T62" fmla="*/ 288 w 668"/>
                <a:gd name="T63" fmla="*/ 552 h 574"/>
                <a:gd name="T64" fmla="*/ 299 w 668"/>
                <a:gd name="T65" fmla="*/ 564 h 574"/>
                <a:gd name="T66" fmla="*/ 317 w 668"/>
                <a:gd name="T67" fmla="*/ 545 h 574"/>
                <a:gd name="T68" fmla="*/ 339 w 668"/>
                <a:gd name="T69" fmla="*/ 501 h 574"/>
                <a:gd name="T70" fmla="*/ 396 w 668"/>
                <a:gd name="T71" fmla="*/ 487 h 574"/>
                <a:gd name="T72" fmla="*/ 436 w 668"/>
                <a:gd name="T73" fmla="*/ 473 h 574"/>
                <a:gd name="T74" fmla="*/ 457 w 668"/>
                <a:gd name="T75" fmla="*/ 461 h 574"/>
                <a:gd name="T76" fmla="*/ 515 w 668"/>
                <a:gd name="T77" fmla="*/ 486 h 574"/>
                <a:gd name="T78" fmla="*/ 540 w 668"/>
                <a:gd name="T79" fmla="*/ 490 h 574"/>
                <a:gd name="T80" fmla="*/ 581 w 668"/>
                <a:gd name="T81" fmla="*/ 457 h 574"/>
                <a:gd name="T82" fmla="*/ 597 w 668"/>
                <a:gd name="T83" fmla="*/ 433 h 574"/>
                <a:gd name="T84" fmla="*/ 633 w 668"/>
                <a:gd name="T85" fmla="*/ 415 h 574"/>
                <a:gd name="T86" fmla="*/ 668 w 668"/>
                <a:gd name="T87" fmla="*/ 429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68" h="574">
                  <a:moveTo>
                    <a:pt x="655" y="360"/>
                  </a:moveTo>
                  <a:cubicBezTo>
                    <a:pt x="648" y="356"/>
                    <a:pt x="643" y="355"/>
                    <a:pt x="644" y="349"/>
                  </a:cubicBezTo>
                  <a:cubicBezTo>
                    <a:pt x="644" y="342"/>
                    <a:pt x="654" y="328"/>
                    <a:pt x="649" y="322"/>
                  </a:cubicBezTo>
                  <a:cubicBezTo>
                    <a:pt x="645" y="316"/>
                    <a:pt x="643" y="319"/>
                    <a:pt x="640" y="305"/>
                  </a:cubicBezTo>
                  <a:cubicBezTo>
                    <a:pt x="636" y="290"/>
                    <a:pt x="626" y="278"/>
                    <a:pt x="626" y="278"/>
                  </a:cubicBezTo>
                  <a:cubicBezTo>
                    <a:pt x="594" y="273"/>
                    <a:pt x="594" y="273"/>
                    <a:pt x="594" y="273"/>
                  </a:cubicBezTo>
                  <a:cubicBezTo>
                    <a:pt x="587" y="255"/>
                    <a:pt x="587" y="255"/>
                    <a:pt x="587" y="255"/>
                  </a:cubicBezTo>
                  <a:cubicBezTo>
                    <a:pt x="587" y="255"/>
                    <a:pt x="609" y="246"/>
                    <a:pt x="611" y="234"/>
                  </a:cubicBezTo>
                  <a:cubicBezTo>
                    <a:pt x="614" y="223"/>
                    <a:pt x="617" y="218"/>
                    <a:pt x="617" y="218"/>
                  </a:cubicBezTo>
                  <a:cubicBezTo>
                    <a:pt x="586" y="203"/>
                    <a:pt x="586" y="203"/>
                    <a:pt x="586" y="203"/>
                  </a:cubicBezTo>
                  <a:cubicBezTo>
                    <a:pt x="586" y="203"/>
                    <a:pt x="581" y="179"/>
                    <a:pt x="584" y="166"/>
                  </a:cubicBezTo>
                  <a:cubicBezTo>
                    <a:pt x="587" y="154"/>
                    <a:pt x="591" y="137"/>
                    <a:pt x="588" y="130"/>
                  </a:cubicBezTo>
                  <a:cubicBezTo>
                    <a:pt x="585" y="123"/>
                    <a:pt x="571" y="90"/>
                    <a:pt x="574" y="81"/>
                  </a:cubicBezTo>
                  <a:cubicBezTo>
                    <a:pt x="577" y="73"/>
                    <a:pt x="581" y="69"/>
                    <a:pt x="580" y="60"/>
                  </a:cubicBezTo>
                  <a:cubicBezTo>
                    <a:pt x="580" y="53"/>
                    <a:pt x="579" y="49"/>
                    <a:pt x="576" y="47"/>
                  </a:cubicBezTo>
                  <a:cubicBezTo>
                    <a:pt x="576" y="47"/>
                    <a:pt x="576" y="47"/>
                    <a:pt x="576" y="47"/>
                  </a:cubicBezTo>
                  <a:cubicBezTo>
                    <a:pt x="574" y="46"/>
                    <a:pt x="573" y="45"/>
                    <a:pt x="571" y="45"/>
                  </a:cubicBezTo>
                  <a:cubicBezTo>
                    <a:pt x="565" y="42"/>
                    <a:pt x="557" y="39"/>
                    <a:pt x="557" y="39"/>
                  </a:cubicBezTo>
                  <a:cubicBezTo>
                    <a:pt x="469" y="69"/>
                    <a:pt x="469" y="69"/>
                    <a:pt x="469" y="69"/>
                  </a:cubicBezTo>
                  <a:cubicBezTo>
                    <a:pt x="442" y="119"/>
                    <a:pt x="442" y="119"/>
                    <a:pt x="442" y="119"/>
                  </a:cubicBezTo>
                  <a:cubicBezTo>
                    <a:pt x="383" y="117"/>
                    <a:pt x="383" y="117"/>
                    <a:pt x="383" y="117"/>
                  </a:cubicBezTo>
                  <a:cubicBezTo>
                    <a:pt x="383" y="117"/>
                    <a:pt x="351" y="33"/>
                    <a:pt x="321" y="0"/>
                  </a:cubicBezTo>
                  <a:cubicBezTo>
                    <a:pt x="201" y="15"/>
                    <a:pt x="201" y="15"/>
                    <a:pt x="201" y="15"/>
                  </a:cubicBezTo>
                  <a:cubicBezTo>
                    <a:pt x="200" y="15"/>
                    <a:pt x="200" y="15"/>
                    <a:pt x="200" y="15"/>
                  </a:cubicBezTo>
                  <a:cubicBezTo>
                    <a:pt x="200" y="15"/>
                    <a:pt x="176" y="32"/>
                    <a:pt x="175" y="33"/>
                  </a:cubicBezTo>
                  <a:cubicBezTo>
                    <a:pt x="175" y="34"/>
                    <a:pt x="166" y="40"/>
                    <a:pt x="161" y="41"/>
                  </a:cubicBezTo>
                  <a:cubicBezTo>
                    <a:pt x="156" y="42"/>
                    <a:pt x="152" y="42"/>
                    <a:pt x="148" y="45"/>
                  </a:cubicBezTo>
                  <a:cubicBezTo>
                    <a:pt x="144" y="47"/>
                    <a:pt x="126" y="58"/>
                    <a:pt x="120" y="56"/>
                  </a:cubicBezTo>
                  <a:cubicBezTo>
                    <a:pt x="115" y="54"/>
                    <a:pt x="110" y="50"/>
                    <a:pt x="100" y="52"/>
                  </a:cubicBezTo>
                  <a:cubicBezTo>
                    <a:pt x="90" y="54"/>
                    <a:pt x="79" y="60"/>
                    <a:pt x="79" y="60"/>
                  </a:cubicBezTo>
                  <a:cubicBezTo>
                    <a:pt x="81" y="96"/>
                    <a:pt x="81" y="96"/>
                    <a:pt x="81" y="96"/>
                  </a:cubicBezTo>
                  <a:cubicBezTo>
                    <a:pt x="54" y="98"/>
                    <a:pt x="54" y="98"/>
                    <a:pt x="54" y="98"/>
                  </a:cubicBezTo>
                  <a:cubicBezTo>
                    <a:pt x="54" y="98"/>
                    <a:pt x="33" y="118"/>
                    <a:pt x="33" y="118"/>
                  </a:cubicBezTo>
                  <a:cubicBezTo>
                    <a:pt x="34" y="119"/>
                    <a:pt x="67" y="137"/>
                    <a:pt x="67" y="137"/>
                  </a:cubicBezTo>
                  <a:cubicBezTo>
                    <a:pt x="67" y="137"/>
                    <a:pt x="57" y="154"/>
                    <a:pt x="57" y="156"/>
                  </a:cubicBezTo>
                  <a:cubicBezTo>
                    <a:pt x="56" y="158"/>
                    <a:pt x="56" y="168"/>
                    <a:pt x="55" y="169"/>
                  </a:cubicBezTo>
                  <a:cubicBezTo>
                    <a:pt x="54" y="169"/>
                    <a:pt x="36" y="175"/>
                    <a:pt x="36" y="181"/>
                  </a:cubicBezTo>
                  <a:cubicBezTo>
                    <a:pt x="36" y="188"/>
                    <a:pt x="41" y="210"/>
                    <a:pt x="31" y="209"/>
                  </a:cubicBezTo>
                  <a:cubicBezTo>
                    <a:pt x="21" y="208"/>
                    <a:pt x="8" y="209"/>
                    <a:pt x="7" y="216"/>
                  </a:cubicBezTo>
                  <a:cubicBezTo>
                    <a:pt x="6" y="223"/>
                    <a:pt x="0" y="251"/>
                    <a:pt x="1" y="252"/>
                  </a:cubicBezTo>
                  <a:cubicBezTo>
                    <a:pt x="2" y="252"/>
                    <a:pt x="36" y="265"/>
                    <a:pt x="36" y="266"/>
                  </a:cubicBezTo>
                  <a:cubicBezTo>
                    <a:pt x="37" y="267"/>
                    <a:pt x="36" y="292"/>
                    <a:pt x="36" y="292"/>
                  </a:cubicBezTo>
                  <a:cubicBezTo>
                    <a:pt x="36" y="292"/>
                    <a:pt x="61" y="298"/>
                    <a:pt x="62" y="303"/>
                  </a:cubicBezTo>
                  <a:cubicBezTo>
                    <a:pt x="63" y="308"/>
                    <a:pt x="68" y="322"/>
                    <a:pt x="68" y="322"/>
                  </a:cubicBezTo>
                  <a:cubicBezTo>
                    <a:pt x="68" y="322"/>
                    <a:pt x="83" y="319"/>
                    <a:pt x="87" y="322"/>
                  </a:cubicBezTo>
                  <a:cubicBezTo>
                    <a:pt x="91" y="324"/>
                    <a:pt x="110" y="332"/>
                    <a:pt x="102" y="340"/>
                  </a:cubicBezTo>
                  <a:cubicBezTo>
                    <a:pt x="93" y="347"/>
                    <a:pt x="79" y="356"/>
                    <a:pt x="79" y="356"/>
                  </a:cubicBezTo>
                  <a:cubicBezTo>
                    <a:pt x="79" y="356"/>
                    <a:pt x="90" y="374"/>
                    <a:pt x="91" y="374"/>
                  </a:cubicBezTo>
                  <a:cubicBezTo>
                    <a:pt x="92" y="374"/>
                    <a:pt x="115" y="362"/>
                    <a:pt x="119" y="368"/>
                  </a:cubicBezTo>
                  <a:cubicBezTo>
                    <a:pt x="122" y="374"/>
                    <a:pt x="126" y="371"/>
                    <a:pt x="128" y="401"/>
                  </a:cubicBezTo>
                  <a:cubicBezTo>
                    <a:pt x="152" y="418"/>
                    <a:pt x="152" y="418"/>
                    <a:pt x="152" y="418"/>
                  </a:cubicBezTo>
                  <a:cubicBezTo>
                    <a:pt x="157" y="446"/>
                    <a:pt x="157" y="446"/>
                    <a:pt x="157" y="446"/>
                  </a:cubicBezTo>
                  <a:cubicBezTo>
                    <a:pt x="188" y="481"/>
                    <a:pt x="188" y="481"/>
                    <a:pt x="188" y="481"/>
                  </a:cubicBezTo>
                  <a:cubicBezTo>
                    <a:pt x="188" y="481"/>
                    <a:pt x="229" y="480"/>
                    <a:pt x="229" y="481"/>
                  </a:cubicBezTo>
                  <a:cubicBezTo>
                    <a:pt x="229" y="482"/>
                    <a:pt x="231" y="492"/>
                    <a:pt x="231" y="492"/>
                  </a:cubicBezTo>
                  <a:cubicBezTo>
                    <a:pt x="227" y="503"/>
                    <a:pt x="227" y="503"/>
                    <a:pt x="227" y="503"/>
                  </a:cubicBezTo>
                  <a:cubicBezTo>
                    <a:pt x="236" y="515"/>
                    <a:pt x="236" y="515"/>
                    <a:pt x="236" y="515"/>
                  </a:cubicBezTo>
                  <a:cubicBezTo>
                    <a:pt x="230" y="524"/>
                    <a:pt x="230" y="524"/>
                    <a:pt x="230" y="524"/>
                  </a:cubicBezTo>
                  <a:cubicBezTo>
                    <a:pt x="239" y="535"/>
                    <a:pt x="239" y="535"/>
                    <a:pt x="239" y="535"/>
                  </a:cubicBezTo>
                  <a:cubicBezTo>
                    <a:pt x="222" y="558"/>
                    <a:pt x="222" y="558"/>
                    <a:pt x="222" y="558"/>
                  </a:cubicBezTo>
                  <a:cubicBezTo>
                    <a:pt x="229" y="568"/>
                    <a:pt x="229" y="568"/>
                    <a:pt x="229" y="568"/>
                  </a:cubicBezTo>
                  <a:cubicBezTo>
                    <a:pt x="259" y="567"/>
                    <a:pt x="259" y="567"/>
                    <a:pt x="259" y="567"/>
                  </a:cubicBezTo>
                  <a:cubicBezTo>
                    <a:pt x="269" y="552"/>
                    <a:pt x="269" y="552"/>
                    <a:pt x="269" y="552"/>
                  </a:cubicBezTo>
                  <a:cubicBezTo>
                    <a:pt x="288" y="552"/>
                    <a:pt x="288" y="552"/>
                    <a:pt x="288" y="552"/>
                  </a:cubicBezTo>
                  <a:cubicBezTo>
                    <a:pt x="291" y="564"/>
                    <a:pt x="291" y="564"/>
                    <a:pt x="291" y="564"/>
                  </a:cubicBezTo>
                  <a:cubicBezTo>
                    <a:pt x="299" y="564"/>
                    <a:pt x="299" y="564"/>
                    <a:pt x="299" y="564"/>
                  </a:cubicBezTo>
                  <a:cubicBezTo>
                    <a:pt x="311" y="574"/>
                    <a:pt x="311" y="574"/>
                    <a:pt x="311" y="574"/>
                  </a:cubicBezTo>
                  <a:cubicBezTo>
                    <a:pt x="317" y="545"/>
                    <a:pt x="317" y="545"/>
                    <a:pt x="317" y="545"/>
                  </a:cubicBezTo>
                  <a:cubicBezTo>
                    <a:pt x="321" y="521"/>
                    <a:pt x="321" y="521"/>
                    <a:pt x="321" y="521"/>
                  </a:cubicBezTo>
                  <a:cubicBezTo>
                    <a:pt x="339" y="501"/>
                    <a:pt x="339" y="501"/>
                    <a:pt x="339" y="501"/>
                  </a:cubicBezTo>
                  <a:cubicBezTo>
                    <a:pt x="376" y="485"/>
                    <a:pt x="376" y="485"/>
                    <a:pt x="376" y="485"/>
                  </a:cubicBezTo>
                  <a:cubicBezTo>
                    <a:pt x="396" y="487"/>
                    <a:pt x="396" y="487"/>
                    <a:pt x="396" y="487"/>
                  </a:cubicBezTo>
                  <a:cubicBezTo>
                    <a:pt x="396" y="487"/>
                    <a:pt x="404" y="474"/>
                    <a:pt x="404" y="474"/>
                  </a:cubicBezTo>
                  <a:cubicBezTo>
                    <a:pt x="405" y="474"/>
                    <a:pt x="436" y="473"/>
                    <a:pt x="436" y="473"/>
                  </a:cubicBezTo>
                  <a:cubicBezTo>
                    <a:pt x="446" y="457"/>
                    <a:pt x="446" y="457"/>
                    <a:pt x="446" y="457"/>
                  </a:cubicBezTo>
                  <a:cubicBezTo>
                    <a:pt x="446" y="457"/>
                    <a:pt x="456" y="461"/>
                    <a:pt x="457" y="461"/>
                  </a:cubicBezTo>
                  <a:cubicBezTo>
                    <a:pt x="457" y="461"/>
                    <a:pt x="472" y="450"/>
                    <a:pt x="472" y="450"/>
                  </a:cubicBezTo>
                  <a:cubicBezTo>
                    <a:pt x="472" y="450"/>
                    <a:pt x="515" y="486"/>
                    <a:pt x="515" y="486"/>
                  </a:cubicBezTo>
                  <a:cubicBezTo>
                    <a:pt x="516" y="486"/>
                    <a:pt x="533" y="481"/>
                    <a:pt x="533" y="481"/>
                  </a:cubicBezTo>
                  <a:cubicBezTo>
                    <a:pt x="533" y="481"/>
                    <a:pt x="540" y="490"/>
                    <a:pt x="540" y="490"/>
                  </a:cubicBezTo>
                  <a:cubicBezTo>
                    <a:pt x="541" y="490"/>
                    <a:pt x="555" y="490"/>
                    <a:pt x="555" y="490"/>
                  </a:cubicBezTo>
                  <a:cubicBezTo>
                    <a:pt x="555" y="490"/>
                    <a:pt x="566" y="466"/>
                    <a:pt x="581" y="457"/>
                  </a:cubicBezTo>
                  <a:cubicBezTo>
                    <a:pt x="574" y="441"/>
                    <a:pt x="574" y="441"/>
                    <a:pt x="574" y="441"/>
                  </a:cubicBezTo>
                  <a:cubicBezTo>
                    <a:pt x="597" y="433"/>
                    <a:pt x="597" y="433"/>
                    <a:pt x="597" y="433"/>
                  </a:cubicBezTo>
                  <a:cubicBezTo>
                    <a:pt x="619" y="448"/>
                    <a:pt x="619" y="448"/>
                    <a:pt x="619" y="448"/>
                  </a:cubicBezTo>
                  <a:cubicBezTo>
                    <a:pt x="633" y="415"/>
                    <a:pt x="633" y="415"/>
                    <a:pt x="633" y="415"/>
                  </a:cubicBezTo>
                  <a:cubicBezTo>
                    <a:pt x="651" y="417"/>
                    <a:pt x="651" y="417"/>
                    <a:pt x="651" y="417"/>
                  </a:cubicBezTo>
                  <a:cubicBezTo>
                    <a:pt x="651" y="417"/>
                    <a:pt x="665" y="427"/>
                    <a:pt x="668" y="429"/>
                  </a:cubicBezTo>
                  <a:cubicBezTo>
                    <a:pt x="668" y="429"/>
                    <a:pt x="662" y="364"/>
                    <a:pt x="655" y="360"/>
                  </a:cubicBezTo>
                  <a:close/>
                </a:path>
              </a:pathLst>
            </a:custGeom>
            <a:grpFill/>
            <a:ln>
              <a:solidFill>
                <a:srgbClr val="FFFFFF"/>
              </a:solidFill>
            </a:ln>
          </p:spPr>
          <p:txBody>
            <a:bodyPr vert="horz" wrap="square" lIns="121920" tIns="60960" rIns="121920" bIns="60960" numCol="1" anchor="t" anchorCtr="0" compatLnSpc="1">
              <a:prstTxWarp prst="textNoShape">
                <a:avLst/>
              </a:prstTxWarp>
            </a:bodyPr>
            <a:lstStyle/>
            <a:p>
              <a:pPr marL="0" marR="0" lvl="0" indent="0" defTabSz="467539"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000000"/>
                </a:solidFill>
                <a:effectLst/>
                <a:uLnTx/>
                <a:uFillTx/>
              </a:endParaRPr>
            </a:p>
          </p:txBody>
        </p:sp>
        <p:sp>
          <p:nvSpPr>
            <p:cNvPr id="94" name="Freeform 11">
              <a:extLst>
                <a:ext uri="{FF2B5EF4-FFF2-40B4-BE49-F238E27FC236}">
                  <a16:creationId xmlns:a16="http://schemas.microsoft.com/office/drawing/2014/main" id="{699E2736-73BD-46EC-BDE6-94F1C566AA7D}"/>
                </a:ext>
              </a:extLst>
            </p:cNvPr>
            <p:cNvSpPr>
              <a:spLocks/>
            </p:cNvSpPr>
            <p:nvPr/>
          </p:nvSpPr>
          <p:spPr bwMode="auto">
            <a:xfrm>
              <a:off x="2014538" y="3443288"/>
              <a:ext cx="550863" cy="838200"/>
            </a:xfrm>
            <a:custGeom>
              <a:avLst/>
              <a:gdLst>
                <a:gd name="T0" fmla="*/ 468 w 469"/>
                <a:gd name="T1" fmla="*/ 223 h 714"/>
                <a:gd name="T2" fmla="*/ 429 w 469"/>
                <a:gd name="T3" fmla="*/ 249 h 714"/>
                <a:gd name="T4" fmla="*/ 388 w 469"/>
                <a:gd name="T5" fmla="*/ 264 h 714"/>
                <a:gd name="T6" fmla="*/ 347 w 469"/>
                <a:gd name="T7" fmla="*/ 268 h 714"/>
                <a:gd name="T8" fmla="*/ 322 w 469"/>
                <a:gd name="T9" fmla="*/ 306 h 714"/>
                <a:gd name="T10" fmla="*/ 335 w 469"/>
                <a:gd name="T11" fmla="*/ 345 h 714"/>
                <a:gd name="T12" fmla="*/ 323 w 469"/>
                <a:gd name="T13" fmla="*/ 377 h 714"/>
                <a:gd name="T14" fmla="*/ 299 w 469"/>
                <a:gd name="T15" fmla="*/ 417 h 714"/>
                <a:gd name="T16" fmla="*/ 269 w 469"/>
                <a:gd name="T17" fmla="*/ 460 h 714"/>
                <a:gd name="T18" fmla="*/ 304 w 469"/>
                <a:gd name="T19" fmla="*/ 500 h 714"/>
                <a:gd name="T20" fmla="*/ 336 w 469"/>
                <a:gd name="T21" fmla="*/ 530 h 714"/>
                <a:gd name="T22" fmla="*/ 370 w 469"/>
                <a:gd name="T23" fmla="*/ 548 h 714"/>
                <a:gd name="T24" fmla="*/ 359 w 469"/>
                <a:gd name="T25" fmla="*/ 582 h 714"/>
                <a:gd name="T26" fmla="*/ 396 w 469"/>
                <a:gd name="T27" fmla="*/ 609 h 714"/>
                <a:gd name="T28" fmla="*/ 349 w 469"/>
                <a:gd name="T29" fmla="*/ 644 h 714"/>
                <a:gd name="T30" fmla="*/ 326 w 469"/>
                <a:gd name="T31" fmla="*/ 695 h 714"/>
                <a:gd name="T32" fmla="*/ 294 w 469"/>
                <a:gd name="T33" fmla="*/ 699 h 714"/>
                <a:gd name="T34" fmla="*/ 271 w 469"/>
                <a:gd name="T35" fmla="*/ 714 h 714"/>
                <a:gd name="T36" fmla="*/ 260 w 469"/>
                <a:gd name="T37" fmla="*/ 684 h 714"/>
                <a:gd name="T38" fmla="*/ 249 w 469"/>
                <a:gd name="T39" fmla="*/ 665 h 714"/>
                <a:gd name="T40" fmla="*/ 232 w 469"/>
                <a:gd name="T41" fmla="*/ 649 h 714"/>
                <a:gd name="T42" fmla="*/ 213 w 469"/>
                <a:gd name="T43" fmla="*/ 603 h 714"/>
                <a:gd name="T44" fmla="*/ 192 w 469"/>
                <a:gd name="T45" fmla="*/ 599 h 714"/>
                <a:gd name="T46" fmla="*/ 164 w 469"/>
                <a:gd name="T47" fmla="*/ 581 h 714"/>
                <a:gd name="T48" fmla="*/ 150 w 469"/>
                <a:gd name="T49" fmla="*/ 517 h 714"/>
                <a:gd name="T50" fmla="*/ 120 w 469"/>
                <a:gd name="T51" fmla="*/ 505 h 714"/>
                <a:gd name="T52" fmla="*/ 92 w 469"/>
                <a:gd name="T53" fmla="*/ 488 h 714"/>
                <a:gd name="T54" fmla="*/ 76 w 469"/>
                <a:gd name="T55" fmla="*/ 502 h 714"/>
                <a:gd name="T56" fmla="*/ 59 w 469"/>
                <a:gd name="T57" fmla="*/ 486 h 714"/>
                <a:gd name="T58" fmla="*/ 37 w 469"/>
                <a:gd name="T59" fmla="*/ 474 h 714"/>
                <a:gd name="T60" fmla="*/ 8 w 469"/>
                <a:gd name="T61" fmla="*/ 476 h 714"/>
                <a:gd name="T62" fmla="*/ 0 w 469"/>
                <a:gd name="T63" fmla="*/ 463 h 714"/>
                <a:gd name="T64" fmla="*/ 19 w 469"/>
                <a:gd name="T65" fmla="*/ 406 h 714"/>
                <a:gd name="T66" fmla="*/ 80 w 469"/>
                <a:gd name="T67" fmla="*/ 360 h 714"/>
                <a:gd name="T68" fmla="*/ 66 w 469"/>
                <a:gd name="T69" fmla="*/ 277 h 714"/>
                <a:gd name="T70" fmla="*/ 92 w 469"/>
                <a:gd name="T71" fmla="*/ 243 h 714"/>
                <a:gd name="T72" fmla="*/ 106 w 469"/>
                <a:gd name="T73" fmla="*/ 201 h 714"/>
                <a:gd name="T74" fmla="*/ 103 w 469"/>
                <a:gd name="T75" fmla="*/ 152 h 714"/>
                <a:gd name="T76" fmla="*/ 116 w 469"/>
                <a:gd name="T77" fmla="*/ 115 h 714"/>
                <a:gd name="T78" fmla="*/ 117 w 469"/>
                <a:gd name="T79" fmla="*/ 76 h 714"/>
                <a:gd name="T80" fmla="*/ 120 w 469"/>
                <a:gd name="T81" fmla="*/ 44 h 714"/>
                <a:gd name="T82" fmla="*/ 120 w 469"/>
                <a:gd name="T83" fmla="*/ 17 h 714"/>
                <a:gd name="T84" fmla="*/ 184 w 469"/>
                <a:gd name="T85" fmla="*/ 2 h 714"/>
                <a:gd name="T86" fmla="*/ 232 w 469"/>
                <a:gd name="T87" fmla="*/ 14 h 714"/>
                <a:gd name="T88" fmla="*/ 287 w 469"/>
                <a:gd name="T89" fmla="*/ 21 h 714"/>
                <a:gd name="T90" fmla="*/ 311 w 469"/>
                <a:gd name="T91" fmla="*/ 34 h 714"/>
                <a:gd name="T92" fmla="*/ 368 w 469"/>
                <a:gd name="T93" fmla="*/ 59 h 714"/>
                <a:gd name="T94" fmla="*/ 406 w 469"/>
                <a:gd name="T95" fmla="*/ 72 h 714"/>
                <a:gd name="T96" fmla="*/ 407 w 469"/>
                <a:gd name="T97" fmla="*/ 113 h 714"/>
                <a:gd name="T98" fmla="*/ 440 w 469"/>
                <a:gd name="T99" fmla="*/ 164 h 714"/>
                <a:gd name="T100" fmla="*/ 466 w 469"/>
                <a:gd name="T101" fmla="*/ 205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9" h="714">
                  <a:moveTo>
                    <a:pt x="469" y="223"/>
                  </a:moveTo>
                  <a:cubicBezTo>
                    <a:pt x="468" y="223"/>
                    <a:pt x="468" y="223"/>
                    <a:pt x="468" y="223"/>
                  </a:cubicBezTo>
                  <a:cubicBezTo>
                    <a:pt x="468" y="223"/>
                    <a:pt x="444" y="240"/>
                    <a:pt x="443" y="241"/>
                  </a:cubicBezTo>
                  <a:cubicBezTo>
                    <a:pt x="443" y="242"/>
                    <a:pt x="434" y="248"/>
                    <a:pt x="429" y="249"/>
                  </a:cubicBezTo>
                  <a:cubicBezTo>
                    <a:pt x="424" y="250"/>
                    <a:pt x="420" y="250"/>
                    <a:pt x="416" y="253"/>
                  </a:cubicBezTo>
                  <a:cubicBezTo>
                    <a:pt x="412" y="255"/>
                    <a:pt x="394" y="266"/>
                    <a:pt x="388" y="264"/>
                  </a:cubicBezTo>
                  <a:cubicBezTo>
                    <a:pt x="383" y="262"/>
                    <a:pt x="378" y="258"/>
                    <a:pt x="368" y="260"/>
                  </a:cubicBezTo>
                  <a:cubicBezTo>
                    <a:pt x="358" y="262"/>
                    <a:pt x="347" y="268"/>
                    <a:pt x="347" y="268"/>
                  </a:cubicBezTo>
                  <a:cubicBezTo>
                    <a:pt x="349" y="304"/>
                    <a:pt x="349" y="304"/>
                    <a:pt x="349" y="304"/>
                  </a:cubicBezTo>
                  <a:cubicBezTo>
                    <a:pt x="322" y="306"/>
                    <a:pt x="322" y="306"/>
                    <a:pt x="322" y="306"/>
                  </a:cubicBezTo>
                  <a:cubicBezTo>
                    <a:pt x="322" y="306"/>
                    <a:pt x="301" y="326"/>
                    <a:pt x="301" y="326"/>
                  </a:cubicBezTo>
                  <a:cubicBezTo>
                    <a:pt x="302" y="327"/>
                    <a:pt x="335" y="345"/>
                    <a:pt x="335" y="345"/>
                  </a:cubicBezTo>
                  <a:cubicBezTo>
                    <a:pt x="335" y="345"/>
                    <a:pt x="325" y="362"/>
                    <a:pt x="325" y="364"/>
                  </a:cubicBezTo>
                  <a:cubicBezTo>
                    <a:pt x="324" y="366"/>
                    <a:pt x="324" y="376"/>
                    <a:pt x="323" y="377"/>
                  </a:cubicBezTo>
                  <a:cubicBezTo>
                    <a:pt x="322" y="377"/>
                    <a:pt x="304" y="383"/>
                    <a:pt x="304" y="389"/>
                  </a:cubicBezTo>
                  <a:cubicBezTo>
                    <a:pt x="304" y="396"/>
                    <a:pt x="309" y="418"/>
                    <a:pt x="299" y="417"/>
                  </a:cubicBezTo>
                  <a:cubicBezTo>
                    <a:pt x="289" y="416"/>
                    <a:pt x="276" y="417"/>
                    <a:pt x="275" y="424"/>
                  </a:cubicBezTo>
                  <a:cubicBezTo>
                    <a:pt x="274" y="431"/>
                    <a:pt x="268" y="459"/>
                    <a:pt x="269" y="460"/>
                  </a:cubicBezTo>
                  <a:cubicBezTo>
                    <a:pt x="270" y="460"/>
                    <a:pt x="304" y="473"/>
                    <a:pt x="304" y="474"/>
                  </a:cubicBezTo>
                  <a:cubicBezTo>
                    <a:pt x="305" y="475"/>
                    <a:pt x="304" y="500"/>
                    <a:pt x="304" y="500"/>
                  </a:cubicBezTo>
                  <a:cubicBezTo>
                    <a:pt x="304" y="500"/>
                    <a:pt x="329" y="506"/>
                    <a:pt x="330" y="511"/>
                  </a:cubicBezTo>
                  <a:cubicBezTo>
                    <a:pt x="331" y="516"/>
                    <a:pt x="336" y="530"/>
                    <a:pt x="336" y="530"/>
                  </a:cubicBezTo>
                  <a:cubicBezTo>
                    <a:pt x="336" y="530"/>
                    <a:pt x="351" y="527"/>
                    <a:pt x="355" y="530"/>
                  </a:cubicBezTo>
                  <a:cubicBezTo>
                    <a:pt x="359" y="532"/>
                    <a:pt x="378" y="540"/>
                    <a:pt x="370" y="548"/>
                  </a:cubicBezTo>
                  <a:cubicBezTo>
                    <a:pt x="361" y="555"/>
                    <a:pt x="347" y="564"/>
                    <a:pt x="347" y="564"/>
                  </a:cubicBezTo>
                  <a:cubicBezTo>
                    <a:pt x="347" y="564"/>
                    <a:pt x="358" y="582"/>
                    <a:pt x="359" y="582"/>
                  </a:cubicBezTo>
                  <a:cubicBezTo>
                    <a:pt x="360" y="582"/>
                    <a:pt x="383" y="570"/>
                    <a:pt x="387" y="576"/>
                  </a:cubicBezTo>
                  <a:cubicBezTo>
                    <a:pt x="390" y="582"/>
                    <a:pt x="394" y="579"/>
                    <a:pt x="396" y="609"/>
                  </a:cubicBezTo>
                  <a:cubicBezTo>
                    <a:pt x="362" y="646"/>
                    <a:pt x="362" y="646"/>
                    <a:pt x="362" y="646"/>
                  </a:cubicBezTo>
                  <a:cubicBezTo>
                    <a:pt x="349" y="644"/>
                    <a:pt x="349" y="644"/>
                    <a:pt x="349" y="644"/>
                  </a:cubicBezTo>
                  <a:cubicBezTo>
                    <a:pt x="332" y="656"/>
                    <a:pt x="332" y="656"/>
                    <a:pt x="332" y="656"/>
                  </a:cubicBezTo>
                  <a:cubicBezTo>
                    <a:pt x="326" y="695"/>
                    <a:pt x="326" y="695"/>
                    <a:pt x="326" y="695"/>
                  </a:cubicBezTo>
                  <a:cubicBezTo>
                    <a:pt x="312" y="710"/>
                    <a:pt x="312" y="710"/>
                    <a:pt x="312" y="710"/>
                  </a:cubicBezTo>
                  <a:cubicBezTo>
                    <a:pt x="312" y="710"/>
                    <a:pt x="295" y="699"/>
                    <a:pt x="294" y="699"/>
                  </a:cubicBezTo>
                  <a:cubicBezTo>
                    <a:pt x="294" y="699"/>
                    <a:pt x="288" y="714"/>
                    <a:pt x="288" y="714"/>
                  </a:cubicBezTo>
                  <a:cubicBezTo>
                    <a:pt x="271" y="714"/>
                    <a:pt x="271" y="714"/>
                    <a:pt x="271" y="714"/>
                  </a:cubicBezTo>
                  <a:cubicBezTo>
                    <a:pt x="270" y="695"/>
                    <a:pt x="270" y="695"/>
                    <a:pt x="270" y="695"/>
                  </a:cubicBezTo>
                  <a:cubicBezTo>
                    <a:pt x="260" y="684"/>
                    <a:pt x="260" y="684"/>
                    <a:pt x="260" y="684"/>
                  </a:cubicBezTo>
                  <a:cubicBezTo>
                    <a:pt x="264" y="673"/>
                    <a:pt x="264" y="673"/>
                    <a:pt x="264" y="673"/>
                  </a:cubicBezTo>
                  <a:cubicBezTo>
                    <a:pt x="249" y="665"/>
                    <a:pt x="249" y="665"/>
                    <a:pt x="249" y="665"/>
                  </a:cubicBezTo>
                  <a:cubicBezTo>
                    <a:pt x="230" y="659"/>
                    <a:pt x="230" y="659"/>
                    <a:pt x="230" y="659"/>
                  </a:cubicBezTo>
                  <a:cubicBezTo>
                    <a:pt x="232" y="649"/>
                    <a:pt x="232" y="649"/>
                    <a:pt x="232" y="649"/>
                  </a:cubicBezTo>
                  <a:cubicBezTo>
                    <a:pt x="216" y="634"/>
                    <a:pt x="216" y="634"/>
                    <a:pt x="216" y="634"/>
                  </a:cubicBezTo>
                  <a:cubicBezTo>
                    <a:pt x="213" y="603"/>
                    <a:pt x="213" y="603"/>
                    <a:pt x="213" y="603"/>
                  </a:cubicBezTo>
                  <a:cubicBezTo>
                    <a:pt x="206" y="589"/>
                    <a:pt x="206" y="589"/>
                    <a:pt x="206" y="589"/>
                  </a:cubicBezTo>
                  <a:cubicBezTo>
                    <a:pt x="192" y="599"/>
                    <a:pt x="192" y="599"/>
                    <a:pt x="192" y="599"/>
                  </a:cubicBezTo>
                  <a:cubicBezTo>
                    <a:pt x="184" y="582"/>
                    <a:pt x="184" y="582"/>
                    <a:pt x="184" y="582"/>
                  </a:cubicBezTo>
                  <a:cubicBezTo>
                    <a:pt x="164" y="581"/>
                    <a:pt x="164" y="581"/>
                    <a:pt x="164" y="581"/>
                  </a:cubicBezTo>
                  <a:cubicBezTo>
                    <a:pt x="138" y="539"/>
                    <a:pt x="138" y="539"/>
                    <a:pt x="138" y="539"/>
                  </a:cubicBezTo>
                  <a:cubicBezTo>
                    <a:pt x="150" y="517"/>
                    <a:pt x="150" y="517"/>
                    <a:pt x="150" y="517"/>
                  </a:cubicBezTo>
                  <a:cubicBezTo>
                    <a:pt x="129" y="495"/>
                    <a:pt x="129" y="495"/>
                    <a:pt x="129" y="495"/>
                  </a:cubicBezTo>
                  <a:cubicBezTo>
                    <a:pt x="120" y="505"/>
                    <a:pt x="120" y="505"/>
                    <a:pt x="120" y="505"/>
                  </a:cubicBezTo>
                  <a:cubicBezTo>
                    <a:pt x="98" y="498"/>
                    <a:pt x="98" y="498"/>
                    <a:pt x="98" y="498"/>
                  </a:cubicBezTo>
                  <a:cubicBezTo>
                    <a:pt x="92" y="488"/>
                    <a:pt x="92" y="488"/>
                    <a:pt x="92" y="488"/>
                  </a:cubicBezTo>
                  <a:cubicBezTo>
                    <a:pt x="77" y="488"/>
                    <a:pt x="77" y="488"/>
                    <a:pt x="77" y="488"/>
                  </a:cubicBezTo>
                  <a:cubicBezTo>
                    <a:pt x="76" y="502"/>
                    <a:pt x="76" y="502"/>
                    <a:pt x="76" y="502"/>
                  </a:cubicBezTo>
                  <a:cubicBezTo>
                    <a:pt x="63" y="509"/>
                    <a:pt x="63" y="509"/>
                    <a:pt x="63" y="509"/>
                  </a:cubicBezTo>
                  <a:cubicBezTo>
                    <a:pt x="59" y="486"/>
                    <a:pt x="59" y="486"/>
                    <a:pt x="59" y="486"/>
                  </a:cubicBezTo>
                  <a:cubicBezTo>
                    <a:pt x="42" y="486"/>
                    <a:pt x="42" y="486"/>
                    <a:pt x="42" y="486"/>
                  </a:cubicBezTo>
                  <a:cubicBezTo>
                    <a:pt x="37" y="474"/>
                    <a:pt x="37" y="474"/>
                    <a:pt x="37" y="474"/>
                  </a:cubicBezTo>
                  <a:cubicBezTo>
                    <a:pt x="24" y="482"/>
                    <a:pt x="24" y="482"/>
                    <a:pt x="24" y="482"/>
                  </a:cubicBezTo>
                  <a:cubicBezTo>
                    <a:pt x="8" y="476"/>
                    <a:pt x="8" y="476"/>
                    <a:pt x="8" y="476"/>
                  </a:cubicBezTo>
                  <a:cubicBezTo>
                    <a:pt x="5" y="463"/>
                    <a:pt x="5" y="463"/>
                    <a:pt x="5" y="463"/>
                  </a:cubicBezTo>
                  <a:cubicBezTo>
                    <a:pt x="0" y="463"/>
                    <a:pt x="0" y="463"/>
                    <a:pt x="0" y="463"/>
                  </a:cubicBezTo>
                  <a:cubicBezTo>
                    <a:pt x="0" y="463"/>
                    <a:pt x="2" y="418"/>
                    <a:pt x="4" y="413"/>
                  </a:cubicBezTo>
                  <a:cubicBezTo>
                    <a:pt x="7" y="408"/>
                    <a:pt x="15" y="406"/>
                    <a:pt x="19" y="406"/>
                  </a:cubicBezTo>
                  <a:cubicBezTo>
                    <a:pt x="23" y="405"/>
                    <a:pt x="41" y="400"/>
                    <a:pt x="42" y="400"/>
                  </a:cubicBezTo>
                  <a:cubicBezTo>
                    <a:pt x="42" y="400"/>
                    <a:pt x="80" y="360"/>
                    <a:pt x="80" y="360"/>
                  </a:cubicBezTo>
                  <a:cubicBezTo>
                    <a:pt x="81" y="344"/>
                    <a:pt x="81" y="344"/>
                    <a:pt x="81" y="344"/>
                  </a:cubicBezTo>
                  <a:cubicBezTo>
                    <a:pt x="66" y="277"/>
                    <a:pt x="66" y="277"/>
                    <a:pt x="66" y="277"/>
                  </a:cubicBezTo>
                  <a:cubicBezTo>
                    <a:pt x="90" y="266"/>
                    <a:pt x="90" y="266"/>
                    <a:pt x="90" y="266"/>
                  </a:cubicBezTo>
                  <a:cubicBezTo>
                    <a:pt x="92" y="243"/>
                    <a:pt x="92" y="243"/>
                    <a:pt x="92" y="243"/>
                  </a:cubicBezTo>
                  <a:cubicBezTo>
                    <a:pt x="92" y="243"/>
                    <a:pt x="121" y="233"/>
                    <a:pt x="119" y="226"/>
                  </a:cubicBezTo>
                  <a:cubicBezTo>
                    <a:pt x="117" y="219"/>
                    <a:pt x="115" y="208"/>
                    <a:pt x="106" y="201"/>
                  </a:cubicBezTo>
                  <a:cubicBezTo>
                    <a:pt x="97" y="195"/>
                    <a:pt x="83" y="179"/>
                    <a:pt x="83" y="179"/>
                  </a:cubicBezTo>
                  <a:cubicBezTo>
                    <a:pt x="103" y="152"/>
                    <a:pt x="103" y="152"/>
                    <a:pt x="103" y="152"/>
                  </a:cubicBezTo>
                  <a:cubicBezTo>
                    <a:pt x="93" y="123"/>
                    <a:pt x="93" y="123"/>
                    <a:pt x="93" y="123"/>
                  </a:cubicBezTo>
                  <a:cubicBezTo>
                    <a:pt x="116" y="115"/>
                    <a:pt x="116" y="115"/>
                    <a:pt x="116" y="115"/>
                  </a:cubicBezTo>
                  <a:cubicBezTo>
                    <a:pt x="116" y="115"/>
                    <a:pt x="116" y="97"/>
                    <a:pt x="118" y="89"/>
                  </a:cubicBezTo>
                  <a:cubicBezTo>
                    <a:pt x="119" y="81"/>
                    <a:pt x="120" y="78"/>
                    <a:pt x="117" y="76"/>
                  </a:cubicBezTo>
                  <a:cubicBezTo>
                    <a:pt x="115" y="73"/>
                    <a:pt x="107" y="57"/>
                    <a:pt x="107" y="56"/>
                  </a:cubicBezTo>
                  <a:cubicBezTo>
                    <a:pt x="107" y="56"/>
                    <a:pt x="120" y="44"/>
                    <a:pt x="120" y="44"/>
                  </a:cubicBezTo>
                  <a:cubicBezTo>
                    <a:pt x="120" y="17"/>
                    <a:pt x="120" y="17"/>
                    <a:pt x="120" y="17"/>
                  </a:cubicBezTo>
                  <a:cubicBezTo>
                    <a:pt x="120" y="17"/>
                    <a:pt x="120" y="17"/>
                    <a:pt x="120" y="17"/>
                  </a:cubicBezTo>
                  <a:cubicBezTo>
                    <a:pt x="121" y="17"/>
                    <a:pt x="168" y="16"/>
                    <a:pt x="168" y="16"/>
                  </a:cubicBezTo>
                  <a:cubicBezTo>
                    <a:pt x="168" y="16"/>
                    <a:pt x="178" y="0"/>
                    <a:pt x="184" y="2"/>
                  </a:cubicBezTo>
                  <a:cubicBezTo>
                    <a:pt x="191" y="3"/>
                    <a:pt x="194" y="6"/>
                    <a:pt x="201" y="8"/>
                  </a:cubicBezTo>
                  <a:cubicBezTo>
                    <a:pt x="208" y="9"/>
                    <a:pt x="228" y="12"/>
                    <a:pt x="232" y="14"/>
                  </a:cubicBezTo>
                  <a:cubicBezTo>
                    <a:pt x="237" y="17"/>
                    <a:pt x="246" y="19"/>
                    <a:pt x="253" y="19"/>
                  </a:cubicBezTo>
                  <a:cubicBezTo>
                    <a:pt x="261" y="19"/>
                    <a:pt x="278" y="15"/>
                    <a:pt x="287" y="21"/>
                  </a:cubicBezTo>
                  <a:cubicBezTo>
                    <a:pt x="295" y="27"/>
                    <a:pt x="298" y="31"/>
                    <a:pt x="302" y="31"/>
                  </a:cubicBezTo>
                  <a:cubicBezTo>
                    <a:pt x="306" y="31"/>
                    <a:pt x="308" y="30"/>
                    <a:pt x="311" y="34"/>
                  </a:cubicBezTo>
                  <a:cubicBezTo>
                    <a:pt x="314" y="38"/>
                    <a:pt x="323" y="61"/>
                    <a:pt x="333" y="61"/>
                  </a:cubicBezTo>
                  <a:cubicBezTo>
                    <a:pt x="343" y="61"/>
                    <a:pt x="367" y="54"/>
                    <a:pt x="368" y="59"/>
                  </a:cubicBezTo>
                  <a:cubicBezTo>
                    <a:pt x="369" y="64"/>
                    <a:pt x="377" y="79"/>
                    <a:pt x="382" y="78"/>
                  </a:cubicBezTo>
                  <a:cubicBezTo>
                    <a:pt x="387" y="76"/>
                    <a:pt x="406" y="72"/>
                    <a:pt x="406" y="72"/>
                  </a:cubicBezTo>
                  <a:cubicBezTo>
                    <a:pt x="406" y="72"/>
                    <a:pt x="427" y="87"/>
                    <a:pt x="420" y="94"/>
                  </a:cubicBezTo>
                  <a:cubicBezTo>
                    <a:pt x="412" y="101"/>
                    <a:pt x="406" y="103"/>
                    <a:pt x="407" y="113"/>
                  </a:cubicBezTo>
                  <a:cubicBezTo>
                    <a:pt x="409" y="123"/>
                    <a:pt x="406" y="127"/>
                    <a:pt x="415" y="138"/>
                  </a:cubicBezTo>
                  <a:cubicBezTo>
                    <a:pt x="424" y="148"/>
                    <a:pt x="438" y="158"/>
                    <a:pt x="440" y="164"/>
                  </a:cubicBezTo>
                  <a:cubicBezTo>
                    <a:pt x="443" y="170"/>
                    <a:pt x="450" y="184"/>
                    <a:pt x="455" y="188"/>
                  </a:cubicBezTo>
                  <a:cubicBezTo>
                    <a:pt x="460" y="192"/>
                    <a:pt x="466" y="200"/>
                    <a:pt x="466" y="205"/>
                  </a:cubicBezTo>
                  <a:cubicBezTo>
                    <a:pt x="466" y="209"/>
                    <a:pt x="469" y="223"/>
                    <a:pt x="469" y="223"/>
                  </a:cubicBezTo>
                  <a:close/>
                </a:path>
              </a:pathLst>
            </a:custGeom>
            <a:grpFill/>
            <a:ln>
              <a:solidFill>
                <a:srgbClr val="FFFFFF"/>
              </a:solidFill>
            </a:ln>
          </p:spPr>
          <p:txBody>
            <a:bodyPr vert="horz" wrap="square" lIns="121920" tIns="60960" rIns="121920" bIns="60960" numCol="1" anchor="t" anchorCtr="0" compatLnSpc="1">
              <a:prstTxWarp prst="textNoShape">
                <a:avLst/>
              </a:prstTxWarp>
            </a:bodyPr>
            <a:lstStyle/>
            <a:p>
              <a:pPr marL="0" marR="0" lvl="0" indent="0" defTabSz="467539"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000000"/>
                </a:solidFill>
                <a:effectLst/>
                <a:uLnTx/>
                <a:uFillTx/>
              </a:endParaRPr>
            </a:p>
          </p:txBody>
        </p:sp>
        <p:sp>
          <p:nvSpPr>
            <p:cNvPr id="95" name="Freeform 12">
              <a:extLst>
                <a:ext uri="{FF2B5EF4-FFF2-40B4-BE49-F238E27FC236}">
                  <a16:creationId xmlns:a16="http://schemas.microsoft.com/office/drawing/2014/main" id="{68209688-65AD-4F77-9E5C-2CA744A22286}"/>
                </a:ext>
              </a:extLst>
            </p:cNvPr>
            <p:cNvSpPr>
              <a:spLocks/>
            </p:cNvSpPr>
            <p:nvPr/>
          </p:nvSpPr>
          <p:spPr bwMode="auto">
            <a:xfrm>
              <a:off x="1628775" y="3408363"/>
              <a:ext cx="527050" cy="606425"/>
            </a:xfrm>
            <a:custGeom>
              <a:avLst/>
              <a:gdLst>
                <a:gd name="T0" fmla="*/ 445 w 449"/>
                <a:gd name="T1" fmla="*/ 106 h 518"/>
                <a:gd name="T2" fmla="*/ 444 w 449"/>
                <a:gd name="T3" fmla="*/ 145 h 518"/>
                <a:gd name="T4" fmla="*/ 431 w 449"/>
                <a:gd name="T5" fmla="*/ 182 h 518"/>
                <a:gd name="T6" fmla="*/ 434 w 449"/>
                <a:gd name="T7" fmla="*/ 231 h 518"/>
                <a:gd name="T8" fmla="*/ 420 w 449"/>
                <a:gd name="T9" fmla="*/ 273 h 518"/>
                <a:gd name="T10" fmla="*/ 394 w 449"/>
                <a:gd name="T11" fmla="*/ 307 h 518"/>
                <a:gd name="T12" fmla="*/ 408 w 449"/>
                <a:gd name="T13" fmla="*/ 390 h 518"/>
                <a:gd name="T14" fmla="*/ 347 w 449"/>
                <a:gd name="T15" fmla="*/ 436 h 518"/>
                <a:gd name="T16" fmla="*/ 328 w 449"/>
                <a:gd name="T17" fmla="*/ 493 h 518"/>
                <a:gd name="T18" fmla="*/ 321 w 449"/>
                <a:gd name="T19" fmla="*/ 506 h 518"/>
                <a:gd name="T20" fmla="*/ 293 w 449"/>
                <a:gd name="T21" fmla="*/ 517 h 518"/>
                <a:gd name="T22" fmla="*/ 267 w 449"/>
                <a:gd name="T23" fmla="*/ 509 h 518"/>
                <a:gd name="T24" fmla="*/ 241 w 449"/>
                <a:gd name="T25" fmla="*/ 476 h 518"/>
                <a:gd name="T26" fmla="*/ 208 w 449"/>
                <a:gd name="T27" fmla="*/ 465 h 518"/>
                <a:gd name="T28" fmla="*/ 194 w 449"/>
                <a:gd name="T29" fmla="*/ 444 h 518"/>
                <a:gd name="T30" fmla="*/ 234 w 449"/>
                <a:gd name="T31" fmla="*/ 427 h 518"/>
                <a:gd name="T32" fmla="*/ 224 w 449"/>
                <a:gd name="T33" fmla="*/ 405 h 518"/>
                <a:gd name="T34" fmla="*/ 236 w 449"/>
                <a:gd name="T35" fmla="*/ 391 h 518"/>
                <a:gd name="T36" fmla="*/ 213 w 449"/>
                <a:gd name="T37" fmla="*/ 375 h 518"/>
                <a:gd name="T38" fmla="*/ 194 w 449"/>
                <a:gd name="T39" fmla="*/ 406 h 518"/>
                <a:gd name="T40" fmla="*/ 178 w 449"/>
                <a:gd name="T41" fmla="*/ 405 h 518"/>
                <a:gd name="T42" fmla="*/ 152 w 449"/>
                <a:gd name="T43" fmla="*/ 408 h 518"/>
                <a:gd name="T44" fmla="*/ 141 w 449"/>
                <a:gd name="T45" fmla="*/ 393 h 518"/>
                <a:gd name="T46" fmla="*/ 123 w 449"/>
                <a:gd name="T47" fmla="*/ 385 h 518"/>
                <a:gd name="T48" fmla="*/ 79 w 449"/>
                <a:gd name="T49" fmla="*/ 370 h 518"/>
                <a:gd name="T50" fmla="*/ 69 w 449"/>
                <a:gd name="T51" fmla="*/ 359 h 518"/>
                <a:gd name="T52" fmla="*/ 20 w 449"/>
                <a:gd name="T53" fmla="*/ 349 h 518"/>
                <a:gd name="T54" fmla="*/ 10 w 449"/>
                <a:gd name="T55" fmla="*/ 304 h 518"/>
                <a:gd name="T56" fmla="*/ 47 w 449"/>
                <a:gd name="T57" fmla="*/ 308 h 518"/>
                <a:gd name="T58" fmla="*/ 60 w 449"/>
                <a:gd name="T59" fmla="*/ 285 h 518"/>
                <a:gd name="T60" fmla="*/ 107 w 449"/>
                <a:gd name="T61" fmla="*/ 245 h 518"/>
                <a:gd name="T62" fmla="*/ 102 w 449"/>
                <a:gd name="T63" fmla="*/ 203 h 518"/>
                <a:gd name="T64" fmla="*/ 119 w 449"/>
                <a:gd name="T65" fmla="*/ 173 h 518"/>
                <a:gd name="T66" fmla="*/ 130 w 449"/>
                <a:gd name="T67" fmla="*/ 147 h 518"/>
                <a:gd name="T68" fmla="*/ 154 w 449"/>
                <a:gd name="T69" fmla="*/ 96 h 518"/>
                <a:gd name="T70" fmla="*/ 169 w 449"/>
                <a:gd name="T71" fmla="*/ 93 h 518"/>
                <a:gd name="T72" fmla="*/ 181 w 449"/>
                <a:gd name="T73" fmla="*/ 66 h 518"/>
                <a:gd name="T74" fmla="*/ 173 w 449"/>
                <a:gd name="T75" fmla="*/ 26 h 518"/>
                <a:gd name="T76" fmla="*/ 185 w 449"/>
                <a:gd name="T77" fmla="*/ 5 h 518"/>
                <a:gd name="T78" fmla="*/ 202 w 449"/>
                <a:gd name="T79" fmla="*/ 6 h 518"/>
                <a:gd name="T80" fmla="*/ 221 w 449"/>
                <a:gd name="T81" fmla="*/ 0 h 518"/>
                <a:gd name="T82" fmla="*/ 228 w 449"/>
                <a:gd name="T83" fmla="*/ 20 h 518"/>
                <a:gd name="T84" fmla="*/ 267 w 449"/>
                <a:gd name="T85" fmla="*/ 39 h 518"/>
                <a:gd name="T86" fmla="*/ 332 w 449"/>
                <a:gd name="T87" fmla="*/ 10 h 518"/>
                <a:gd name="T88" fmla="*/ 375 w 449"/>
                <a:gd name="T89" fmla="*/ 18 h 518"/>
                <a:gd name="T90" fmla="*/ 404 w 449"/>
                <a:gd name="T91" fmla="*/ 19 h 518"/>
                <a:gd name="T92" fmla="*/ 422 w 449"/>
                <a:gd name="T93" fmla="*/ 36 h 518"/>
                <a:gd name="T94" fmla="*/ 448 w 449"/>
                <a:gd name="T95" fmla="*/ 74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49" h="518">
                  <a:moveTo>
                    <a:pt x="435" y="86"/>
                  </a:moveTo>
                  <a:cubicBezTo>
                    <a:pt x="435" y="87"/>
                    <a:pt x="443" y="103"/>
                    <a:pt x="445" y="106"/>
                  </a:cubicBezTo>
                  <a:cubicBezTo>
                    <a:pt x="448" y="108"/>
                    <a:pt x="447" y="111"/>
                    <a:pt x="446" y="119"/>
                  </a:cubicBezTo>
                  <a:cubicBezTo>
                    <a:pt x="444" y="127"/>
                    <a:pt x="444" y="145"/>
                    <a:pt x="444" y="145"/>
                  </a:cubicBezTo>
                  <a:cubicBezTo>
                    <a:pt x="421" y="153"/>
                    <a:pt x="421" y="153"/>
                    <a:pt x="421" y="153"/>
                  </a:cubicBezTo>
                  <a:cubicBezTo>
                    <a:pt x="431" y="182"/>
                    <a:pt x="431" y="182"/>
                    <a:pt x="431" y="182"/>
                  </a:cubicBezTo>
                  <a:cubicBezTo>
                    <a:pt x="411" y="209"/>
                    <a:pt x="411" y="209"/>
                    <a:pt x="411" y="209"/>
                  </a:cubicBezTo>
                  <a:cubicBezTo>
                    <a:pt x="411" y="209"/>
                    <a:pt x="425" y="225"/>
                    <a:pt x="434" y="231"/>
                  </a:cubicBezTo>
                  <a:cubicBezTo>
                    <a:pt x="443" y="238"/>
                    <a:pt x="445" y="249"/>
                    <a:pt x="447" y="256"/>
                  </a:cubicBezTo>
                  <a:cubicBezTo>
                    <a:pt x="449" y="263"/>
                    <a:pt x="420" y="273"/>
                    <a:pt x="420" y="273"/>
                  </a:cubicBezTo>
                  <a:cubicBezTo>
                    <a:pt x="418" y="296"/>
                    <a:pt x="418" y="296"/>
                    <a:pt x="418" y="296"/>
                  </a:cubicBezTo>
                  <a:cubicBezTo>
                    <a:pt x="394" y="307"/>
                    <a:pt x="394" y="307"/>
                    <a:pt x="394" y="307"/>
                  </a:cubicBezTo>
                  <a:cubicBezTo>
                    <a:pt x="409" y="374"/>
                    <a:pt x="409" y="374"/>
                    <a:pt x="409" y="374"/>
                  </a:cubicBezTo>
                  <a:cubicBezTo>
                    <a:pt x="408" y="390"/>
                    <a:pt x="408" y="390"/>
                    <a:pt x="408" y="390"/>
                  </a:cubicBezTo>
                  <a:cubicBezTo>
                    <a:pt x="408" y="390"/>
                    <a:pt x="370" y="430"/>
                    <a:pt x="370" y="430"/>
                  </a:cubicBezTo>
                  <a:cubicBezTo>
                    <a:pt x="369" y="430"/>
                    <a:pt x="351" y="435"/>
                    <a:pt x="347" y="436"/>
                  </a:cubicBezTo>
                  <a:cubicBezTo>
                    <a:pt x="343" y="436"/>
                    <a:pt x="335" y="438"/>
                    <a:pt x="332" y="443"/>
                  </a:cubicBezTo>
                  <a:cubicBezTo>
                    <a:pt x="330" y="448"/>
                    <a:pt x="328" y="493"/>
                    <a:pt x="328" y="493"/>
                  </a:cubicBezTo>
                  <a:cubicBezTo>
                    <a:pt x="324" y="493"/>
                    <a:pt x="324" y="493"/>
                    <a:pt x="324" y="493"/>
                  </a:cubicBezTo>
                  <a:cubicBezTo>
                    <a:pt x="321" y="506"/>
                    <a:pt x="321" y="506"/>
                    <a:pt x="321" y="506"/>
                  </a:cubicBezTo>
                  <a:cubicBezTo>
                    <a:pt x="302" y="506"/>
                    <a:pt x="302" y="506"/>
                    <a:pt x="302" y="506"/>
                  </a:cubicBezTo>
                  <a:cubicBezTo>
                    <a:pt x="293" y="517"/>
                    <a:pt x="293" y="517"/>
                    <a:pt x="293" y="517"/>
                  </a:cubicBezTo>
                  <a:cubicBezTo>
                    <a:pt x="276" y="518"/>
                    <a:pt x="276" y="518"/>
                    <a:pt x="276" y="518"/>
                  </a:cubicBezTo>
                  <a:cubicBezTo>
                    <a:pt x="267" y="509"/>
                    <a:pt x="267" y="509"/>
                    <a:pt x="267" y="509"/>
                  </a:cubicBezTo>
                  <a:cubicBezTo>
                    <a:pt x="254" y="507"/>
                    <a:pt x="254" y="507"/>
                    <a:pt x="254" y="507"/>
                  </a:cubicBezTo>
                  <a:cubicBezTo>
                    <a:pt x="241" y="476"/>
                    <a:pt x="241" y="476"/>
                    <a:pt x="241" y="476"/>
                  </a:cubicBezTo>
                  <a:cubicBezTo>
                    <a:pt x="225" y="465"/>
                    <a:pt x="225" y="465"/>
                    <a:pt x="225" y="465"/>
                  </a:cubicBezTo>
                  <a:cubicBezTo>
                    <a:pt x="208" y="465"/>
                    <a:pt x="208" y="465"/>
                    <a:pt x="208" y="465"/>
                  </a:cubicBezTo>
                  <a:cubicBezTo>
                    <a:pt x="195" y="451"/>
                    <a:pt x="195" y="451"/>
                    <a:pt x="195" y="451"/>
                  </a:cubicBezTo>
                  <a:cubicBezTo>
                    <a:pt x="194" y="444"/>
                    <a:pt x="194" y="444"/>
                    <a:pt x="194" y="444"/>
                  </a:cubicBezTo>
                  <a:cubicBezTo>
                    <a:pt x="219" y="437"/>
                    <a:pt x="219" y="437"/>
                    <a:pt x="219" y="437"/>
                  </a:cubicBezTo>
                  <a:cubicBezTo>
                    <a:pt x="234" y="427"/>
                    <a:pt x="234" y="427"/>
                    <a:pt x="234" y="427"/>
                  </a:cubicBezTo>
                  <a:cubicBezTo>
                    <a:pt x="235" y="408"/>
                    <a:pt x="235" y="408"/>
                    <a:pt x="235" y="408"/>
                  </a:cubicBezTo>
                  <a:cubicBezTo>
                    <a:pt x="224" y="405"/>
                    <a:pt x="224" y="405"/>
                    <a:pt x="224" y="405"/>
                  </a:cubicBezTo>
                  <a:cubicBezTo>
                    <a:pt x="223" y="400"/>
                    <a:pt x="223" y="400"/>
                    <a:pt x="223" y="400"/>
                  </a:cubicBezTo>
                  <a:cubicBezTo>
                    <a:pt x="236" y="391"/>
                    <a:pt x="236" y="391"/>
                    <a:pt x="236" y="391"/>
                  </a:cubicBezTo>
                  <a:cubicBezTo>
                    <a:pt x="222" y="375"/>
                    <a:pt x="222" y="375"/>
                    <a:pt x="222" y="375"/>
                  </a:cubicBezTo>
                  <a:cubicBezTo>
                    <a:pt x="213" y="375"/>
                    <a:pt x="213" y="375"/>
                    <a:pt x="213" y="375"/>
                  </a:cubicBezTo>
                  <a:cubicBezTo>
                    <a:pt x="214" y="390"/>
                    <a:pt x="214" y="390"/>
                    <a:pt x="214" y="390"/>
                  </a:cubicBezTo>
                  <a:cubicBezTo>
                    <a:pt x="194" y="406"/>
                    <a:pt x="194" y="406"/>
                    <a:pt x="194" y="406"/>
                  </a:cubicBezTo>
                  <a:cubicBezTo>
                    <a:pt x="184" y="399"/>
                    <a:pt x="184" y="399"/>
                    <a:pt x="184" y="399"/>
                  </a:cubicBezTo>
                  <a:cubicBezTo>
                    <a:pt x="178" y="405"/>
                    <a:pt x="178" y="405"/>
                    <a:pt x="178" y="405"/>
                  </a:cubicBezTo>
                  <a:cubicBezTo>
                    <a:pt x="169" y="398"/>
                    <a:pt x="169" y="398"/>
                    <a:pt x="169" y="398"/>
                  </a:cubicBezTo>
                  <a:cubicBezTo>
                    <a:pt x="152" y="408"/>
                    <a:pt x="152" y="408"/>
                    <a:pt x="152" y="408"/>
                  </a:cubicBezTo>
                  <a:cubicBezTo>
                    <a:pt x="141" y="404"/>
                    <a:pt x="141" y="404"/>
                    <a:pt x="141" y="404"/>
                  </a:cubicBezTo>
                  <a:cubicBezTo>
                    <a:pt x="141" y="393"/>
                    <a:pt x="141" y="393"/>
                    <a:pt x="141" y="393"/>
                  </a:cubicBezTo>
                  <a:cubicBezTo>
                    <a:pt x="123" y="406"/>
                    <a:pt x="123" y="406"/>
                    <a:pt x="123" y="406"/>
                  </a:cubicBezTo>
                  <a:cubicBezTo>
                    <a:pt x="123" y="385"/>
                    <a:pt x="123" y="385"/>
                    <a:pt x="123" y="385"/>
                  </a:cubicBezTo>
                  <a:cubicBezTo>
                    <a:pt x="107" y="386"/>
                    <a:pt x="107" y="386"/>
                    <a:pt x="107" y="386"/>
                  </a:cubicBezTo>
                  <a:cubicBezTo>
                    <a:pt x="79" y="370"/>
                    <a:pt x="79" y="370"/>
                    <a:pt x="79" y="370"/>
                  </a:cubicBezTo>
                  <a:cubicBezTo>
                    <a:pt x="81" y="358"/>
                    <a:pt x="81" y="358"/>
                    <a:pt x="81" y="358"/>
                  </a:cubicBezTo>
                  <a:cubicBezTo>
                    <a:pt x="69" y="359"/>
                    <a:pt x="69" y="359"/>
                    <a:pt x="69" y="359"/>
                  </a:cubicBezTo>
                  <a:cubicBezTo>
                    <a:pt x="41" y="346"/>
                    <a:pt x="41" y="346"/>
                    <a:pt x="41" y="346"/>
                  </a:cubicBezTo>
                  <a:cubicBezTo>
                    <a:pt x="20" y="349"/>
                    <a:pt x="20" y="349"/>
                    <a:pt x="20" y="349"/>
                  </a:cubicBezTo>
                  <a:cubicBezTo>
                    <a:pt x="0" y="341"/>
                    <a:pt x="0" y="341"/>
                    <a:pt x="0" y="341"/>
                  </a:cubicBezTo>
                  <a:cubicBezTo>
                    <a:pt x="10" y="304"/>
                    <a:pt x="10" y="304"/>
                    <a:pt x="10" y="304"/>
                  </a:cubicBezTo>
                  <a:cubicBezTo>
                    <a:pt x="23" y="299"/>
                    <a:pt x="23" y="299"/>
                    <a:pt x="23" y="299"/>
                  </a:cubicBezTo>
                  <a:cubicBezTo>
                    <a:pt x="23" y="299"/>
                    <a:pt x="36" y="310"/>
                    <a:pt x="47" y="308"/>
                  </a:cubicBezTo>
                  <a:cubicBezTo>
                    <a:pt x="58" y="307"/>
                    <a:pt x="65" y="304"/>
                    <a:pt x="65" y="304"/>
                  </a:cubicBezTo>
                  <a:cubicBezTo>
                    <a:pt x="60" y="285"/>
                    <a:pt x="60" y="285"/>
                    <a:pt x="60" y="285"/>
                  </a:cubicBezTo>
                  <a:cubicBezTo>
                    <a:pt x="79" y="254"/>
                    <a:pt x="79" y="254"/>
                    <a:pt x="79" y="254"/>
                  </a:cubicBezTo>
                  <a:cubicBezTo>
                    <a:pt x="79" y="254"/>
                    <a:pt x="106" y="254"/>
                    <a:pt x="107" y="245"/>
                  </a:cubicBezTo>
                  <a:cubicBezTo>
                    <a:pt x="108" y="237"/>
                    <a:pt x="111" y="224"/>
                    <a:pt x="107" y="219"/>
                  </a:cubicBezTo>
                  <a:cubicBezTo>
                    <a:pt x="104" y="214"/>
                    <a:pt x="101" y="208"/>
                    <a:pt x="102" y="203"/>
                  </a:cubicBezTo>
                  <a:cubicBezTo>
                    <a:pt x="104" y="198"/>
                    <a:pt x="104" y="186"/>
                    <a:pt x="109" y="182"/>
                  </a:cubicBezTo>
                  <a:cubicBezTo>
                    <a:pt x="114" y="178"/>
                    <a:pt x="121" y="178"/>
                    <a:pt x="119" y="173"/>
                  </a:cubicBezTo>
                  <a:cubicBezTo>
                    <a:pt x="117" y="167"/>
                    <a:pt x="112" y="157"/>
                    <a:pt x="117" y="156"/>
                  </a:cubicBezTo>
                  <a:cubicBezTo>
                    <a:pt x="121" y="155"/>
                    <a:pt x="130" y="153"/>
                    <a:pt x="130" y="147"/>
                  </a:cubicBezTo>
                  <a:cubicBezTo>
                    <a:pt x="129" y="142"/>
                    <a:pt x="125" y="121"/>
                    <a:pt x="130" y="116"/>
                  </a:cubicBezTo>
                  <a:cubicBezTo>
                    <a:pt x="134" y="111"/>
                    <a:pt x="151" y="95"/>
                    <a:pt x="154" y="96"/>
                  </a:cubicBezTo>
                  <a:cubicBezTo>
                    <a:pt x="157" y="98"/>
                    <a:pt x="162" y="104"/>
                    <a:pt x="164" y="100"/>
                  </a:cubicBezTo>
                  <a:cubicBezTo>
                    <a:pt x="166" y="96"/>
                    <a:pt x="168" y="97"/>
                    <a:pt x="169" y="93"/>
                  </a:cubicBezTo>
                  <a:cubicBezTo>
                    <a:pt x="169" y="88"/>
                    <a:pt x="166" y="84"/>
                    <a:pt x="170" y="80"/>
                  </a:cubicBezTo>
                  <a:cubicBezTo>
                    <a:pt x="175" y="77"/>
                    <a:pt x="186" y="69"/>
                    <a:pt x="181" y="66"/>
                  </a:cubicBezTo>
                  <a:cubicBezTo>
                    <a:pt x="176" y="62"/>
                    <a:pt x="165" y="60"/>
                    <a:pt x="168" y="56"/>
                  </a:cubicBezTo>
                  <a:cubicBezTo>
                    <a:pt x="172" y="51"/>
                    <a:pt x="177" y="29"/>
                    <a:pt x="173" y="26"/>
                  </a:cubicBezTo>
                  <a:cubicBezTo>
                    <a:pt x="169" y="23"/>
                    <a:pt x="167" y="20"/>
                    <a:pt x="169" y="16"/>
                  </a:cubicBezTo>
                  <a:cubicBezTo>
                    <a:pt x="170" y="13"/>
                    <a:pt x="185" y="5"/>
                    <a:pt x="185" y="5"/>
                  </a:cubicBezTo>
                  <a:cubicBezTo>
                    <a:pt x="194" y="12"/>
                    <a:pt x="194" y="12"/>
                    <a:pt x="194" y="12"/>
                  </a:cubicBezTo>
                  <a:cubicBezTo>
                    <a:pt x="202" y="6"/>
                    <a:pt x="202" y="6"/>
                    <a:pt x="202" y="6"/>
                  </a:cubicBezTo>
                  <a:cubicBezTo>
                    <a:pt x="202" y="6"/>
                    <a:pt x="202" y="6"/>
                    <a:pt x="202" y="6"/>
                  </a:cubicBezTo>
                  <a:cubicBezTo>
                    <a:pt x="221" y="0"/>
                    <a:pt x="221" y="0"/>
                    <a:pt x="221" y="0"/>
                  </a:cubicBezTo>
                  <a:cubicBezTo>
                    <a:pt x="235" y="10"/>
                    <a:pt x="235" y="10"/>
                    <a:pt x="235" y="10"/>
                  </a:cubicBezTo>
                  <a:cubicBezTo>
                    <a:pt x="228" y="20"/>
                    <a:pt x="228" y="20"/>
                    <a:pt x="228" y="20"/>
                  </a:cubicBezTo>
                  <a:cubicBezTo>
                    <a:pt x="231" y="31"/>
                    <a:pt x="231" y="31"/>
                    <a:pt x="231" y="31"/>
                  </a:cubicBezTo>
                  <a:cubicBezTo>
                    <a:pt x="267" y="39"/>
                    <a:pt x="267" y="39"/>
                    <a:pt x="267" y="39"/>
                  </a:cubicBezTo>
                  <a:cubicBezTo>
                    <a:pt x="267" y="39"/>
                    <a:pt x="295" y="15"/>
                    <a:pt x="306" y="14"/>
                  </a:cubicBezTo>
                  <a:cubicBezTo>
                    <a:pt x="317" y="12"/>
                    <a:pt x="332" y="10"/>
                    <a:pt x="332" y="10"/>
                  </a:cubicBezTo>
                  <a:cubicBezTo>
                    <a:pt x="333" y="10"/>
                    <a:pt x="338" y="17"/>
                    <a:pt x="352" y="17"/>
                  </a:cubicBezTo>
                  <a:cubicBezTo>
                    <a:pt x="366" y="17"/>
                    <a:pt x="371" y="14"/>
                    <a:pt x="375" y="18"/>
                  </a:cubicBezTo>
                  <a:cubicBezTo>
                    <a:pt x="378" y="22"/>
                    <a:pt x="379" y="32"/>
                    <a:pt x="388" y="27"/>
                  </a:cubicBezTo>
                  <a:cubicBezTo>
                    <a:pt x="398" y="21"/>
                    <a:pt x="395" y="18"/>
                    <a:pt x="404" y="19"/>
                  </a:cubicBezTo>
                  <a:cubicBezTo>
                    <a:pt x="414" y="20"/>
                    <a:pt x="417" y="20"/>
                    <a:pt x="417" y="20"/>
                  </a:cubicBezTo>
                  <a:cubicBezTo>
                    <a:pt x="417" y="20"/>
                    <a:pt x="416" y="33"/>
                    <a:pt x="422" y="36"/>
                  </a:cubicBezTo>
                  <a:cubicBezTo>
                    <a:pt x="428" y="38"/>
                    <a:pt x="447" y="47"/>
                    <a:pt x="448" y="47"/>
                  </a:cubicBezTo>
                  <a:cubicBezTo>
                    <a:pt x="448" y="74"/>
                    <a:pt x="448" y="74"/>
                    <a:pt x="448" y="74"/>
                  </a:cubicBezTo>
                  <a:cubicBezTo>
                    <a:pt x="448" y="74"/>
                    <a:pt x="435" y="86"/>
                    <a:pt x="435" y="86"/>
                  </a:cubicBezTo>
                  <a:close/>
                </a:path>
              </a:pathLst>
            </a:custGeom>
            <a:grpFill/>
            <a:ln>
              <a:solidFill>
                <a:srgbClr val="FFFFFF"/>
              </a:solidFill>
            </a:ln>
          </p:spPr>
          <p:txBody>
            <a:bodyPr vert="horz" wrap="square" lIns="121920" tIns="60960" rIns="121920" bIns="60960" numCol="1" anchor="t" anchorCtr="0" compatLnSpc="1">
              <a:prstTxWarp prst="textNoShape">
                <a:avLst/>
              </a:prstTxWarp>
            </a:bodyPr>
            <a:lstStyle/>
            <a:p>
              <a:pPr marL="0" marR="0" lvl="0" indent="0" defTabSz="467539"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000000"/>
                </a:solidFill>
                <a:effectLst/>
                <a:uLnTx/>
                <a:uFillTx/>
              </a:endParaRPr>
            </a:p>
          </p:txBody>
        </p:sp>
        <p:sp>
          <p:nvSpPr>
            <p:cNvPr id="96" name="Freeform 13">
              <a:extLst>
                <a:ext uri="{FF2B5EF4-FFF2-40B4-BE49-F238E27FC236}">
                  <a16:creationId xmlns:a16="http://schemas.microsoft.com/office/drawing/2014/main" id="{D91C3DC1-5D59-4E1E-A07F-ADB565ED9E90}"/>
                </a:ext>
              </a:extLst>
            </p:cNvPr>
            <p:cNvSpPr>
              <a:spLocks/>
            </p:cNvSpPr>
            <p:nvPr/>
          </p:nvSpPr>
          <p:spPr bwMode="auto">
            <a:xfrm>
              <a:off x="963613" y="3149600"/>
              <a:ext cx="901700" cy="828675"/>
            </a:xfrm>
            <a:custGeom>
              <a:avLst/>
              <a:gdLst>
                <a:gd name="T0" fmla="*/ 751 w 768"/>
                <a:gd name="T1" fmla="*/ 225 h 706"/>
                <a:gd name="T2" fmla="*/ 734 w 768"/>
                <a:gd name="T3" fmla="*/ 276 h 706"/>
                <a:gd name="T4" fmla="*/ 735 w 768"/>
                <a:gd name="T5" fmla="*/ 313 h 706"/>
                <a:gd name="T6" fmla="*/ 696 w 768"/>
                <a:gd name="T7" fmla="*/ 336 h 706"/>
                <a:gd name="T8" fmla="*/ 685 w 768"/>
                <a:gd name="T9" fmla="*/ 393 h 706"/>
                <a:gd name="T10" fmla="*/ 673 w 768"/>
                <a:gd name="T11" fmla="*/ 439 h 706"/>
                <a:gd name="T12" fmla="*/ 626 w 768"/>
                <a:gd name="T13" fmla="*/ 505 h 706"/>
                <a:gd name="T14" fmla="*/ 589 w 768"/>
                <a:gd name="T15" fmla="*/ 519 h 706"/>
                <a:gd name="T16" fmla="*/ 559 w 768"/>
                <a:gd name="T17" fmla="*/ 558 h 706"/>
                <a:gd name="T18" fmla="*/ 570 w 768"/>
                <a:gd name="T19" fmla="*/ 598 h 706"/>
                <a:gd name="T20" fmla="*/ 584 w 768"/>
                <a:gd name="T21" fmla="*/ 606 h 706"/>
                <a:gd name="T22" fmla="*/ 610 w 768"/>
                <a:gd name="T23" fmla="*/ 649 h 706"/>
                <a:gd name="T24" fmla="*/ 585 w 768"/>
                <a:gd name="T25" fmla="*/ 657 h 706"/>
                <a:gd name="T26" fmla="*/ 544 w 768"/>
                <a:gd name="T27" fmla="*/ 667 h 706"/>
                <a:gd name="T28" fmla="*/ 509 w 768"/>
                <a:gd name="T29" fmla="*/ 706 h 706"/>
                <a:gd name="T30" fmla="*/ 446 w 768"/>
                <a:gd name="T31" fmla="*/ 620 h 706"/>
                <a:gd name="T32" fmla="*/ 397 w 768"/>
                <a:gd name="T33" fmla="*/ 600 h 706"/>
                <a:gd name="T34" fmla="*/ 395 w 768"/>
                <a:gd name="T35" fmla="*/ 558 h 706"/>
                <a:gd name="T36" fmla="*/ 435 w 768"/>
                <a:gd name="T37" fmla="*/ 511 h 706"/>
                <a:gd name="T38" fmla="*/ 381 w 768"/>
                <a:gd name="T39" fmla="*/ 474 h 706"/>
                <a:gd name="T40" fmla="*/ 363 w 768"/>
                <a:gd name="T41" fmla="*/ 480 h 706"/>
                <a:gd name="T42" fmla="*/ 334 w 768"/>
                <a:gd name="T43" fmla="*/ 494 h 706"/>
                <a:gd name="T44" fmla="*/ 317 w 768"/>
                <a:gd name="T45" fmla="*/ 490 h 706"/>
                <a:gd name="T46" fmla="*/ 282 w 768"/>
                <a:gd name="T47" fmla="*/ 477 h 706"/>
                <a:gd name="T48" fmla="*/ 260 w 768"/>
                <a:gd name="T49" fmla="*/ 441 h 706"/>
                <a:gd name="T50" fmla="*/ 213 w 768"/>
                <a:gd name="T51" fmla="*/ 438 h 706"/>
                <a:gd name="T52" fmla="*/ 147 w 768"/>
                <a:gd name="T53" fmla="*/ 438 h 706"/>
                <a:gd name="T54" fmla="*/ 141 w 768"/>
                <a:gd name="T55" fmla="*/ 405 h 706"/>
                <a:gd name="T56" fmla="*/ 118 w 768"/>
                <a:gd name="T57" fmla="*/ 384 h 706"/>
                <a:gd name="T58" fmla="*/ 118 w 768"/>
                <a:gd name="T59" fmla="*/ 360 h 706"/>
                <a:gd name="T60" fmla="*/ 101 w 768"/>
                <a:gd name="T61" fmla="*/ 349 h 706"/>
                <a:gd name="T62" fmla="*/ 88 w 768"/>
                <a:gd name="T63" fmla="*/ 349 h 706"/>
                <a:gd name="T64" fmla="*/ 48 w 768"/>
                <a:gd name="T65" fmla="*/ 344 h 706"/>
                <a:gd name="T66" fmla="*/ 41 w 768"/>
                <a:gd name="T67" fmla="*/ 390 h 706"/>
                <a:gd name="T68" fmla="*/ 9 w 768"/>
                <a:gd name="T69" fmla="*/ 404 h 706"/>
                <a:gd name="T70" fmla="*/ 18 w 768"/>
                <a:gd name="T71" fmla="*/ 365 h 706"/>
                <a:gd name="T72" fmla="*/ 26 w 768"/>
                <a:gd name="T73" fmla="*/ 318 h 706"/>
                <a:gd name="T74" fmla="*/ 37 w 768"/>
                <a:gd name="T75" fmla="*/ 267 h 706"/>
                <a:gd name="T76" fmla="*/ 32 w 768"/>
                <a:gd name="T77" fmla="*/ 214 h 706"/>
                <a:gd name="T78" fmla="*/ 58 w 768"/>
                <a:gd name="T79" fmla="*/ 183 h 706"/>
                <a:gd name="T80" fmla="*/ 129 w 768"/>
                <a:gd name="T81" fmla="*/ 168 h 706"/>
                <a:gd name="T82" fmla="*/ 178 w 768"/>
                <a:gd name="T83" fmla="*/ 141 h 706"/>
                <a:gd name="T84" fmla="*/ 226 w 768"/>
                <a:gd name="T85" fmla="*/ 98 h 706"/>
                <a:gd name="T86" fmla="*/ 270 w 768"/>
                <a:gd name="T87" fmla="*/ 10 h 706"/>
                <a:gd name="T88" fmla="*/ 362 w 768"/>
                <a:gd name="T89" fmla="*/ 47 h 706"/>
                <a:gd name="T90" fmla="*/ 421 w 768"/>
                <a:gd name="T91" fmla="*/ 0 h 706"/>
                <a:gd name="T92" fmla="*/ 492 w 768"/>
                <a:gd name="T93" fmla="*/ 57 h 706"/>
                <a:gd name="T94" fmla="*/ 569 w 768"/>
                <a:gd name="T95" fmla="*/ 81 h 706"/>
                <a:gd name="T96" fmla="*/ 611 w 768"/>
                <a:gd name="T97" fmla="*/ 45 h 706"/>
                <a:gd name="T98" fmla="*/ 710 w 768"/>
                <a:gd name="T99" fmla="*/ 83 h 706"/>
                <a:gd name="T100" fmla="*/ 745 w 768"/>
                <a:gd name="T101" fmla="*/ 143 h 706"/>
                <a:gd name="T102" fmla="*/ 744 w 768"/>
                <a:gd name="T103" fmla="*/ 203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68" h="706">
                  <a:moveTo>
                    <a:pt x="768" y="226"/>
                  </a:moveTo>
                  <a:cubicBezTo>
                    <a:pt x="760" y="232"/>
                    <a:pt x="760" y="232"/>
                    <a:pt x="760" y="232"/>
                  </a:cubicBezTo>
                  <a:cubicBezTo>
                    <a:pt x="751" y="225"/>
                    <a:pt x="751" y="225"/>
                    <a:pt x="751" y="225"/>
                  </a:cubicBezTo>
                  <a:cubicBezTo>
                    <a:pt x="751" y="225"/>
                    <a:pt x="736" y="233"/>
                    <a:pt x="735" y="236"/>
                  </a:cubicBezTo>
                  <a:cubicBezTo>
                    <a:pt x="733" y="240"/>
                    <a:pt x="735" y="243"/>
                    <a:pt x="739" y="246"/>
                  </a:cubicBezTo>
                  <a:cubicBezTo>
                    <a:pt x="743" y="249"/>
                    <a:pt x="738" y="271"/>
                    <a:pt x="734" y="276"/>
                  </a:cubicBezTo>
                  <a:cubicBezTo>
                    <a:pt x="731" y="280"/>
                    <a:pt x="742" y="282"/>
                    <a:pt x="747" y="286"/>
                  </a:cubicBezTo>
                  <a:cubicBezTo>
                    <a:pt x="752" y="289"/>
                    <a:pt x="741" y="297"/>
                    <a:pt x="736" y="300"/>
                  </a:cubicBezTo>
                  <a:cubicBezTo>
                    <a:pt x="732" y="304"/>
                    <a:pt x="735" y="308"/>
                    <a:pt x="735" y="313"/>
                  </a:cubicBezTo>
                  <a:cubicBezTo>
                    <a:pt x="734" y="317"/>
                    <a:pt x="732" y="316"/>
                    <a:pt x="730" y="320"/>
                  </a:cubicBezTo>
                  <a:cubicBezTo>
                    <a:pt x="728" y="324"/>
                    <a:pt x="723" y="318"/>
                    <a:pt x="720" y="316"/>
                  </a:cubicBezTo>
                  <a:cubicBezTo>
                    <a:pt x="717" y="315"/>
                    <a:pt x="700" y="331"/>
                    <a:pt x="696" y="336"/>
                  </a:cubicBezTo>
                  <a:cubicBezTo>
                    <a:pt x="691" y="341"/>
                    <a:pt x="695" y="362"/>
                    <a:pt x="696" y="367"/>
                  </a:cubicBezTo>
                  <a:cubicBezTo>
                    <a:pt x="696" y="373"/>
                    <a:pt x="687" y="375"/>
                    <a:pt x="683" y="376"/>
                  </a:cubicBezTo>
                  <a:cubicBezTo>
                    <a:pt x="678" y="377"/>
                    <a:pt x="683" y="387"/>
                    <a:pt x="685" y="393"/>
                  </a:cubicBezTo>
                  <a:cubicBezTo>
                    <a:pt x="687" y="398"/>
                    <a:pt x="680" y="398"/>
                    <a:pt x="675" y="402"/>
                  </a:cubicBezTo>
                  <a:cubicBezTo>
                    <a:pt x="670" y="406"/>
                    <a:pt x="670" y="418"/>
                    <a:pt x="668" y="423"/>
                  </a:cubicBezTo>
                  <a:cubicBezTo>
                    <a:pt x="667" y="428"/>
                    <a:pt x="670" y="434"/>
                    <a:pt x="673" y="439"/>
                  </a:cubicBezTo>
                  <a:cubicBezTo>
                    <a:pt x="677" y="444"/>
                    <a:pt x="674" y="457"/>
                    <a:pt x="673" y="465"/>
                  </a:cubicBezTo>
                  <a:cubicBezTo>
                    <a:pt x="672" y="474"/>
                    <a:pt x="645" y="474"/>
                    <a:pt x="645" y="474"/>
                  </a:cubicBezTo>
                  <a:cubicBezTo>
                    <a:pt x="626" y="505"/>
                    <a:pt x="626" y="505"/>
                    <a:pt x="626" y="505"/>
                  </a:cubicBezTo>
                  <a:cubicBezTo>
                    <a:pt x="631" y="524"/>
                    <a:pt x="631" y="524"/>
                    <a:pt x="631" y="524"/>
                  </a:cubicBezTo>
                  <a:cubicBezTo>
                    <a:pt x="631" y="524"/>
                    <a:pt x="624" y="527"/>
                    <a:pt x="613" y="528"/>
                  </a:cubicBezTo>
                  <a:cubicBezTo>
                    <a:pt x="602" y="530"/>
                    <a:pt x="589" y="519"/>
                    <a:pt x="589" y="519"/>
                  </a:cubicBezTo>
                  <a:cubicBezTo>
                    <a:pt x="576" y="524"/>
                    <a:pt x="576" y="524"/>
                    <a:pt x="576" y="524"/>
                  </a:cubicBezTo>
                  <a:cubicBezTo>
                    <a:pt x="566" y="561"/>
                    <a:pt x="566" y="561"/>
                    <a:pt x="566" y="561"/>
                  </a:cubicBezTo>
                  <a:cubicBezTo>
                    <a:pt x="559" y="558"/>
                    <a:pt x="559" y="558"/>
                    <a:pt x="559" y="558"/>
                  </a:cubicBezTo>
                  <a:cubicBezTo>
                    <a:pt x="555" y="572"/>
                    <a:pt x="555" y="572"/>
                    <a:pt x="555" y="572"/>
                  </a:cubicBezTo>
                  <a:cubicBezTo>
                    <a:pt x="571" y="585"/>
                    <a:pt x="571" y="585"/>
                    <a:pt x="571" y="585"/>
                  </a:cubicBezTo>
                  <a:cubicBezTo>
                    <a:pt x="570" y="598"/>
                    <a:pt x="570" y="598"/>
                    <a:pt x="570" y="598"/>
                  </a:cubicBezTo>
                  <a:cubicBezTo>
                    <a:pt x="576" y="603"/>
                    <a:pt x="576" y="603"/>
                    <a:pt x="576" y="603"/>
                  </a:cubicBezTo>
                  <a:cubicBezTo>
                    <a:pt x="578" y="611"/>
                    <a:pt x="578" y="611"/>
                    <a:pt x="578" y="611"/>
                  </a:cubicBezTo>
                  <a:cubicBezTo>
                    <a:pt x="584" y="606"/>
                    <a:pt x="584" y="606"/>
                    <a:pt x="584" y="606"/>
                  </a:cubicBezTo>
                  <a:cubicBezTo>
                    <a:pt x="601" y="623"/>
                    <a:pt x="601" y="623"/>
                    <a:pt x="601" y="623"/>
                  </a:cubicBezTo>
                  <a:cubicBezTo>
                    <a:pt x="594" y="636"/>
                    <a:pt x="594" y="636"/>
                    <a:pt x="594" y="636"/>
                  </a:cubicBezTo>
                  <a:cubicBezTo>
                    <a:pt x="610" y="649"/>
                    <a:pt x="610" y="649"/>
                    <a:pt x="610" y="649"/>
                  </a:cubicBezTo>
                  <a:cubicBezTo>
                    <a:pt x="601" y="657"/>
                    <a:pt x="601" y="657"/>
                    <a:pt x="601" y="657"/>
                  </a:cubicBezTo>
                  <a:cubicBezTo>
                    <a:pt x="588" y="644"/>
                    <a:pt x="588" y="644"/>
                    <a:pt x="588" y="644"/>
                  </a:cubicBezTo>
                  <a:cubicBezTo>
                    <a:pt x="585" y="657"/>
                    <a:pt x="585" y="657"/>
                    <a:pt x="585" y="657"/>
                  </a:cubicBezTo>
                  <a:cubicBezTo>
                    <a:pt x="576" y="650"/>
                    <a:pt x="576" y="650"/>
                    <a:pt x="576" y="650"/>
                  </a:cubicBezTo>
                  <a:cubicBezTo>
                    <a:pt x="563" y="665"/>
                    <a:pt x="563" y="665"/>
                    <a:pt x="563" y="665"/>
                  </a:cubicBezTo>
                  <a:cubicBezTo>
                    <a:pt x="544" y="667"/>
                    <a:pt x="544" y="667"/>
                    <a:pt x="544" y="667"/>
                  </a:cubicBezTo>
                  <a:cubicBezTo>
                    <a:pt x="540" y="684"/>
                    <a:pt x="540" y="684"/>
                    <a:pt x="540" y="684"/>
                  </a:cubicBezTo>
                  <a:cubicBezTo>
                    <a:pt x="523" y="706"/>
                    <a:pt x="523" y="706"/>
                    <a:pt x="523" y="706"/>
                  </a:cubicBezTo>
                  <a:cubicBezTo>
                    <a:pt x="509" y="706"/>
                    <a:pt x="509" y="706"/>
                    <a:pt x="509" y="706"/>
                  </a:cubicBezTo>
                  <a:cubicBezTo>
                    <a:pt x="471" y="683"/>
                    <a:pt x="471" y="683"/>
                    <a:pt x="471" y="683"/>
                  </a:cubicBezTo>
                  <a:cubicBezTo>
                    <a:pt x="467" y="656"/>
                    <a:pt x="467" y="656"/>
                    <a:pt x="467" y="656"/>
                  </a:cubicBezTo>
                  <a:cubicBezTo>
                    <a:pt x="446" y="620"/>
                    <a:pt x="446" y="620"/>
                    <a:pt x="446" y="620"/>
                  </a:cubicBezTo>
                  <a:cubicBezTo>
                    <a:pt x="427" y="622"/>
                    <a:pt x="427" y="622"/>
                    <a:pt x="427" y="622"/>
                  </a:cubicBezTo>
                  <a:cubicBezTo>
                    <a:pt x="427" y="622"/>
                    <a:pt x="414" y="597"/>
                    <a:pt x="414" y="597"/>
                  </a:cubicBezTo>
                  <a:cubicBezTo>
                    <a:pt x="414" y="596"/>
                    <a:pt x="397" y="600"/>
                    <a:pt x="397" y="600"/>
                  </a:cubicBezTo>
                  <a:cubicBezTo>
                    <a:pt x="382" y="575"/>
                    <a:pt x="382" y="575"/>
                    <a:pt x="382" y="575"/>
                  </a:cubicBezTo>
                  <a:cubicBezTo>
                    <a:pt x="382" y="559"/>
                    <a:pt x="382" y="559"/>
                    <a:pt x="382" y="559"/>
                  </a:cubicBezTo>
                  <a:cubicBezTo>
                    <a:pt x="395" y="558"/>
                    <a:pt x="395" y="558"/>
                    <a:pt x="395" y="558"/>
                  </a:cubicBezTo>
                  <a:cubicBezTo>
                    <a:pt x="422" y="536"/>
                    <a:pt x="422" y="536"/>
                    <a:pt x="422" y="536"/>
                  </a:cubicBezTo>
                  <a:cubicBezTo>
                    <a:pt x="420" y="511"/>
                    <a:pt x="420" y="511"/>
                    <a:pt x="420" y="511"/>
                  </a:cubicBezTo>
                  <a:cubicBezTo>
                    <a:pt x="435" y="511"/>
                    <a:pt x="435" y="511"/>
                    <a:pt x="435" y="511"/>
                  </a:cubicBezTo>
                  <a:cubicBezTo>
                    <a:pt x="435" y="500"/>
                    <a:pt x="435" y="500"/>
                    <a:pt x="435" y="500"/>
                  </a:cubicBezTo>
                  <a:cubicBezTo>
                    <a:pt x="407" y="475"/>
                    <a:pt x="407" y="475"/>
                    <a:pt x="407" y="475"/>
                  </a:cubicBezTo>
                  <a:cubicBezTo>
                    <a:pt x="381" y="474"/>
                    <a:pt x="381" y="474"/>
                    <a:pt x="381" y="474"/>
                  </a:cubicBezTo>
                  <a:cubicBezTo>
                    <a:pt x="378" y="487"/>
                    <a:pt x="378" y="487"/>
                    <a:pt x="378" y="487"/>
                  </a:cubicBezTo>
                  <a:cubicBezTo>
                    <a:pt x="365" y="490"/>
                    <a:pt x="365" y="490"/>
                    <a:pt x="365" y="490"/>
                  </a:cubicBezTo>
                  <a:cubicBezTo>
                    <a:pt x="363" y="480"/>
                    <a:pt x="363" y="480"/>
                    <a:pt x="363" y="480"/>
                  </a:cubicBezTo>
                  <a:cubicBezTo>
                    <a:pt x="342" y="477"/>
                    <a:pt x="342" y="477"/>
                    <a:pt x="342" y="477"/>
                  </a:cubicBezTo>
                  <a:cubicBezTo>
                    <a:pt x="333" y="483"/>
                    <a:pt x="333" y="483"/>
                    <a:pt x="333" y="483"/>
                  </a:cubicBezTo>
                  <a:cubicBezTo>
                    <a:pt x="334" y="494"/>
                    <a:pt x="334" y="494"/>
                    <a:pt x="334" y="494"/>
                  </a:cubicBezTo>
                  <a:cubicBezTo>
                    <a:pt x="320" y="503"/>
                    <a:pt x="320" y="503"/>
                    <a:pt x="320" y="503"/>
                  </a:cubicBezTo>
                  <a:cubicBezTo>
                    <a:pt x="313" y="494"/>
                    <a:pt x="313" y="494"/>
                    <a:pt x="313" y="494"/>
                  </a:cubicBezTo>
                  <a:cubicBezTo>
                    <a:pt x="317" y="490"/>
                    <a:pt x="317" y="490"/>
                    <a:pt x="317" y="490"/>
                  </a:cubicBezTo>
                  <a:cubicBezTo>
                    <a:pt x="307" y="464"/>
                    <a:pt x="307" y="464"/>
                    <a:pt x="307" y="464"/>
                  </a:cubicBezTo>
                  <a:cubicBezTo>
                    <a:pt x="295" y="464"/>
                    <a:pt x="295" y="464"/>
                    <a:pt x="295" y="464"/>
                  </a:cubicBezTo>
                  <a:cubicBezTo>
                    <a:pt x="282" y="477"/>
                    <a:pt x="282" y="477"/>
                    <a:pt x="282" y="477"/>
                  </a:cubicBezTo>
                  <a:cubicBezTo>
                    <a:pt x="273" y="473"/>
                    <a:pt x="273" y="473"/>
                    <a:pt x="273" y="473"/>
                  </a:cubicBezTo>
                  <a:cubicBezTo>
                    <a:pt x="275" y="459"/>
                    <a:pt x="275" y="459"/>
                    <a:pt x="275" y="459"/>
                  </a:cubicBezTo>
                  <a:cubicBezTo>
                    <a:pt x="260" y="441"/>
                    <a:pt x="260" y="441"/>
                    <a:pt x="260" y="441"/>
                  </a:cubicBezTo>
                  <a:cubicBezTo>
                    <a:pt x="249" y="450"/>
                    <a:pt x="249" y="450"/>
                    <a:pt x="249" y="450"/>
                  </a:cubicBezTo>
                  <a:cubicBezTo>
                    <a:pt x="221" y="450"/>
                    <a:pt x="221" y="450"/>
                    <a:pt x="221" y="450"/>
                  </a:cubicBezTo>
                  <a:cubicBezTo>
                    <a:pt x="213" y="438"/>
                    <a:pt x="213" y="438"/>
                    <a:pt x="213" y="438"/>
                  </a:cubicBezTo>
                  <a:cubicBezTo>
                    <a:pt x="178" y="436"/>
                    <a:pt x="178" y="436"/>
                    <a:pt x="178" y="436"/>
                  </a:cubicBezTo>
                  <a:cubicBezTo>
                    <a:pt x="162" y="425"/>
                    <a:pt x="162" y="425"/>
                    <a:pt x="162" y="425"/>
                  </a:cubicBezTo>
                  <a:cubicBezTo>
                    <a:pt x="147" y="438"/>
                    <a:pt x="147" y="438"/>
                    <a:pt x="147" y="438"/>
                  </a:cubicBezTo>
                  <a:cubicBezTo>
                    <a:pt x="138" y="430"/>
                    <a:pt x="138" y="430"/>
                    <a:pt x="138" y="430"/>
                  </a:cubicBezTo>
                  <a:cubicBezTo>
                    <a:pt x="147" y="415"/>
                    <a:pt x="147" y="415"/>
                    <a:pt x="147" y="415"/>
                  </a:cubicBezTo>
                  <a:cubicBezTo>
                    <a:pt x="141" y="405"/>
                    <a:pt x="141" y="405"/>
                    <a:pt x="141" y="405"/>
                  </a:cubicBezTo>
                  <a:cubicBezTo>
                    <a:pt x="132" y="406"/>
                    <a:pt x="132" y="406"/>
                    <a:pt x="132" y="406"/>
                  </a:cubicBezTo>
                  <a:cubicBezTo>
                    <a:pt x="129" y="402"/>
                    <a:pt x="127" y="398"/>
                    <a:pt x="124" y="394"/>
                  </a:cubicBezTo>
                  <a:cubicBezTo>
                    <a:pt x="123" y="390"/>
                    <a:pt x="119" y="388"/>
                    <a:pt x="118" y="384"/>
                  </a:cubicBezTo>
                  <a:cubicBezTo>
                    <a:pt x="118" y="382"/>
                    <a:pt x="118" y="378"/>
                    <a:pt x="118" y="375"/>
                  </a:cubicBezTo>
                  <a:cubicBezTo>
                    <a:pt x="118" y="373"/>
                    <a:pt x="120" y="371"/>
                    <a:pt x="121" y="369"/>
                  </a:cubicBezTo>
                  <a:cubicBezTo>
                    <a:pt x="121" y="365"/>
                    <a:pt x="120" y="363"/>
                    <a:pt x="118" y="360"/>
                  </a:cubicBezTo>
                  <a:cubicBezTo>
                    <a:pt x="117" y="359"/>
                    <a:pt x="116" y="358"/>
                    <a:pt x="115" y="357"/>
                  </a:cubicBezTo>
                  <a:cubicBezTo>
                    <a:pt x="113" y="355"/>
                    <a:pt x="112" y="353"/>
                    <a:pt x="110" y="352"/>
                  </a:cubicBezTo>
                  <a:cubicBezTo>
                    <a:pt x="108" y="350"/>
                    <a:pt x="104" y="348"/>
                    <a:pt x="101" y="349"/>
                  </a:cubicBezTo>
                  <a:cubicBezTo>
                    <a:pt x="99" y="349"/>
                    <a:pt x="98" y="350"/>
                    <a:pt x="97" y="351"/>
                  </a:cubicBezTo>
                  <a:cubicBezTo>
                    <a:pt x="96" y="352"/>
                    <a:pt x="95" y="353"/>
                    <a:pt x="94" y="353"/>
                  </a:cubicBezTo>
                  <a:cubicBezTo>
                    <a:pt x="92" y="353"/>
                    <a:pt x="90" y="350"/>
                    <a:pt x="88" y="349"/>
                  </a:cubicBezTo>
                  <a:cubicBezTo>
                    <a:pt x="87" y="348"/>
                    <a:pt x="86" y="346"/>
                    <a:pt x="85" y="345"/>
                  </a:cubicBezTo>
                  <a:cubicBezTo>
                    <a:pt x="82" y="343"/>
                    <a:pt x="79" y="347"/>
                    <a:pt x="78" y="350"/>
                  </a:cubicBezTo>
                  <a:cubicBezTo>
                    <a:pt x="69" y="344"/>
                    <a:pt x="58" y="335"/>
                    <a:pt x="48" y="344"/>
                  </a:cubicBezTo>
                  <a:cubicBezTo>
                    <a:pt x="39" y="352"/>
                    <a:pt x="51" y="360"/>
                    <a:pt x="52" y="369"/>
                  </a:cubicBezTo>
                  <a:cubicBezTo>
                    <a:pt x="52" y="373"/>
                    <a:pt x="48" y="376"/>
                    <a:pt x="45" y="379"/>
                  </a:cubicBezTo>
                  <a:cubicBezTo>
                    <a:pt x="42" y="382"/>
                    <a:pt x="41" y="385"/>
                    <a:pt x="41" y="390"/>
                  </a:cubicBezTo>
                  <a:cubicBezTo>
                    <a:pt x="42" y="395"/>
                    <a:pt x="43" y="402"/>
                    <a:pt x="40" y="406"/>
                  </a:cubicBezTo>
                  <a:cubicBezTo>
                    <a:pt x="36" y="410"/>
                    <a:pt x="30" y="408"/>
                    <a:pt x="25" y="407"/>
                  </a:cubicBezTo>
                  <a:cubicBezTo>
                    <a:pt x="20" y="405"/>
                    <a:pt x="15" y="404"/>
                    <a:pt x="9" y="404"/>
                  </a:cubicBezTo>
                  <a:cubicBezTo>
                    <a:pt x="6" y="404"/>
                    <a:pt x="2" y="406"/>
                    <a:pt x="1" y="402"/>
                  </a:cubicBezTo>
                  <a:cubicBezTo>
                    <a:pt x="0" y="396"/>
                    <a:pt x="5" y="389"/>
                    <a:pt x="7" y="384"/>
                  </a:cubicBezTo>
                  <a:cubicBezTo>
                    <a:pt x="10" y="378"/>
                    <a:pt x="14" y="372"/>
                    <a:pt x="18" y="365"/>
                  </a:cubicBezTo>
                  <a:cubicBezTo>
                    <a:pt x="20" y="360"/>
                    <a:pt x="22" y="355"/>
                    <a:pt x="23" y="349"/>
                  </a:cubicBezTo>
                  <a:cubicBezTo>
                    <a:pt x="23" y="344"/>
                    <a:pt x="23" y="339"/>
                    <a:pt x="23" y="334"/>
                  </a:cubicBezTo>
                  <a:cubicBezTo>
                    <a:pt x="23" y="328"/>
                    <a:pt x="24" y="323"/>
                    <a:pt x="26" y="318"/>
                  </a:cubicBezTo>
                  <a:cubicBezTo>
                    <a:pt x="29" y="312"/>
                    <a:pt x="32" y="307"/>
                    <a:pt x="33" y="302"/>
                  </a:cubicBezTo>
                  <a:cubicBezTo>
                    <a:pt x="34" y="296"/>
                    <a:pt x="33" y="291"/>
                    <a:pt x="33" y="285"/>
                  </a:cubicBezTo>
                  <a:cubicBezTo>
                    <a:pt x="33" y="279"/>
                    <a:pt x="34" y="273"/>
                    <a:pt x="37" y="267"/>
                  </a:cubicBezTo>
                  <a:cubicBezTo>
                    <a:pt x="39" y="261"/>
                    <a:pt x="43" y="255"/>
                    <a:pt x="44" y="248"/>
                  </a:cubicBezTo>
                  <a:cubicBezTo>
                    <a:pt x="45" y="242"/>
                    <a:pt x="43" y="236"/>
                    <a:pt x="41" y="230"/>
                  </a:cubicBezTo>
                  <a:cubicBezTo>
                    <a:pt x="39" y="225"/>
                    <a:pt x="35" y="219"/>
                    <a:pt x="32" y="214"/>
                  </a:cubicBezTo>
                  <a:cubicBezTo>
                    <a:pt x="28" y="208"/>
                    <a:pt x="24" y="202"/>
                    <a:pt x="19" y="196"/>
                  </a:cubicBezTo>
                  <a:cubicBezTo>
                    <a:pt x="18" y="194"/>
                    <a:pt x="17" y="193"/>
                    <a:pt x="16" y="190"/>
                  </a:cubicBezTo>
                  <a:cubicBezTo>
                    <a:pt x="58" y="183"/>
                    <a:pt x="58" y="183"/>
                    <a:pt x="58" y="183"/>
                  </a:cubicBezTo>
                  <a:cubicBezTo>
                    <a:pt x="88" y="149"/>
                    <a:pt x="88" y="149"/>
                    <a:pt x="88" y="149"/>
                  </a:cubicBezTo>
                  <a:cubicBezTo>
                    <a:pt x="94" y="148"/>
                    <a:pt x="94" y="148"/>
                    <a:pt x="94" y="148"/>
                  </a:cubicBezTo>
                  <a:cubicBezTo>
                    <a:pt x="129" y="168"/>
                    <a:pt x="129" y="168"/>
                    <a:pt x="129" y="168"/>
                  </a:cubicBezTo>
                  <a:cubicBezTo>
                    <a:pt x="132" y="129"/>
                    <a:pt x="132" y="129"/>
                    <a:pt x="132" y="129"/>
                  </a:cubicBezTo>
                  <a:cubicBezTo>
                    <a:pt x="145" y="124"/>
                    <a:pt x="145" y="124"/>
                    <a:pt x="145" y="124"/>
                  </a:cubicBezTo>
                  <a:cubicBezTo>
                    <a:pt x="178" y="141"/>
                    <a:pt x="178" y="141"/>
                    <a:pt x="178" y="141"/>
                  </a:cubicBezTo>
                  <a:cubicBezTo>
                    <a:pt x="185" y="141"/>
                    <a:pt x="185" y="141"/>
                    <a:pt x="185" y="141"/>
                  </a:cubicBezTo>
                  <a:cubicBezTo>
                    <a:pt x="191" y="116"/>
                    <a:pt x="191" y="116"/>
                    <a:pt x="191" y="116"/>
                  </a:cubicBezTo>
                  <a:cubicBezTo>
                    <a:pt x="226" y="98"/>
                    <a:pt x="226" y="98"/>
                    <a:pt x="226" y="98"/>
                  </a:cubicBezTo>
                  <a:cubicBezTo>
                    <a:pt x="238" y="44"/>
                    <a:pt x="238" y="44"/>
                    <a:pt x="238" y="44"/>
                  </a:cubicBezTo>
                  <a:cubicBezTo>
                    <a:pt x="266" y="29"/>
                    <a:pt x="266" y="29"/>
                    <a:pt x="266" y="29"/>
                  </a:cubicBezTo>
                  <a:cubicBezTo>
                    <a:pt x="270" y="10"/>
                    <a:pt x="270" y="10"/>
                    <a:pt x="270" y="10"/>
                  </a:cubicBezTo>
                  <a:cubicBezTo>
                    <a:pt x="316" y="23"/>
                    <a:pt x="316" y="23"/>
                    <a:pt x="316" y="23"/>
                  </a:cubicBezTo>
                  <a:cubicBezTo>
                    <a:pt x="316" y="23"/>
                    <a:pt x="339" y="49"/>
                    <a:pt x="343" y="55"/>
                  </a:cubicBezTo>
                  <a:cubicBezTo>
                    <a:pt x="346" y="62"/>
                    <a:pt x="362" y="47"/>
                    <a:pt x="362" y="47"/>
                  </a:cubicBezTo>
                  <a:cubicBezTo>
                    <a:pt x="384" y="8"/>
                    <a:pt x="384" y="8"/>
                    <a:pt x="384" y="8"/>
                  </a:cubicBezTo>
                  <a:cubicBezTo>
                    <a:pt x="384" y="8"/>
                    <a:pt x="384" y="8"/>
                    <a:pt x="384" y="8"/>
                  </a:cubicBezTo>
                  <a:cubicBezTo>
                    <a:pt x="421" y="0"/>
                    <a:pt x="421" y="0"/>
                    <a:pt x="421" y="0"/>
                  </a:cubicBezTo>
                  <a:cubicBezTo>
                    <a:pt x="456" y="16"/>
                    <a:pt x="456" y="16"/>
                    <a:pt x="456" y="16"/>
                  </a:cubicBezTo>
                  <a:cubicBezTo>
                    <a:pt x="463" y="50"/>
                    <a:pt x="463" y="50"/>
                    <a:pt x="463" y="50"/>
                  </a:cubicBezTo>
                  <a:cubicBezTo>
                    <a:pt x="492" y="57"/>
                    <a:pt x="492" y="57"/>
                    <a:pt x="492" y="57"/>
                  </a:cubicBezTo>
                  <a:cubicBezTo>
                    <a:pt x="522" y="89"/>
                    <a:pt x="522" y="89"/>
                    <a:pt x="522" y="89"/>
                  </a:cubicBezTo>
                  <a:cubicBezTo>
                    <a:pt x="541" y="77"/>
                    <a:pt x="541" y="77"/>
                    <a:pt x="541" y="77"/>
                  </a:cubicBezTo>
                  <a:cubicBezTo>
                    <a:pt x="569" y="81"/>
                    <a:pt x="569" y="81"/>
                    <a:pt x="569" y="81"/>
                  </a:cubicBezTo>
                  <a:cubicBezTo>
                    <a:pt x="586" y="66"/>
                    <a:pt x="586" y="66"/>
                    <a:pt x="586" y="66"/>
                  </a:cubicBezTo>
                  <a:cubicBezTo>
                    <a:pt x="606" y="68"/>
                    <a:pt x="606" y="68"/>
                    <a:pt x="606" y="68"/>
                  </a:cubicBezTo>
                  <a:cubicBezTo>
                    <a:pt x="611" y="45"/>
                    <a:pt x="611" y="45"/>
                    <a:pt x="611" y="45"/>
                  </a:cubicBezTo>
                  <a:cubicBezTo>
                    <a:pt x="633" y="31"/>
                    <a:pt x="633" y="31"/>
                    <a:pt x="633" y="31"/>
                  </a:cubicBezTo>
                  <a:cubicBezTo>
                    <a:pt x="704" y="49"/>
                    <a:pt x="704" y="49"/>
                    <a:pt x="704" y="49"/>
                  </a:cubicBezTo>
                  <a:cubicBezTo>
                    <a:pt x="710" y="83"/>
                    <a:pt x="710" y="83"/>
                    <a:pt x="710" y="83"/>
                  </a:cubicBezTo>
                  <a:cubicBezTo>
                    <a:pt x="686" y="98"/>
                    <a:pt x="686" y="98"/>
                    <a:pt x="686" y="98"/>
                  </a:cubicBezTo>
                  <a:cubicBezTo>
                    <a:pt x="707" y="140"/>
                    <a:pt x="707" y="140"/>
                    <a:pt x="707" y="140"/>
                  </a:cubicBezTo>
                  <a:cubicBezTo>
                    <a:pt x="745" y="143"/>
                    <a:pt x="745" y="143"/>
                    <a:pt x="745" y="143"/>
                  </a:cubicBezTo>
                  <a:cubicBezTo>
                    <a:pt x="754" y="176"/>
                    <a:pt x="754" y="176"/>
                    <a:pt x="754" y="176"/>
                  </a:cubicBezTo>
                  <a:cubicBezTo>
                    <a:pt x="752" y="190"/>
                    <a:pt x="752" y="190"/>
                    <a:pt x="752" y="190"/>
                  </a:cubicBezTo>
                  <a:cubicBezTo>
                    <a:pt x="744" y="203"/>
                    <a:pt x="744" y="203"/>
                    <a:pt x="744" y="203"/>
                  </a:cubicBezTo>
                  <a:cubicBezTo>
                    <a:pt x="756" y="210"/>
                    <a:pt x="756" y="210"/>
                    <a:pt x="756" y="210"/>
                  </a:cubicBezTo>
                  <a:lnTo>
                    <a:pt x="768" y="226"/>
                  </a:lnTo>
                  <a:close/>
                </a:path>
              </a:pathLst>
            </a:custGeom>
            <a:grpFill/>
            <a:ln>
              <a:solidFill>
                <a:srgbClr val="FFFFFF"/>
              </a:solidFill>
            </a:ln>
          </p:spPr>
          <p:txBody>
            <a:bodyPr vert="horz" wrap="square" lIns="121920" tIns="60960" rIns="121920" bIns="60960" numCol="1" anchor="t" anchorCtr="0" compatLnSpc="1">
              <a:prstTxWarp prst="textNoShape">
                <a:avLst/>
              </a:prstTxWarp>
            </a:bodyPr>
            <a:lstStyle/>
            <a:p>
              <a:pPr marL="0" marR="0" lvl="0" indent="0" defTabSz="467539"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000000"/>
                </a:solidFill>
                <a:effectLst/>
                <a:uLnTx/>
                <a:uFillTx/>
              </a:endParaRPr>
            </a:p>
          </p:txBody>
        </p:sp>
        <p:sp>
          <p:nvSpPr>
            <p:cNvPr id="97" name="Freeform 14">
              <a:extLst>
                <a:ext uri="{FF2B5EF4-FFF2-40B4-BE49-F238E27FC236}">
                  <a16:creationId xmlns:a16="http://schemas.microsoft.com/office/drawing/2014/main" id="{1EDFFFE0-EFC1-437E-95E9-8B1DE87F9D45}"/>
                </a:ext>
              </a:extLst>
            </p:cNvPr>
            <p:cNvSpPr>
              <a:spLocks/>
            </p:cNvSpPr>
            <p:nvPr/>
          </p:nvSpPr>
          <p:spPr bwMode="auto">
            <a:xfrm>
              <a:off x="833438" y="2473325"/>
              <a:ext cx="581025" cy="900113"/>
            </a:xfrm>
            <a:custGeom>
              <a:avLst/>
              <a:gdLst>
                <a:gd name="T0" fmla="*/ 495 w 495"/>
                <a:gd name="T1" fmla="*/ 585 h 767"/>
                <a:gd name="T2" fmla="*/ 454 w 495"/>
                <a:gd name="T3" fmla="*/ 632 h 767"/>
                <a:gd name="T4" fmla="*/ 381 w 495"/>
                <a:gd name="T5" fmla="*/ 587 h 767"/>
                <a:gd name="T6" fmla="*/ 349 w 495"/>
                <a:gd name="T7" fmla="*/ 621 h 767"/>
                <a:gd name="T8" fmla="*/ 302 w 495"/>
                <a:gd name="T9" fmla="*/ 693 h 767"/>
                <a:gd name="T10" fmla="*/ 289 w 495"/>
                <a:gd name="T11" fmla="*/ 718 h 767"/>
                <a:gd name="T12" fmla="*/ 243 w 495"/>
                <a:gd name="T13" fmla="*/ 706 h 767"/>
                <a:gd name="T14" fmla="*/ 205 w 495"/>
                <a:gd name="T15" fmla="*/ 725 h 767"/>
                <a:gd name="T16" fmla="*/ 169 w 495"/>
                <a:gd name="T17" fmla="*/ 760 h 767"/>
                <a:gd name="T18" fmla="*/ 125 w 495"/>
                <a:gd name="T19" fmla="*/ 751 h 767"/>
                <a:gd name="T20" fmla="*/ 123 w 495"/>
                <a:gd name="T21" fmla="*/ 723 h 767"/>
                <a:gd name="T22" fmla="*/ 99 w 495"/>
                <a:gd name="T23" fmla="*/ 705 h 767"/>
                <a:gd name="T24" fmla="*/ 80 w 495"/>
                <a:gd name="T25" fmla="*/ 696 h 767"/>
                <a:gd name="T26" fmla="*/ 71 w 495"/>
                <a:gd name="T27" fmla="*/ 661 h 767"/>
                <a:gd name="T28" fmla="*/ 77 w 495"/>
                <a:gd name="T29" fmla="*/ 638 h 767"/>
                <a:gd name="T30" fmla="*/ 55 w 495"/>
                <a:gd name="T31" fmla="*/ 623 h 767"/>
                <a:gd name="T32" fmla="*/ 45 w 495"/>
                <a:gd name="T33" fmla="*/ 601 h 767"/>
                <a:gd name="T34" fmla="*/ 35 w 495"/>
                <a:gd name="T35" fmla="*/ 579 h 767"/>
                <a:gd name="T36" fmla="*/ 52 w 495"/>
                <a:gd name="T37" fmla="*/ 537 h 767"/>
                <a:gd name="T38" fmla="*/ 53 w 495"/>
                <a:gd name="T39" fmla="*/ 505 h 767"/>
                <a:gd name="T40" fmla="*/ 65 w 495"/>
                <a:gd name="T41" fmla="*/ 478 h 767"/>
                <a:gd name="T42" fmla="*/ 48 w 495"/>
                <a:gd name="T43" fmla="*/ 447 h 767"/>
                <a:gd name="T44" fmla="*/ 48 w 495"/>
                <a:gd name="T45" fmla="*/ 423 h 767"/>
                <a:gd name="T46" fmla="*/ 40 w 495"/>
                <a:gd name="T47" fmla="*/ 407 h 767"/>
                <a:gd name="T48" fmla="*/ 46 w 495"/>
                <a:gd name="T49" fmla="*/ 392 h 767"/>
                <a:gd name="T50" fmla="*/ 21 w 495"/>
                <a:gd name="T51" fmla="*/ 380 h 767"/>
                <a:gd name="T52" fmla="*/ 13 w 495"/>
                <a:gd name="T53" fmla="*/ 358 h 767"/>
                <a:gd name="T54" fmla="*/ 1 w 495"/>
                <a:gd name="T55" fmla="*/ 337 h 767"/>
                <a:gd name="T56" fmla="*/ 5 w 495"/>
                <a:gd name="T57" fmla="*/ 323 h 767"/>
                <a:gd name="T58" fmla="*/ 8 w 495"/>
                <a:gd name="T59" fmla="*/ 319 h 767"/>
                <a:gd name="T60" fmla="*/ 15 w 495"/>
                <a:gd name="T61" fmla="*/ 306 h 767"/>
                <a:gd name="T62" fmla="*/ 24 w 495"/>
                <a:gd name="T63" fmla="*/ 290 h 767"/>
                <a:gd name="T64" fmla="*/ 22 w 495"/>
                <a:gd name="T65" fmla="*/ 279 h 767"/>
                <a:gd name="T66" fmla="*/ 17 w 495"/>
                <a:gd name="T67" fmla="*/ 264 h 767"/>
                <a:gd name="T68" fmla="*/ 21 w 495"/>
                <a:gd name="T69" fmla="*/ 243 h 767"/>
                <a:gd name="T70" fmla="*/ 12 w 495"/>
                <a:gd name="T71" fmla="*/ 232 h 767"/>
                <a:gd name="T72" fmla="*/ 39 w 495"/>
                <a:gd name="T73" fmla="*/ 221 h 767"/>
                <a:gd name="T74" fmla="*/ 60 w 495"/>
                <a:gd name="T75" fmla="*/ 186 h 767"/>
                <a:gd name="T76" fmla="*/ 66 w 495"/>
                <a:gd name="T77" fmla="*/ 136 h 767"/>
                <a:gd name="T78" fmla="*/ 121 w 495"/>
                <a:gd name="T79" fmla="*/ 133 h 767"/>
                <a:gd name="T80" fmla="*/ 132 w 495"/>
                <a:gd name="T81" fmla="*/ 137 h 767"/>
                <a:gd name="T82" fmla="*/ 186 w 495"/>
                <a:gd name="T83" fmla="*/ 85 h 767"/>
                <a:gd name="T84" fmla="*/ 278 w 495"/>
                <a:gd name="T85" fmla="*/ 64 h 767"/>
                <a:gd name="T86" fmla="*/ 363 w 495"/>
                <a:gd name="T87" fmla="*/ 16 h 767"/>
                <a:gd name="T88" fmla="*/ 347 w 495"/>
                <a:gd name="T89" fmla="*/ 58 h 767"/>
                <a:gd name="T90" fmla="*/ 347 w 495"/>
                <a:gd name="T91" fmla="*/ 141 h 767"/>
                <a:gd name="T92" fmla="*/ 317 w 495"/>
                <a:gd name="T93" fmla="*/ 189 h 767"/>
                <a:gd name="T94" fmla="*/ 344 w 495"/>
                <a:gd name="T95" fmla="*/ 286 h 767"/>
                <a:gd name="T96" fmla="*/ 346 w 495"/>
                <a:gd name="T97" fmla="*/ 328 h 767"/>
                <a:gd name="T98" fmla="*/ 348 w 495"/>
                <a:gd name="T99" fmla="*/ 460 h 767"/>
                <a:gd name="T100" fmla="*/ 380 w 495"/>
                <a:gd name="T101" fmla="*/ 463 h 767"/>
                <a:gd name="T102" fmla="*/ 390 w 495"/>
                <a:gd name="T103" fmla="*/ 504 h 767"/>
                <a:gd name="T104" fmla="*/ 413 w 495"/>
                <a:gd name="T105" fmla="*/ 498 h 767"/>
                <a:gd name="T106" fmla="*/ 434 w 495"/>
                <a:gd name="T107" fmla="*/ 544 h 767"/>
                <a:gd name="T108" fmla="*/ 446 w 495"/>
                <a:gd name="T109" fmla="*/ 535 h 767"/>
                <a:gd name="T110" fmla="*/ 495 w 495"/>
                <a:gd name="T111" fmla="*/ 585 h 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5" h="767">
                  <a:moveTo>
                    <a:pt x="495" y="585"/>
                  </a:moveTo>
                  <a:cubicBezTo>
                    <a:pt x="495" y="585"/>
                    <a:pt x="495" y="585"/>
                    <a:pt x="495" y="585"/>
                  </a:cubicBezTo>
                  <a:cubicBezTo>
                    <a:pt x="473" y="624"/>
                    <a:pt x="473" y="624"/>
                    <a:pt x="473" y="624"/>
                  </a:cubicBezTo>
                  <a:cubicBezTo>
                    <a:pt x="473" y="624"/>
                    <a:pt x="457" y="639"/>
                    <a:pt x="454" y="632"/>
                  </a:cubicBezTo>
                  <a:cubicBezTo>
                    <a:pt x="450" y="626"/>
                    <a:pt x="427" y="600"/>
                    <a:pt x="427" y="600"/>
                  </a:cubicBezTo>
                  <a:cubicBezTo>
                    <a:pt x="381" y="587"/>
                    <a:pt x="381" y="587"/>
                    <a:pt x="381" y="587"/>
                  </a:cubicBezTo>
                  <a:cubicBezTo>
                    <a:pt x="377" y="606"/>
                    <a:pt x="377" y="606"/>
                    <a:pt x="377" y="606"/>
                  </a:cubicBezTo>
                  <a:cubicBezTo>
                    <a:pt x="349" y="621"/>
                    <a:pt x="349" y="621"/>
                    <a:pt x="349" y="621"/>
                  </a:cubicBezTo>
                  <a:cubicBezTo>
                    <a:pt x="337" y="675"/>
                    <a:pt x="337" y="675"/>
                    <a:pt x="337" y="675"/>
                  </a:cubicBezTo>
                  <a:cubicBezTo>
                    <a:pt x="302" y="693"/>
                    <a:pt x="302" y="693"/>
                    <a:pt x="302" y="693"/>
                  </a:cubicBezTo>
                  <a:cubicBezTo>
                    <a:pt x="296" y="718"/>
                    <a:pt x="296" y="718"/>
                    <a:pt x="296" y="718"/>
                  </a:cubicBezTo>
                  <a:cubicBezTo>
                    <a:pt x="289" y="718"/>
                    <a:pt x="289" y="718"/>
                    <a:pt x="289" y="718"/>
                  </a:cubicBezTo>
                  <a:cubicBezTo>
                    <a:pt x="256" y="701"/>
                    <a:pt x="256" y="701"/>
                    <a:pt x="256" y="701"/>
                  </a:cubicBezTo>
                  <a:cubicBezTo>
                    <a:pt x="243" y="706"/>
                    <a:pt x="243" y="706"/>
                    <a:pt x="243" y="706"/>
                  </a:cubicBezTo>
                  <a:cubicBezTo>
                    <a:pt x="240" y="745"/>
                    <a:pt x="240" y="745"/>
                    <a:pt x="240" y="745"/>
                  </a:cubicBezTo>
                  <a:cubicBezTo>
                    <a:pt x="205" y="725"/>
                    <a:pt x="205" y="725"/>
                    <a:pt x="205" y="725"/>
                  </a:cubicBezTo>
                  <a:cubicBezTo>
                    <a:pt x="199" y="726"/>
                    <a:pt x="199" y="726"/>
                    <a:pt x="199" y="726"/>
                  </a:cubicBezTo>
                  <a:cubicBezTo>
                    <a:pt x="169" y="760"/>
                    <a:pt x="169" y="760"/>
                    <a:pt x="169" y="760"/>
                  </a:cubicBezTo>
                  <a:cubicBezTo>
                    <a:pt x="127" y="767"/>
                    <a:pt x="127" y="767"/>
                    <a:pt x="127" y="767"/>
                  </a:cubicBezTo>
                  <a:cubicBezTo>
                    <a:pt x="125" y="762"/>
                    <a:pt x="125" y="757"/>
                    <a:pt x="125" y="751"/>
                  </a:cubicBezTo>
                  <a:cubicBezTo>
                    <a:pt x="125" y="747"/>
                    <a:pt x="124" y="742"/>
                    <a:pt x="125" y="737"/>
                  </a:cubicBezTo>
                  <a:cubicBezTo>
                    <a:pt x="126" y="732"/>
                    <a:pt x="125" y="728"/>
                    <a:pt x="123" y="723"/>
                  </a:cubicBezTo>
                  <a:cubicBezTo>
                    <a:pt x="120" y="717"/>
                    <a:pt x="118" y="713"/>
                    <a:pt x="112" y="710"/>
                  </a:cubicBezTo>
                  <a:cubicBezTo>
                    <a:pt x="107" y="708"/>
                    <a:pt x="103" y="707"/>
                    <a:pt x="99" y="705"/>
                  </a:cubicBezTo>
                  <a:cubicBezTo>
                    <a:pt x="95" y="703"/>
                    <a:pt x="91" y="702"/>
                    <a:pt x="87" y="700"/>
                  </a:cubicBezTo>
                  <a:cubicBezTo>
                    <a:pt x="85" y="699"/>
                    <a:pt x="82" y="697"/>
                    <a:pt x="80" y="696"/>
                  </a:cubicBezTo>
                  <a:cubicBezTo>
                    <a:pt x="74" y="694"/>
                    <a:pt x="68" y="689"/>
                    <a:pt x="67" y="683"/>
                  </a:cubicBezTo>
                  <a:cubicBezTo>
                    <a:pt x="65" y="676"/>
                    <a:pt x="67" y="667"/>
                    <a:pt x="71" y="661"/>
                  </a:cubicBezTo>
                  <a:cubicBezTo>
                    <a:pt x="73" y="658"/>
                    <a:pt x="76" y="655"/>
                    <a:pt x="77" y="651"/>
                  </a:cubicBezTo>
                  <a:cubicBezTo>
                    <a:pt x="78" y="647"/>
                    <a:pt x="78" y="642"/>
                    <a:pt x="77" y="638"/>
                  </a:cubicBezTo>
                  <a:cubicBezTo>
                    <a:pt x="76" y="632"/>
                    <a:pt x="72" y="628"/>
                    <a:pt x="67" y="626"/>
                  </a:cubicBezTo>
                  <a:cubicBezTo>
                    <a:pt x="63" y="625"/>
                    <a:pt x="59" y="625"/>
                    <a:pt x="55" y="623"/>
                  </a:cubicBezTo>
                  <a:cubicBezTo>
                    <a:pt x="51" y="622"/>
                    <a:pt x="47" y="619"/>
                    <a:pt x="46" y="615"/>
                  </a:cubicBezTo>
                  <a:cubicBezTo>
                    <a:pt x="44" y="611"/>
                    <a:pt x="45" y="605"/>
                    <a:pt x="45" y="601"/>
                  </a:cubicBezTo>
                  <a:cubicBezTo>
                    <a:pt x="45" y="596"/>
                    <a:pt x="45" y="591"/>
                    <a:pt x="43" y="587"/>
                  </a:cubicBezTo>
                  <a:cubicBezTo>
                    <a:pt x="41" y="583"/>
                    <a:pt x="38" y="581"/>
                    <a:pt x="35" y="579"/>
                  </a:cubicBezTo>
                  <a:cubicBezTo>
                    <a:pt x="30" y="573"/>
                    <a:pt x="29" y="565"/>
                    <a:pt x="32" y="558"/>
                  </a:cubicBezTo>
                  <a:cubicBezTo>
                    <a:pt x="35" y="548"/>
                    <a:pt x="47" y="546"/>
                    <a:pt x="52" y="537"/>
                  </a:cubicBezTo>
                  <a:cubicBezTo>
                    <a:pt x="55" y="532"/>
                    <a:pt x="57" y="527"/>
                    <a:pt x="57" y="522"/>
                  </a:cubicBezTo>
                  <a:cubicBezTo>
                    <a:pt x="56" y="516"/>
                    <a:pt x="53" y="511"/>
                    <a:pt x="53" y="505"/>
                  </a:cubicBezTo>
                  <a:cubicBezTo>
                    <a:pt x="52" y="501"/>
                    <a:pt x="53" y="498"/>
                    <a:pt x="56" y="495"/>
                  </a:cubicBezTo>
                  <a:cubicBezTo>
                    <a:pt x="60" y="490"/>
                    <a:pt x="65" y="484"/>
                    <a:pt x="65" y="478"/>
                  </a:cubicBezTo>
                  <a:cubicBezTo>
                    <a:pt x="64" y="472"/>
                    <a:pt x="64" y="465"/>
                    <a:pt x="60" y="459"/>
                  </a:cubicBezTo>
                  <a:cubicBezTo>
                    <a:pt x="57" y="454"/>
                    <a:pt x="51" y="452"/>
                    <a:pt x="48" y="447"/>
                  </a:cubicBezTo>
                  <a:cubicBezTo>
                    <a:pt x="45" y="442"/>
                    <a:pt x="44" y="436"/>
                    <a:pt x="45" y="431"/>
                  </a:cubicBezTo>
                  <a:cubicBezTo>
                    <a:pt x="45" y="428"/>
                    <a:pt x="48" y="426"/>
                    <a:pt x="48" y="423"/>
                  </a:cubicBezTo>
                  <a:cubicBezTo>
                    <a:pt x="49" y="420"/>
                    <a:pt x="48" y="417"/>
                    <a:pt x="46" y="415"/>
                  </a:cubicBezTo>
                  <a:cubicBezTo>
                    <a:pt x="44" y="412"/>
                    <a:pt x="40" y="410"/>
                    <a:pt x="40" y="407"/>
                  </a:cubicBezTo>
                  <a:cubicBezTo>
                    <a:pt x="39" y="404"/>
                    <a:pt x="41" y="401"/>
                    <a:pt x="42" y="399"/>
                  </a:cubicBezTo>
                  <a:cubicBezTo>
                    <a:pt x="44" y="397"/>
                    <a:pt x="46" y="395"/>
                    <a:pt x="46" y="392"/>
                  </a:cubicBezTo>
                  <a:cubicBezTo>
                    <a:pt x="46" y="389"/>
                    <a:pt x="41" y="386"/>
                    <a:pt x="38" y="385"/>
                  </a:cubicBezTo>
                  <a:cubicBezTo>
                    <a:pt x="33" y="384"/>
                    <a:pt x="26" y="384"/>
                    <a:pt x="21" y="380"/>
                  </a:cubicBezTo>
                  <a:cubicBezTo>
                    <a:pt x="17" y="377"/>
                    <a:pt x="14" y="371"/>
                    <a:pt x="13" y="365"/>
                  </a:cubicBezTo>
                  <a:cubicBezTo>
                    <a:pt x="13" y="363"/>
                    <a:pt x="13" y="360"/>
                    <a:pt x="13" y="358"/>
                  </a:cubicBezTo>
                  <a:cubicBezTo>
                    <a:pt x="13" y="354"/>
                    <a:pt x="10" y="352"/>
                    <a:pt x="8" y="349"/>
                  </a:cubicBezTo>
                  <a:cubicBezTo>
                    <a:pt x="6" y="345"/>
                    <a:pt x="2" y="341"/>
                    <a:pt x="1" y="337"/>
                  </a:cubicBezTo>
                  <a:cubicBezTo>
                    <a:pt x="0" y="331"/>
                    <a:pt x="3" y="327"/>
                    <a:pt x="5" y="322"/>
                  </a:cubicBezTo>
                  <a:cubicBezTo>
                    <a:pt x="5" y="322"/>
                    <a:pt x="5" y="322"/>
                    <a:pt x="5" y="323"/>
                  </a:cubicBezTo>
                  <a:cubicBezTo>
                    <a:pt x="5" y="322"/>
                    <a:pt x="6" y="321"/>
                    <a:pt x="6" y="321"/>
                  </a:cubicBezTo>
                  <a:cubicBezTo>
                    <a:pt x="7" y="320"/>
                    <a:pt x="7" y="320"/>
                    <a:pt x="8" y="319"/>
                  </a:cubicBezTo>
                  <a:cubicBezTo>
                    <a:pt x="9" y="317"/>
                    <a:pt x="10" y="316"/>
                    <a:pt x="10" y="314"/>
                  </a:cubicBezTo>
                  <a:cubicBezTo>
                    <a:pt x="12" y="311"/>
                    <a:pt x="14" y="309"/>
                    <a:pt x="15" y="306"/>
                  </a:cubicBezTo>
                  <a:cubicBezTo>
                    <a:pt x="17" y="303"/>
                    <a:pt x="18" y="301"/>
                    <a:pt x="19" y="299"/>
                  </a:cubicBezTo>
                  <a:cubicBezTo>
                    <a:pt x="21" y="296"/>
                    <a:pt x="23" y="293"/>
                    <a:pt x="24" y="290"/>
                  </a:cubicBezTo>
                  <a:cubicBezTo>
                    <a:pt x="25" y="288"/>
                    <a:pt x="26" y="286"/>
                    <a:pt x="26" y="284"/>
                  </a:cubicBezTo>
                  <a:cubicBezTo>
                    <a:pt x="25" y="283"/>
                    <a:pt x="23" y="280"/>
                    <a:pt x="22" y="279"/>
                  </a:cubicBezTo>
                  <a:cubicBezTo>
                    <a:pt x="20" y="276"/>
                    <a:pt x="19" y="274"/>
                    <a:pt x="18" y="271"/>
                  </a:cubicBezTo>
                  <a:cubicBezTo>
                    <a:pt x="17" y="268"/>
                    <a:pt x="16" y="267"/>
                    <a:pt x="17" y="264"/>
                  </a:cubicBezTo>
                  <a:cubicBezTo>
                    <a:pt x="18" y="262"/>
                    <a:pt x="19" y="260"/>
                    <a:pt x="21" y="258"/>
                  </a:cubicBezTo>
                  <a:cubicBezTo>
                    <a:pt x="23" y="255"/>
                    <a:pt x="25" y="246"/>
                    <a:pt x="21" y="243"/>
                  </a:cubicBezTo>
                  <a:cubicBezTo>
                    <a:pt x="19" y="242"/>
                    <a:pt x="17" y="242"/>
                    <a:pt x="16" y="240"/>
                  </a:cubicBezTo>
                  <a:cubicBezTo>
                    <a:pt x="14" y="238"/>
                    <a:pt x="13" y="235"/>
                    <a:pt x="12" y="232"/>
                  </a:cubicBezTo>
                  <a:cubicBezTo>
                    <a:pt x="22" y="215"/>
                    <a:pt x="22" y="215"/>
                    <a:pt x="22" y="215"/>
                  </a:cubicBezTo>
                  <a:cubicBezTo>
                    <a:pt x="22" y="215"/>
                    <a:pt x="36" y="216"/>
                    <a:pt x="39" y="221"/>
                  </a:cubicBezTo>
                  <a:cubicBezTo>
                    <a:pt x="39" y="221"/>
                    <a:pt x="51" y="229"/>
                    <a:pt x="54" y="224"/>
                  </a:cubicBezTo>
                  <a:cubicBezTo>
                    <a:pt x="58" y="220"/>
                    <a:pt x="58" y="198"/>
                    <a:pt x="60" y="186"/>
                  </a:cubicBezTo>
                  <a:cubicBezTo>
                    <a:pt x="62" y="174"/>
                    <a:pt x="64" y="160"/>
                    <a:pt x="79" y="151"/>
                  </a:cubicBezTo>
                  <a:cubicBezTo>
                    <a:pt x="66" y="136"/>
                    <a:pt x="66" y="136"/>
                    <a:pt x="66" y="136"/>
                  </a:cubicBezTo>
                  <a:cubicBezTo>
                    <a:pt x="66" y="136"/>
                    <a:pt x="85" y="107"/>
                    <a:pt x="86" y="107"/>
                  </a:cubicBezTo>
                  <a:cubicBezTo>
                    <a:pt x="86" y="108"/>
                    <a:pt x="120" y="133"/>
                    <a:pt x="121" y="133"/>
                  </a:cubicBezTo>
                  <a:cubicBezTo>
                    <a:pt x="121" y="133"/>
                    <a:pt x="127" y="128"/>
                    <a:pt x="127" y="128"/>
                  </a:cubicBezTo>
                  <a:cubicBezTo>
                    <a:pt x="132" y="137"/>
                    <a:pt x="132" y="137"/>
                    <a:pt x="132" y="137"/>
                  </a:cubicBezTo>
                  <a:cubicBezTo>
                    <a:pt x="190" y="100"/>
                    <a:pt x="190" y="100"/>
                    <a:pt x="190" y="100"/>
                  </a:cubicBezTo>
                  <a:cubicBezTo>
                    <a:pt x="186" y="85"/>
                    <a:pt x="186" y="85"/>
                    <a:pt x="186" y="85"/>
                  </a:cubicBezTo>
                  <a:cubicBezTo>
                    <a:pt x="186" y="85"/>
                    <a:pt x="237" y="52"/>
                    <a:pt x="238" y="52"/>
                  </a:cubicBezTo>
                  <a:cubicBezTo>
                    <a:pt x="238" y="53"/>
                    <a:pt x="278" y="64"/>
                    <a:pt x="278" y="64"/>
                  </a:cubicBezTo>
                  <a:cubicBezTo>
                    <a:pt x="278" y="64"/>
                    <a:pt x="329" y="0"/>
                    <a:pt x="329" y="0"/>
                  </a:cubicBezTo>
                  <a:cubicBezTo>
                    <a:pt x="363" y="16"/>
                    <a:pt x="363" y="16"/>
                    <a:pt x="363" y="16"/>
                  </a:cubicBezTo>
                  <a:cubicBezTo>
                    <a:pt x="355" y="40"/>
                    <a:pt x="355" y="40"/>
                    <a:pt x="355" y="40"/>
                  </a:cubicBezTo>
                  <a:cubicBezTo>
                    <a:pt x="347" y="58"/>
                    <a:pt x="347" y="58"/>
                    <a:pt x="347" y="58"/>
                  </a:cubicBezTo>
                  <a:cubicBezTo>
                    <a:pt x="363" y="89"/>
                    <a:pt x="363" y="89"/>
                    <a:pt x="363" y="89"/>
                  </a:cubicBezTo>
                  <a:cubicBezTo>
                    <a:pt x="347" y="141"/>
                    <a:pt x="347" y="141"/>
                    <a:pt x="347" y="141"/>
                  </a:cubicBezTo>
                  <a:cubicBezTo>
                    <a:pt x="353" y="173"/>
                    <a:pt x="353" y="173"/>
                    <a:pt x="353" y="173"/>
                  </a:cubicBezTo>
                  <a:cubicBezTo>
                    <a:pt x="353" y="173"/>
                    <a:pt x="317" y="189"/>
                    <a:pt x="317" y="189"/>
                  </a:cubicBezTo>
                  <a:cubicBezTo>
                    <a:pt x="317" y="190"/>
                    <a:pt x="312" y="228"/>
                    <a:pt x="312" y="228"/>
                  </a:cubicBezTo>
                  <a:cubicBezTo>
                    <a:pt x="344" y="286"/>
                    <a:pt x="344" y="286"/>
                    <a:pt x="344" y="286"/>
                  </a:cubicBezTo>
                  <a:cubicBezTo>
                    <a:pt x="329" y="308"/>
                    <a:pt x="329" y="308"/>
                    <a:pt x="329" y="308"/>
                  </a:cubicBezTo>
                  <a:cubicBezTo>
                    <a:pt x="346" y="328"/>
                    <a:pt x="346" y="328"/>
                    <a:pt x="346" y="328"/>
                  </a:cubicBezTo>
                  <a:cubicBezTo>
                    <a:pt x="337" y="447"/>
                    <a:pt x="337" y="447"/>
                    <a:pt x="337" y="447"/>
                  </a:cubicBezTo>
                  <a:cubicBezTo>
                    <a:pt x="348" y="460"/>
                    <a:pt x="348" y="460"/>
                    <a:pt x="348" y="460"/>
                  </a:cubicBezTo>
                  <a:cubicBezTo>
                    <a:pt x="362" y="451"/>
                    <a:pt x="362" y="451"/>
                    <a:pt x="362" y="451"/>
                  </a:cubicBezTo>
                  <a:cubicBezTo>
                    <a:pt x="380" y="463"/>
                    <a:pt x="380" y="463"/>
                    <a:pt x="380" y="463"/>
                  </a:cubicBezTo>
                  <a:cubicBezTo>
                    <a:pt x="366" y="484"/>
                    <a:pt x="366" y="484"/>
                    <a:pt x="366" y="484"/>
                  </a:cubicBezTo>
                  <a:cubicBezTo>
                    <a:pt x="390" y="504"/>
                    <a:pt x="390" y="504"/>
                    <a:pt x="390" y="504"/>
                  </a:cubicBezTo>
                  <a:cubicBezTo>
                    <a:pt x="410" y="497"/>
                    <a:pt x="410" y="497"/>
                    <a:pt x="410" y="497"/>
                  </a:cubicBezTo>
                  <a:cubicBezTo>
                    <a:pt x="413" y="498"/>
                    <a:pt x="413" y="498"/>
                    <a:pt x="413" y="498"/>
                  </a:cubicBezTo>
                  <a:cubicBezTo>
                    <a:pt x="415" y="533"/>
                    <a:pt x="415" y="533"/>
                    <a:pt x="415" y="533"/>
                  </a:cubicBezTo>
                  <a:cubicBezTo>
                    <a:pt x="434" y="544"/>
                    <a:pt x="434" y="544"/>
                    <a:pt x="434" y="544"/>
                  </a:cubicBezTo>
                  <a:cubicBezTo>
                    <a:pt x="443" y="542"/>
                    <a:pt x="443" y="542"/>
                    <a:pt x="443" y="542"/>
                  </a:cubicBezTo>
                  <a:cubicBezTo>
                    <a:pt x="446" y="535"/>
                    <a:pt x="446" y="535"/>
                    <a:pt x="446" y="535"/>
                  </a:cubicBezTo>
                  <a:cubicBezTo>
                    <a:pt x="480" y="550"/>
                    <a:pt x="480" y="550"/>
                    <a:pt x="480" y="550"/>
                  </a:cubicBezTo>
                  <a:lnTo>
                    <a:pt x="495" y="585"/>
                  </a:lnTo>
                  <a:close/>
                </a:path>
              </a:pathLst>
            </a:custGeom>
            <a:grpFill/>
            <a:ln>
              <a:solidFill>
                <a:srgbClr val="FFFFFF"/>
              </a:solidFill>
            </a:ln>
          </p:spPr>
          <p:txBody>
            <a:bodyPr vert="horz" wrap="square" lIns="121920" tIns="60960" rIns="121920" bIns="60960" numCol="1" anchor="t" anchorCtr="0" compatLnSpc="1">
              <a:prstTxWarp prst="textNoShape">
                <a:avLst/>
              </a:prstTxWarp>
            </a:bodyPr>
            <a:lstStyle/>
            <a:p>
              <a:pPr marL="0" marR="0" lvl="0" indent="0" defTabSz="467539"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000000"/>
                </a:solidFill>
                <a:effectLst/>
                <a:uLnTx/>
                <a:uFillTx/>
              </a:endParaRPr>
            </a:p>
          </p:txBody>
        </p:sp>
        <p:sp>
          <p:nvSpPr>
            <p:cNvPr id="98" name="Freeform 15">
              <a:extLst>
                <a:ext uri="{FF2B5EF4-FFF2-40B4-BE49-F238E27FC236}">
                  <a16:creationId xmlns:a16="http://schemas.microsoft.com/office/drawing/2014/main" id="{B76744FF-B88E-4324-A3BA-446C5DCCD800}"/>
                </a:ext>
              </a:extLst>
            </p:cNvPr>
            <p:cNvSpPr>
              <a:spLocks/>
            </p:cNvSpPr>
            <p:nvPr/>
          </p:nvSpPr>
          <p:spPr bwMode="auto">
            <a:xfrm>
              <a:off x="700088" y="1738313"/>
              <a:ext cx="833438" cy="1006475"/>
            </a:xfrm>
            <a:custGeom>
              <a:avLst/>
              <a:gdLst>
                <a:gd name="T0" fmla="*/ 708 w 709"/>
                <a:gd name="T1" fmla="*/ 283 h 858"/>
                <a:gd name="T2" fmla="*/ 647 w 709"/>
                <a:gd name="T3" fmla="*/ 182 h 858"/>
                <a:gd name="T4" fmla="*/ 662 w 709"/>
                <a:gd name="T5" fmla="*/ 120 h 858"/>
                <a:gd name="T6" fmla="*/ 644 w 709"/>
                <a:gd name="T7" fmla="*/ 33 h 858"/>
                <a:gd name="T8" fmla="*/ 605 w 709"/>
                <a:gd name="T9" fmla="*/ 12 h 858"/>
                <a:gd name="T10" fmla="*/ 595 w 709"/>
                <a:gd name="T11" fmla="*/ 16 h 858"/>
                <a:gd name="T12" fmla="*/ 567 w 709"/>
                <a:gd name="T13" fmla="*/ 47 h 858"/>
                <a:gd name="T14" fmla="*/ 540 w 709"/>
                <a:gd name="T15" fmla="*/ 88 h 858"/>
                <a:gd name="T16" fmla="*/ 493 w 709"/>
                <a:gd name="T17" fmla="*/ 135 h 858"/>
                <a:gd name="T18" fmla="*/ 430 w 709"/>
                <a:gd name="T19" fmla="*/ 158 h 858"/>
                <a:gd name="T20" fmla="*/ 387 w 709"/>
                <a:gd name="T21" fmla="*/ 176 h 858"/>
                <a:gd name="T22" fmla="*/ 347 w 709"/>
                <a:gd name="T23" fmla="*/ 185 h 858"/>
                <a:gd name="T24" fmla="*/ 314 w 709"/>
                <a:gd name="T25" fmla="*/ 193 h 858"/>
                <a:gd name="T26" fmla="*/ 286 w 709"/>
                <a:gd name="T27" fmla="*/ 203 h 858"/>
                <a:gd name="T28" fmla="*/ 255 w 709"/>
                <a:gd name="T29" fmla="*/ 212 h 858"/>
                <a:gd name="T30" fmla="*/ 221 w 709"/>
                <a:gd name="T31" fmla="*/ 226 h 858"/>
                <a:gd name="T32" fmla="*/ 195 w 709"/>
                <a:gd name="T33" fmla="*/ 237 h 858"/>
                <a:gd name="T34" fmla="*/ 178 w 709"/>
                <a:gd name="T35" fmla="*/ 246 h 858"/>
                <a:gd name="T36" fmla="*/ 173 w 709"/>
                <a:gd name="T37" fmla="*/ 268 h 858"/>
                <a:gd name="T38" fmla="*/ 147 w 709"/>
                <a:gd name="T39" fmla="*/ 302 h 858"/>
                <a:gd name="T40" fmla="*/ 135 w 709"/>
                <a:gd name="T41" fmla="*/ 341 h 858"/>
                <a:gd name="T42" fmla="*/ 117 w 709"/>
                <a:gd name="T43" fmla="*/ 369 h 858"/>
                <a:gd name="T44" fmla="*/ 117 w 709"/>
                <a:gd name="T45" fmla="*/ 396 h 858"/>
                <a:gd name="T46" fmla="*/ 131 w 709"/>
                <a:gd name="T47" fmla="*/ 414 h 858"/>
                <a:gd name="T48" fmla="*/ 127 w 709"/>
                <a:gd name="T49" fmla="*/ 434 h 858"/>
                <a:gd name="T50" fmla="*/ 101 w 709"/>
                <a:gd name="T51" fmla="*/ 405 h 858"/>
                <a:gd name="T52" fmla="*/ 71 w 709"/>
                <a:gd name="T53" fmla="*/ 382 h 858"/>
                <a:gd name="T54" fmla="*/ 44 w 709"/>
                <a:gd name="T55" fmla="*/ 369 h 858"/>
                <a:gd name="T56" fmla="*/ 36 w 709"/>
                <a:gd name="T57" fmla="*/ 391 h 858"/>
                <a:gd name="T58" fmla="*/ 63 w 709"/>
                <a:gd name="T59" fmla="*/ 427 h 858"/>
                <a:gd name="T60" fmla="*/ 78 w 709"/>
                <a:gd name="T61" fmla="*/ 472 h 858"/>
                <a:gd name="T62" fmla="*/ 80 w 709"/>
                <a:gd name="T63" fmla="*/ 512 h 858"/>
                <a:gd name="T64" fmla="*/ 90 w 709"/>
                <a:gd name="T65" fmla="*/ 560 h 858"/>
                <a:gd name="T66" fmla="*/ 75 w 709"/>
                <a:gd name="T67" fmla="*/ 596 h 858"/>
                <a:gd name="T68" fmla="*/ 75 w 709"/>
                <a:gd name="T69" fmla="*/ 623 h 858"/>
                <a:gd name="T70" fmla="*/ 70 w 709"/>
                <a:gd name="T71" fmla="*/ 644 h 858"/>
                <a:gd name="T72" fmla="*/ 52 w 709"/>
                <a:gd name="T73" fmla="*/ 661 h 858"/>
                <a:gd name="T74" fmla="*/ 44 w 709"/>
                <a:gd name="T75" fmla="*/ 689 h 858"/>
                <a:gd name="T76" fmla="*/ 18 w 709"/>
                <a:gd name="T77" fmla="*/ 702 h 858"/>
                <a:gd name="T78" fmla="*/ 5 w 709"/>
                <a:gd name="T79" fmla="*/ 721 h 858"/>
                <a:gd name="T80" fmla="*/ 7 w 709"/>
                <a:gd name="T81" fmla="*/ 762 h 858"/>
                <a:gd name="T82" fmla="*/ 25 w 709"/>
                <a:gd name="T83" fmla="*/ 777 h 858"/>
                <a:gd name="T84" fmla="*/ 82 w 709"/>
                <a:gd name="T85" fmla="*/ 824 h 858"/>
                <a:gd name="T86" fmla="*/ 113 w 709"/>
                <a:gd name="T87" fmla="*/ 845 h 858"/>
                <a:gd name="T88" fmla="*/ 152 w 709"/>
                <a:gd name="T89" fmla="*/ 847 h 858"/>
                <a:gd name="T90" fmla="*/ 179 w 709"/>
                <a:gd name="T91" fmla="*/ 762 h 858"/>
                <a:gd name="T92" fmla="*/ 245 w 709"/>
                <a:gd name="T93" fmla="*/ 763 h 858"/>
                <a:gd name="T94" fmla="*/ 391 w 709"/>
                <a:gd name="T95" fmla="*/ 690 h 858"/>
                <a:gd name="T96" fmla="*/ 497 w 709"/>
                <a:gd name="T97" fmla="*/ 673 h 858"/>
                <a:gd name="T98" fmla="*/ 574 w 709"/>
                <a:gd name="T99" fmla="*/ 603 h 858"/>
                <a:gd name="T100" fmla="*/ 634 w 709"/>
                <a:gd name="T101" fmla="*/ 569 h 858"/>
                <a:gd name="T102" fmla="*/ 592 w 709"/>
                <a:gd name="T103" fmla="*/ 499 h 858"/>
                <a:gd name="T104" fmla="*/ 658 w 709"/>
                <a:gd name="T105" fmla="*/ 403 h 858"/>
                <a:gd name="T106" fmla="*/ 685 w 709"/>
                <a:gd name="T107" fmla="*/ 321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09" h="858">
                  <a:moveTo>
                    <a:pt x="685" y="321"/>
                  </a:moveTo>
                  <a:cubicBezTo>
                    <a:pt x="685" y="321"/>
                    <a:pt x="685" y="305"/>
                    <a:pt x="685" y="305"/>
                  </a:cubicBezTo>
                  <a:cubicBezTo>
                    <a:pt x="709" y="300"/>
                    <a:pt x="709" y="300"/>
                    <a:pt x="709" y="300"/>
                  </a:cubicBezTo>
                  <a:cubicBezTo>
                    <a:pt x="708" y="283"/>
                    <a:pt x="708" y="283"/>
                    <a:pt x="708" y="283"/>
                  </a:cubicBezTo>
                  <a:cubicBezTo>
                    <a:pt x="679" y="271"/>
                    <a:pt x="679" y="271"/>
                    <a:pt x="679" y="271"/>
                  </a:cubicBezTo>
                  <a:cubicBezTo>
                    <a:pt x="679" y="271"/>
                    <a:pt x="657" y="232"/>
                    <a:pt x="657" y="231"/>
                  </a:cubicBezTo>
                  <a:cubicBezTo>
                    <a:pt x="657" y="231"/>
                    <a:pt x="654" y="205"/>
                    <a:pt x="654" y="205"/>
                  </a:cubicBezTo>
                  <a:cubicBezTo>
                    <a:pt x="647" y="182"/>
                    <a:pt x="647" y="182"/>
                    <a:pt x="647" y="182"/>
                  </a:cubicBezTo>
                  <a:cubicBezTo>
                    <a:pt x="647" y="182"/>
                    <a:pt x="635" y="153"/>
                    <a:pt x="635" y="153"/>
                  </a:cubicBezTo>
                  <a:cubicBezTo>
                    <a:pt x="636" y="153"/>
                    <a:pt x="657" y="138"/>
                    <a:pt x="657" y="138"/>
                  </a:cubicBezTo>
                  <a:cubicBezTo>
                    <a:pt x="658" y="130"/>
                    <a:pt x="658" y="130"/>
                    <a:pt x="658" y="130"/>
                  </a:cubicBezTo>
                  <a:cubicBezTo>
                    <a:pt x="662" y="120"/>
                    <a:pt x="662" y="120"/>
                    <a:pt x="662" y="120"/>
                  </a:cubicBezTo>
                  <a:cubicBezTo>
                    <a:pt x="662" y="113"/>
                    <a:pt x="662" y="113"/>
                    <a:pt x="662" y="113"/>
                  </a:cubicBezTo>
                  <a:cubicBezTo>
                    <a:pt x="640" y="91"/>
                    <a:pt x="640" y="91"/>
                    <a:pt x="640" y="91"/>
                  </a:cubicBezTo>
                  <a:cubicBezTo>
                    <a:pt x="650" y="74"/>
                    <a:pt x="650" y="74"/>
                    <a:pt x="650" y="74"/>
                  </a:cubicBezTo>
                  <a:cubicBezTo>
                    <a:pt x="644" y="33"/>
                    <a:pt x="644" y="33"/>
                    <a:pt x="644" y="33"/>
                  </a:cubicBezTo>
                  <a:cubicBezTo>
                    <a:pt x="620" y="23"/>
                    <a:pt x="620" y="23"/>
                    <a:pt x="620" y="23"/>
                  </a:cubicBezTo>
                  <a:cubicBezTo>
                    <a:pt x="626" y="0"/>
                    <a:pt x="626" y="0"/>
                    <a:pt x="626" y="0"/>
                  </a:cubicBezTo>
                  <a:cubicBezTo>
                    <a:pt x="621" y="0"/>
                    <a:pt x="616" y="1"/>
                    <a:pt x="612" y="5"/>
                  </a:cubicBezTo>
                  <a:cubicBezTo>
                    <a:pt x="610" y="8"/>
                    <a:pt x="607" y="10"/>
                    <a:pt x="605" y="12"/>
                  </a:cubicBezTo>
                  <a:cubicBezTo>
                    <a:pt x="603" y="13"/>
                    <a:pt x="601" y="14"/>
                    <a:pt x="599" y="15"/>
                  </a:cubicBezTo>
                  <a:cubicBezTo>
                    <a:pt x="598" y="15"/>
                    <a:pt x="597" y="16"/>
                    <a:pt x="596" y="16"/>
                  </a:cubicBezTo>
                  <a:cubicBezTo>
                    <a:pt x="596" y="16"/>
                    <a:pt x="596" y="16"/>
                    <a:pt x="595" y="16"/>
                  </a:cubicBezTo>
                  <a:cubicBezTo>
                    <a:pt x="595" y="16"/>
                    <a:pt x="595" y="16"/>
                    <a:pt x="595" y="16"/>
                  </a:cubicBezTo>
                  <a:cubicBezTo>
                    <a:pt x="590" y="18"/>
                    <a:pt x="585" y="22"/>
                    <a:pt x="581" y="25"/>
                  </a:cubicBezTo>
                  <a:cubicBezTo>
                    <a:pt x="580" y="26"/>
                    <a:pt x="578" y="27"/>
                    <a:pt x="577" y="28"/>
                  </a:cubicBezTo>
                  <a:cubicBezTo>
                    <a:pt x="576" y="29"/>
                    <a:pt x="576" y="31"/>
                    <a:pt x="575" y="32"/>
                  </a:cubicBezTo>
                  <a:cubicBezTo>
                    <a:pt x="572" y="37"/>
                    <a:pt x="571" y="43"/>
                    <a:pt x="567" y="47"/>
                  </a:cubicBezTo>
                  <a:cubicBezTo>
                    <a:pt x="564" y="53"/>
                    <a:pt x="560" y="58"/>
                    <a:pt x="557" y="64"/>
                  </a:cubicBezTo>
                  <a:cubicBezTo>
                    <a:pt x="555" y="66"/>
                    <a:pt x="554" y="68"/>
                    <a:pt x="552" y="70"/>
                  </a:cubicBezTo>
                  <a:cubicBezTo>
                    <a:pt x="551" y="72"/>
                    <a:pt x="550" y="74"/>
                    <a:pt x="549" y="75"/>
                  </a:cubicBezTo>
                  <a:cubicBezTo>
                    <a:pt x="546" y="80"/>
                    <a:pt x="543" y="84"/>
                    <a:pt x="540" y="88"/>
                  </a:cubicBezTo>
                  <a:cubicBezTo>
                    <a:pt x="537" y="91"/>
                    <a:pt x="536" y="96"/>
                    <a:pt x="533" y="99"/>
                  </a:cubicBezTo>
                  <a:cubicBezTo>
                    <a:pt x="529" y="104"/>
                    <a:pt x="525" y="107"/>
                    <a:pt x="521" y="110"/>
                  </a:cubicBezTo>
                  <a:cubicBezTo>
                    <a:pt x="518" y="113"/>
                    <a:pt x="515" y="117"/>
                    <a:pt x="513" y="120"/>
                  </a:cubicBezTo>
                  <a:cubicBezTo>
                    <a:pt x="507" y="127"/>
                    <a:pt x="501" y="131"/>
                    <a:pt x="493" y="135"/>
                  </a:cubicBezTo>
                  <a:cubicBezTo>
                    <a:pt x="489" y="138"/>
                    <a:pt x="485" y="140"/>
                    <a:pt x="480" y="141"/>
                  </a:cubicBezTo>
                  <a:cubicBezTo>
                    <a:pt x="476" y="143"/>
                    <a:pt x="473" y="145"/>
                    <a:pt x="469" y="147"/>
                  </a:cubicBezTo>
                  <a:cubicBezTo>
                    <a:pt x="458" y="149"/>
                    <a:pt x="448" y="153"/>
                    <a:pt x="437" y="155"/>
                  </a:cubicBezTo>
                  <a:cubicBezTo>
                    <a:pt x="434" y="156"/>
                    <a:pt x="432" y="157"/>
                    <a:pt x="430" y="158"/>
                  </a:cubicBezTo>
                  <a:cubicBezTo>
                    <a:pt x="426" y="162"/>
                    <a:pt x="424" y="165"/>
                    <a:pt x="419" y="168"/>
                  </a:cubicBezTo>
                  <a:cubicBezTo>
                    <a:pt x="415" y="170"/>
                    <a:pt x="411" y="169"/>
                    <a:pt x="406" y="171"/>
                  </a:cubicBezTo>
                  <a:cubicBezTo>
                    <a:pt x="403" y="172"/>
                    <a:pt x="400" y="172"/>
                    <a:pt x="397" y="173"/>
                  </a:cubicBezTo>
                  <a:cubicBezTo>
                    <a:pt x="394" y="174"/>
                    <a:pt x="391" y="176"/>
                    <a:pt x="387" y="176"/>
                  </a:cubicBezTo>
                  <a:cubicBezTo>
                    <a:pt x="383" y="177"/>
                    <a:pt x="378" y="177"/>
                    <a:pt x="373" y="177"/>
                  </a:cubicBezTo>
                  <a:cubicBezTo>
                    <a:pt x="369" y="177"/>
                    <a:pt x="364" y="176"/>
                    <a:pt x="360" y="178"/>
                  </a:cubicBezTo>
                  <a:cubicBezTo>
                    <a:pt x="358" y="179"/>
                    <a:pt x="356" y="180"/>
                    <a:pt x="354" y="182"/>
                  </a:cubicBezTo>
                  <a:cubicBezTo>
                    <a:pt x="352" y="183"/>
                    <a:pt x="350" y="185"/>
                    <a:pt x="347" y="185"/>
                  </a:cubicBezTo>
                  <a:cubicBezTo>
                    <a:pt x="345" y="185"/>
                    <a:pt x="343" y="185"/>
                    <a:pt x="341" y="186"/>
                  </a:cubicBezTo>
                  <a:cubicBezTo>
                    <a:pt x="338" y="187"/>
                    <a:pt x="336" y="189"/>
                    <a:pt x="333" y="190"/>
                  </a:cubicBezTo>
                  <a:cubicBezTo>
                    <a:pt x="330" y="191"/>
                    <a:pt x="327" y="190"/>
                    <a:pt x="324" y="191"/>
                  </a:cubicBezTo>
                  <a:cubicBezTo>
                    <a:pt x="321" y="191"/>
                    <a:pt x="317" y="191"/>
                    <a:pt x="314" y="193"/>
                  </a:cubicBezTo>
                  <a:cubicBezTo>
                    <a:pt x="311" y="194"/>
                    <a:pt x="308" y="195"/>
                    <a:pt x="305" y="196"/>
                  </a:cubicBezTo>
                  <a:cubicBezTo>
                    <a:pt x="303" y="197"/>
                    <a:pt x="300" y="198"/>
                    <a:pt x="297" y="199"/>
                  </a:cubicBezTo>
                  <a:cubicBezTo>
                    <a:pt x="295" y="200"/>
                    <a:pt x="294" y="200"/>
                    <a:pt x="292" y="201"/>
                  </a:cubicBezTo>
                  <a:cubicBezTo>
                    <a:pt x="290" y="201"/>
                    <a:pt x="288" y="202"/>
                    <a:pt x="286" y="203"/>
                  </a:cubicBezTo>
                  <a:cubicBezTo>
                    <a:pt x="284" y="203"/>
                    <a:pt x="283" y="203"/>
                    <a:pt x="281" y="203"/>
                  </a:cubicBezTo>
                  <a:cubicBezTo>
                    <a:pt x="278" y="204"/>
                    <a:pt x="276" y="208"/>
                    <a:pt x="272" y="209"/>
                  </a:cubicBezTo>
                  <a:cubicBezTo>
                    <a:pt x="269" y="210"/>
                    <a:pt x="266" y="210"/>
                    <a:pt x="264" y="210"/>
                  </a:cubicBezTo>
                  <a:cubicBezTo>
                    <a:pt x="261" y="211"/>
                    <a:pt x="258" y="211"/>
                    <a:pt x="255" y="212"/>
                  </a:cubicBezTo>
                  <a:cubicBezTo>
                    <a:pt x="253" y="214"/>
                    <a:pt x="250" y="215"/>
                    <a:pt x="248" y="216"/>
                  </a:cubicBezTo>
                  <a:cubicBezTo>
                    <a:pt x="245" y="217"/>
                    <a:pt x="243" y="219"/>
                    <a:pt x="241" y="221"/>
                  </a:cubicBezTo>
                  <a:cubicBezTo>
                    <a:pt x="238" y="223"/>
                    <a:pt x="233" y="226"/>
                    <a:pt x="229" y="226"/>
                  </a:cubicBezTo>
                  <a:cubicBezTo>
                    <a:pt x="226" y="226"/>
                    <a:pt x="224" y="225"/>
                    <a:pt x="221" y="226"/>
                  </a:cubicBezTo>
                  <a:cubicBezTo>
                    <a:pt x="219" y="226"/>
                    <a:pt x="216" y="227"/>
                    <a:pt x="214" y="229"/>
                  </a:cubicBezTo>
                  <a:cubicBezTo>
                    <a:pt x="212" y="230"/>
                    <a:pt x="209" y="230"/>
                    <a:pt x="207" y="232"/>
                  </a:cubicBezTo>
                  <a:cubicBezTo>
                    <a:pt x="205" y="233"/>
                    <a:pt x="204" y="234"/>
                    <a:pt x="202" y="235"/>
                  </a:cubicBezTo>
                  <a:cubicBezTo>
                    <a:pt x="200" y="236"/>
                    <a:pt x="197" y="237"/>
                    <a:pt x="195" y="237"/>
                  </a:cubicBezTo>
                  <a:cubicBezTo>
                    <a:pt x="193" y="237"/>
                    <a:pt x="191" y="236"/>
                    <a:pt x="189" y="237"/>
                  </a:cubicBezTo>
                  <a:cubicBezTo>
                    <a:pt x="187" y="238"/>
                    <a:pt x="185" y="239"/>
                    <a:pt x="183" y="239"/>
                  </a:cubicBezTo>
                  <a:cubicBezTo>
                    <a:pt x="180" y="240"/>
                    <a:pt x="181" y="241"/>
                    <a:pt x="180" y="243"/>
                  </a:cubicBezTo>
                  <a:cubicBezTo>
                    <a:pt x="180" y="244"/>
                    <a:pt x="179" y="245"/>
                    <a:pt x="178" y="246"/>
                  </a:cubicBezTo>
                  <a:cubicBezTo>
                    <a:pt x="178" y="247"/>
                    <a:pt x="178" y="248"/>
                    <a:pt x="178" y="248"/>
                  </a:cubicBezTo>
                  <a:cubicBezTo>
                    <a:pt x="178" y="250"/>
                    <a:pt x="179" y="252"/>
                    <a:pt x="179" y="254"/>
                  </a:cubicBezTo>
                  <a:cubicBezTo>
                    <a:pt x="179" y="257"/>
                    <a:pt x="177" y="256"/>
                    <a:pt x="175" y="257"/>
                  </a:cubicBezTo>
                  <a:cubicBezTo>
                    <a:pt x="172" y="258"/>
                    <a:pt x="173" y="265"/>
                    <a:pt x="173" y="268"/>
                  </a:cubicBezTo>
                  <a:cubicBezTo>
                    <a:pt x="173" y="273"/>
                    <a:pt x="172" y="278"/>
                    <a:pt x="169" y="283"/>
                  </a:cubicBezTo>
                  <a:cubicBezTo>
                    <a:pt x="168" y="285"/>
                    <a:pt x="166" y="286"/>
                    <a:pt x="165" y="288"/>
                  </a:cubicBezTo>
                  <a:cubicBezTo>
                    <a:pt x="163" y="289"/>
                    <a:pt x="162" y="291"/>
                    <a:pt x="160" y="292"/>
                  </a:cubicBezTo>
                  <a:cubicBezTo>
                    <a:pt x="156" y="295"/>
                    <a:pt x="151" y="298"/>
                    <a:pt x="147" y="302"/>
                  </a:cubicBezTo>
                  <a:cubicBezTo>
                    <a:pt x="146" y="303"/>
                    <a:pt x="144" y="304"/>
                    <a:pt x="143" y="306"/>
                  </a:cubicBezTo>
                  <a:cubicBezTo>
                    <a:pt x="142" y="308"/>
                    <a:pt x="141" y="310"/>
                    <a:pt x="140" y="312"/>
                  </a:cubicBezTo>
                  <a:cubicBezTo>
                    <a:pt x="136" y="318"/>
                    <a:pt x="136" y="325"/>
                    <a:pt x="136" y="332"/>
                  </a:cubicBezTo>
                  <a:cubicBezTo>
                    <a:pt x="135" y="335"/>
                    <a:pt x="135" y="338"/>
                    <a:pt x="135" y="341"/>
                  </a:cubicBezTo>
                  <a:cubicBezTo>
                    <a:pt x="134" y="345"/>
                    <a:pt x="133" y="349"/>
                    <a:pt x="132" y="353"/>
                  </a:cubicBezTo>
                  <a:cubicBezTo>
                    <a:pt x="132" y="356"/>
                    <a:pt x="131" y="359"/>
                    <a:pt x="130" y="361"/>
                  </a:cubicBezTo>
                  <a:cubicBezTo>
                    <a:pt x="129" y="364"/>
                    <a:pt x="126" y="365"/>
                    <a:pt x="124" y="365"/>
                  </a:cubicBezTo>
                  <a:cubicBezTo>
                    <a:pt x="121" y="366"/>
                    <a:pt x="119" y="366"/>
                    <a:pt x="117" y="369"/>
                  </a:cubicBezTo>
                  <a:cubicBezTo>
                    <a:pt x="115" y="372"/>
                    <a:pt x="115" y="376"/>
                    <a:pt x="116" y="379"/>
                  </a:cubicBezTo>
                  <a:cubicBezTo>
                    <a:pt x="116" y="380"/>
                    <a:pt x="116" y="381"/>
                    <a:pt x="117" y="382"/>
                  </a:cubicBezTo>
                  <a:cubicBezTo>
                    <a:pt x="117" y="384"/>
                    <a:pt x="117" y="385"/>
                    <a:pt x="117" y="387"/>
                  </a:cubicBezTo>
                  <a:cubicBezTo>
                    <a:pt x="117" y="390"/>
                    <a:pt x="117" y="393"/>
                    <a:pt x="117" y="396"/>
                  </a:cubicBezTo>
                  <a:cubicBezTo>
                    <a:pt x="117" y="399"/>
                    <a:pt x="118" y="401"/>
                    <a:pt x="120" y="403"/>
                  </a:cubicBezTo>
                  <a:cubicBezTo>
                    <a:pt x="121" y="405"/>
                    <a:pt x="123" y="406"/>
                    <a:pt x="125" y="408"/>
                  </a:cubicBezTo>
                  <a:cubicBezTo>
                    <a:pt x="126" y="409"/>
                    <a:pt x="127" y="410"/>
                    <a:pt x="129" y="412"/>
                  </a:cubicBezTo>
                  <a:cubicBezTo>
                    <a:pt x="130" y="412"/>
                    <a:pt x="131" y="413"/>
                    <a:pt x="131" y="414"/>
                  </a:cubicBezTo>
                  <a:cubicBezTo>
                    <a:pt x="132" y="416"/>
                    <a:pt x="130" y="419"/>
                    <a:pt x="129" y="421"/>
                  </a:cubicBezTo>
                  <a:cubicBezTo>
                    <a:pt x="129" y="424"/>
                    <a:pt x="130" y="426"/>
                    <a:pt x="130" y="429"/>
                  </a:cubicBezTo>
                  <a:cubicBezTo>
                    <a:pt x="130" y="430"/>
                    <a:pt x="130" y="433"/>
                    <a:pt x="130" y="434"/>
                  </a:cubicBezTo>
                  <a:cubicBezTo>
                    <a:pt x="129" y="435"/>
                    <a:pt x="128" y="434"/>
                    <a:pt x="127" y="434"/>
                  </a:cubicBezTo>
                  <a:cubicBezTo>
                    <a:pt x="125" y="433"/>
                    <a:pt x="122" y="433"/>
                    <a:pt x="121" y="430"/>
                  </a:cubicBezTo>
                  <a:cubicBezTo>
                    <a:pt x="118" y="424"/>
                    <a:pt x="119" y="417"/>
                    <a:pt x="115" y="411"/>
                  </a:cubicBezTo>
                  <a:cubicBezTo>
                    <a:pt x="113" y="409"/>
                    <a:pt x="110" y="409"/>
                    <a:pt x="108" y="408"/>
                  </a:cubicBezTo>
                  <a:cubicBezTo>
                    <a:pt x="105" y="408"/>
                    <a:pt x="103" y="407"/>
                    <a:pt x="101" y="405"/>
                  </a:cubicBezTo>
                  <a:cubicBezTo>
                    <a:pt x="99" y="403"/>
                    <a:pt x="97" y="402"/>
                    <a:pt x="94" y="402"/>
                  </a:cubicBezTo>
                  <a:cubicBezTo>
                    <a:pt x="91" y="401"/>
                    <a:pt x="88" y="401"/>
                    <a:pt x="86" y="400"/>
                  </a:cubicBezTo>
                  <a:cubicBezTo>
                    <a:pt x="83" y="398"/>
                    <a:pt x="82" y="394"/>
                    <a:pt x="80" y="392"/>
                  </a:cubicBezTo>
                  <a:cubicBezTo>
                    <a:pt x="78" y="388"/>
                    <a:pt x="75" y="384"/>
                    <a:pt x="71" y="382"/>
                  </a:cubicBezTo>
                  <a:cubicBezTo>
                    <a:pt x="68" y="381"/>
                    <a:pt x="65" y="381"/>
                    <a:pt x="63" y="380"/>
                  </a:cubicBezTo>
                  <a:cubicBezTo>
                    <a:pt x="60" y="378"/>
                    <a:pt x="58" y="377"/>
                    <a:pt x="56" y="374"/>
                  </a:cubicBezTo>
                  <a:cubicBezTo>
                    <a:pt x="54" y="372"/>
                    <a:pt x="52" y="368"/>
                    <a:pt x="48" y="367"/>
                  </a:cubicBezTo>
                  <a:cubicBezTo>
                    <a:pt x="46" y="365"/>
                    <a:pt x="43" y="366"/>
                    <a:pt x="44" y="369"/>
                  </a:cubicBezTo>
                  <a:cubicBezTo>
                    <a:pt x="44" y="371"/>
                    <a:pt x="45" y="374"/>
                    <a:pt x="45" y="376"/>
                  </a:cubicBezTo>
                  <a:cubicBezTo>
                    <a:pt x="44" y="379"/>
                    <a:pt x="44" y="381"/>
                    <a:pt x="45" y="383"/>
                  </a:cubicBezTo>
                  <a:cubicBezTo>
                    <a:pt x="46" y="386"/>
                    <a:pt x="48" y="389"/>
                    <a:pt x="45" y="390"/>
                  </a:cubicBezTo>
                  <a:cubicBezTo>
                    <a:pt x="43" y="391"/>
                    <a:pt x="39" y="391"/>
                    <a:pt x="36" y="391"/>
                  </a:cubicBezTo>
                  <a:cubicBezTo>
                    <a:pt x="36" y="393"/>
                    <a:pt x="38" y="395"/>
                    <a:pt x="39" y="396"/>
                  </a:cubicBezTo>
                  <a:cubicBezTo>
                    <a:pt x="42" y="399"/>
                    <a:pt x="45" y="402"/>
                    <a:pt x="47" y="404"/>
                  </a:cubicBezTo>
                  <a:cubicBezTo>
                    <a:pt x="50" y="406"/>
                    <a:pt x="53" y="408"/>
                    <a:pt x="55" y="410"/>
                  </a:cubicBezTo>
                  <a:cubicBezTo>
                    <a:pt x="59" y="415"/>
                    <a:pt x="63" y="421"/>
                    <a:pt x="63" y="427"/>
                  </a:cubicBezTo>
                  <a:cubicBezTo>
                    <a:pt x="64" y="431"/>
                    <a:pt x="64" y="436"/>
                    <a:pt x="66" y="440"/>
                  </a:cubicBezTo>
                  <a:cubicBezTo>
                    <a:pt x="70" y="445"/>
                    <a:pt x="73" y="450"/>
                    <a:pt x="76" y="457"/>
                  </a:cubicBezTo>
                  <a:cubicBezTo>
                    <a:pt x="76" y="459"/>
                    <a:pt x="78" y="462"/>
                    <a:pt x="78" y="465"/>
                  </a:cubicBezTo>
                  <a:cubicBezTo>
                    <a:pt x="78" y="467"/>
                    <a:pt x="78" y="469"/>
                    <a:pt x="78" y="472"/>
                  </a:cubicBezTo>
                  <a:cubicBezTo>
                    <a:pt x="78" y="474"/>
                    <a:pt x="78" y="476"/>
                    <a:pt x="77" y="478"/>
                  </a:cubicBezTo>
                  <a:cubicBezTo>
                    <a:pt x="77" y="482"/>
                    <a:pt x="77" y="485"/>
                    <a:pt x="77" y="489"/>
                  </a:cubicBezTo>
                  <a:cubicBezTo>
                    <a:pt x="77" y="494"/>
                    <a:pt x="78" y="499"/>
                    <a:pt x="79" y="505"/>
                  </a:cubicBezTo>
                  <a:cubicBezTo>
                    <a:pt x="79" y="507"/>
                    <a:pt x="80" y="509"/>
                    <a:pt x="80" y="512"/>
                  </a:cubicBezTo>
                  <a:cubicBezTo>
                    <a:pt x="81" y="514"/>
                    <a:pt x="82" y="517"/>
                    <a:pt x="82" y="520"/>
                  </a:cubicBezTo>
                  <a:cubicBezTo>
                    <a:pt x="83" y="526"/>
                    <a:pt x="84" y="532"/>
                    <a:pt x="86" y="537"/>
                  </a:cubicBezTo>
                  <a:cubicBezTo>
                    <a:pt x="88" y="542"/>
                    <a:pt x="89" y="548"/>
                    <a:pt x="90" y="553"/>
                  </a:cubicBezTo>
                  <a:cubicBezTo>
                    <a:pt x="90" y="555"/>
                    <a:pt x="91" y="558"/>
                    <a:pt x="90" y="560"/>
                  </a:cubicBezTo>
                  <a:cubicBezTo>
                    <a:pt x="90" y="563"/>
                    <a:pt x="90" y="566"/>
                    <a:pt x="89" y="569"/>
                  </a:cubicBezTo>
                  <a:cubicBezTo>
                    <a:pt x="88" y="576"/>
                    <a:pt x="87" y="583"/>
                    <a:pt x="83" y="589"/>
                  </a:cubicBezTo>
                  <a:cubicBezTo>
                    <a:pt x="82" y="591"/>
                    <a:pt x="80" y="592"/>
                    <a:pt x="79" y="593"/>
                  </a:cubicBezTo>
                  <a:cubicBezTo>
                    <a:pt x="78" y="595"/>
                    <a:pt x="77" y="595"/>
                    <a:pt x="75" y="596"/>
                  </a:cubicBezTo>
                  <a:cubicBezTo>
                    <a:pt x="73" y="597"/>
                    <a:pt x="72" y="598"/>
                    <a:pt x="70" y="599"/>
                  </a:cubicBezTo>
                  <a:cubicBezTo>
                    <a:pt x="70" y="600"/>
                    <a:pt x="69" y="600"/>
                    <a:pt x="68" y="601"/>
                  </a:cubicBezTo>
                  <a:cubicBezTo>
                    <a:pt x="66" y="604"/>
                    <a:pt x="68" y="608"/>
                    <a:pt x="69" y="611"/>
                  </a:cubicBezTo>
                  <a:cubicBezTo>
                    <a:pt x="70" y="616"/>
                    <a:pt x="73" y="619"/>
                    <a:pt x="75" y="623"/>
                  </a:cubicBezTo>
                  <a:cubicBezTo>
                    <a:pt x="75" y="625"/>
                    <a:pt x="76" y="627"/>
                    <a:pt x="77" y="628"/>
                  </a:cubicBezTo>
                  <a:cubicBezTo>
                    <a:pt x="77" y="630"/>
                    <a:pt x="76" y="631"/>
                    <a:pt x="75" y="633"/>
                  </a:cubicBezTo>
                  <a:cubicBezTo>
                    <a:pt x="75" y="635"/>
                    <a:pt x="74" y="637"/>
                    <a:pt x="73" y="640"/>
                  </a:cubicBezTo>
                  <a:cubicBezTo>
                    <a:pt x="72" y="642"/>
                    <a:pt x="72" y="642"/>
                    <a:pt x="70" y="644"/>
                  </a:cubicBezTo>
                  <a:cubicBezTo>
                    <a:pt x="68" y="646"/>
                    <a:pt x="66" y="648"/>
                    <a:pt x="64" y="649"/>
                  </a:cubicBezTo>
                  <a:cubicBezTo>
                    <a:pt x="62" y="651"/>
                    <a:pt x="61" y="652"/>
                    <a:pt x="59" y="653"/>
                  </a:cubicBezTo>
                  <a:cubicBezTo>
                    <a:pt x="58" y="654"/>
                    <a:pt x="57" y="656"/>
                    <a:pt x="56" y="657"/>
                  </a:cubicBezTo>
                  <a:cubicBezTo>
                    <a:pt x="54" y="659"/>
                    <a:pt x="53" y="660"/>
                    <a:pt x="52" y="661"/>
                  </a:cubicBezTo>
                  <a:cubicBezTo>
                    <a:pt x="50" y="663"/>
                    <a:pt x="49" y="665"/>
                    <a:pt x="48" y="666"/>
                  </a:cubicBezTo>
                  <a:cubicBezTo>
                    <a:pt x="46" y="670"/>
                    <a:pt x="45" y="674"/>
                    <a:pt x="45" y="678"/>
                  </a:cubicBezTo>
                  <a:cubicBezTo>
                    <a:pt x="45" y="680"/>
                    <a:pt x="44" y="682"/>
                    <a:pt x="44" y="683"/>
                  </a:cubicBezTo>
                  <a:cubicBezTo>
                    <a:pt x="44" y="685"/>
                    <a:pt x="44" y="687"/>
                    <a:pt x="44" y="689"/>
                  </a:cubicBezTo>
                  <a:cubicBezTo>
                    <a:pt x="43" y="694"/>
                    <a:pt x="40" y="696"/>
                    <a:pt x="35" y="698"/>
                  </a:cubicBezTo>
                  <a:cubicBezTo>
                    <a:pt x="33" y="699"/>
                    <a:pt x="31" y="699"/>
                    <a:pt x="29" y="699"/>
                  </a:cubicBezTo>
                  <a:cubicBezTo>
                    <a:pt x="27" y="700"/>
                    <a:pt x="25" y="701"/>
                    <a:pt x="22" y="702"/>
                  </a:cubicBezTo>
                  <a:cubicBezTo>
                    <a:pt x="21" y="702"/>
                    <a:pt x="20" y="702"/>
                    <a:pt x="18" y="702"/>
                  </a:cubicBezTo>
                  <a:cubicBezTo>
                    <a:pt x="18" y="702"/>
                    <a:pt x="17" y="703"/>
                    <a:pt x="16" y="703"/>
                  </a:cubicBezTo>
                  <a:cubicBezTo>
                    <a:pt x="13" y="705"/>
                    <a:pt x="9" y="707"/>
                    <a:pt x="6" y="709"/>
                  </a:cubicBezTo>
                  <a:cubicBezTo>
                    <a:pt x="4" y="710"/>
                    <a:pt x="0" y="712"/>
                    <a:pt x="1" y="715"/>
                  </a:cubicBezTo>
                  <a:cubicBezTo>
                    <a:pt x="2" y="718"/>
                    <a:pt x="3" y="719"/>
                    <a:pt x="5" y="721"/>
                  </a:cubicBezTo>
                  <a:cubicBezTo>
                    <a:pt x="7" y="724"/>
                    <a:pt x="9" y="727"/>
                    <a:pt x="10" y="731"/>
                  </a:cubicBezTo>
                  <a:cubicBezTo>
                    <a:pt x="11" y="736"/>
                    <a:pt x="8" y="738"/>
                    <a:pt x="6" y="742"/>
                  </a:cubicBezTo>
                  <a:cubicBezTo>
                    <a:pt x="3" y="748"/>
                    <a:pt x="4" y="754"/>
                    <a:pt x="6" y="760"/>
                  </a:cubicBezTo>
                  <a:cubicBezTo>
                    <a:pt x="6" y="761"/>
                    <a:pt x="7" y="762"/>
                    <a:pt x="7" y="762"/>
                  </a:cubicBezTo>
                  <a:cubicBezTo>
                    <a:pt x="8" y="765"/>
                    <a:pt x="10" y="768"/>
                    <a:pt x="12" y="769"/>
                  </a:cubicBezTo>
                  <a:cubicBezTo>
                    <a:pt x="13" y="770"/>
                    <a:pt x="14" y="770"/>
                    <a:pt x="15" y="771"/>
                  </a:cubicBezTo>
                  <a:cubicBezTo>
                    <a:pt x="17" y="771"/>
                    <a:pt x="18" y="773"/>
                    <a:pt x="20" y="774"/>
                  </a:cubicBezTo>
                  <a:cubicBezTo>
                    <a:pt x="22" y="775"/>
                    <a:pt x="23" y="776"/>
                    <a:pt x="25" y="777"/>
                  </a:cubicBezTo>
                  <a:cubicBezTo>
                    <a:pt x="31" y="780"/>
                    <a:pt x="37" y="781"/>
                    <a:pt x="41" y="784"/>
                  </a:cubicBezTo>
                  <a:cubicBezTo>
                    <a:pt x="44" y="786"/>
                    <a:pt x="48" y="787"/>
                    <a:pt x="51" y="789"/>
                  </a:cubicBezTo>
                  <a:cubicBezTo>
                    <a:pt x="54" y="790"/>
                    <a:pt x="55" y="792"/>
                    <a:pt x="57" y="794"/>
                  </a:cubicBezTo>
                  <a:cubicBezTo>
                    <a:pt x="65" y="804"/>
                    <a:pt x="72" y="816"/>
                    <a:pt x="82" y="824"/>
                  </a:cubicBezTo>
                  <a:cubicBezTo>
                    <a:pt x="84" y="826"/>
                    <a:pt x="86" y="828"/>
                    <a:pt x="87" y="830"/>
                  </a:cubicBezTo>
                  <a:cubicBezTo>
                    <a:pt x="89" y="833"/>
                    <a:pt x="91" y="836"/>
                    <a:pt x="94" y="838"/>
                  </a:cubicBezTo>
                  <a:cubicBezTo>
                    <a:pt x="96" y="839"/>
                    <a:pt x="98" y="839"/>
                    <a:pt x="101" y="839"/>
                  </a:cubicBezTo>
                  <a:cubicBezTo>
                    <a:pt x="105" y="840"/>
                    <a:pt x="109" y="843"/>
                    <a:pt x="113" y="845"/>
                  </a:cubicBezTo>
                  <a:cubicBezTo>
                    <a:pt x="117" y="848"/>
                    <a:pt x="121" y="851"/>
                    <a:pt x="124" y="856"/>
                  </a:cubicBezTo>
                  <a:cubicBezTo>
                    <a:pt x="124" y="857"/>
                    <a:pt x="124" y="857"/>
                    <a:pt x="125" y="858"/>
                  </a:cubicBezTo>
                  <a:cubicBezTo>
                    <a:pt x="135" y="841"/>
                    <a:pt x="135" y="841"/>
                    <a:pt x="135" y="841"/>
                  </a:cubicBezTo>
                  <a:cubicBezTo>
                    <a:pt x="135" y="841"/>
                    <a:pt x="149" y="842"/>
                    <a:pt x="152" y="847"/>
                  </a:cubicBezTo>
                  <a:cubicBezTo>
                    <a:pt x="152" y="847"/>
                    <a:pt x="164" y="855"/>
                    <a:pt x="167" y="850"/>
                  </a:cubicBezTo>
                  <a:cubicBezTo>
                    <a:pt x="171" y="846"/>
                    <a:pt x="171" y="824"/>
                    <a:pt x="173" y="812"/>
                  </a:cubicBezTo>
                  <a:cubicBezTo>
                    <a:pt x="175" y="800"/>
                    <a:pt x="177" y="786"/>
                    <a:pt x="192" y="777"/>
                  </a:cubicBezTo>
                  <a:cubicBezTo>
                    <a:pt x="179" y="762"/>
                    <a:pt x="179" y="762"/>
                    <a:pt x="179" y="762"/>
                  </a:cubicBezTo>
                  <a:cubicBezTo>
                    <a:pt x="179" y="762"/>
                    <a:pt x="198" y="733"/>
                    <a:pt x="199" y="733"/>
                  </a:cubicBezTo>
                  <a:cubicBezTo>
                    <a:pt x="199" y="734"/>
                    <a:pt x="233" y="759"/>
                    <a:pt x="234" y="759"/>
                  </a:cubicBezTo>
                  <a:cubicBezTo>
                    <a:pt x="234" y="759"/>
                    <a:pt x="240" y="754"/>
                    <a:pt x="240" y="754"/>
                  </a:cubicBezTo>
                  <a:cubicBezTo>
                    <a:pt x="245" y="763"/>
                    <a:pt x="245" y="763"/>
                    <a:pt x="245" y="763"/>
                  </a:cubicBezTo>
                  <a:cubicBezTo>
                    <a:pt x="303" y="726"/>
                    <a:pt x="303" y="726"/>
                    <a:pt x="303" y="726"/>
                  </a:cubicBezTo>
                  <a:cubicBezTo>
                    <a:pt x="299" y="711"/>
                    <a:pt x="299" y="711"/>
                    <a:pt x="299" y="711"/>
                  </a:cubicBezTo>
                  <a:cubicBezTo>
                    <a:pt x="299" y="711"/>
                    <a:pt x="350" y="678"/>
                    <a:pt x="351" y="678"/>
                  </a:cubicBezTo>
                  <a:cubicBezTo>
                    <a:pt x="351" y="679"/>
                    <a:pt x="391" y="690"/>
                    <a:pt x="391" y="690"/>
                  </a:cubicBezTo>
                  <a:cubicBezTo>
                    <a:pt x="391" y="690"/>
                    <a:pt x="442" y="626"/>
                    <a:pt x="442" y="626"/>
                  </a:cubicBezTo>
                  <a:cubicBezTo>
                    <a:pt x="476" y="642"/>
                    <a:pt x="476" y="642"/>
                    <a:pt x="476" y="642"/>
                  </a:cubicBezTo>
                  <a:cubicBezTo>
                    <a:pt x="468" y="666"/>
                    <a:pt x="468" y="666"/>
                    <a:pt x="468" y="666"/>
                  </a:cubicBezTo>
                  <a:cubicBezTo>
                    <a:pt x="497" y="673"/>
                    <a:pt x="497" y="673"/>
                    <a:pt x="497" y="673"/>
                  </a:cubicBezTo>
                  <a:cubicBezTo>
                    <a:pt x="555" y="654"/>
                    <a:pt x="555" y="654"/>
                    <a:pt x="555" y="654"/>
                  </a:cubicBezTo>
                  <a:cubicBezTo>
                    <a:pt x="558" y="646"/>
                    <a:pt x="558" y="646"/>
                    <a:pt x="558" y="646"/>
                  </a:cubicBezTo>
                  <a:cubicBezTo>
                    <a:pt x="560" y="621"/>
                    <a:pt x="560" y="621"/>
                    <a:pt x="560" y="621"/>
                  </a:cubicBezTo>
                  <a:cubicBezTo>
                    <a:pt x="574" y="603"/>
                    <a:pt x="574" y="603"/>
                    <a:pt x="574" y="603"/>
                  </a:cubicBezTo>
                  <a:cubicBezTo>
                    <a:pt x="603" y="595"/>
                    <a:pt x="603" y="595"/>
                    <a:pt x="603" y="595"/>
                  </a:cubicBezTo>
                  <a:cubicBezTo>
                    <a:pt x="609" y="576"/>
                    <a:pt x="609" y="576"/>
                    <a:pt x="609" y="576"/>
                  </a:cubicBezTo>
                  <a:cubicBezTo>
                    <a:pt x="609" y="576"/>
                    <a:pt x="632" y="581"/>
                    <a:pt x="633" y="580"/>
                  </a:cubicBezTo>
                  <a:cubicBezTo>
                    <a:pt x="633" y="580"/>
                    <a:pt x="634" y="569"/>
                    <a:pt x="634" y="569"/>
                  </a:cubicBezTo>
                  <a:cubicBezTo>
                    <a:pt x="631" y="559"/>
                    <a:pt x="631" y="559"/>
                    <a:pt x="631" y="559"/>
                  </a:cubicBezTo>
                  <a:cubicBezTo>
                    <a:pt x="654" y="539"/>
                    <a:pt x="654" y="539"/>
                    <a:pt x="654" y="539"/>
                  </a:cubicBezTo>
                  <a:cubicBezTo>
                    <a:pt x="628" y="511"/>
                    <a:pt x="628" y="511"/>
                    <a:pt x="628" y="511"/>
                  </a:cubicBezTo>
                  <a:cubicBezTo>
                    <a:pt x="628" y="511"/>
                    <a:pt x="594" y="502"/>
                    <a:pt x="592" y="499"/>
                  </a:cubicBezTo>
                  <a:cubicBezTo>
                    <a:pt x="590" y="496"/>
                    <a:pt x="582" y="488"/>
                    <a:pt x="583" y="481"/>
                  </a:cubicBezTo>
                  <a:cubicBezTo>
                    <a:pt x="585" y="473"/>
                    <a:pt x="588" y="463"/>
                    <a:pt x="599" y="461"/>
                  </a:cubicBezTo>
                  <a:cubicBezTo>
                    <a:pt x="609" y="460"/>
                    <a:pt x="655" y="451"/>
                    <a:pt x="655" y="451"/>
                  </a:cubicBezTo>
                  <a:cubicBezTo>
                    <a:pt x="658" y="403"/>
                    <a:pt x="658" y="403"/>
                    <a:pt x="658" y="403"/>
                  </a:cubicBezTo>
                  <a:cubicBezTo>
                    <a:pt x="697" y="396"/>
                    <a:pt x="697" y="396"/>
                    <a:pt x="697" y="396"/>
                  </a:cubicBezTo>
                  <a:cubicBezTo>
                    <a:pt x="695" y="370"/>
                    <a:pt x="695" y="370"/>
                    <a:pt x="695" y="370"/>
                  </a:cubicBezTo>
                  <a:cubicBezTo>
                    <a:pt x="705" y="339"/>
                    <a:pt x="705" y="339"/>
                    <a:pt x="705" y="339"/>
                  </a:cubicBezTo>
                  <a:cubicBezTo>
                    <a:pt x="705" y="339"/>
                    <a:pt x="685" y="322"/>
                    <a:pt x="685" y="321"/>
                  </a:cubicBezTo>
                  <a:close/>
                </a:path>
              </a:pathLst>
            </a:custGeom>
            <a:grpFill/>
            <a:ln>
              <a:solidFill>
                <a:srgbClr val="FFFFFF"/>
              </a:solidFill>
            </a:ln>
          </p:spPr>
          <p:txBody>
            <a:bodyPr vert="horz" wrap="square" lIns="121920" tIns="60960" rIns="121920" bIns="60960" numCol="1" anchor="t" anchorCtr="0" compatLnSpc="1">
              <a:prstTxWarp prst="textNoShape">
                <a:avLst/>
              </a:prstTxWarp>
            </a:bodyPr>
            <a:lstStyle/>
            <a:p>
              <a:pPr marL="0" marR="0" lvl="0" indent="0" defTabSz="467539"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000000"/>
                </a:solidFill>
                <a:effectLst/>
                <a:uLnTx/>
                <a:uFillTx/>
              </a:endParaRPr>
            </a:p>
          </p:txBody>
        </p:sp>
        <p:sp>
          <p:nvSpPr>
            <p:cNvPr id="99" name="Freeform 16">
              <a:extLst>
                <a:ext uri="{FF2B5EF4-FFF2-40B4-BE49-F238E27FC236}">
                  <a16:creationId xmlns:a16="http://schemas.microsoft.com/office/drawing/2014/main" id="{5EB0963A-AB84-4608-9DC1-F96C01132F8A}"/>
                </a:ext>
              </a:extLst>
            </p:cNvPr>
            <p:cNvSpPr>
              <a:spLocks/>
            </p:cNvSpPr>
            <p:nvPr/>
          </p:nvSpPr>
          <p:spPr bwMode="auto">
            <a:xfrm>
              <a:off x="1428750" y="1565275"/>
              <a:ext cx="955675" cy="715963"/>
            </a:xfrm>
            <a:custGeom>
              <a:avLst/>
              <a:gdLst>
                <a:gd name="T0" fmla="*/ 796 w 814"/>
                <a:gd name="T1" fmla="*/ 74 h 610"/>
                <a:gd name="T2" fmla="*/ 767 w 814"/>
                <a:gd name="T3" fmla="*/ 123 h 610"/>
                <a:gd name="T4" fmla="*/ 736 w 814"/>
                <a:gd name="T5" fmla="*/ 153 h 610"/>
                <a:gd name="T6" fmla="*/ 679 w 814"/>
                <a:gd name="T7" fmla="*/ 185 h 610"/>
                <a:gd name="T8" fmla="*/ 641 w 814"/>
                <a:gd name="T9" fmla="*/ 197 h 610"/>
                <a:gd name="T10" fmla="*/ 590 w 814"/>
                <a:gd name="T11" fmla="*/ 203 h 610"/>
                <a:gd name="T12" fmla="*/ 580 w 814"/>
                <a:gd name="T13" fmla="*/ 202 h 610"/>
                <a:gd name="T14" fmla="*/ 568 w 814"/>
                <a:gd name="T15" fmla="*/ 213 h 610"/>
                <a:gd name="T16" fmla="*/ 544 w 814"/>
                <a:gd name="T17" fmla="*/ 195 h 610"/>
                <a:gd name="T18" fmla="*/ 505 w 814"/>
                <a:gd name="T19" fmla="*/ 181 h 610"/>
                <a:gd name="T20" fmla="*/ 485 w 814"/>
                <a:gd name="T21" fmla="*/ 154 h 610"/>
                <a:gd name="T22" fmla="*/ 483 w 814"/>
                <a:gd name="T23" fmla="*/ 126 h 610"/>
                <a:gd name="T24" fmla="*/ 471 w 814"/>
                <a:gd name="T25" fmla="*/ 92 h 610"/>
                <a:gd name="T26" fmla="*/ 438 w 814"/>
                <a:gd name="T27" fmla="*/ 44 h 610"/>
                <a:gd name="T28" fmla="*/ 455 w 814"/>
                <a:gd name="T29" fmla="*/ 30 h 610"/>
                <a:gd name="T30" fmla="*/ 497 w 814"/>
                <a:gd name="T31" fmla="*/ 54 h 610"/>
                <a:gd name="T32" fmla="*/ 528 w 814"/>
                <a:gd name="T33" fmla="*/ 76 h 610"/>
                <a:gd name="T34" fmla="*/ 515 w 814"/>
                <a:gd name="T35" fmla="*/ 56 h 610"/>
                <a:gd name="T36" fmla="*/ 362 w 814"/>
                <a:gd name="T37" fmla="*/ 8 h 610"/>
                <a:gd name="T38" fmla="*/ 278 w 814"/>
                <a:gd name="T39" fmla="*/ 33 h 610"/>
                <a:gd name="T40" fmla="*/ 244 w 814"/>
                <a:gd name="T41" fmla="*/ 41 h 610"/>
                <a:gd name="T42" fmla="*/ 209 w 814"/>
                <a:gd name="T43" fmla="*/ 50 h 610"/>
                <a:gd name="T44" fmla="*/ 173 w 814"/>
                <a:gd name="T45" fmla="*/ 57 h 610"/>
                <a:gd name="T46" fmla="*/ 138 w 814"/>
                <a:gd name="T47" fmla="*/ 69 h 610"/>
                <a:gd name="T48" fmla="*/ 107 w 814"/>
                <a:gd name="T49" fmla="*/ 92 h 610"/>
                <a:gd name="T50" fmla="*/ 91 w 814"/>
                <a:gd name="T51" fmla="*/ 111 h 610"/>
                <a:gd name="T52" fmla="*/ 58 w 814"/>
                <a:gd name="T53" fmla="*/ 136 h 610"/>
                <a:gd name="T54" fmla="*/ 36 w 814"/>
                <a:gd name="T55" fmla="*/ 145 h 610"/>
                <a:gd name="T56" fmla="*/ 6 w 814"/>
                <a:gd name="T57" fmla="*/ 148 h 610"/>
                <a:gd name="T58" fmla="*/ 20 w 814"/>
                <a:gd name="T59" fmla="*/ 239 h 610"/>
                <a:gd name="T60" fmla="*/ 37 w 814"/>
                <a:gd name="T61" fmla="*/ 286 h 610"/>
                <a:gd name="T62" fmla="*/ 37 w 814"/>
                <a:gd name="T63" fmla="*/ 379 h 610"/>
                <a:gd name="T64" fmla="*/ 65 w 814"/>
                <a:gd name="T65" fmla="*/ 453 h 610"/>
                <a:gd name="T66" fmla="*/ 77 w 814"/>
                <a:gd name="T67" fmla="*/ 544 h 610"/>
                <a:gd name="T68" fmla="*/ 138 w 814"/>
                <a:gd name="T69" fmla="*/ 600 h 610"/>
                <a:gd name="T70" fmla="*/ 223 w 814"/>
                <a:gd name="T71" fmla="*/ 562 h 610"/>
                <a:gd name="T72" fmla="*/ 301 w 814"/>
                <a:gd name="T73" fmla="*/ 562 h 610"/>
                <a:gd name="T74" fmla="*/ 327 w 814"/>
                <a:gd name="T75" fmla="*/ 506 h 610"/>
                <a:gd name="T76" fmla="*/ 369 w 814"/>
                <a:gd name="T77" fmla="*/ 498 h 610"/>
                <a:gd name="T78" fmla="*/ 503 w 814"/>
                <a:gd name="T79" fmla="*/ 499 h 610"/>
                <a:gd name="T80" fmla="*/ 560 w 814"/>
                <a:gd name="T81" fmla="*/ 525 h 610"/>
                <a:gd name="T82" fmla="*/ 667 w 814"/>
                <a:gd name="T83" fmla="*/ 480 h 610"/>
                <a:gd name="T84" fmla="*/ 729 w 814"/>
                <a:gd name="T85" fmla="*/ 423 h 610"/>
                <a:gd name="T86" fmla="*/ 711 w 814"/>
                <a:gd name="T87" fmla="*/ 374 h 610"/>
                <a:gd name="T88" fmla="*/ 654 w 814"/>
                <a:gd name="T89" fmla="*/ 294 h 610"/>
                <a:gd name="T90" fmla="*/ 661 w 814"/>
                <a:gd name="T91" fmla="*/ 226 h 610"/>
                <a:gd name="T92" fmla="*/ 657 w 814"/>
                <a:gd name="T93" fmla="*/ 207 h 610"/>
                <a:gd name="T94" fmla="*/ 701 w 814"/>
                <a:gd name="T95" fmla="*/ 182 h 610"/>
                <a:gd name="T96" fmla="*/ 755 w 814"/>
                <a:gd name="T97" fmla="*/ 152 h 610"/>
                <a:gd name="T98" fmla="*/ 788 w 814"/>
                <a:gd name="T99" fmla="*/ 109 h 610"/>
                <a:gd name="T100" fmla="*/ 810 w 814"/>
                <a:gd name="T101" fmla="*/ 63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14" h="610">
                  <a:moveTo>
                    <a:pt x="810" y="63"/>
                  </a:moveTo>
                  <a:cubicBezTo>
                    <a:pt x="808" y="62"/>
                    <a:pt x="805" y="65"/>
                    <a:pt x="804" y="66"/>
                  </a:cubicBezTo>
                  <a:cubicBezTo>
                    <a:pt x="801" y="68"/>
                    <a:pt x="800" y="69"/>
                    <a:pt x="798" y="72"/>
                  </a:cubicBezTo>
                  <a:cubicBezTo>
                    <a:pt x="798" y="72"/>
                    <a:pt x="796" y="75"/>
                    <a:pt x="796" y="74"/>
                  </a:cubicBezTo>
                  <a:cubicBezTo>
                    <a:pt x="794" y="78"/>
                    <a:pt x="793" y="81"/>
                    <a:pt x="791" y="84"/>
                  </a:cubicBezTo>
                  <a:cubicBezTo>
                    <a:pt x="790" y="87"/>
                    <a:pt x="789" y="91"/>
                    <a:pt x="787" y="93"/>
                  </a:cubicBezTo>
                  <a:cubicBezTo>
                    <a:pt x="785" y="96"/>
                    <a:pt x="783" y="98"/>
                    <a:pt x="781" y="101"/>
                  </a:cubicBezTo>
                  <a:cubicBezTo>
                    <a:pt x="777" y="109"/>
                    <a:pt x="773" y="117"/>
                    <a:pt x="767" y="123"/>
                  </a:cubicBezTo>
                  <a:cubicBezTo>
                    <a:pt x="764" y="125"/>
                    <a:pt x="762" y="127"/>
                    <a:pt x="759" y="130"/>
                  </a:cubicBezTo>
                  <a:cubicBezTo>
                    <a:pt x="757" y="132"/>
                    <a:pt x="755" y="135"/>
                    <a:pt x="753" y="137"/>
                  </a:cubicBezTo>
                  <a:cubicBezTo>
                    <a:pt x="752" y="139"/>
                    <a:pt x="750" y="142"/>
                    <a:pt x="748" y="144"/>
                  </a:cubicBezTo>
                  <a:cubicBezTo>
                    <a:pt x="745" y="147"/>
                    <a:pt x="741" y="150"/>
                    <a:pt x="736" y="153"/>
                  </a:cubicBezTo>
                  <a:cubicBezTo>
                    <a:pt x="729" y="159"/>
                    <a:pt x="721" y="165"/>
                    <a:pt x="713" y="171"/>
                  </a:cubicBezTo>
                  <a:cubicBezTo>
                    <a:pt x="711" y="173"/>
                    <a:pt x="708" y="174"/>
                    <a:pt x="705" y="176"/>
                  </a:cubicBezTo>
                  <a:cubicBezTo>
                    <a:pt x="699" y="179"/>
                    <a:pt x="693" y="181"/>
                    <a:pt x="688" y="183"/>
                  </a:cubicBezTo>
                  <a:cubicBezTo>
                    <a:pt x="685" y="184"/>
                    <a:pt x="682" y="185"/>
                    <a:pt x="679" y="185"/>
                  </a:cubicBezTo>
                  <a:cubicBezTo>
                    <a:pt x="676" y="186"/>
                    <a:pt x="674" y="186"/>
                    <a:pt x="671" y="187"/>
                  </a:cubicBezTo>
                  <a:cubicBezTo>
                    <a:pt x="667" y="188"/>
                    <a:pt x="663" y="188"/>
                    <a:pt x="659" y="190"/>
                  </a:cubicBezTo>
                  <a:cubicBezTo>
                    <a:pt x="656" y="191"/>
                    <a:pt x="654" y="193"/>
                    <a:pt x="652" y="194"/>
                  </a:cubicBezTo>
                  <a:cubicBezTo>
                    <a:pt x="649" y="195"/>
                    <a:pt x="645" y="196"/>
                    <a:pt x="641" y="197"/>
                  </a:cubicBezTo>
                  <a:cubicBezTo>
                    <a:pt x="637" y="198"/>
                    <a:pt x="633" y="198"/>
                    <a:pt x="629" y="199"/>
                  </a:cubicBezTo>
                  <a:cubicBezTo>
                    <a:pt x="625" y="199"/>
                    <a:pt x="622" y="200"/>
                    <a:pt x="618" y="200"/>
                  </a:cubicBezTo>
                  <a:cubicBezTo>
                    <a:pt x="613" y="201"/>
                    <a:pt x="608" y="201"/>
                    <a:pt x="603" y="202"/>
                  </a:cubicBezTo>
                  <a:cubicBezTo>
                    <a:pt x="599" y="202"/>
                    <a:pt x="594" y="202"/>
                    <a:pt x="590" y="203"/>
                  </a:cubicBezTo>
                  <a:cubicBezTo>
                    <a:pt x="586" y="204"/>
                    <a:pt x="586" y="207"/>
                    <a:pt x="585" y="210"/>
                  </a:cubicBezTo>
                  <a:cubicBezTo>
                    <a:pt x="584" y="211"/>
                    <a:pt x="583" y="213"/>
                    <a:pt x="582" y="212"/>
                  </a:cubicBezTo>
                  <a:cubicBezTo>
                    <a:pt x="581" y="212"/>
                    <a:pt x="581" y="209"/>
                    <a:pt x="581" y="208"/>
                  </a:cubicBezTo>
                  <a:cubicBezTo>
                    <a:pt x="581" y="206"/>
                    <a:pt x="581" y="204"/>
                    <a:pt x="580" y="202"/>
                  </a:cubicBezTo>
                  <a:cubicBezTo>
                    <a:pt x="579" y="201"/>
                    <a:pt x="577" y="201"/>
                    <a:pt x="576" y="201"/>
                  </a:cubicBezTo>
                  <a:cubicBezTo>
                    <a:pt x="572" y="200"/>
                    <a:pt x="569" y="199"/>
                    <a:pt x="565" y="200"/>
                  </a:cubicBezTo>
                  <a:cubicBezTo>
                    <a:pt x="563" y="200"/>
                    <a:pt x="558" y="201"/>
                    <a:pt x="560" y="204"/>
                  </a:cubicBezTo>
                  <a:cubicBezTo>
                    <a:pt x="561" y="207"/>
                    <a:pt x="565" y="210"/>
                    <a:pt x="568" y="213"/>
                  </a:cubicBezTo>
                  <a:cubicBezTo>
                    <a:pt x="568" y="214"/>
                    <a:pt x="573" y="219"/>
                    <a:pt x="570" y="219"/>
                  </a:cubicBezTo>
                  <a:cubicBezTo>
                    <a:pt x="568" y="219"/>
                    <a:pt x="565" y="215"/>
                    <a:pt x="563" y="214"/>
                  </a:cubicBezTo>
                  <a:cubicBezTo>
                    <a:pt x="561" y="212"/>
                    <a:pt x="559" y="210"/>
                    <a:pt x="557" y="207"/>
                  </a:cubicBezTo>
                  <a:cubicBezTo>
                    <a:pt x="554" y="202"/>
                    <a:pt x="549" y="196"/>
                    <a:pt x="544" y="195"/>
                  </a:cubicBezTo>
                  <a:cubicBezTo>
                    <a:pt x="540" y="195"/>
                    <a:pt x="537" y="193"/>
                    <a:pt x="534" y="193"/>
                  </a:cubicBezTo>
                  <a:cubicBezTo>
                    <a:pt x="528" y="192"/>
                    <a:pt x="524" y="188"/>
                    <a:pt x="520" y="184"/>
                  </a:cubicBezTo>
                  <a:cubicBezTo>
                    <a:pt x="518" y="182"/>
                    <a:pt x="514" y="175"/>
                    <a:pt x="510" y="179"/>
                  </a:cubicBezTo>
                  <a:cubicBezTo>
                    <a:pt x="509" y="181"/>
                    <a:pt x="508" y="184"/>
                    <a:pt x="505" y="181"/>
                  </a:cubicBezTo>
                  <a:cubicBezTo>
                    <a:pt x="504" y="180"/>
                    <a:pt x="503" y="179"/>
                    <a:pt x="502" y="178"/>
                  </a:cubicBezTo>
                  <a:cubicBezTo>
                    <a:pt x="500" y="176"/>
                    <a:pt x="498" y="175"/>
                    <a:pt x="495" y="173"/>
                  </a:cubicBezTo>
                  <a:cubicBezTo>
                    <a:pt x="493" y="171"/>
                    <a:pt x="489" y="169"/>
                    <a:pt x="487" y="165"/>
                  </a:cubicBezTo>
                  <a:cubicBezTo>
                    <a:pt x="485" y="162"/>
                    <a:pt x="485" y="158"/>
                    <a:pt x="485" y="154"/>
                  </a:cubicBezTo>
                  <a:cubicBezTo>
                    <a:pt x="485" y="152"/>
                    <a:pt x="486" y="150"/>
                    <a:pt x="486" y="149"/>
                  </a:cubicBezTo>
                  <a:cubicBezTo>
                    <a:pt x="485" y="147"/>
                    <a:pt x="484" y="146"/>
                    <a:pt x="484" y="145"/>
                  </a:cubicBezTo>
                  <a:cubicBezTo>
                    <a:pt x="482" y="142"/>
                    <a:pt x="482" y="139"/>
                    <a:pt x="482" y="136"/>
                  </a:cubicBezTo>
                  <a:cubicBezTo>
                    <a:pt x="482" y="133"/>
                    <a:pt x="484" y="129"/>
                    <a:pt x="483" y="126"/>
                  </a:cubicBezTo>
                  <a:cubicBezTo>
                    <a:pt x="483" y="123"/>
                    <a:pt x="481" y="119"/>
                    <a:pt x="479" y="118"/>
                  </a:cubicBezTo>
                  <a:cubicBezTo>
                    <a:pt x="476" y="114"/>
                    <a:pt x="477" y="108"/>
                    <a:pt x="474" y="104"/>
                  </a:cubicBezTo>
                  <a:cubicBezTo>
                    <a:pt x="473" y="103"/>
                    <a:pt x="473" y="101"/>
                    <a:pt x="472" y="99"/>
                  </a:cubicBezTo>
                  <a:cubicBezTo>
                    <a:pt x="471" y="96"/>
                    <a:pt x="472" y="94"/>
                    <a:pt x="471" y="92"/>
                  </a:cubicBezTo>
                  <a:cubicBezTo>
                    <a:pt x="468" y="90"/>
                    <a:pt x="465" y="89"/>
                    <a:pt x="462" y="88"/>
                  </a:cubicBezTo>
                  <a:cubicBezTo>
                    <a:pt x="457" y="84"/>
                    <a:pt x="457" y="78"/>
                    <a:pt x="457" y="73"/>
                  </a:cubicBezTo>
                  <a:cubicBezTo>
                    <a:pt x="456" y="66"/>
                    <a:pt x="452" y="61"/>
                    <a:pt x="447" y="57"/>
                  </a:cubicBezTo>
                  <a:cubicBezTo>
                    <a:pt x="442" y="54"/>
                    <a:pt x="438" y="51"/>
                    <a:pt x="438" y="44"/>
                  </a:cubicBezTo>
                  <a:cubicBezTo>
                    <a:pt x="438" y="41"/>
                    <a:pt x="439" y="38"/>
                    <a:pt x="440" y="35"/>
                  </a:cubicBezTo>
                  <a:cubicBezTo>
                    <a:pt x="442" y="31"/>
                    <a:pt x="444" y="29"/>
                    <a:pt x="447" y="27"/>
                  </a:cubicBezTo>
                  <a:cubicBezTo>
                    <a:pt x="448" y="28"/>
                    <a:pt x="450" y="27"/>
                    <a:pt x="451" y="28"/>
                  </a:cubicBezTo>
                  <a:cubicBezTo>
                    <a:pt x="452" y="28"/>
                    <a:pt x="454" y="29"/>
                    <a:pt x="455" y="30"/>
                  </a:cubicBezTo>
                  <a:cubicBezTo>
                    <a:pt x="458" y="31"/>
                    <a:pt x="461" y="33"/>
                    <a:pt x="464" y="35"/>
                  </a:cubicBezTo>
                  <a:cubicBezTo>
                    <a:pt x="470" y="37"/>
                    <a:pt x="476" y="40"/>
                    <a:pt x="482" y="44"/>
                  </a:cubicBezTo>
                  <a:cubicBezTo>
                    <a:pt x="484" y="46"/>
                    <a:pt x="487" y="47"/>
                    <a:pt x="490" y="48"/>
                  </a:cubicBezTo>
                  <a:cubicBezTo>
                    <a:pt x="492" y="50"/>
                    <a:pt x="494" y="52"/>
                    <a:pt x="497" y="54"/>
                  </a:cubicBezTo>
                  <a:cubicBezTo>
                    <a:pt x="502" y="57"/>
                    <a:pt x="508" y="58"/>
                    <a:pt x="513" y="61"/>
                  </a:cubicBezTo>
                  <a:cubicBezTo>
                    <a:pt x="516" y="63"/>
                    <a:pt x="519" y="65"/>
                    <a:pt x="521" y="67"/>
                  </a:cubicBezTo>
                  <a:cubicBezTo>
                    <a:pt x="522" y="69"/>
                    <a:pt x="523" y="70"/>
                    <a:pt x="524" y="71"/>
                  </a:cubicBezTo>
                  <a:cubicBezTo>
                    <a:pt x="525" y="73"/>
                    <a:pt x="527" y="74"/>
                    <a:pt x="528" y="76"/>
                  </a:cubicBezTo>
                  <a:cubicBezTo>
                    <a:pt x="529" y="77"/>
                    <a:pt x="530" y="79"/>
                    <a:pt x="530" y="81"/>
                  </a:cubicBezTo>
                  <a:cubicBezTo>
                    <a:pt x="532" y="84"/>
                    <a:pt x="534" y="88"/>
                    <a:pt x="537" y="91"/>
                  </a:cubicBezTo>
                  <a:cubicBezTo>
                    <a:pt x="542" y="94"/>
                    <a:pt x="545" y="90"/>
                    <a:pt x="544" y="85"/>
                  </a:cubicBezTo>
                  <a:cubicBezTo>
                    <a:pt x="541" y="71"/>
                    <a:pt x="527" y="62"/>
                    <a:pt x="515" y="56"/>
                  </a:cubicBezTo>
                  <a:cubicBezTo>
                    <a:pt x="497" y="46"/>
                    <a:pt x="481" y="35"/>
                    <a:pt x="462" y="26"/>
                  </a:cubicBezTo>
                  <a:cubicBezTo>
                    <a:pt x="454" y="22"/>
                    <a:pt x="445" y="17"/>
                    <a:pt x="437" y="12"/>
                  </a:cubicBezTo>
                  <a:cubicBezTo>
                    <a:pt x="429" y="8"/>
                    <a:pt x="422" y="4"/>
                    <a:pt x="413" y="3"/>
                  </a:cubicBezTo>
                  <a:cubicBezTo>
                    <a:pt x="396" y="0"/>
                    <a:pt x="379" y="7"/>
                    <a:pt x="362" y="8"/>
                  </a:cubicBezTo>
                  <a:cubicBezTo>
                    <a:pt x="356" y="9"/>
                    <a:pt x="349" y="9"/>
                    <a:pt x="343" y="10"/>
                  </a:cubicBezTo>
                  <a:cubicBezTo>
                    <a:pt x="333" y="13"/>
                    <a:pt x="323" y="16"/>
                    <a:pt x="313" y="19"/>
                  </a:cubicBezTo>
                  <a:cubicBezTo>
                    <a:pt x="310" y="20"/>
                    <a:pt x="307" y="20"/>
                    <a:pt x="304" y="22"/>
                  </a:cubicBezTo>
                  <a:cubicBezTo>
                    <a:pt x="295" y="25"/>
                    <a:pt x="287" y="30"/>
                    <a:pt x="278" y="33"/>
                  </a:cubicBezTo>
                  <a:cubicBezTo>
                    <a:pt x="273" y="35"/>
                    <a:pt x="267" y="34"/>
                    <a:pt x="262" y="36"/>
                  </a:cubicBezTo>
                  <a:cubicBezTo>
                    <a:pt x="261" y="37"/>
                    <a:pt x="259" y="37"/>
                    <a:pt x="258" y="38"/>
                  </a:cubicBezTo>
                  <a:cubicBezTo>
                    <a:pt x="257" y="38"/>
                    <a:pt x="256" y="38"/>
                    <a:pt x="254" y="38"/>
                  </a:cubicBezTo>
                  <a:cubicBezTo>
                    <a:pt x="251" y="39"/>
                    <a:pt x="247" y="40"/>
                    <a:pt x="244" y="41"/>
                  </a:cubicBezTo>
                  <a:cubicBezTo>
                    <a:pt x="241" y="42"/>
                    <a:pt x="237" y="42"/>
                    <a:pt x="234" y="42"/>
                  </a:cubicBezTo>
                  <a:cubicBezTo>
                    <a:pt x="233" y="43"/>
                    <a:pt x="231" y="44"/>
                    <a:pt x="229" y="44"/>
                  </a:cubicBezTo>
                  <a:cubicBezTo>
                    <a:pt x="226" y="45"/>
                    <a:pt x="222" y="45"/>
                    <a:pt x="219" y="47"/>
                  </a:cubicBezTo>
                  <a:cubicBezTo>
                    <a:pt x="216" y="49"/>
                    <a:pt x="212" y="50"/>
                    <a:pt x="209" y="50"/>
                  </a:cubicBezTo>
                  <a:cubicBezTo>
                    <a:pt x="205" y="51"/>
                    <a:pt x="202" y="51"/>
                    <a:pt x="198" y="51"/>
                  </a:cubicBezTo>
                  <a:cubicBezTo>
                    <a:pt x="196" y="52"/>
                    <a:pt x="195" y="52"/>
                    <a:pt x="193" y="52"/>
                  </a:cubicBezTo>
                  <a:cubicBezTo>
                    <a:pt x="189" y="52"/>
                    <a:pt x="187" y="53"/>
                    <a:pt x="184" y="55"/>
                  </a:cubicBezTo>
                  <a:cubicBezTo>
                    <a:pt x="181" y="57"/>
                    <a:pt x="177" y="57"/>
                    <a:pt x="173" y="57"/>
                  </a:cubicBezTo>
                  <a:cubicBezTo>
                    <a:pt x="171" y="57"/>
                    <a:pt x="169" y="56"/>
                    <a:pt x="167" y="58"/>
                  </a:cubicBezTo>
                  <a:cubicBezTo>
                    <a:pt x="164" y="60"/>
                    <a:pt x="162" y="63"/>
                    <a:pt x="159" y="65"/>
                  </a:cubicBezTo>
                  <a:cubicBezTo>
                    <a:pt x="155" y="67"/>
                    <a:pt x="150" y="67"/>
                    <a:pt x="146" y="67"/>
                  </a:cubicBezTo>
                  <a:cubicBezTo>
                    <a:pt x="143" y="68"/>
                    <a:pt x="141" y="68"/>
                    <a:pt x="138" y="69"/>
                  </a:cubicBezTo>
                  <a:cubicBezTo>
                    <a:pt x="136" y="70"/>
                    <a:pt x="134" y="71"/>
                    <a:pt x="133" y="72"/>
                  </a:cubicBezTo>
                  <a:cubicBezTo>
                    <a:pt x="131" y="73"/>
                    <a:pt x="130" y="74"/>
                    <a:pt x="129" y="75"/>
                  </a:cubicBezTo>
                  <a:cubicBezTo>
                    <a:pt x="127" y="76"/>
                    <a:pt x="125" y="79"/>
                    <a:pt x="123" y="79"/>
                  </a:cubicBezTo>
                  <a:cubicBezTo>
                    <a:pt x="117" y="83"/>
                    <a:pt x="112" y="87"/>
                    <a:pt x="107" y="92"/>
                  </a:cubicBezTo>
                  <a:cubicBezTo>
                    <a:pt x="106" y="93"/>
                    <a:pt x="105" y="94"/>
                    <a:pt x="103" y="95"/>
                  </a:cubicBezTo>
                  <a:cubicBezTo>
                    <a:pt x="102" y="97"/>
                    <a:pt x="100" y="98"/>
                    <a:pt x="99" y="99"/>
                  </a:cubicBezTo>
                  <a:cubicBezTo>
                    <a:pt x="97" y="100"/>
                    <a:pt x="94" y="102"/>
                    <a:pt x="93" y="104"/>
                  </a:cubicBezTo>
                  <a:cubicBezTo>
                    <a:pt x="92" y="106"/>
                    <a:pt x="92" y="108"/>
                    <a:pt x="91" y="111"/>
                  </a:cubicBezTo>
                  <a:cubicBezTo>
                    <a:pt x="90" y="113"/>
                    <a:pt x="88" y="115"/>
                    <a:pt x="86" y="117"/>
                  </a:cubicBezTo>
                  <a:cubicBezTo>
                    <a:pt x="83" y="119"/>
                    <a:pt x="80" y="120"/>
                    <a:pt x="77" y="122"/>
                  </a:cubicBezTo>
                  <a:cubicBezTo>
                    <a:pt x="74" y="124"/>
                    <a:pt x="72" y="125"/>
                    <a:pt x="70" y="127"/>
                  </a:cubicBezTo>
                  <a:cubicBezTo>
                    <a:pt x="66" y="130"/>
                    <a:pt x="62" y="133"/>
                    <a:pt x="58" y="136"/>
                  </a:cubicBezTo>
                  <a:cubicBezTo>
                    <a:pt x="57" y="136"/>
                    <a:pt x="56" y="137"/>
                    <a:pt x="55" y="138"/>
                  </a:cubicBezTo>
                  <a:cubicBezTo>
                    <a:pt x="53" y="139"/>
                    <a:pt x="53" y="140"/>
                    <a:pt x="51" y="141"/>
                  </a:cubicBezTo>
                  <a:cubicBezTo>
                    <a:pt x="49" y="142"/>
                    <a:pt x="48" y="143"/>
                    <a:pt x="46" y="143"/>
                  </a:cubicBezTo>
                  <a:cubicBezTo>
                    <a:pt x="43" y="144"/>
                    <a:pt x="39" y="145"/>
                    <a:pt x="36" y="145"/>
                  </a:cubicBezTo>
                  <a:cubicBezTo>
                    <a:pt x="32" y="146"/>
                    <a:pt x="29" y="146"/>
                    <a:pt x="25" y="146"/>
                  </a:cubicBezTo>
                  <a:cubicBezTo>
                    <a:pt x="23" y="146"/>
                    <a:pt x="20" y="146"/>
                    <a:pt x="17" y="146"/>
                  </a:cubicBezTo>
                  <a:cubicBezTo>
                    <a:pt x="14" y="146"/>
                    <a:pt x="11" y="147"/>
                    <a:pt x="8" y="147"/>
                  </a:cubicBezTo>
                  <a:cubicBezTo>
                    <a:pt x="7" y="147"/>
                    <a:pt x="7" y="147"/>
                    <a:pt x="6" y="148"/>
                  </a:cubicBezTo>
                  <a:cubicBezTo>
                    <a:pt x="0" y="171"/>
                    <a:pt x="0" y="171"/>
                    <a:pt x="0" y="171"/>
                  </a:cubicBezTo>
                  <a:cubicBezTo>
                    <a:pt x="24" y="181"/>
                    <a:pt x="24" y="181"/>
                    <a:pt x="24" y="181"/>
                  </a:cubicBezTo>
                  <a:cubicBezTo>
                    <a:pt x="30" y="222"/>
                    <a:pt x="30" y="222"/>
                    <a:pt x="30" y="222"/>
                  </a:cubicBezTo>
                  <a:cubicBezTo>
                    <a:pt x="20" y="239"/>
                    <a:pt x="20" y="239"/>
                    <a:pt x="20" y="239"/>
                  </a:cubicBezTo>
                  <a:cubicBezTo>
                    <a:pt x="42" y="261"/>
                    <a:pt x="42" y="261"/>
                    <a:pt x="42" y="261"/>
                  </a:cubicBezTo>
                  <a:cubicBezTo>
                    <a:pt x="42" y="268"/>
                    <a:pt x="42" y="268"/>
                    <a:pt x="42" y="268"/>
                  </a:cubicBezTo>
                  <a:cubicBezTo>
                    <a:pt x="38" y="278"/>
                    <a:pt x="38" y="278"/>
                    <a:pt x="38" y="278"/>
                  </a:cubicBezTo>
                  <a:cubicBezTo>
                    <a:pt x="37" y="286"/>
                    <a:pt x="37" y="286"/>
                    <a:pt x="37" y="286"/>
                  </a:cubicBezTo>
                  <a:cubicBezTo>
                    <a:pt x="37" y="286"/>
                    <a:pt x="16" y="301"/>
                    <a:pt x="15" y="301"/>
                  </a:cubicBezTo>
                  <a:cubicBezTo>
                    <a:pt x="15" y="301"/>
                    <a:pt x="27" y="330"/>
                    <a:pt x="27" y="330"/>
                  </a:cubicBezTo>
                  <a:cubicBezTo>
                    <a:pt x="34" y="353"/>
                    <a:pt x="34" y="353"/>
                    <a:pt x="34" y="353"/>
                  </a:cubicBezTo>
                  <a:cubicBezTo>
                    <a:pt x="34" y="353"/>
                    <a:pt x="37" y="379"/>
                    <a:pt x="37" y="379"/>
                  </a:cubicBezTo>
                  <a:cubicBezTo>
                    <a:pt x="37" y="380"/>
                    <a:pt x="59" y="419"/>
                    <a:pt x="59" y="419"/>
                  </a:cubicBezTo>
                  <a:cubicBezTo>
                    <a:pt x="88" y="431"/>
                    <a:pt x="88" y="431"/>
                    <a:pt x="88" y="431"/>
                  </a:cubicBezTo>
                  <a:cubicBezTo>
                    <a:pt x="89" y="448"/>
                    <a:pt x="89" y="448"/>
                    <a:pt x="89" y="448"/>
                  </a:cubicBezTo>
                  <a:cubicBezTo>
                    <a:pt x="65" y="453"/>
                    <a:pt x="65" y="453"/>
                    <a:pt x="65" y="453"/>
                  </a:cubicBezTo>
                  <a:cubicBezTo>
                    <a:pt x="65" y="453"/>
                    <a:pt x="65" y="469"/>
                    <a:pt x="65" y="469"/>
                  </a:cubicBezTo>
                  <a:cubicBezTo>
                    <a:pt x="65" y="470"/>
                    <a:pt x="85" y="487"/>
                    <a:pt x="85" y="487"/>
                  </a:cubicBezTo>
                  <a:cubicBezTo>
                    <a:pt x="75" y="518"/>
                    <a:pt x="75" y="518"/>
                    <a:pt x="75" y="518"/>
                  </a:cubicBezTo>
                  <a:cubicBezTo>
                    <a:pt x="77" y="544"/>
                    <a:pt x="77" y="544"/>
                    <a:pt x="77" y="544"/>
                  </a:cubicBezTo>
                  <a:cubicBezTo>
                    <a:pt x="102" y="594"/>
                    <a:pt x="102" y="594"/>
                    <a:pt x="102" y="594"/>
                  </a:cubicBezTo>
                  <a:cubicBezTo>
                    <a:pt x="118" y="607"/>
                    <a:pt x="118" y="607"/>
                    <a:pt x="118" y="607"/>
                  </a:cubicBezTo>
                  <a:cubicBezTo>
                    <a:pt x="126" y="608"/>
                    <a:pt x="126" y="608"/>
                    <a:pt x="126" y="608"/>
                  </a:cubicBezTo>
                  <a:cubicBezTo>
                    <a:pt x="138" y="600"/>
                    <a:pt x="138" y="600"/>
                    <a:pt x="138" y="600"/>
                  </a:cubicBezTo>
                  <a:cubicBezTo>
                    <a:pt x="185" y="597"/>
                    <a:pt x="185" y="597"/>
                    <a:pt x="185" y="597"/>
                  </a:cubicBezTo>
                  <a:cubicBezTo>
                    <a:pt x="204" y="610"/>
                    <a:pt x="204" y="610"/>
                    <a:pt x="204" y="610"/>
                  </a:cubicBezTo>
                  <a:cubicBezTo>
                    <a:pt x="220" y="592"/>
                    <a:pt x="220" y="592"/>
                    <a:pt x="220" y="592"/>
                  </a:cubicBezTo>
                  <a:cubicBezTo>
                    <a:pt x="223" y="562"/>
                    <a:pt x="223" y="562"/>
                    <a:pt x="223" y="562"/>
                  </a:cubicBezTo>
                  <a:cubicBezTo>
                    <a:pt x="235" y="553"/>
                    <a:pt x="235" y="553"/>
                    <a:pt x="235" y="553"/>
                  </a:cubicBezTo>
                  <a:cubicBezTo>
                    <a:pt x="249" y="567"/>
                    <a:pt x="249" y="567"/>
                    <a:pt x="249" y="567"/>
                  </a:cubicBezTo>
                  <a:cubicBezTo>
                    <a:pt x="283" y="567"/>
                    <a:pt x="283" y="567"/>
                    <a:pt x="283" y="567"/>
                  </a:cubicBezTo>
                  <a:cubicBezTo>
                    <a:pt x="301" y="562"/>
                    <a:pt x="301" y="562"/>
                    <a:pt x="301" y="562"/>
                  </a:cubicBezTo>
                  <a:cubicBezTo>
                    <a:pt x="316" y="541"/>
                    <a:pt x="316" y="541"/>
                    <a:pt x="316" y="541"/>
                  </a:cubicBezTo>
                  <a:cubicBezTo>
                    <a:pt x="290" y="526"/>
                    <a:pt x="290" y="526"/>
                    <a:pt x="290" y="526"/>
                  </a:cubicBezTo>
                  <a:cubicBezTo>
                    <a:pt x="297" y="514"/>
                    <a:pt x="297" y="514"/>
                    <a:pt x="297" y="514"/>
                  </a:cubicBezTo>
                  <a:cubicBezTo>
                    <a:pt x="297" y="514"/>
                    <a:pt x="327" y="506"/>
                    <a:pt x="327" y="506"/>
                  </a:cubicBezTo>
                  <a:cubicBezTo>
                    <a:pt x="326" y="506"/>
                    <a:pt x="328" y="484"/>
                    <a:pt x="328" y="484"/>
                  </a:cubicBezTo>
                  <a:cubicBezTo>
                    <a:pt x="328" y="484"/>
                    <a:pt x="349" y="482"/>
                    <a:pt x="349" y="482"/>
                  </a:cubicBezTo>
                  <a:cubicBezTo>
                    <a:pt x="362" y="495"/>
                    <a:pt x="362" y="495"/>
                    <a:pt x="362" y="495"/>
                  </a:cubicBezTo>
                  <a:cubicBezTo>
                    <a:pt x="369" y="498"/>
                    <a:pt x="369" y="498"/>
                    <a:pt x="369" y="498"/>
                  </a:cubicBezTo>
                  <a:cubicBezTo>
                    <a:pt x="387" y="474"/>
                    <a:pt x="387" y="474"/>
                    <a:pt x="387" y="474"/>
                  </a:cubicBezTo>
                  <a:cubicBezTo>
                    <a:pt x="428" y="482"/>
                    <a:pt x="428" y="482"/>
                    <a:pt x="428" y="482"/>
                  </a:cubicBezTo>
                  <a:cubicBezTo>
                    <a:pt x="442" y="499"/>
                    <a:pt x="442" y="499"/>
                    <a:pt x="442" y="499"/>
                  </a:cubicBezTo>
                  <a:cubicBezTo>
                    <a:pt x="503" y="499"/>
                    <a:pt x="503" y="499"/>
                    <a:pt x="503" y="499"/>
                  </a:cubicBezTo>
                  <a:cubicBezTo>
                    <a:pt x="503" y="499"/>
                    <a:pt x="517" y="512"/>
                    <a:pt x="517" y="512"/>
                  </a:cubicBezTo>
                  <a:cubicBezTo>
                    <a:pt x="518" y="512"/>
                    <a:pt x="539" y="490"/>
                    <a:pt x="539" y="490"/>
                  </a:cubicBezTo>
                  <a:cubicBezTo>
                    <a:pt x="559" y="499"/>
                    <a:pt x="559" y="499"/>
                    <a:pt x="559" y="499"/>
                  </a:cubicBezTo>
                  <a:cubicBezTo>
                    <a:pt x="560" y="525"/>
                    <a:pt x="560" y="525"/>
                    <a:pt x="560" y="525"/>
                  </a:cubicBezTo>
                  <a:cubicBezTo>
                    <a:pt x="610" y="531"/>
                    <a:pt x="610" y="531"/>
                    <a:pt x="610" y="531"/>
                  </a:cubicBezTo>
                  <a:cubicBezTo>
                    <a:pt x="626" y="524"/>
                    <a:pt x="626" y="524"/>
                    <a:pt x="626" y="524"/>
                  </a:cubicBezTo>
                  <a:cubicBezTo>
                    <a:pt x="653" y="512"/>
                    <a:pt x="653" y="512"/>
                    <a:pt x="653" y="512"/>
                  </a:cubicBezTo>
                  <a:cubicBezTo>
                    <a:pt x="667" y="480"/>
                    <a:pt x="667" y="480"/>
                    <a:pt x="667" y="480"/>
                  </a:cubicBezTo>
                  <a:cubicBezTo>
                    <a:pt x="692" y="459"/>
                    <a:pt x="692" y="459"/>
                    <a:pt x="692" y="459"/>
                  </a:cubicBezTo>
                  <a:cubicBezTo>
                    <a:pt x="683" y="439"/>
                    <a:pt x="683" y="439"/>
                    <a:pt x="683" y="439"/>
                  </a:cubicBezTo>
                  <a:cubicBezTo>
                    <a:pt x="694" y="420"/>
                    <a:pt x="694" y="420"/>
                    <a:pt x="694" y="420"/>
                  </a:cubicBezTo>
                  <a:cubicBezTo>
                    <a:pt x="729" y="423"/>
                    <a:pt x="729" y="423"/>
                    <a:pt x="729" y="423"/>
                  </a:cubicBezTo>
                  <a:cubicBezTo>
                    <a:pt x="755" y="362"/>
                    <a:pt x="755" y="362"/>
                    <a:pt x="755" y="362"/>
                  </a:cubicBezTo>
                  <a:cubicBezTo>
                    <a:pt x="749" y="358"/>
                    <a:pt x="749" y="358"/>
                    <a:pt x="749" y="358"/>
                  </a:cubicBezTo>
                  <a:cubicBezTo>
                    <a:pt x="722" y="354"/>
                    <a:pt x="722" y="354"/>
                    <a:pt x="722" y="354"/>
                  </a:cubicBezTo>
                  <a:cubicBezTo>
                    <a:pt x="711" y="374"/>
                    <a:pt x="711" y="374"/>
                    <a:pt x="711" y="374"/>
                  </a:cubicBezTo>
                  <a:cubicBezTo>
                    <a:pt x="695" y="355"/>
                    <a:pt x="695" y="355"/>
                    <a:pt x="695" y="355"/>
                  </a:cubicBezTo>
                  <a:cubicBezTo>
                    <a:pt x="688" y="333"/>
                    <a:pt x="688" y="333"/>
                    <a:pt x="688" y="333"/>
                  </a:cubicBezTo>
                  <a:cubicBezTo>
                    <a:pt x="688" y="333"/>
                    <a:pt x="669" y="333"/>
                    <a:pt x="669" y="333"/>
                  </a:cubicBezTo>
                  <a:cubicBezTo>
                    <a:pt x="669" y="333"/>
                    <a:pt x="654" y="294"/>
                    <a:pt x="654" y="294"/>
                  </a:cubicBezTo>
                  <a:cubicBezTo>
                    <a:pt x="657" y="240"/>
                    <a:pt x="657" y="240"/>
                    <a:pt x="657" y="240"/>
                  </a:cubicBezTo>
                  <a:cubicBezTo>
                    <a:pt x="655" y="240"/>
                    <a:pt x="654" y="239"/>
                    <a:pt x="652" y="238"/>
                  </a:cubicBezTo>
                  <a:cubicBezTo>
                    <a:pt x="652" y="236"/>
                    <a:pt x="657" y="236"/>
                    <a:pt x="659" y="234"/>
                  </a:cubicBezTo>
                  <a:cubicBezTo>
                    <a:pt x="662" y="232"/>
                    <a:pt x="660" y="229"/>
                    <a:pt x="661" y="226"/>
                  </a:cubicBezTo>
                  <a:cubicBezTo>
                    <a:pt x="661" y="224"/>
                    <a:pt x="663" y="221"/>
                    <a:pt x="664" y="219"/>
                  </a:cubicBezTo>
                  <a:cubicBezTo>
                    <a:pt x="665" y="216"/>
                    <a:pt x="666" y="214"/>
                    <a:pt x="664" y="212"/>
                  </a:cubicBezTo>
                  <a:cubicBezTo>
                    <a:pt x="663" y="210"/>
                    <a:pt x="663" y="209"/>
                    <a:pt x="661" y="208"/>
                  </a:cubicBezTo>
                  <a:cubicBezTo>
                    <a:pt x="660" y="207"/>
                    <a:pt x="658" y="207"/>
                    <a:pt x="657" y="207"/>
                  </a:cubicBezTo>
                  <a:cubicBezTo>
                    <a:pt x="655" y="204"/>
                    <a:pt x="659" y="201"/>
                    <a:pt x="660" y="200"/>
                  </a:cubicBezTo>
                  <a:cubicBezTo>
                    <a:pt x="664" y="197"/>
                    <a:pt x="669" y="198"/>
                    <a:pt x="674" y="199"/>
                  </a:cubicBezTo>
                  <a:cubicBezTo>
                    <a:pt x="680" y="200"/>
                    <a:pt x="684" y="198"/>
                    <a:pt x="689" y="194"/>
                  </a:cubicBezTo>
                  <a:cubicBezTo>
                    <a:pt x="692" y="190"/>
                    <a:pt x="696" y="184"/>
                    <a:pt x="701" y="182"/>
                  </a:cubicBezTo>
                  <a:cubicBezTo>
                    <a:pt x="706" y="181"/>
                    <a:pt x="711" y="183"/>
                    <a:pt x="715" y="182"/>
                  </a:cubicBezTo>
                  <a:cubicBezTo>
                    <a:pt x="721" y="181"/>
                    <a:pt x="725" y="175"/>
                    <a:pt x="729" y="170"/>
                  </a:cubicBezTo>
                  <a:cubicBezTo>
                    <a:pt x="733" y="165"/>
                    <a:pt x="737" y="159"/>
                    <a:pt x="743" y="156"/>
                  </a:cubicBezTo>
                  <a:cubicBezTo>
                    <a:pt x="747" y="155"/>
                    <a:pt x="751" y="154"/>
                    <a:pt x="755" y="152"/>
                  </a:cubicBezTo>
                  <a:cubicBezTo>
                    <a:pt x="758" y="150"/>
                    <a:pt x="760" y="146"/>
                    <a:pt x="763" y="143"/>
                  </a:cubicBezTo>
                  <a:cubicBezTo>
                    <a:pt x="765" y="139"/>
                    <a:pt x="768" y="136"/>
                    <a:pt x="770" y="133"/>
                  </a:cubicBezTo>
                  <a:cubicBezTo>
                    <a:pt x="773" y="129"/>
                    <a:pt x="776" y="125"/>
                    <a:pt x="778" y="121"/>
                  </a:cubicBezTo>
                  <a:cubicBezTo>
                    <a:pt x="781" y="117"/>
                    <a:pt x="785" y="113"/>
                    <a:pt x="788" y="109"/>
                  </a:cubicBezTo>
                  <a:cubicBezTo>
                    <a:pt x="792" y="107"/>
                    <a:pt x="794" y="104"/>
                    <a:pt x="795" y="100"/>
                  </a:cubicBezTo>
                  <a:cubicBezTo>
                    <a:pt x="797" y="95"/>
                    <a:pt x="798" y="91"/>
                    <a:pt x="800" y="86"/>
                  </a:cubicBezTo>
                  <a:cubicBezTo>
                    <a:pt x="802" y="81"/>
                    <a:pt x="805" y="77"/>
                    <a:pt x="806" y="72"/>
                  </a:cubicBezTo>
                  <a:cubicBezTo>
                    <a:pt x="807" y="70"/>
                    <a:pt x="814" y="65"/>
                    <a:pt x="810" y="63"/>
                  </a:cubicBezTo>
                  <a:close/>
                </a:path>
              </a:pathLst>
            </a:custGeom>
            <a:grpFill/>
            <a:ln>
              <a:solidFill>
                <a:srgbClr val="FFFFFF"/>
              </a:solidFill>
            </a:ln>
          </p:spPr>
          <p:txBody>
            <a:bodyPr vert="horz" wrap="square" lIns="121920" tIns="60960" rIns="121920" bIns="60960" numCol="1" anchor="t" anchorCtr="0" compatLnSpc="1">
              <a:prstTxWarp prst="textNoShape">
                <a:avLst/>
              </a:prstTxWarp>
            </a:bodyPr>
            <a:lstStyle/>
            <a:p>
              <a:pPr marL="0" marR="0" lvl="0" indent="0" defTabSz="467539"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000000"/>
                </a:solidFill>
                <a:effectLst/>
                <a:uLnTx/>
                <a:uFillTx/>
              </a:endParaRPr>
            </a:p>
          </p:txBody>
        </p:sp>
        <p:sp>
          <p:nvSpPr>
            <p:cNvPr id="100" name="Freeform 17">
              <a:extLst>
                <a:ext uri="{FF2B5EF4-FFF2-40B4-BE49-F238E27FC236}">
                  <a16:creationId xmlns:a16="http://schemas.microsoft.com/office/drawing/2014/main" id="{848AF989-C93A-41C8-B5F3-A6B643A906EA}"/>
                </a:ext>
              </a:extLst>
            </p:cNvPr>
            <p:cNvSpPr>
              <a:spLocks/>
            </p:cNvSpPr>
            <p:nvPr/>
          </p:nvSpPr>
          <p:spPr bwMode="auto">
            <a:xfrm>
              <a:off x="736600" y="2027238"/>
              <a:ext cx="171450" cy="133350"/>
            </a:xfrm>
            <a:custGeom>
              <a:avLst/>
              <a:gdLst>
                <a:gd name="T0" fmla="*/ 17 w 146"/>
                <a:gd name="T1" fmla="*/ 90 h 113"/>
                <a:gd name="T2" fmla="*/ 1 w 146"/>
                <a:gd name="T3" fmla="*/ 63 h 113"/>
                <a:gd name="T4" fmla="*/ 6 w 146"/>
                <a:gd name="T5" fmla="*/ 46 h 113"/>
                <a:gd name="T6" fmla="*/ 43 w 146"/>
                <a:gd name="T7" fmla="*/ 51 h 113"/>
                <a:gd name="T8" fmla="*/ 76 w 146"/>
                <a:gd name="T9" fmla="*/ 32 h 113"/>
                <a:gd name="T10" fmla="*/ 117 w 146"/>
                <a:gd name="T11" fmla="*/ 9 h 113"/>
                <a:gd name="T12" fmla="*/ 136 w 146"/>
                <a:gd name="T13" fmla="*/ 10 h 113"/>
                <a:gd name="T14" fmla="*/ 122 w 146"/>
                <a:gd name="T15" fmla="*/ 28 h 113"/>
                <a:gd name="T16" fmla="*/ 112 w 146"/>
                <a:gd name="T17" fmla="*/ 54 h 113"/>
                <a:gd name="T18" fmla="*/ 100 w 146"/>
                <a:gd name="T19" fmla="*/ 75 h 113"/>
                <a:gd name="T20" fmla="*/ 96 w 146"/>
                <a:gd name="T21" fmla="*/ 101 h 113"/>
                <a:gd name="T22" fmla="*/ 90 w 146"/>
                <a:gd name="T23" fmla="*/ 99 h 113"/>
                <a:gd name="T24" fmla="*/ 88 w 146"/>
                <a:gd name="T25" fmla="*/ 79 h 113"/>
                <a:gd name="T26" fmla="*/ 56 w 146"/>
                <a:gd name="T27" fmla="*/ 74 h 113"/>
                <a:gd name="T28" fmla="*/ 57 w 146"/>
                <a:gd name="T29" fmla="*/ 58 h 113"/>
                <a:gd name="T30" fmla="*/ 46 w 146"/>
                <a:gd name="T31" fmla="*/ 63 h 113"/>
                <a:gd name="T32" fmla="*/ 38 w 146"/>
                <a:gd name="T33" fmla="*/ 67 h 113"/>
                <a:gd name="T34" fmla="*/ 36 w 146"/>
                <a:gd name="T35" fmla="*/ 73 h 113"/>
                <a:gd name="T36" fmla="*/ 25 w 146"/>
                <a:gd name="T37" fmla="*/ 71 h 113"/>
                <a:gd name="T38" fmla="*/ 16 w 146"/>
                <a:gd name="T39" fmla="*/ 73 h 113"/>
                <a:gd name="T40" fmla="*/ 14 w 146"/>
                <a:gd name="T41" fmla="*/ 61 h 113"/>
                <a:gd name="T42" fmla="*/ 6 w 146"/>
                <a:gd name="T43" fmla="*/ 60 h 113"/>
                <a:gd name="T44" fmla="*/ 11 w 146"/>
                <a:gd name="T45" fmla="*/ 69 h 113"/>
                <a:gd name="T46" fmla="*/ 14 w 146"/>
                <a:gd name="T47" fmla="*/ 80 h 113"/>
                <a:gd name="T48" fmla="*/ 17 w 146"/>
                <a:gd name="T49" fmla="*/ 9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6" h="113">
                  <a:moveTo>
                    <a:pt x="17" y="90"/>
                  </a:moveTo>
                  <a:cubicBezTo>
                    <a:pt x="17" y="90"/>
                    <a:pt x="1" y="76"/>
                    <a:pt x="1" y="63"/>
                  </a:cubicBezTo>
                  <a:cubicBezTo>
                    <a:pt x="2" y="51"/>
                    <a:pt x="0" y="46"/>
                    <a:pt x="6" y="46"/>
                  </a:cubicBezTo>
                  <a:cubicBezTo>
                    <a:pt x="13" y="47"/>
                    <a:pt x="39" y="55"/>
                    <a:pt x="43" y="51"/>
                  </a:cubicBezTo>
                  <a:cubicBezTo>
                    <a:pt x="48" y="47"/>
                    <a:pt x="55" y="49"/>
                    <a:pt x="76" y="32"/>
                  </a:cubicBezTo>
                  <a:cubicBezTo>
                    <a:pt x="97" y="16"/>
                    <a:pt x="111" y="12"/>
                    <a:pt x="117" y="9"/>
                  </a:cubicBezTo>
                  <a:cubicBezTo>
                    <a:pt x="122" y="7"/>
                    <a:pt x="146" y="0"/>
                    <a:pt x="136" y="10"/>
                  </a:cubicBezTo>
                  <a:cubicBezTo>
                    <a:pt x="126" y="20"/>
                    <a:pt x="122" y="20"/>
                    <a:pt x="122" y="28"/>
                  </a:cubicBezTo>
                  <a:cubicBezTo>
                    <a:pt x="121" y="36"/>
                    <a:pt x="116" y="48"/>
                    <a:pt x="112" y="54"/>
                  </a:cubicBezTo>
                  <a:cubicBezTo>
                    <a:pt x="107" y="60"/>
                    <a:pt x="101" y="66"/>
                    <a:pt x="100" y="75"/>
                  </a:cubicBezTo>
                  <a:cubicBezTo>
                    <a:pt x="99" y="84"/>
                    <a:pt x="102" y="95"/>
                    <a:pt x="96" y="101"/>
                  </a:cubicBezTo>
                  <a:cubicBezTo>
                    <a:pt x="90" y="108"/>
                    <a:pt x="87" y="113"/>
                    <a:pt x="90" y="99"/>
                  </a:cubicBezTo>
                  <a:cubicBezTo>
                    <a:pt x="94" y="85"/>
                    <a:pt x="95" y="81"/>
                    <a:pt x="88" y="79"/>
                  </a:cubicBezTo>
                  <a:cubicBezTo>
                    <a:pt x="82" y="77"/>
                    <a:pt x="56" y="79"/>
                    <a:pt x="56" y="74"/>
                  </a:cubicBezTo>
                  <a:cubicBezTo>
                    <a:pt x="55" y="68"/>
                    <a:pt x="62" y="58"/>
                    <a:pt x="57" y="58"/>
                  </a:cubicBezTo>
                  <a:cubicBezTo>
                    <a:pt x="52" y="58"/>
                    <a:pt x="51" y="64"/>
                    <a:pt x="46" y="63"/>
                  </a:cubicBezTo>
                  <a:cubicBezTo>
                    <a:pt x="41" y="62"/>
                    <a:pt x="38" y="63"/>
                    <a:pt x="38" y="67"/>
                  </a:cubicBezTo>
                  <a:cubicBezTo>
                    <a:pt x="38" y="70"/>
                    <a:pt x="41" y="75"/>
                    <a:pt x="36" y="73"/>
                  </a:cubicBezTo>
                  <a:cubicBezTo>
                    <a:pt x="32" y="71"/>
                    <a:pt x="29" y="69"/>
                    <a:pt x="25" y="71"/>
                  </a:cubicBezTo>
                  <a:cubicBezTo>
                    <a:pt x="22" y="74"/>
                    <a:pt x="15" y="79"/>
                    <a:pt x="16" y="73"/>
                  </a:cubicBezTo>
                  <a:cubicBezTo>
                    <a:pt x="16" y="66"/>
                    <a:pt x="18" y="64"/>
                    <a:pt x="14" y="61"/>
                  </a:cubicBezTo>
                  <a:cubicBezTo>
                    <a:pt x="10" y="59"/>
                    <a:pt x="3" y="55"/>
                    <a:pt x="6" y="60"/>
                  </a:cubicBezTo>
                  <a:cubicBezTo>
                    <a:pt x="9" y="64"/>
                    <a:pt x="11" y="64"/>
                    <a:pt x="11" y="69"/>
                  </a:cubicBezTo>
                  <a:cubicBezTo>
                    <a:pt x="12" y="75"/>
                    <a:pt x="8" y="75"/>
                    <a:pt x="14" y="80"/>
                  </a:cubicBezTo>
                  <a:cubicBezTo>
                    <a:pt x="20" y="84"/>
                    <a:pt x="27" y="96"/>
                    <a:pt x="17" y="90"/>
                  </a:cubicBezTo>
                  <a:close/>
                </a:path>
              </a:pathLst>
            </a:custGeom>
            <a:grpFill/>
            <a:ln>
              <a:solidFill>
                <a:srgbClr val="FFFFFF"/>
              </a:solidFill>
            </a:ln>
          </p:spPr>
          <p:txBody>
            <a:bodyPr vert="horz" wrap="square" lIns="121920" tIns="60960" rIns="121920" bIns="60960" numCol="1" anchor="t" anchorCtr="0" compatLnSpc="1">
              <a:prstTxWarp prst="textNoShape">
                <a:avLst/>
              </a:prstTxWarp>
            </a:bodyPr>
            <a:lstStyle/>
            <a:p>
              <a:pPr marL="0" marR="0" lvl="0" indent="0" defTabSz="467539"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000000"/>
                </a:solidFill>
                <a:effectLst/>
                <a:uLnTx/>
                <a:uFillTx/>
              </a:endParaRPr>
            </a:p>
          </p:txBody>
        </p:sp>
        <p:sp>
          <p:nvSpPr>
            <p:cNvPr id="101" name="Freeform 18">
              <a:extLst>
                <a:ext uri="{FF2B5EF4-FFF2-40B4-BE49-F238E27FC236}">
                  <a16:creationId xmlns:a16="http://schemas.microsoft.com/office/drawing/2014/main" id="{22F7B883-83F5-4561-A07F-15D9569B57DA}"/>
                </a:ext>
              </a:extLst>
            </p:cNvPr>
            <p:cNvSpPr>
              <a:spLocks/>
            </p:cNvSpPr>
            <p:nvPr/>
          </p:nvSpPr>
          <p:spPr bwMode="auto">
            <a:xfrm>
              <a:off x="2300288" y="2166938"/>
              <a:ext cx="1174750" cy="1225550"/>
            </a:xfrm>
            <a:custGeom>
              <a:avLst/>
              <a:gdLst>
                <a:gd name="T0" fmla="*/ 969 w 1000"/>
                <a:gd name="T1" fmla="*/ 444 h 1045"/>
                <a:gd name="T2" fmla="*/ 878 w 1000"/>
                <a:gd name="T3" fmla="*/ 431 h 1045"/>
                <a:gd name="T4" fmla="*/ 844 w 1000"/>
                <a:gd name="T5" fmla="*/ 413 h 1045"/>
                <a:gd name="T6" fmla="*/ 794 w 1000"/>
                <a:gd name="T7" fmla="*/ 342 h 1045"/>
                <a:gd name="T8" fmla="*/ 794 w 1000"/>
                <a:gd name="T9" fmla="*/ 265 h 1045"/>
                <a:gd name="T10" fmla="*/ 751 w 1000"/>
                <a:gd name="T11" fmla="*/ 267 h 1045"/>
                <a:gd name="T12" fmla="*/ 756 w 1000"/>
                <a:gd name="T13" fmla="*/ 231 h 1045"/>
                <a:gd name="T14" fmla="*/ 701 w 1000"/>
                <a:gd name="T15" fmla="*/ 244 h 1045"/>
                <a:gd name="T16" fmla="*/ 651 w 1000"/>
                <a:gd name="T17" fmla="*/ 192 h 1045"/>
                <a:gd name="T18" fmla="*/ 595 w 1000"/>
                <a:gd name="T19" fmla="*/ 130 h 1045"/>
                <a:gd name="T20" fmla="*/ 557 w 1000"/>
                <a:gd name="T21" fmla="*/ 58 h 1045"/>
                <a:gd name="T22" fmla="*/ 523 w 1000"/>
                <a:gd name="T23" fmla="*/ 10 h 1045"/>
                <a:gd name="T24" fmla="*/ 417 w 1000"/>
                <a:gd name="T25" fmla="*/ 80 h 1045"/>
                <a:gd name="T26" fmla="*/ 367 w 1000"/>
                <a:gd name="T27" fmla="*/ 97 h 1045"/>
                <a:gd name="T28" fmla="*/ 296 w 1000"/>
                <a:gd name="T29" fmla="*/ 135 h 1045"/>
                <a:gd name="T30" fmla="*/ 254 w 1000"/>
                <a:gd name="T31" fmla="*/ 177 h 1045"/>
                <a:gd name="T32" fmla="*/ 159 w 1000"/>
                <a:gd name="T33" fmla="*/ 185 h 1045"/>
                <a:gd name="T34" fmla="*/ 111 w 1000"/>
                <a:gd name="T35" fmla="*/ 173 h 1045"/>
                <a:gd name="T36" fmla="*/ 84 w 1000"/>
                <a:gd name="T37" fmla="*/ 159 h 1045"/>
                <a:gd name="T38" fmla="*/ 6 w 1000"/>
                <a:gd name="T39" fmla="*/ 265 h 1045"/>
                <a:gd name="T40" fmla="*/ 6 w 1000"/>
                <a:gd name="T41" fmla="*/ 394 h 1045"/>
                <a:gd name="T42" fmla="*/ 12 w 1000"/>
                <a:gd name="T43" fmla="*/ 524 h 1045"/>
                <a:gd name="T44" fmla="*/ 174 w 1000"/>
                <a:gd name="T45" fmla="*/ 526 h 1045"/>
                <a:gd name="T46" fmla="*/ 273 w 1000"/>
                <a:gd name="T47" fmla="*/ 610 h 1045"/>
                <a:gd name="T48" fmla="*/ 321 w 1000"/>
                <a:gd name="T49" fmla="*/ 679 h 1045"/>
                <a:gd name="T50" fmla="*/ 385 w 1000"/>
                <a:gd name="T51" fmla="*/ 748 h 1045"/>
                <a:gd name="T52" fmla="*/ 327 w 1000"/>
                <a:gd name="T53" fmla="*/ 787 h 1045"/>
                <a:gd name="T54" fmla="*/ 379 w 1000"/>
                <a:gd name="T55" fmla="*/ 878 h 1045"/>
                <a:gd name="T56" fmla="*/ 368 w 1000"/>
                <a:gd name="T57" fmla="*/ 931 h 1045"/>
                <a:gd name="T58" fmla="*/ 428 w 1000"/>
                <a:gd name="T59" fmla="*/ 991 h 1045"/>
                <a:gd name="T60" fmla="*/ 556 w 1000"/>
                <a:gd name="T61" fmla="*/ 1005 h 1045"/>
                <a:gd name="T62" fmla="*/ 647 w 1000"/>
                <a:gd name="T63" fmla="*/ 1008 h 1045"/>
                <a:gd name="T64" fmla="*/ 716 w 1000"/>
                <a:gd name="T65" fmla="*/ 995 h 1045"/>
                <a:gd name="T66" fmla="*/ 722 w 1000"/>
                <a:gd name="T67" fmla="*/ 916 h 1045"/>
                <a:gd name="T68" fmla="*/ 720 w 1000"/>
                <a:gd name="T69" fmla="*/ 857 h 1045"/>
                <a:gd name="T70" fmla="*/ 709 w 1000"/>
                <a:gd name="T71" fmla="*/ 805 h 1045"/>
                <a:gd name="T72" fmla="*/ 654 w 1000"/>
                <a:gd name="T73" fmla="*/ 776 h 1045"/>
                <a:gd name="T74" fmla="*/ 720 w 1000"/>
                <a:gd name="T75" fmla="*/ 748 h 1045"/>
                <a:gd name="T76" fmla="*/ 722 w 1000"/>
                <a:gd name="T77" fmla="*/ 714 h 1045"/>
                <a:gd name="T78" fmla="*/ 745 w 1000"/>
                <a:gd name="T79" fmla="*/ 608 h 1045"/>
                <a:gd name="T80" fmla="*/ 888 w 1000"/>
                <a:gd name="T81" fmla="*/ 582 h 1045"/>
                <a:gd name="T82" fmla="*/ 951 w 1000"/>
                <a:gd name="T83" fmla="*/ 554 h 1045"/>
                <a:gd name="T84" fmla="*/ 1000 w 1000"/>
                <a:gd name="T85" fmla="*/ 458 h 10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00" h="1045">
                  <a:moveTo>
                    <a:pt x="988" y="452"/>
                  </a:moveTo>
                  <a:cubicBezTo>
                    <a:pt x="986" y="455"/>
                    <a:pt x="980" y="465"/>
                    <a:pt x="978" y="460"/>
                  </a:cubicBezTo>
                  <a:cubicBezTo>
                    <a:pt x="976" y="455"/>
                    <a:pt x="975" y="447"/>
                    <a:pt x="969" y="444"/>
                  </a:cubicBezTo>
                  <a:cubicBezTo>
                    <a:pt x="963" y="441"/>
                    <a:pt x="947" y="430"/>
                    <a:pt x="929" y="429"/>
                  </a:cubicBezTo>
                  <a:cubicBezTo>
                    <a:pt x="912" y="429"/>
                    <a:pt x="898" y="426"/>
                    <a:pt x="893" y="428"/>
                  </a:cubicBezTo>
                  <a:cubicBezTo>
                    <a:pt x="887" y="430"/>
                    <a:pt x="885" y="434"/>
                    <a:pt x="878" y="431"/>
                  </a:cubicBezTo>
                  <a:cubicBezTo>
                    <a:pt x="871" y="428"/>
                    <a:pt x="860" y="418"/>
                    <a:pt x="856" y="421"/>
                  </a:cubicBezTo>
                  <a:cubicBezTo>
                    <a:pt x="851" y="423"/>
                    <a:pt x="845" y="433"/>
                    <a:pt x="845" y="427"/>
                  </a:cubicBezTo>
                  <a:cubicBezTo>
                    <a:pt x="844" y="421"/>
                    <a:pt x="848" y="417"/>
                    <a:pt x="844" y="413"/>
                  </a:cubicBezTo>
                  <a:cubicBezTo>
                    <a:pt x="839" y="409"/>
                    <a:pt x="831" y="407"/>
                    <a:pt x="832" y="400"/>
                  </a:cubicBezTo>
                  <a:cubicBezTo>
                    <a:pt x="834" y="394"/>
                    <a:pt x="835" y="381"/>
                    <a:pt x="827" y="375"/>
                  </a:cubicBezTo>
                  <a:cubicBezTo>
                    <a:pt x="820" y="369"/>
                    <a:pt x="794" y="342"/>
                    <a:pt x="794" y="342"/>
                  </a:cubicBezTo>
                  <a:cubicBezTo>
                    <a:pt x="794" y="342"/>
                    <a:pt x="810" y="317"/>
                    <a:pt x="808" y="309"/>
                  </a:cubicBezTo>
                  <a:cubicBezTo>
                    <a:pt x="805" y="301"/>
                    <a:pt x="804" y="290"/>
                    <a:pt x="803" y="285"/>
                  </a:cubicBezTo>
                  <a:cubicBezTo>
                    <a:pt x="803" y="281"/>
                    <a:pt x="802" y="265"/>
                    <a:pt x="794" y="265"/>
                  </a:cubicBezTo>
                  <a:cubicBezTo>
                    <a:pt x="786" y="265"/>
                    <a:pt x="778" y="267"/>
                    <a:pt x="777" y="271"/>
                  </a:cubicBezTo>
                  <a:cubicBezTo>
                    <a:pt x="775" y="276"/>
                    <a:pt x="774" y="277"/>
                    <a:pt x="769" y="276"/>
                  </a:cubicBezTo>
                  <a:cubicBezTo>
                    <a:pt x="763" y="274"/>
                    <a:pt x="754" y="274"/>
                    <a:pt x="751" y="267"/>
                  </a:cubicBezTo>
                  <a:cubicBezTo>
                    <a:pt x="748" y="261"/>
                    <a:pt x="747" y="258"/>
                    <a:pt x="747" y="257"/>
                  </a:cubicBezTo>
                  <a:cubicBezTo>
                    <a:pt x="747" y="256"/>
                    <a:pt x="762" y="246"/>
                    <a:pt x="761" y="240"/>
                  </a:cubicBezTo>
                  <a:cubicBezTo>
                    <a:pt x="760" y="234"/>
                    <a:pt x="763" y="231"/>
                    <a:pt x="756" y="231"/>
                  </a:cubicBezTo>
                  <a:cubicBezTo>
                    <a:pt x="750" y="230"/>
                    <a:pt x="736" y="230"/>
                    <a:pt x="733" y="235"/>
                  </a:cubicBezTo>
                  <a:cubicBezTo>
                    <a:pt x="730" y="239"/>
                    <a:pt x="725" y="243"/>
                    <a:pt x="722" y="243"/>
                  </a:cubicBezTo>
                  <a:cubicBezTo>
                    <a:pt x="718" y="243"/>
                    <a:pt x="706" y="249"/>
                    <a:pt x="701" y="244"/>
                  </a:cubicBezTo>
                  <a:cubicBezTo>
                    <a:pt x="697" y="238"/>
                    <a:pt x="684" y="222"/>
                    <a:pt x="681" y="213"/>
                  </a:cubicBezTo>
                  <a:cubicBezTo>
                    <a:pt x="677" y="205"/>
                    <a:pt x="676" y="199"/>
                    <a:pt x="672" y="197"/>
                  </a:cubicBezTo>
                  <a:cubicBezTo>
                    <a:pt x="668" y="196"/>
                    <a:pt x="651" y="192"/>
                    <a:pt x="651" y="192"/>
                  </a:cubicBezTo>
                  <a:cubicBezTo>
                    <a:pt x="651" y="192"/>
                    <a:pt x="651" y="174"/>
                    <a:pt x="651" y="174"/>
                  </a:cubicBezTo>
                  <a:cubicBezTo>
                    <a:pt x="651" y="174"/>
                    <a:pt x="621" y="143"/>
                    <a:pt x="614" y="142"/>
                  </a:cubicBezTo>
                  <a:cubicBezTo>
                    <a:pt x="607" y="140"/>
                    <a:pt x="596" y="136"/>
                    <a:pt x="595" y="130"/>
                  </a:cubicBezTo>
                  <a:cubicBezTo>
                    <a:pt x="594" y="125"/>
                    <a:pt x="594" y="123"/>
                    <a:pt x="591" y="117"/>
                  </a:cubicBezTo>
                  <a:cubicBezTo>
                    <a:pt x="588" y="112"/>
                    <a:pt x="585" y="95"/>
                    <a:pt x="580" y="89"/>
                  </a:cubicBezTo>
                  <a:cubicBezTo>
                    <a:pt x="576" y="84"/>
                    <a:pt x="553" y="70"/>
                    <a:pt x="557" y="58"/>
                  </a:cubicBezTo>
                  <a:cubicBezTo>
                    <a:pt x="561" y="46"/>
                    <a:pt x="566" y="35"/>
                    <a:pt x="564" y="28"/>
                  </a:cubicBezTo>
                  <a:cubicBezTo>
                    <a:pt x="562" y="22"/>
                    <a:pt x="552" y="1"/>
                    <a:pt x="551" y="0"/>
                  </a:cubicBezTo>
                  <a:cubicBezTo>
                    <a:pt x="547" y="3"/>
                    <a:pt x="537" y="5"/>
                    <a:pt x="523" y="10"/>
                  </a:cubicBezTo>
                  <a:cubicBezTo>
                    <a:pt x="505" y="16"/>
                    <a:pt x="485" y="35"/>
                    <a:pt x="485" y="35"/>
                  </a:cubicBezTo>
                  <a:cubicBezTo>
                    <a:pt x="485" y="35"/>
                    <a:pt x="458" y="36"/>
                    <a:pt x="457" y="36"/>
                  </a:cubicBezTo>
                  <a:cubicBezTo>
                    <a:pt x="456" y="36"/>
                    <a:pt x="417" y="80"/>
                    <a:pt x="417" y="80"/>
                  </a:cubicBezTo>
                  <a:cubicBezTo>
                    <a:pt x="417" y="80"/>
                    <a:pt x="396" y="67"/>
                    <a:pt x="387" y="68"/>
                  </a:cubicBezTo>
                  <a:cubicBezTo>
                    <a:pt x="377" y="69"/>
                    <a:pt x="377" y="79"/>
                    <a:pt x="378" y="86"/>
                  </a:cubicBezTo>
                  <a:cubicBezTo>
                    <a:pt x="379" y="93"/>
                    <a:pt x="372" y="93"/>
                    <a:pt x="367" y="97"/>
                  </a:cubicBezTo>
                  <a:cubicBezTo>
                    <a:pt x="363" y="100"/>
                    <a:pt x="334" y="100"/>
                    <a:pt x="330" y="100"/>
                  </a:cubicBezTo>
                  <a:cubicBezTo>
                    <a:pt x="326" y="101"/>
                    <a:pt x="325" y="105"/>
                    <a:pt x="319" y="113"/>
                  </a:cubicBezTo>
                  <a:cubicBezTo>
                    <a:pt x="313" y="121"/>
                    <a:pt x="296" y="135"/>
                    <a:pt x="296" y="135"/>
                  </a:cubicBezTo>
                  <a:cubicBezTo>
                    <a:pt x="296" y="135"/>
                    <a:pt x="264" y="133"/>
                    <a:pt x="264" y="133"/>
                  </a:cubicBezTo>
                  <a:cubicBezTo>
                    <a:pt x="264" y="133"/>
                    <a:pt x="257" y="139"/>
                    <a:pt x="253" y="143"/>
                  </a:cubicBezTo>
                  <a:cubicBezTo>
                    <a:pt x="248" y="148"/>
                    <a:pt x="254" y="177"/>
                    <a:pt x="254" y="177"/>
                  </a:cubicBezTo>
                  <a:cubicBezTo>
                    <a:pt x="254" y="177"/>
                    <a:pt x="232" y="178"/>
                    <a:pt x="228" y="179"/>
                  </a:cubicBezTo>
                  <a:cubicBezTo>
                    <a:pt x="225" y="180"/>
                    <a:pt x="190" y="176"/>
                    <a:pt x="183" y="174"/>
                  </a:cubicBezTo>
                  <a:cubicBezTo>
                    <a:pt x="176" y="172"/>
                    <a:pt x="159" y="185"/>
                    <a:pt x="159" y="185"/>
                  </a:cubicBezTo>
                  <a:cubicBezTo>
                    <a:pt x="127" y="165"/>
                    <a:pt x="127" y="165"/>
                    <a:pt x="127" y="165"/>
                  </a:cubicBezTo>
                  <a:cubicBezTo>
                    <a:pt x="127" y="165"/>
                    <a:pt x="124" y="167"/>
                    <a:pt x="122" y="169"/>
                  </a:cubicBezTo>
                  <a:cubicBezTo>
                    <a:pt x="119" y="171"/>
                    <a:pt x="114" y="171"/>
                    <a:pt x="111" y="173"/>
                  </a:cubicBezTo>
                  <a:cubicBezTo>
                    <a:pt x="108" y="175"/>
                    <a:pt x="111" y="182"/>
                    <a:pt x="111" y="188"/>
                  </a:cubicBezTo>
                  <a:cubicBezTo>
                    <a:pt x="111" y="194"/>
                    <a:pt x="84" y="184"/>
                    <a:pt x="84" y="184"/>
                  </a:cubicBezTo>
                  <a:cubicBezTo>
                    <a:pt x="84" y="159"/>
                    <a:pt x="84" y="159"/>
                    <a:pt x="84" y="159"/>
                  </a:cubicBezTo>
                  <a:cubicBezTo>
                    <a:pt x="42" y="192"/>
                    <a:pt x="42" y="192"/>
                    <a:pt x="42" y="192"/>
                  </a:cubicBezTo>
                  <a:cubicBezTo>
                    <a:pt x="63" y="239"/>
                    <a:pt x="63" y="239"/>
                    <a:pt x="63" y="239"/>
                  </a:cubicBezTo>
                  <a:cubicBezTo>
                    <a:pt x="6" y="265"/>
                    <a:pt x="6" y="265"/>
                    <a:pt x="6" y="265"/>
                  </a:cubicBezTo>
                  <a:cubicBezTo>
                    <a:pt x="12" y="300"/>
                    <a:pt x="12" y="300"/>
                    <a:pt x="12" y="300"/>
                  </a:cubicBezTo>
                  <a:cubicBezTo>
                    <a:pt x="35" y="354"/>
                    <a:pt x="35" y="354"/>
                    <a:pt x="35" y="354"/>
                  </a:cubicBezTo>
                  <a:cubicBezTo>
                    <a:pt x="6" y="394"/>
                    <a:pt x="6" y="394"/>
                    <a:pt x="6" y="394"/>
                  </a:cubicBezTo>
                  <a:cubicBezTo>
                    <a:pt x="21" y="419"/>
                    <a:pt x="21" y="419"/>
                    <a:pt x="21" y="419"/>
                  </a:cubicBezTo>
                  <a:cubicBezTo>
                    <a:pt x="0" y="497"/>
                    <a:pt x="0" y="497"/>
                    <a:pt x="0" y="497"/>
                  </a:cubicBezTo>
                  <a:cubicBezTo>
                    <a:pt x="12" y="524"/>
                    <a:pt x="12" y="524"/>
                    <a:pt x="12" y="524"/>
                  </a:cubicBezTo>
                  <a:cubicBezTo>
                    <a:pt x="53" y="524"/>
                    <a:pt x="53" y="524"/>
                    <a:pt x="53" y="524"/>
                  </a:cubicBezTo>
                  <a:cubicBezTo>
                    <a:pt x="111" y="559"/>
                    <a:pt x="111" y="559"/>
                    <a:pt x="111" y="559"/>
                  </a:cubicBezTo>
                  <a:cubicBezTo>
                    <a:pt x="174" y="526"/>
                    <a:pt x="174" y="526"/>
                    <a:pt x="174" y="526"/>
                  </a:cubicBezTo>
                  <a:cubicBezTo>
                    <a:pt x="209" y="553"/>
                    <a:pt x="209" y="553"/>
                    <a:pt x="209" y="553"/>
                  </a:cubicBezTo>
                  <a:cubicBezTo>
                    <a:pt x="224" y="599"/>
                    <a:pt x="224" y="599"/>
                    <a:pt x="224" y="599"/>
                  </a:cubicBezTo>
                  <a:cubicBezTo>
                    <a:pt x="273" y="610"/>
                    <a:pt x="273" y="610"/>
                    <a:pt x="273" y="610"/>
                  </a:cubicBezTo>
                  <a:cubicBezTo>
                    <a:pt x="256" y="642"/>
                    <a:pt x="256" y="642"/>
                    <a:pt x="256" y="642"/>
                  </a:cubicBezTo>
                  <a:cubicBezTo>
                    <a:pt x="286" y="690"/>
                    <a:pt x="286" y="690"/>
                    <a:pt x="286" y="690"/>
                  </a:cubicBezTo>
                  <a:cubicBezTo>
                    <a:pt x="321" y="679"/>
                    <a:pt x="321" y="679"/>
                    <a:pt x="321" y="679"/>
                  </a:cubicBezTo>
                  <a:cubicBezTo>
                    <a:pt x="375" y="716"/>
                    <a:pt x="375" y="716"/>
                    <a:pt x="375" y="716"/>
                  </a:cubicBezTo>
                  <a:cubicBezTo>
                    <a:pt x="364" y="734"/>
                    <a:pt x="364" y="734"/>
                    <a:pt x="364" y="734"/>
                  </a:cubicBezTo>
                  <a:cubicBezTo>
                    <a:pt x="385" y="748"/>
                    <a:pt x="385" y="748"/>
                    <a:pt x="385" y="748"/>
                  </a:cubicBezTo>
                  <a:cubicBezTo>
                    <a:pt x="379" y="791"/>
                    <a:pt x="379" y="791"/>
                    <a:pt x="379" y="791"/>
                  </a:cubicBezTo>
                  <a:cubicBezTo>
                    <a:pt x="339" y="778"/>
                    <a:pt x="339" y="778"/>
                    <a:pt x="339" y="778"/>
                  </a:cubicBezTo>
                  <a:cubicBezTo>
                    <a:pt x="327" y="787"/>
                    <a:pt x="327" y="787"/>
                    <a:pt x="327" y="787"/>
                  </a:cubicBezTo>
                  <a:cubicBezTo>
                    <a:pt x="348" y="858"/>
                    <a:pt x="348" y="858"/>
                    <a:pt x="348" y="858"/>
                  </a:cubicBezTo>
                  <a:cubicBezTo>
                    <a:pt x="366" y="850"/>
                    <a:pt x="366" y="850"/>
                    <a:pt x="366" y="850"/>
                  </a:cubicBezTo>
                  <a:cubicBezTo>
                    <a:pt x="379" y="878"/>
                    <a:pt x="379" y="878"/>
                    <a:pt x="379" y="878"/>
                  </a:cubicBezTo>
                  <a:cubicBezTo>
                    <a:pt x="355" y="900"/>
                    <a:pt x="355" y="900"/>
                    <a:pt x="355" y="900"/>
                  </a:cubicBezTo>
                  <a:cubicBezTo>
                    <a:pt x="352" y="939"/>
                    <a:pt x="352" y="939"/>
                    <a:pt x="352" y="939"/>
                  </a:cubicBezTo>
                  <a:cubicBezTo>
                    <a:pt x="368" y="931"/>
                    <a:pt x="368" y="931"/>
                    <a:pt x="368" y="931"/>
                  </a:cubicBezTo>
                  <a:cubicBezTo>
                    <a:pt x="385" y="959"/>
                    <a:pt x="385" y="959"/>
                    <a:pt x="385" y="959"/>
                  </a:cubicBezTo>
                  <a:cubicBezTo>
                    <a:pt x="427" y="976"/>
                    <a:pt x="427" y="976"/>
                    <a:pt x="427" y="976"/>
                  </a:cubicBezTo>
                  <a:cubicBezTo>
                    <a:pt x="428" y="991"/>
                    <a:pt x="428" y="991"/>
                    <a:pt x="428" y="991"/>
                  </a:cubicBezTo>
                  <a:cubicBezTo>
                    <a:pt x="475" y="998"/>
                    <a:pt x="475" y="998"/>
                    <a:pt x="475" y="998"/>
                  </a:cubicBezTo>
                  <a:cubicBezTo>
                    <a:pt x="532" y="981"/>
                    <a:pt x="532" y="981"/>
                    <a:pt x="532" y="981"/>
                  </a:cubicBezTo>
                  <a:cubicBezTo>
                    <a:pt x="556" y="1005"/>
                    <a:pt x="556" y="1005"/>
                    <a:pt x="556" y="1005"/>
                  </a:cubicBezTo>
                  <a:cubicBezTo>
                    <a:pt x="599" y="1005"/>
                    <a:pt x="599" y="1005"/>
                    <a:pt x="599" y="1005"/>
                  </a:cubicBezTo>
                  <a:cubicBezTo>
                    <a:pt x="634" y="1045"/>
                    <a:pt x="634" y="1045"/>
                    <a:pt x="634" y="1045"/>
                  </a:cubicBezTo>
                  <a:cubicBezTo>
                    <a:pt x="634" y="1045"/>
                    <a:pt x="634" y="1011"/>
                    <a:pt x="647" y="1008"/>
                  </a:cubicBezTo>
                  <a:cubicBezTo>
                    <a:pt x="660" y="1005"/>
                    <a:pt x="669" y="1002"/>
                    <a:pt x="673" y="1006"/>
                  </a:cubicBezTo>
                  <a:cubicBezTo>
                    <a:pt x="678" y="1010"/>
                    <a:pt x="706" y="1023"/>
                    <a:pt x="719" y="1025"/>
                  </a:cubicBezTo>
                  <a:cubicBezTo>
                    <a:pt x="719" y="1025"/>
                    <a:pt x="714" y="1003"/>
                    <a:pt x="716" y="995"/>
                  </a:cubicBezTo>
                  <a:cubicBezTo>
                    <a:pt x="718" y="988"/>
                    <a:pt x="716" y="976"/>
                    <a:pt x="714" y="970"/>
                  </a:cubicBezTo>
                  <a:cubicBezTo>
                    <a:pt x="713" y="963"/>
                    <a:pt x="711" y="955"/>
                    <a:pt x="714" y="948"/>
                  </a:cubicBezTo>
                  <a:cubicBezTo>
                    <a:pt x="718" y="940"/>
                    <a:pt x="722" y="928"/>
                    <a:pt x="722" y="916"/>
                  </a:cubicBezTo>
                  <a:cubicBezTo>
                    <a:pt x="723" y="904"/>
                    <a:pt x="728" y="897"/>
                    <a:pt x="715" y="893"/>
                  </a:cubicBezTo>
                  <a:cubicBezTo>
                    <a:pt x="702" y="889"/>
                    <a:pt x="700" y="873"/>
                    <a:pt x="706" y="869"/>
                  </a:cubicBezTo>
                  <a:cubicBezTo>
                    <a:pt x="713" y="865"/>
                    <a:pt x="722" y="866"/>
                    <a:pt x="720" y="857"/>
                  </a:cubicBezTo>
                  <a:cubicBezTo>
                    <a:pt x="719" y="848"/>
                    <a:pt x="716" y="845"/>
                    <a:pt x="716" y="839"/>
                  </a:cubicBezTo>
                  <a:cubicBezTo>
                    <a:pt x="715" y="832"/>
                    <a:pt x="711" y="823"/>
                    <a:pt x="712" y="816"/>
                  </a:cubicBezTo>
                  <a:cubicBezTo>
                    <a:pt x="712" y="809"/>
                    <a:pt x="713" y="803"/>
                    <a:pt x="709" y="805"/>
                  </a:cubicBezTo>
                  <a:cubicBezTo>
                    <a:pt x="705" y="807"/>
                    <a:pt x="683" y="816"/>
                    <a:pt x="675" y="812"/>
                  </a:cubicBezTo>
                  <a:cubicBezTo>
                    <a:pt x="667" y="808"/>
                    <a:pt x="642" y="791"/>
                    <a:pt x="643" y="787"/>
                  </a:cubicBezTo>
                  <a:cubicBezTo>
                    <a:pt x="644" y="783"/>
                    <a:pt x="648" y="774"/>
                    <a:pt x="654" y="776"/>
                  </a:cubicBezTo>
                  <a:cubicBezTo>
                    <a:pt x="659" y="779"/>
                    <a:pt x="674" y="790"/>
                    <a:pt x="681" y="787"/>
                  </a:cubicBezTo>
                  <a:cubicBezTo>
                    <a:pt x="688" y="784"/>
                    <a:pt x="700" y="780"/>
                    <a:pt x="703" y="775"/>
                  </a:cubicBezTo>
                  <a:cubicBezTo>
                    <a:pt x="706" y="770"/>
                    <a:pt x="715" y="751"/>
                    <a:pt x="720" y="748"/>
                  </a:cubicBezTo>
                  <a:cubicBezTo>
                    <a:pt x="725" y="745"/>
                    <a:pt x="721" y="746"/>
                    <a:pt x="716" y="740"/>
                  </a:cubicBezTo>
                  <a:cubicBezTo>
                    <a:pt x="712" y="734"/>
                    <a:pt x="701" y="727"/>
                    <a:pt x="708" y="724"/>
                  </a:cubicBezTo>
                  <a:cubicBezTo>
                    <a:pt x="715" y="721"/>
                    <a:pt x="722" y="714"/>
                    <a:pt x="722" y="714"/>
                  </a:cubicBezTo>
                  <a:cubicBezTo>
                    <a:pt x="701" y="691"/>
                    <a:pt x="701" y="691"/>
                    <a:pt x="701" y="691"/>
                  </a:cubicBezTo>
                  <a:cubicBezTo>
                    <a:pt x="702" y="634"/>
                    <a:pt x="702" y="634"/>
                    <a:pt x="702" y="634"/>
                  </a:cubicBezTo>
                  <a:cubicBezTo>
                    <a:pt x="745" y="608"/>
                    <a:pt x="745" y="608"/>
                    <a:pt x="745" y="608"/>
                  </a:cubicBezTo>
                  <a:cubicBezTo>
                    <a:pt x="827" y="607"/>
                    <a:pt x="827" y="607"/>
                    <a:pt x="827" y="607"/>
                  </a:cubicBezTo>
                  <a:cubicBezTo>
                    <a:pt x="859" y="575"/>
                    <a:pt x="859" y="575"/>
                    <a:pt x="859" y="575"/>
                  </a:cubicBezTo>
                  <a:cubicBezTo>
                    <a:pt x="888" y="582"/>
                    <a:pt x="888" y="582"/>
                    <a:pt x="888" y="582"/>
                  </a:cubicBezTo>
                  <a:cubicBezTo>
                    <a:pt x="888" y="582"/>
                    <a:pt x="891" y="553"/>
                    <a:pt x="897" y="549"/>
                  </a:cubicBezTo>
                  <a:cubicBezTo>
                    <a:pt x="903" y="545"/>
                    <a:pt x="907" y="544"/>
                    <a:pt x="912" y="546"/>
                  </a:cubicBezTo>
                  <a:cubicBezTo>
                    <a:pt x="917" y="549"/>
                    <a:pt x="944" y="566"/>
                    <a:pt x="951" y="554"/>
                  </a:cubicBezTo>
                  <a:cubicBezTo>
                    <a:pt x="957" y="543"/>
                    <a:pt x="955" y="533"/>
                    <a:pt x="962" y="527"/>
                  </a:cubicBezTo>
                  <a:cubicBezTo>
                    <a:pt x="969" y="520"/>
                    <a:pt x="990" y="506"/>
                    <a:pt x="993" y="496"/>
                  </a:cubicBezTo>
                  <a:cubicBezTo>
                    <a:pt x="995" y="487"/>
                    <a:pt x="1000" y="458"/>
                    <a:pt x="1000" y="458"/>
                  </a:cubicBezTo>
                  <a:cubicBezTo>
                    <a:pt x="996" y="455"/>
                    <a:pt x="990" y="450"/>
                    <a:pt x="988" y="452"/>
                  </a:cubicBezTo>
                  <a:close/>
                </a:path>
              </a:pathLst>
            </a:custGeom>
            <a:grpFill/>
            <a:ln>
              <a:solidFill>
                <a:srgbClr val="FFFFFF"/>
              </a:solidFill>
            </a:ln>
          </p:spPr>
          <p:txBody>
            <a:bodyPr vert="horz" wrap="square" lIns="121920" tIns="60960" rIns="121920" bIns="60960" numCol="1" anchor="t" anchorCtr="0" compatLnSpc="1">
              <a:prstTxWarp prst="textNoShape">
                <a:avLst/>
              </a:prstTxWarp>
            </a:bodyPr>
            <a:lstStyle/>
            <a:p>
              <a:pPr marL="0" marR="0" lvl="0" indent="0" defTabSz="467539"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000000"/>
                </a:solidFill>
                <a:effectLst/>
                <a:uLnTx/>
                <a:uFillTx/>
              </a:endParaRPr>
            </a:p>
          </p:txBody>
        </p:sp>
        <p:sp>
          <p:nvSpPr>
            <p:cNvPr id="102" name="Freeform 19">
              <a:extLst>
                <a:ext uri="{FF2B5EF4-FFF2-40B4-BE49-F238E27FC236}">
                  <a16:creationId xmlns:a16="http://schemas.microsoft.com/office/drawing/2014/main" id="{4ABE89B0-2C9C-4B74-8F0D-A4802D4A43C9}"/>
                </a:ext>
              </a:extLst>
            </p:cNvPr>
            <p:cNvSpPr>
              <a:spLocks/>
            </p:cNvSpPr>
            <p:nvPr/>
          </p:nvSpPr>
          <p:spPr bwMode="auto">
            <a:xfrm>
              <a:off x="2490788" y="3259138"/>
              <a:ext cx="698500" cy="568325"/>
            </a:xfrm>
            <a:custGeom>
              <a:avLst/>
              <a:gdLst>
                <a:gd name="T0" fmla="*/ 594 w 594"/>
                <a:gd name="T1" fmla="*/ 193 h 484"/>
                <a:gd name="T2" fmla="*/ 589 w 594"/>
                <a:gd name="T3" fmla="*/ 230 h 484"/>
                <a:gd name="T4" fmla="*/ 573 w 594"/>
                <a:gd name="T5" fmla="*/ 258 h 484"/>
                <a:gd name="T6" fmla="*/ 552 w 594"/>
                <a:gd name="T7" fmla="*/ 288 h 484"/>
                <a:gd name="T8" fmla="*/ 537 w 594"/>
                <a:gd name="T9" fmla="*/ 326 h 484"/>
                <a:gd name="T10" fmla="*/ 493 w 594"/>
                <a:gd name="T11" fmla="*/ 353 h 484"/>
                <a:gd name="T12" fmla="*/ 484 w 594"/>
                <a:gd name="T13" fmla="*/ 372 h 484"/>
                <a:gd name="T14" fmla="*/ 462 w 594"/>
                <a:gd name="T15" fmla="*/ 389 h 484"/>
                <a:gd name="T16" fmla="*/ 449 w 594"/>
                <a:gd name="T17" fmla="*/ 400 h 484"/>
                <a:gd name="T18" fmla="*/ 438 w 594"/>
                <a:gd name="T19" fmla="*/ 412 h 484"/>
                <a:gd name="T20" fmla="*/ 438 w 594"/>
                <a:gd name="T21" fmla="*/ 412 h 484"/>
                <a:gd name="T22" fmla="*/ 433 w 594"/>
                <a:gd name="T23" fmla="*/ 410 h 484"/>
                <a:gd name="T24" fmla="*/ 419 w 594"/>
                <a:gd name="T25" fmla="*/ 404 h 484"/>
                <a:gd name="T26" fmla="*/ 331 w 594"/>
                <a:gd name="T27" fmla="*/ 434 h 484"/>
                <a:gd name="T28" fmla="*/ 304 w 594"/>
                <a:gd name="T29" fmla="*/ 484 h 484"/>
                <a:gd name="T30" fmla="*/ 245 w 594"/>
                <a:gd name="T31" fmla="*/ 482 h 484"/>
                <a:gd name="T32" fmla="*/ 183 w 594"/>
                <a:gd name="T33" fmla="*/ 365 h 484"/>
                <a:gd name="T34" fmla="*/ 63 w 594"/>
                <a:gd name="T35" fmla="*/ 380 h 484"/>
                <a:gd name="T36" fmla="*/ 60 w 594"/>
                <a:gd name="T37" fmla="*/ 362 h 484"/>
                <a:gd name="T38" fmla="*/ 49 w 594"/>
                <a:gd name="T39" fmla="*/ 345 h 484"/>
                <a:gd name="T40" fmla="*/ 34 w 594"/>
                <a:gd name="T41" fmla="*/ 321 h 484"/>
                <a:gd name="T42" fmla="*/ 9 w 594"/>
                <a:gd name="T43" fmla="*/ 295 h 484"/>
                <a:gd name="T44" fmla="*/ 1 w 594"/>
                <a:gd name="T45" fmla="*/ 270 h 484"/>
                <a:gd name="T46" fmla="*/ 14 w 594"/>
                <a:gd name="T47" fmla="*/ 251 h 484"/>
                <a:gd name="T48" fmla="*/ 0 w 594"/>
                <a:gd name="T49" fmla="*/ 229 h 484"/>
                <a:gd name="T50" fmla="*/ 29 w 594"/>
                <a:gd name="T51" fmla="*/ 217 h 484"/>
                <a:gd name="T52" fmla="*/ 57 w 594"/>
                <a:gd name="T53" fmla="*/ 197 h 484"/>
                <a:gd name="T54" fmla="*/ 57 w 594"/>
                <a:gd name="T55" fmla="*/ 143 h 484"/>
                <a:gd name="T56" fmla="*/ 101 w 594"/>
                <a:gd name="T57" fmla="*/ 152 h 484"/>
                <a:gd name="T58" fmla="*/ 103 w 594"/>
                <a:gd name="T59" fmla="*/ 125 h 484"/>
                <a:gd name="T60" fmla="*/ 81 w 594"/>
                <a:gd name="T61" fmla="*/ 102 h 484"/>
                <a:gd name="T62" fmla="*/ 97 w 594"/>
                <a:gd name="T63" fmla="*/ 61 h 484"/>
                <a:gd name="T64" fmla="*/ 132 w 594"/>
                <a:gd name="T65" fmla="*/ 55 h 484"/>
                <a:gd name="T66" fmla="*/ 143 w 594"/>
                <a:gd name="T67" fmla="*/ 30 h 484"/>
                <a:gd name="T68" fmla="*/ 173 w 594"/>
                <a:gd name="T69" fmla="*/ 36 h 484"/>
                <a:gd name="T70" fmla="*/ 190 w 594"/>
                <a:gd name="T71" fmla="*/ 8 h 484"/>
                <a:gd name="T72" fmla="*/ 206 w 594"/>
                <a:gd name="T73" fmla="*/ 0 h 484"/>
                <a:gd name="T74" fmla="*/ 223 w 594"/>
                <a:gd name="T75" fmla="*/ 28 h 484"/>
                <a:gd name="T76" fmla="*/ 265 w 594"/>
                <a:gd name="T77" fmla="*/ 45 h 484"/>
                <a:gd name="T78" fmla="*/ 266 w 594"/>
                <a:gd name="T79" fmla="*/ 60 h 484"/>
                <a:gd name="T80" fmla="*/ 313 w 594"/>
                <a:gd name="T81" fmla="*/ 67 h 484"/>
                <a:gd name="T82" fmla="*/ 370 w 594"/>
                <a:gd name="T83" fmla="*/ 50 h 484"/>
                <a:gd name="T84" fmla="*/ 394 w 594"/>
                <a:gd name="T85" fmla="*/ 74 h 484"/>
                <a:gd name="T86" fmla="*/ 437 w 594"/>
                <a:gd name="T87" fmla="*/ 74 h 484"/>
                <a:gd name="T88" fmla="*/ 472 w 594"/>
                <a:gd name="T89" fmla="*/ 114 h 484"/>
                <a:gd name="T90" fmla="*/ 485 w 594"/>
                <a:gd name="T91" fmla="*/ 77 h 484"/>
                <a:gd name="T92" fmla="*/ 511 w 594"/>
                <a:gd name="T93" fmla="*/ 75 h 484"/>
                <a:gd name="T94" fmla="*/ 557 w 594"/>
                <a:gd name="T95" fmla="*/ 94 h 484"/>
                <a:gd name="T96" fmla="*/ 586 w 594"/>
                <a:gd name="T97" fmla="*/ 180 h 484"/>
                <a:gd name="T98" fmla="*/ 594 w 594"/>
                <a:gd name="T99" fmla="*/ 19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4" h="484">
                  <a:moveTo>
                    <a:pt x="594" y="193"/>
                  </a:moveTo>
                  <a:cubicBezTo>
                    <a:pt x="594" y="193"/>
                    <a:pt x="592" y="223"/>
                    <a:pt x="589" y="230"/>
                  </a:cubicBezTo>
                  <a:cubicBezTo>
                    <a:pt x="586" y="237"/>
                    <a:pt x="577" y="253"/>
                    <a:pt x="573" y="258"/>
                  </a:cubicBezTo>
                  <a:cubicBezTo>
                    <a:pt x="569" y="264"/>
                    <a:pt x="555" y="276"/>
                    <a:pt x="552" y="288"/>
                  </a:cubicBezTo>
                  <a:cubicBezTo>
                    <a:pt x="550" y="299"/>
                    <a:pt x="544" y="321"/>
                    <a:pt x="537" y="326"/>
                  </a:cubicBezTo>
                  <a:cubicBezTo>
                    <a:pt x="529" y="332"/>
                    <a:pt x="493" y="347"/>
                    <a:pt x="493" y="353"/>
                  </a:cubicBezTo>
                  <a:cubicBezTo>
                    <a:pt x="492" y="359"/>
                    <a:pt x="491" y="368"/>
                    <a:pt x="484" y="372"/>
                  </a:cubicBezTo>
                  <a:cubicBezTo>
                    <a:pt x="477" y="377"/>
                    <a:pt x="470" y="387"/>
                    <a:pt x="462" y="389"/>
                  </a:cubicBezTo>
                  <a:cubicBezTo>
                    <a:pt x="454" y="391"/>
                    <a:pt x="454" y="395"/>
                    <a:pt x="449" y="400"/>
                  </a:cubicBezTo>
                  <a:cubicBezTo>
                    <a:pt x="445" y="405"/>
                    <a:pt x="438" y="412"/>
                    <a:pt x="438" y="412"/>
                  </a:cubicBezTo>
                  <a:cubicBezTo>
                    <a:pt x="438" y="412"/>
                    <a:pt x="438" y="412"/>
                    <a:pt x="438" y="412"/>
                  </a:cubicBezTo>
                  <a:cubicBezTo>
                    <a:pt x="436" y="411"/>
                    <a:pt x="435" y="410"/>
                    <a:pt x="433" y="410"/>
                  </a:cubicBezTo>
                  <a:cubicBezTo>
                    <a:pt x="427" y="407"/>
                    <a:pt x="419" y="404"/>
                    <a:pt x="419" y="404"/>
                  </a:cubicBezTo>
                  <a:cubicBezTo>
                    <a:pt x="331" y="434"/>
                    <a:pt x="331" y="434"/>
                    <a:pt x="331" y="434"/>
                  </a:cubicBezTo>
                  <a:cubicBezTo>
                    <a:pt x="304" y="484"/>
                    <a:pt x="304" y="484"/>
                    <a:pt x="304" y="484"/>
                  </a:cubicBezTo>
                  <a:cubicBezTo>
                    <a:pt x="245" y="482"/>
                    <a:pt x="245" y="482"/>
                    <a:pt x="245" y="482"/>
                  </a:cubicBezTo>
                  <a:cubicBezTo>
                    <a:pt x="245" y="482"/>
                    <a:pt x="213" y="398"/>
                    <a:pt x="183" y="365"/>
                  </a:cubicBezTo>
                  <a:cubicBezTo>
                    <a:pt x="63" y="380"/>
                    <a:pt x="63" y="380"/>
                    <a:pt x="63" y="380"/>
                  </a:cubicBezTo>
                  <a:cubicBezTo>
                    <a:pt x="63" y="380"/>
                    <a:pt x="60" y="366"/>
                    <a:pt x="60" y="362"/>
                  </a:cubicBezTo>
                  <a:cubicBezTo>
                    <a:pt x="60" y="357"/>
                    <a:pt x="54" y="349"/>
                    <a:pt x="49" y="345"/>
                  </a:cubicBezTo>
                  <a:cubicBezTo>
                    <a:pt x="44" y="341"/>
                    <a:pt x="37" y="327"/>
                    <a:pt x="34" y="321"/>
                  </a:cubicBezTo>
                  <a:cubicBezTo>
                    <a:pt x="32" y="315"/>
                    <a:pt x="18" y="305"/>
                    <a:pt x="9" y="295"/>
                  </a:cubicBezTo>
                  <a:cubicBezTo>
                    <a:pt x="0" y="284"/>
                    <a:pt x="3" y="280"/>
                    <a:pt x="1" y="270"/>
                  </a:cubicBezTo>
                  <a:cubicBezTo>
                    <a:pt x="0" y="260"/>
                    <a:pt x="6" y="258"/>
                    <a:pt x="14" y="251"/>
                  </a:cubicBezTo>
                  <a:cubicBezTo>
                    <a:pt x="21" y="244"/>
                    <a:pt x="0" y="229"/>
                    <a:pt x="0" y="229"/>
                  </a:cubicBezTo>
                  <a:cubicBezTo>
                    <a:pt x="29" y="217"/>
                    <a:pt x="29" y="217"/>
                    <a:pt x="29" y="217"/>
                  </a:cubicBezTo>
                  <a:cubicBezTo>
                    <a:pt x="57" y="197"/>
                    <a:pt x="57" y="197"/>
                    <a:pt x="57" y="197"/>
                  </a:cubicBezTo>
                  <a:cubicBezTo>
                    <a:pt x="57" y="143"/>
                    <a:pt x="57" y="143"/>
                    <a:pt x="57" y="143"/>
                  </a:cubicBezTo>
                  <a:cubicBezTo>
                    <a:pt x="101" y="152"/>
                    <a:pt x="101" y="152"/>
                    <a:pt x="101" y="152"/>
                  </a:cubicBezTo>
                  <a:cubicBezTo>
                    <a:pt x="103" y="125"/>
                    <a:pt x="103" y="125"/>
                    <a:pt x="103" y="125"/>
                  </a:cubicBezTo>
                  <a:cubicBezTo>
                    <a:pt x="81" y="102"/>
                    <a:pt x="81" y="102"/>
                    <a:pt x="81" y="102"/>
                  </a:cubicBezTo>
                  <a:cubicBezTo>
                    <a:pt x="97" y="61"/>
                    <a:pt x="97" y="61"/>
                    <a:pt x="97" y="61"/>
                  </a:cubicBezTo>
                  <a:cubicBezTo>
                    <a:pt x="132" y="55"/>
                    <a:pt x="132" y="55"/>
                    <a:pt x="132" y="55"/>
                  </a:cubicBezTo>
                  <a:cubicBezTo>
                    <a:pt x="143" y="30"/>
                    <a:pt x="143" y="30"/>
                    <a:pt x="143" y="30"/>
                  </a:cubicBezTo>
                  <a:cubicBezTo>
                    <a:pt x="173" y="36"/>
                    <a:pt x="173" y="36"/>
                    <a:pt x="173" y="36"/>
                  </a:cubicBezTo>
                  <a:cubicBezTo>
                    <a:pt x="190" y="8"/>
                    <a:pt x="190" y="8"/>
                    <a:pt x="190" y="8"/>
                  </a:cubicBezTo>
                  <a:cubicBezTo>
                    <a:pt x="206" y="0"/>
                    <a:pt x="206" y="0"/>
                    <a:pt x="206" y="0"/>
                  </a:cubicBezTo>
                  <a:cubicBezTo>
                    <a:pt x="223" y="28"/>
                    <a:pt x="223" y="28"/>
                    <a:pt x="223" y="28"/>
                  </a:cubicBezTo>
                  <a:cubicBezTo>
                    <a:pt x="265" y="45"/>
                    <a:pt x="265" y="45"/>
                    <a:pt x="265" y="45"/>
                  </a:cubicBezTo>
                  <a:cubicBezTo>
                    <a:pt x="266" y="60"/>
                    <a:pt x="266" y="60"/>
                    <a:pt x="266" y="60"/>
                  </a:cubicBezTo>
                  <a:cubicBezTo>
                    <a:pt x="313" y="67"/>
                    <a:pt x="313" y="67"/>
                    <a:pt x="313" y="67"/>
                  </a:cubicBezTo>
                  <a:cubicBezTo>
                    <a:pt x="370" y="50"/>
                    <a:pt x="370" y="50"/>
                    <a:pt x="370" y="50"/>
                  </a:cubicBezTo>
                  <a:cubicBezTo>
                    <a:pt x="394" y="74"/>
                    <a:pt x="394" y="74"/>
                    <a:pt x="394" y="74"/>
                  </a:cubicBezTo>
                  <a:cubicBezTo>
                    <a:pt x="437" y="74"/>
                    <a:pt x="437" y="74"/>
                    <a:pt x="437" y="74"/>
                  </a:cubicBezTo>
                  <a:cubicBezTo>
                    <a:pt x="472" y="114"/>
                    <a:pt x="472" y="114"/>
                    <a:pt x="472" y="114"/>
                  </a:cubicBezTo>
                  <a:cubicBezTo>
                    <a:pt x="472" y="114"/>
                    <a:pt x="472" y="80"/>
                    <a:pt x="485" y="77"/>
                  </a:cubicBezTo>
                  <a:cubicBezTo>
                    <a:pt x="498" y="74"/>
                    <a:pt x="507" y="71"/>
                    <a:pt x="511" y="75"/>
                  </a:cubicBezTo>
                  <a:cubicBezTo>
                    <a:pt x="516" y="79"/>
                    <a:pt x="544" y="92"/>
                    <a:pt x="557" y="94"/>
                  </a:cubicBezTo>
                  <a:cubicBezTo>
                    <a:pt x="557" y="94"/>
                    <a:pt x="578" y="164"/>
                    <a:pt x="586" y="180"/>
                  </a:cubicBezTo>
                  <a:cubicBezTo>
                    <a:pt x="588" y="186"/>
                    <a:pt x="591" y="190"/>
                    <a:pt x="594" y="193"/>
                  </a:cubicBezTo>
                  <a:close/>
                </a:path>
              </a:pathLst>
            </a:custGeom>
            <a:grpFill/>
            <a:ln>
              <a:solidFill>
                <a:srgbClr val="FFFFFF"/>
              </a:solidFill>
            </a:ln>
          </p:spPr>
          <p:txBody>
            <a:bodyPr vert="horz" wrap="square" lIns="121920" tIns="60960" rIns="121920" bIns="60960" numCol="1" anchor="t" anchorCtr="0" compatLnSpc="1">
              <a:prstTxWarp prst="textNoShape">
                <a:avLst/>
              </a:prstTxWarp>
            </a:bodyPr>
            <a:lstStyle/>
            <a:p>
              <a:pPr marL="0" marR="0" lvl="0" indent="0" defTabSz="467539"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000000"/>
                </a:solidFill>
                <a:effectLst/>
                <a:uLnTx/>
                <a:uFillTx/>
              </a:endParaRPr>
            </a:p>
          </p:txBody>
        </p:sp>
        <p:sp>
          <p:nvSpPr>
            <p:cNvPr id="103" name="Freeform 20">
              <a:extLst>
                <a:ext uri="{FF2B5EF4-FFF2-40B4-BE49-F238E27FC236}">
                  <a16:creationId xmlns:a16="http://schemas.microsoft.com/office/drawing/2014/main" id="{BB1418BF-80CA-4EDE-AAFD-FDBA5B8DE47F}"/>
                </a:ext>
              </a:extLst>
            </p:cNvPr>
            <p:cNvSpPr>
              <a:spLocks/>
            </p:cNvSpPr>
            <p:nvPr/>
          </p:nvSpPr>
          <p:spPr bwMode="auto">
            <a:xfrm>
              <a:off x="2016125" y="2781300"/>
              <a:ext cx="736600" cy="754063"/>
            </a:xfrm>
            <a:custGeom>
              <a:avLst/>
              <a:gdLst>
                <a:gd name="T0" fmla="*/ 627 w 627"/>
                <a:gd name="T1" fmla="*/ 224 h 643"/>
                <a:gd name="T2" fmla="*/ 617 w 627"/>
                <a:gd name="T3" fmla="*/ 192 h 643"/>
                <a:gd name="T4" fmla="*/ 528 w 627"/>
                <a:gd name="T5" fmla="*/ 166 h 643"/>
                <a:gd name="T6" fmla="*/ 515 w 627"/>
                <a:gd name="T7" fmla="*/ 86 h 643"/>
                <a:gd name="T8" fmla="*/ 451 w 627"/>
                <a:gd name="T9" fmla="*/ 29 h 643"/>
                <a:gd name="T10" fmla="*/ 353 w 627"/>
                <a:gd name="T11" fmla="*/ 35 h 643"/>
                <a:gd name="T12" fmla="*/ 254 w 627"/>
                <a:gd name="T13" fmla="*/ 0 h 643"/>
                <a:gd name="T14" fmla="*/ 206 w 627"/>
                <a:gd name="T15" fmla="*/ 79 h 643"/>
                <a:gd name="T16" fmla="*/ 160 w 627"/>
                <a:gd name="T17" fmla="*/ 128 h 643"/>
                <a:gd name="T18" fmla="*/ 138 w 627"/>
                <a:gd name="T19" fmla="*/ 201 h 643"/>
                <a:gd name="T20" fmla="*/ 75 w 627"/>
                <a:gd name="T21" fmla="*/ 251 h 643"/>
                <a:gd name="T22" fmla="*/ 68 w 627"/>
                <a:gd name="T23" fmla="*/ 406 h 643"/>
                <a:gd name="T24" fmla="*/ 33 w 627"/>
                <a:gd name="T25" fmla="*/ 416 h 643"/>
                <a:gd name="T26" fmla="*/ 22 w 627"/>
                <a:gd name="T27" fmla="*/ 459 h 643"/>
                <a:gd name="T28" fmla="*/ 13 w 627"/>
                <a:gd name="T29" fmla="*/ 506 h 643"/>
                <a:gd name="T30" fmla="*/ 22 w 627"/>
                <a:gd name="T31" fmla="*/ 551 h 643"/>
                <a:gd name="T32" fmla="*/ 58 w 627"/>
                <a:gd name="T33" fmla="*/ 561 h 643"/>
                <a:gd name="T34" fmla="*/ 87 w 627"/>
                <a:gd name="T35" fmla="*/ 554 h 643"/>
                <a:gd name="T36" fmla="*/ 118 w 627"/>
                <a:gd name="T37" fmla="*/ 581 h 643"/>
                <a:gd name="T38" fmla="*/ 166 w 627"/>
                <a:gd name="T39" fmla="*/ 580 h 643"/>
                <a:gd name="T40" fmla="*/ 199 w 627"/>
                <a:gd name="T41" fmla="*/ 572 h 643"/>
                <a:gd name="T42" fmla="*/ 251 w 627"/>
                <a:gd name="T43" fmla="*/ 583 h 643"/>
                <a:gd name="T44" fmla="*/ 300 w 627"/>
                <a:gd name="T45" fmla="*/ 595 h 643"/>
                <a:gd name="T46" fmla="*/ 331 w 627"/>
                <a:gd name="T47" fmla="*/ 625 h 643"/>
                <a:gd name="T48" fmla="*/ 380 w 627"/>
                <a:gd name="T49" fmla="*/ 642 h 643"/>
                <a:gd name="T50" fmla="*/ 433 w 627"/>
                <a:gd name="T51" fmla="*/ 624 h 643"/>
                <a:gd name="T52" fmla="*/ 461 w 627"/>
                <a:gd name="T53" fmla="*/ 550 h 643"/>
                <a:gd name="T54" fmla="*/ 507 w 627"/>
                <a:gd name="T55" fmla="*/ 532 h 643"/>
                <a:gd name="T56" fmla="*/ 501 w 627"/>
                <a:gd name="T57" fmla="*/ 468 h 643"/>
                <a:gd name="T58" fmla="*/ 547 w 627"/>
                <a:gd name="T59" fmla="*/ 437 h 643"/>
                <a:gd name="T60" fmla="*/ 594 w 627"/>
                <a:gd name="T61" fmla="*/ 415 h 643"/>
                <a:gd name="T62" fmla="*/ 621 w 627"/>
                <a:gd name="T63" fmla="*/ 354 h 643"/>
                <a:gd name="T64" fmla="*/ 590 w 627"/>
                <a:gd name="T65" fmla="*/ 334 h 643"/>
                <a:gd name="T66" fmla="*/ 581 w 627"/>
                <a:gd name="T67" fmla="*/ 254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27" h="643">
                  <a:moveTo>
                    <a:pt x="621" y="267"/>
                  </a:moveTo>
                  <a:cubicBezTo>
                    <a:pt x="627" y="224"/>
                    <a:pt x="627" y="224"/>
                    <a:pt x="627" y="224"/>
                  </a:cubicBezTo>
                  <a:cubicBezTo>
                    <a:pt x="606" y="210"/>
                    <a:pt x="606" y="210"/>
                    <a:pt x="606" y="210"/>
                  </a:cubicBezTo>
                  <a:cubicBezTo>
                    <a:pt x="617" y="192"/>
                    <a:pt x="617" y="192"/>
                    <a:pt x="617" y="192"/>
                  </a:cubicBezTo>
                  <a:cubicBezTo>
                    <a:pt x="563" y="155"/>
                    <a:pt x="563" y="155"/>
                    <a:pt x="563" y="155"/>
                  </a:cubicBezTo>
                  <a:cubicBezTo>
                    <a:pt x="528" y="166"/>
                    <a:pt x="528" y="166"/>
                    <a:pt x="528" y="166"/>
                  </a:cubicBezTo>
                  <a:cubicBezTo>
                    <a:pt x="498" y="118"/>
                    <a:pt x="498" y="118"/>
                    <a:pt x="498" y="118"/>
                  </a:cubicBezTo>
                  <a:cubicBezTo>
                    <a:pt x="515" y="86"/>
                    <a:pt x="515" y="86"/>
                    <a:pt x="515" y="86"/>
                  </a:cubicBezTo>
                  <a:cubicBezTo>
                    <a:pt x="466" y="75"/>
                    <a:pt x="466" y="75"/>
                    <a:pt x="466" y="75"/>
                  </a:cubicBezTo>
                  <a:cubicBezTo>
                    <a:pt x="451" y="29"/>
                    <a:pt x="451" y="29"/>
                    <a:pt x="451" y="29"/>
                  </a:cubicBezTo>
                  <a:cubicBezTo>
                    <a:pt x="416" y="2"/>
                    <a:pt x="416" y="2"/>
                    <a:pt x="416" y="2"/>
                  </a:cubicBezTo>
                  <a:cubicBezTo>
                    <a:pt x="353" y="35"/>
                    <a:pt x="353" y="35"/>
                    <a:pt x="353" y="35"/>
                  </a:cubicBezTo>
                  <a:cubicBezTo>
                    <a:pt x="295" y="0"/>
                    <a:pt x="295" y="0"/>
                    <a:pt x="295" y="0"/>
                  </a:cubicBezTo>
                  <a:cubicBezTo>
                    <a:pt x="254" y="0"/>
                    <a:pt x="254" y="0"/>
                    <a:pt x="254" y="0"/>
                  </a:cubicBezTo>
                  <a:cubicBezTo>
                    <a:pt x="189" y="21"/>
                    <a:pt x="189" y="21"/>
                    <a:pt x="189" y="21"/>
                  </a:cubicBezTo>
                  <a:cubicBezTo>
                    <a:pt x="206" y="79"/>
                    <a:pt x="206" y="79"/>
                    <a:pt x="206" y="79"/>
                  </a:cubicBezTo>
                  <a:cubicBezTo>
                    <a:pt x="154" y="88"/>
                    <a:pt x="154" y="88"/>
                    <a:pt x="154" y="88"/>
                  </a:cubicBezTo>
                  <a:cubicBezTo>
                    <a:pt x="160" y="128"/>
                    <a:pt x="160" y="128"/>
                    <a:pt x="160" y="128"/>
                  </a:cubicBezTo>
                  <a:cubicBezTo>
                    <a:pt x="123" y="162"/>
                    <a:pt x="123" y="162"/>
                    <a:pt x="123" y="162"/>
                  </a:cubicBezTo>
                  <a:cubicBezTo>
                    <a:pt x="138" y="201"/>
                    <a:pt x="138" y="201"/>
                    <a:pt x="138" y="201"/>
                  </a:cubicBezTo>
                  <a:cubicBezTo>
                    <a:pt x="120" y="252"/>
                    <a:pt x="120" y="252"/>
                    <a:pt x="120" y="252"/>
                  </a:cubicBezTo>
                  <a:cubicBezTo>
                    <a:pt x="75" y="251"/>
                    <a:pt x="75" y="251"/>
                    <a:pt x="75" y="251"/>
                  </a:cubicBezTo>
                  <a:cubicBezTo>
                    <a:pt x="45" y="317"/>
                    <a:pt x="45" y="317"/>
                    <a:pt x="45" y="317"/>
                  </a:cubicBezTo>
                  <a:cubicBezTo>
                    <a:pt x="68" y="406"/>
                    <a:pt x="68" y="406"/>
                    <a:pt x="68" y="406"/>
                  </a:cubicBezTo>
                  <a:cubicBezTo>
                    <a:pt x="46" y="431"/>
                    <a:pt x="46" y="431"/>
                    <a:pt x="46" y="431"/>
                  </a:cubicBezTo>
                  <a:cubicBezTo>
                    <a:pt x="33" y="416"/>
                    <a:pt x="33" y="416"/>
                    <a:pt x="33" y="416"/>
                  </a:cubicBezTo>
                  <a:cubicBezTo>
                    <a:pt x="15" y="425"/>
                    <a:pt x="15" y="425"/>
                    <a:pt x="15" y="425"/>
                  </a:cubicBezTo>
                  <a:cubicBezTo>
                    <a:pt x="15" y="425"/>
                    <a:pt x="22" y="459"/>
                    <a:pt x="22" y="459"/>
                  </a:cubicBezTo>
                  <a:cubicBezTo>
                    <a:pt x="21" y="460"/>
                    <a:pt x="0" y="470"/>
                    <a:pt x="0" y="470"/>
                  </a:cubicBezTo>
                  <a:cubicBezTo>
                    <a:pt x="13" y="506"/>
                    <a:pt x="13" y="506"/>
                    <a:pt x="13" y="506"/>
                  </a:cubicBezTo>
                  <a:cubicBezTo>
                    <a:pt x="2" y="544"/>
                    <a:pt x="2" y="544"/>
                    <a:pt x="2" y="544"/>
                  </a:cubicBezTo>
                  <a:cubicBezTo>
                    <a:pt x="3" y="544"/>
                    <a:pt x="8" y="551"/>
                    <a:pt x="22" y="551"/>
                  </a:cubicBezTo>
                  <a:cubicBezTo>
                    <a:pt x="36" y="551"/>
                    <a:pt x="41" y="548"/>
                    <a:pt x="45" y="552"/>
                  </a:cubicBezTo>
                  <a:cubicBezTo>
                    <a:pt x="48" y="556"/>
                    <a:pt x="49" y="566"/>
                    <a:pt x="58" y="561"/>
                  </a:cubicBezTo>
                  <a:cubicBezTo>
                    <a:pt x="68" y="555"/>
                    <a:pt x="65" y="552"/>
                    <a:pt x="74" y="553"/>
                  </a:cubicBezTo>
                  <a:cubicBezTo>
                    <a:pt x="84" y="554"/>
                    <a:pt x="87" y="554"/>
                    <a:pt x="87" y="554"/>
                  </a:cubicBezTo>
                  <a:cubicBezTo>
                    <a:pt x="87" y="554"/>
                    <a:pt x="86" y="567"/>
                    <a:pt x="92" y="570"/>
                  </a:cubicBezTo>
                  <a:cubicBezTo>
                    <a:pt x="98" y="572"/>
                    <a:pt x="117" y="581"/>
                    <a:pt x="118" y="581"/>
                  </a:cubicBezTo>
                  <a:cubicBezTo>
                    <a:pt x="118" y="581"/>
                    <a:pt x="118" y="581"/>
                    <a:pt x="118" y="581"/>
                  </a:cubicBezTo>
                  <a:cubicBezTo>
                    <a:pt x="119" y="581"/>
                    <a:pt x="166" y="580"/>
                    <a:pt x="166" y="580"/>
                  </a:cubicBezTo>
                  <a:cubicBezTo>
                    <a:pt x="166" y="580"/>
                    <a:pt x="176" y="564"/>
                    <a:pt x="182" y="566"/>
                  </a:cubicBezTo>
                  <a:cubicBezTo>
                    <a:pt x="189" y="567"/>
                    <a:pt x="192" y="570"/>
                    <a:pt x="199" y="572"/>
                  </a:cubicBezTo>
                  <a:cubicBezTo>
                    <a:pt x="206" y="573"/>
                    <a:pt x="226" y="576"/>
                    <a:pt x="230" y="578"/>
                  </a:cubicBezTo>
                  <a:cubicBezTo>
                    <a:pt x="235" y="581"/>
                    <a:pt x="244" y="583"/>
                    <a:pt x="251" y="583"/>
                  </a:cubicBezTo>
                  <a:cubicBezTo>
                    <a:pt x="259" y="583"/>
                    <a:pt x="276" y="579"/>
                    <a:pt x="285" y="585"/>
                  </a:cubicBezTo>
                  <a:cubicBezTo>
                    <a:pt x="293" y="591"/>
                    <a:pt x="296" y="595"/>
                    <a:pt x="300" y="595"/>
                  </a:cubicBezTo>
                  <a:cubicBezTo>
                    <a:pt x="304" y="595"/>
                    <a:pt x="306" y="594"/>
                    <a:pt x="309" y="598"/>
                  </a:cubicBezTo>
                  <a:cubicBezTo>
                    <a:pt x="312" y="602"/>
                    <a:pt x="321" y="625"/>
                    <a:pt x="331" y="625"/>
                  </a:cubicBezTo>
                  <a:cubicBezTo>
                    <a:pt x="341" y="625"/>
                    <a:pt x="365" y="618"/>
                    <a:pt x="366" y="623"/>
                  </a:cubicBezTo>
                  <a:cubicBezTo>
                    <a:pt x="367" y="628"/>
                    <a:pt x="375" y="643"/>
                    <a:pt x="380" y="642"/>
                  </a:cubicBezTo>
                  <a:cubicBezTo>
                    <a:pt x="385" y="640"/>
                    <a:pt x="404" y="636"/>
                    <a:pt x="404" y="636"/>
                  </a:cubicBezTo>
                  <a:cubicBezTo>
                    <a:pt x="433" y="624"/>
                    <a:pt x="433" y="624"/>
                    <a:pt x="433" y="624"/>
                  </a:cubicBezTo>
                  <a:cubicBezTo>
                    <a:pt x="461" y="604"/>
                    <a:pt x="461" y="604"/>
                    <a:pt x="461" y="604"/>
                  </a:cubicBezTo>
                  <a:cubicBezTo>
                    <a:pt x="461" y="550"/>
                    <a:pt x="461" y="550"/>
                    <a:pt x="461" y="550"/>
                  </a:cubicBezTo>
                  <a:cubicBezTo>
                    <a:pt x="505" y="559"/>
                    <a:pt x="505" y="559"/>
                    <a:pt x="505" y="559"/>
                  </a:cubicBezTo>
                  <a:cubicBezTo>
                    <a:pt x="507" y="532"/>
                    <a:pt x="507" y="532"/>
                    <a:pt x="507" y="532"/>
                  </a:cubicBezTo>
                  <a:cubicBezTo>
                    <a:pt x="485" y="509"/>
                    <a:pt x="485" y="509"/>
                    <a:pt x="485" y="509"/>
                  </a:cubicBezTo>
                  <a:cubicBezTo>
                    <a:pt x="501" y="468"/>
                    <a:pt x="501" y="468"/>
                    <a:pt x="501" y="468"/>
                  </a:cubicBezTo>
                  <a:cubicBezTo>
                    <a:pt x="536" y="462"/>
                    <a:pt x="536" y="462"/>
                    <a:pt x="536" y="462"/>
                  </a:cubicBezTo>
                  <a:cubicBezTo>
                    <a:pt x="547" y="437"/>
                    <a:pt x="547" y="437"/>
                    <a:pt x="547" y="437"/>
                  </a:cubicBezTo>
                  <a:cubicBezTo>
                    <a:pt x="577" y="443"/>
                    <a:pt x="577" y="443"/>
                    <a:pt x="577" y="443"/>
                  </a:cubicBezTo>
                  <a:cubicBezTo>
                    <a:pt x="594" y="415"/>
                    <a:pt x="594" y="415"/>
                    <a:pt x="594" y="415"/>
                  </a:cubicBezTo>
                  <a:cubicBezTo>
                    <a:pt x="597" y="376"/>
                    <a:pt x="597" y="376"/>
                    <a:pt x="597" y="376"/>
                  </a:cubicBezTo>
                  <a:cubicBezTo>
                    <a:pt x="621" y="354"/>
                    <a:pt x="621" y="354"/>
                    <a:pt x="621" y="354"/>
                  </a:cubicBezTo>
                  <a:cubicBezTo>
                    <a:pt x="608" y="326"/>
                    <a:pt x="608" y="326"/>
                    <a:pt x="608" y="326"/>
                  </a:cubicBezTo>
                  <a:cubicBezTo>
                    <a:pt x="590" y="334"/>
                    <a:pt x="590" y="334"/>
                    <a:pt x="590" y="334"/>
                  </a:cubicBezTo>
                  <a:cubicBezTo>
                    <a:pt x="569" y="263"/>
                    <a:pt x="569" y="263"/>
                    <a:pt x="569" y="263"/>
                  </a:cubicBezTo>
                  <a:cubicBezTo>
                    <a:pt x="581" y="254"/>
                    <a:pt x="581" y="254"/>
                    <a:pt x="581" y="254"/>
                  </a:cubicBezTo>
                  <a:lnTo>
                    <a:pt x="621" y="267"/>
                  </a:lnTo>
                  <a:close/>
                </a:path>
              </a:pathLst>
            </a:custGeom>
            <a:grpFill/>
            <a:ln>
              <a:solidFill>
                <a:srgbClr val="FFFFFF"/>
              </a:solidFill>
            </a:ln>
          </p:spPr>
          <p:txBody>
            <a:bodyPr vert="horz" wrap="square" lIns="121920" tIns="60960" rIns="121920" bIns="60960" numCol="1" anchor="t" anchorCtr="0" compatLnSpc="1">
              <a:prstTxWarp prst="textNoShape">
                <a:avLst/>
              </a:prstTxWarp>
            </a:bodyPr>
            <a:lstStyle/>
            <a:p>
              <a:pPr marL="0" marR="0" lvl="0" indent="0" defTabSz="467539"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000000"/>
                </a:solidFill>
                <a:effectLst/>
                <a:uLnTx/>
                <a:uFillTx/>
              </a:endParaRPr>
            </a:p>
          </p:txBody>
        </p:sp>
        <p:sp>
          <p:nvSpPr>
            <p:cNvPr id="104" name="Freeform 21">
              <a:extLst>
                <a:ext uri="{FF2B5EF4-FFF2-40B4-BE49-F238E27FC236}">
                  <a16:creationId xmlns:a16="http://schemas.microsoft.com/office/drawing/2014/main" id="{88CB4360-1611-4D52-A157-D16C7016BD76}"/>
                </a:ext>
              </a:extLst>
            </p:cNvPr>
            <p:cNvSpPr>
              <a:spLocks/>
            </p:cNvSpPr>
            <p:nvPr/>
          </p:nvSpPr>
          <p:spPr bwMode="auto">
            <a:xfrm>
              <a:off x="1200150" y="2203450"/>
              <a:ext cx="1058863" cy="1250950"/>
            </a:xfrm>
            <a:custGeom>
              <a:avLst/>
              <a:gdLst>
                <a:gd name="T0" fmla="*/ 901 w 901"/>
                <a:gd name="T1" fmla="*/ 572 h 1066"/>
                <a:gd name="T2" fmla="*/ 861 w 901"/>
                <a:gd name="T3" fmla="*/ 497 h 1066"/>
                <a:gd name="T4" fmla="*/ 785 w 901"/>
                <a:gd name="T5" fmla="*/ 491 h 1066"/>
                <a:gd name="T6" fmla="*/ 734 w 901"/>
                <a:gd name="T7" fmla="*/ 460 h 1066"/>
                <a:gd name="T8" fmla="*/ 689 w 901"/>
                <a:gd name="T9" fmla="*/ 448 h 1066"/>
                <a:gd name="T10" fmla="*/ 597 w 901"/>
                <a:gd name="T11" fmla="*/ 442 h 1066"/>
                <a:gd name="T12" fmla="*/ 544 w 901"/>
                <a:gd name="T13" fmla="*/ 412 h 1066"/>
                <a:gd name="T14" fmla="*/ 502 w 901"/>
                <a:gd name="T15" fmla="*/ 399 h 1066"/>
                <a:gd name="T16" fmla="*/ 453 w 901"/>
                <a:gd name="T17" fmla="*/ 406 h 1066"/>
                <a:gd name="T18" fmla="*/ 464 w 901"/>
                <a:gd name="T19" fmla="*/ 359 h 1066"/>
                <a:gd name="T20" fmla="*/ 427 w 901"/>
                <a:gd name="T21" fmla="*/ 283 h 1066"/>
                <a:gd name="T22" fmla="*/ 411 w 901"/>
                <a:gd name="T23" fmla="*/ 190 h 1066"/>
                <a:gd name="T24" fmla="*/ 374 w 901"/>
                <a:gd name="T25" fmla="*/ 108 h 1066"/>
                <a:gd name="T26" fmla="*/ 380 w 901"/>
                <a:gd name="T27" fmla="*/ 53 h 1066"/>
                <a:gd name="T28" fmla="*/ 321 w 901"/>
                <a:gd name="T29" fmla="*/ 64 h 1066"/>
                <a:gd name="T30" fmla="*/ 297 w 901"/>
                <a:gd name="T31" fmla="*/ 50 h 1066"/>
                <a:gd name="T32" fmla="*/ 233 w 901"/>
                <a:gd name="T33" fmla="*/ 7 h 1066"/>
                <a:gd name="T34" fmla="*/ 174 w 901"/>
                <a:gd name="T35" fmla="*/ 65 h 1066"/>
                <a:gd name="T36" fmla="*/ 167 w 901"/>
                <a:gd name="T37" fmla="*/ 103 h 1066"/>
                <a:gd name="T38" fmla="*/ 229 w 901"/>
                <a:gd name="T39" fmla="*/ 143 h 1066"/>
                <a:gd name="T40" fmla="*/ 209 w 901"/>
                <a:gd name="T41" fmla="*/ 173 h 1066"/>
                <a:gd name="T42" fmla="*/ 184 w 901"/>
                <a:gd name="T43" fmla="*/ 180 h 1066"/>
                <a:gd name="T44" fmla="*/ 149 w 901"/>
                <a:gd name="T45" fmla="*/ 207 h 1066"/>
                <a:gd name="T46" fmla="*/ 133 w 901"/>
                <a:gd name="T47" fmla="*/ 250 h 1066"/>
                <a:gd name="T48" fmla="*/ 72 w 901"/>
                <a:gd name="T49" fmla="*/ 277 h 1066"/>
                <a:gd name="T50" fmla="*/ 35 w 901"/>
                <a:gd name="T51" fmla="*/ 288 h 1066"/>
                <a:gd name="T52" fmla="*/ 35 w 901"/>
                <a:gd name="T53" fmla="*/ 371 h 1066"/>
                <a:gd name="T54" fmla="*/ 5 w 901"/>
                <a:gd name="T55" fmla="*/ 419 h 1066"/>
                <a:gd name="T56" fmla="*/ 32 w 901"/>
                <a:gd name="T57" fmla="*/ 516 h 1066"/>
                <a:gd name="T58" fmla="*/ 34 w 901"/>
                <a:gd name="T59" fmla="*/ 558 h 1066"/>
                <a:gd name="T60" fmla="*/ 36 w 901"/>
                <a:gd name="T61" fmla="*/ 690 h 1066"/>
                <a:gd name="T62" fmla="*/ 68 w 901"/>
                <a:gd name="T63" fmla="*/ 693 h 1066"/>
                <a:gd name="T64" fmla="*/ 78 w 901"/>
                <a:gd name="T65" fmla="*/ 734 h 1066"/>
                <a:gd name="T66" fmla="*/ 101 w 901"/>
                <a:gd name="T67" fmla="*/ 728 h 1066"/>
                <a:gd name="T68" fmla="*/ 122 w 901"/>
                <a:gd name="T69" fmla="*/ 774 h 1066"/>
                <a:gd name="T70" fmla="*/ 134 w 901"/>
                <a:gd name="T71" fmla="*/ 765 h 1066"/>
                <a:gd name="T72" fmla="*/ 183 w 901"/>
                <a:gd name="T73" fmla="*/ 815 h 1066"/>
                <a:gd name="T74" fmla="*/ 255 w 901"/>
                <a:gd name="T75" fmla="*/ 823 h 1066"/>
                <a:gd name="T76" fmla="*/ 291 w 901"/>
                <a:gd name="T77" fmla="*/ 864 h 1066"/>
                <a:gd name="T78" fmla="*/ 340 w 901"/>
                <a:gd name="T79" fmla="*/ 884 h 1066"/>
                <a:gd name="T80" fmla="*/ 385 w 901"/>
                <a:gd name="T81" fmla="*/ 873 h 1066"/>
                <a:gd name="T82" fmla="*/ 410 w 901"/>
                <a:gd name="T83" fmla="*/ 852 h 1066"/>
                <a:gd name="T84" fmla="*/ 503 w 901"/>
                <a:gd name="T85" fmla="*/ 856 h 1066"/>
                <a:gd name="T86" fmla="*/ 485 w 901"/>
                <a:gd name="T87" fmla="*/ 905 h 1066"/>
                <a:gd name="T88" fmla="*/ 544 w 901"/>
                <a:gd name="T89" fmla="*/ 950 h 1066"/>
                <a:gd name="T90" fmla="*/ 551 w 901"/>
                <a:gd name="T91" fmla="*/ 997 h 1066"/>
                <a:gd name="T92" fmla="*/ 555 w 901"/>
                <a:gd name="T93" fmla="*/ 1017 h 1066"/>
                <a:gd name="T94" fmla="*/ 567 w 901"/>
                <a:gd name="T95" fmla="*/ 1033 h 1066"/>
                <a:gd name="T96" fmla="*/ 600 w 901"/>
                <a:gd name="T97" fmla="*/ 1037 h 1066"/>
                <a:gd name="T98" fmla="*/ 596 w 901"/>
                <a:gd name="T99" fmla="*/ 1058 h 1066"/>
                <a:gd name="T100" fmla="*/ 671 w 901"/>
                <a:gd name="T101" fmla="*/ 1041 h 1066"/>
                <a:gd name="T102" fmla="*/ 708 w 901"/>
                <a:gd name="T103" fmla="*/ 999 h 1066"/>
                <a:gd name="T104" fmla="*/ 717 w 901"/>
                <a:gd name="T105" fmla="*/ 952 h 1066"/>
                <a:gd name="T106" fmla="*/ 728 w 901"/>
                <a:gd name="T107" fmla="*/ 909 h 1066"/>
                <a:gd name="T108" fmla="*/ 763 w 901"/>
                <a:gd name="T109" fmla="*/ 899 h 1066"/>
                <a:gd name="T110" fmla="*/ 770 w 901"/>
                <a:gd name="T111" fmla="*/ 744 h 1066"/>
                <a:gd name="T112" fmla="*/ 833 w 901"/>
                <a:gd name="T113" fmla="*/ 694 h 1066"/>
                <a:gd name="T114" fmla="*/ 855 w 901"/>
                <a:gd name="T115" fmla="*/ 621 h 1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01" h="1066">
                  <a:moveTo>
                    <a:pt x="849" y="581"/>
                  </a:moveTo>
                  <a:cubicBezTo>
                    <a:pt x="901" y="572"/>
                    <a:pt x="901" y="572"/>
                    <a:pt x="901" y="572"/>
                  </a:cubicBezTo>
                  <a:cubicBezTo>
                    <a:pt x="884" y="514"/>
                    <a:pt x="884" y="514"/>
                    <a:pt x="884" y="514"/>
                  </a:cubicBezTo>
                  <a:cubicBezTo>
                    <a:pt x="861" y="497"/>
                    <a:pt x="861" y="497"/>
                    <a:pt x="861" y="497"/>
                  </a:cubicBezTo>
                  <a:cubicBezTo>
                    <a:pt x="861" y="497"/>
                    <a:pt x="835" y="513"/>
                    <a:pt x="823" y="519"/>
                  </a:cubicBezTo>
                  <a:cubicBezTo>
                    <a:pt x="810" y="526"/>
                    <a:pt x="785" y="491"/>
                    <a:pt x="785" y="491"/>
                  </a:cubicBezTo>
                  <a:cubicBezTo>
                    <a:pt x="777" y="471"/>
                    <a:pt x="777" y="471"/>
                    <a:pt x="777" y="471"/>
                  </a:cubicBezTo>
                  <a:cubicBezTo>
                    <a:pt x="734" y="460"/>
                    <a:pt x="734" y="460"/>
                    <a:pt x="734" y="460"/>
                  </a:cubicBezTo>
                  <a:cubicBezTo>
                    <a:pt x="720" y="473"/>
                    <a:pt x="720" y="473"/>
                    <a:pt x="720" y="473"/>
                  </a:cubicBezTo>
                  <a:cubicBezTo>
                    <a:pt x="689" y="448"/>
                    <a:pt x="689" y="448"/>
                    <a:pt x="689" y="448"/>
                  </a:cubicBezTo>
                  <a:cubicBezTo>
                    <a:pt x="669" y="474"/>
                    <a:pt x="669" y="474"/>
                    <a:pt x="669" y="474"/>
                  </a:cubicBezTo>
                  <a:cubicBezTo>
                    <a:pt x="597" y="442"/>
                    <a:pt x="597" y="442"/>
                    <a:pt x="597" y="442"/>
                  </a:cubicBezTo>
                  <a:cubicBezTo>
                    <a:pt x="588" y="426"/>
                    <a:pt x="588" y="426"/>
                    <a:pt x="588" y="426"/>
                  </a:cubicBezTo>
                  <a:cubicBezTo>
                    <a:pt x="544" y="412"/>
                    <a:pt x="544" y="412"/>
                    <a:pt x="544" y="412"/>
                  </a:cubicBezTo>
                  <a:cubicBezTo>
                    <a:pt x="521" y="426"/>
                    <a:pt x="521" y="426"/>
                    <a:pt x="521" y="426"/>
                  </a:cubicBezTo>
                  <a:cubicBezTo>
                    <a:pt x="502" y="399"/>
                    <a:pt x="502" y="399"/>
                    <a:pt x="502" y="399"/>
                  </a:cubicBezTo>
                  <a:cubicBezTo>
                    <a:pt x="473" y="409"/>
                    <a:pt x="473" y="409"/>
                    <a:pt x="473" y="409"/>
                  </a:cubicBezTo>
                  <a:cubicBezTo>
                    <a:pt x="453" y="406"/>
                    <a:pt x="453" y="406"/>
                    <a:pt x="453" y="406"/>
                  </a:cubicBezTo>
                  <a:cubicBezTo>
                    <a:pt x="443" y="369"/>
                    <a:pt x="443" y="369"/>
                    <a:pt x="443" y="369"/>
                  </a:cubicBezTo>
                  <a:cubicBezTo>
                    <a:pt x="464" y="359"/>
                    <a:pt x="464" y="359"/>
                    <a:pt x="464" y="359"/>
                  </a:cubicBezTo>
                  <a:cubicBezTo>
                    <a:pt x="457" y="309"/>
                    <a:pt x="457" y="309"/>
                    <a:pt x="457" y="309"/>
                  </a:cubicBezTo>
                  <a:cubicBezTo>
                    <a:pt x="427" y="283"/>
                    <a:pt x="427" y="283"/>
                    <a:pt x="427" y="283"/>
                  </a:cubicBezTo>
                  <a:cubicBezTo>
                    <a:pt x="404" y="269"/>
                    <a:pt x="404" y="269"/>
                    <a:pt x="404" y="269"/>
                  </a:cubicBezTo>
                  <a:cubicBezTo>
                    <a:pt x="411" y="190"/>
                    <a:pt x="411" y="190"/>
                    <a:pt x="411" y="190"/>
                  </a:cubicBezTo>
                  <a:cubicBezTo>
                    <a:pt x="410" y="132"/>
                    <a:pt x="410" y="132"/>
                    <a:pt x="410" y="132"/>
                  </a:cubicBezTo>
                  <a:cubicBezTo>
                    <a:pt x="374" y="108"/>
                    <a:pt x="374" y="108"/>
                    <a:pt x="374" y="108"/>
                  </a:cubicBezTo>
                  <a:cubicBezTo>
                    <a:pt x="399" y="66"/>
                    <a:pt x="399" y="66"/>
                    <a:pt x="399" y="66"/>
                  </a:cubicBezTo>
                  <a:cubicBezTo>
                    <a:pt x="380" y="53"/>
                    <a:pt x="380" y="53"/>
                    <a:pt x="380" y="53"/>
                  </a:cubicBezTo>
                  <a:cubicBezTo>
                    <a:pt x="333" y="56"/>
                    <a:pt x="333" y="56"/>
                    <a:pt x="333" y="56"/>
                  </a:cubicBezTo>
                  <a:cubicBezTo>
                    <a:pt x="321" y="64"/>
                    <a:pt x="321" y="64"/>
                    <a:pt x="321" y="64"/>
                  </a:cubicBezTo>
                  <a:cubicBezTo>
                    <a:pt x="313" y="63"/>
                    <a:pt x="313" y="63"/>
                    <a:pt x="313" y="63"/>
                  </a:cubicBezTo>
                  <a:cubicBezTo>
                    <a:pt x="297" y="50"/>
                    <a:pt x="297" y="50"/>
                    <a:pt x="297" y="50"/>
                  </a:cubicBezTo>
                  <a:cubicBezTo>
                    <a:pt x="272" y="0"/>
                    <a:pt x="272" y="0"/>
                    <a:pt x="272" y="0"/>
                  </a:cubicBezTo>
                  <a:cubicBezTo>
                    <a:pt x="233" y="7"/>
                    <a:pt x="233" y="7"/>
                    <a:pt x="233" y="7"/>
                  </a:cubicBezTo>
                  <a:cubicBezTo>
                    <a:pt x="230" y="55"/>
                    <a:pt x="230" y="55"/>
                    <a:pt x="230" y="55"/>
                  </a:cubicBezTo>
                  <a:cubicBezTo>
                    <a:pt x="230" y="55"/>
                    <a:pt x="184" y="64"/>
                    <a:pt x="174" y="65"/>
                  </a:cubicBezTo>
                  <a:cubicBezTo>
                    <a:pt x="163" y="67"/>
                    <a:pt x="160" y="77"/>
                    <a:pt x="158" y="85"/>
                  </a:cubicBezTo>
                  <a:cubicBezTo>
                    <a:pt x="157" y="92"/>
                    <a:pt x="165" y="100"/>
                    <a:pt x="167" y="103"/>
                  </a:cubicBezTo>
                  <a:cubicBezTo>
                    <a:pt x="169" y="106"/>
                    <a:pt x="203" y="115"/>
                    <a:pt x="203" y="115"/>
                  </a:cubicBezTo>
                  <a:cubicBezTo>
                    <a:pt x="229" y="143"/>
                    <a:pt x="229" y="143"/>
                    <a:pt x="229" y="143"/>
                  </a:cubicBezTo>
                  <a:cubicBezTo>
                    <a:pt x="206" y="163"/>
                    <a:pt x="206" y="163"/>
                    <a:pt x="206" y="163"/>
                  </a:cubicBezTo>
                  <a:cubicBezTo>
                    <a:pt x="209" y="173"/>
                    <a:pt x="209" y="173"/>
                    <a:pt x="209" y="173"/>
                  </a:cubicBezTo>
                  <a:cubicBezTo>
                    <a:pt x="209" y="173"/>
                    <a:pt x="208" y="184"/>
                    <a:pt x="208" y="184"/>
                  </a:cubicBezTo>
                  <a:cubicBezTo>
                    <a:pt x="207" y="185"/>
                    <a:pt x="184" y="180"/>
                    <a:pt x="184" y="180"/>
                  </a:cubicBezTo>
                  <a:cubicBezTo>
                    <a:pt x="178" y="199"/>
                    <a:pt x="178" y="199"/>
                    <a:pt x="178" y="199"/>
                  </a:cubicBezTo>
                  <a:cubicBezTo>
                    <a:pt x="149" y="207"/>
                    <a:pt x="149" y="207"/>
                    <a:pt x="149" y="207"/>
                  </a:cubicBezTo>
                  <a:cubicBezTo>
                    <a:pt x="135" y="225"/>
                    <a:pt x="135" y="225"/>
                    <a:pt x="135" y="225"/>
                  </a:cubicBezTo>
                  <a:cubicBezTo>
                    <a:pt x="133" y="250"/>
                    <a:pt x="133" y="250"/>
                    <a:pt x="133" y="250"/>
                  </a:cubicBezTo>
                  <a:cubicBezTo>
                    <a:pt x="130" y="258"/>
                    <a:pt x="130" y="258"/>
                    <a:pt x="130" y="258"/>
                  </a:cubicBezTo>
                  <a:cubicBezTo>
                    <a:pt x="72" y="277"/>
                    <a:pt x="72" y="277"/>
                    <a:pt x="72" y="277"/>
                  </a:cubicBezTo>
                  <a:cubicBezTo>
                    <a:pt x="43" y="270"/>
                    <a:pt x="43" y="270"/>
                    <a:pt x="43" y="270"/>
                  </a:cubicBezTo>
                  <a:cubicBezTo>
                    <a:pt x="35" y="288"/>
                    <a:pt x="35" y="288"/>
                    <a:pt x="35" y="288"/>
                  </a:cubicBezTo>
                  <a:cubicBezTo>
                    <a:pt x="51" y="319"/>
                    <a:pt x="51" y="319"/>
                    <a:pt x="51" y="319"/>
                  </a:cubicBezTo>
                  <a:cubicBezTo>
                    <a:pt x="35" y="371"/>
                    <a:pt x="35" y="371"/>
                    <a:pt x="35" y="371"/>
                  </a:cubicBezTo>
                  <a:cubicBezTo>
                    <a:pt x="41" y="403"/>
                    <a:pt x="41" y="403"/>
                    <a:pt x="41" y="403"/>
                  </a:cubicBezTo>
                  <a:cubicBezTo>
                    <a:pt x="41" y="403"/>
                    <a:pt x="5" y="419"/>
                    <a:pt x="5" y="419"/>
                  </a:cubicBezTo>
                  <a:cubicBezTo>
                    <a:pt x="5" y="420"/>
                    <a:pt x="0" y="458"/>
                    <a:pt x="0" y="458"/>
                  </a:cubicBezTo>
                  <a:cubicBezTo>
                    <a:pt x="32" y="516"/>
                    <a:pt x="32" y="516"/>
                    <a:pt x="32" y="516"/>
                  </a:cubicBezTo>
                  <a:cubicBezTo>
                    <a:pt x="17" y="538"/>
                    <a:pt x="17" y="538"/>
                    <a:pt x="17" y="538"/>
                  </a:cubicBezTo>
                  <a:cubicBezTo>
                    <a:pt x="34" y="558"/>
                    <a:pt x="34" y="558"/>
                    <a:pt x="34" y="558"/>
                  </a:cubicBezTo>
                  <a:cubicBezTo>
                    <a:pt x="25" y="677"/>
                    <a:pt x="25" y="677"/>
                    <a:pt x="25" y="677"/>
                  </a:cubicBezTo>
                  <a:cubicBezTo>
                    <a:pt x="36" y="690"/>
                    <a:pt x="36" y="690"/>
                    <a:pt x="36" y="690"/>
                  </a:cubicBezTo>
                  <a:cubicBezTo>
                    <a:pt x="50" y="681"/>
                    <a:pt x="50" y="681"/>
                    <a:pt x="50" y="681"/>
                  </a:cubicBezTo>
                  <a:cubicBezTo>
                    <a:pt x="68" y="693"/>
                    <a:pt x="68" y="693"/>
                    <a:pt x="68" y="693"/>
                  </a:cubicBezTo>
                  <a:cubicBezTo>
                    <a:pt x="54" y="714"/>
                    <a:pt x="54" y="714"/>
                    <a:pt x="54" y="714"/>
                  </a:cubicBezTo>
                  <a:cubicBezTo>
                    <a:pt x="78" y="734"/>
                    <a:pt x="78" y="734"/>
                    <a:pt x="78" y="734"/>
                  </a:cubicBezTo>
                  <a:cubicBezTo>
                    <a:pt x="98" y="727"/>
                    <a:pt x="98" y="727"/>
                    <a:pt x="98" y="727"/>
                  </a:cubicBezTo>
                  <a:cubicBezTo>
                    <a:pt x="101" y="728"/>
                    <a:pt x="101" y="728"/>
                    <a:pt x="101" y="728"/>
                  </a:cubicBezTo>
                  <a:cubicBezTo>
                    <a:pt x="103" y="763"/>
                    <a:pt x="103" y="763"/>
                    <a:pt x="103" y="763"/>
                  </a:cubicBezTo>
                  <a:cubicBezTo>
                    <a:pt x="122" y="774"/>
                    <a:pt x="122" y="774"/>
                    <a:pt x="122" y="774"/>
                  </a:cubicBezTo>
                  <a:cubicBezTo>
                    <a:pt x="131" y="772"/>
                    <a:pt x="131" y="772"/>
                    <a:pt x="131" y="772"/>
                  </a:cubicBezTo>
                  <a:cubicBezTo>
                    <a:pt x="134" y="765"/>
                    <a:pt x="134" y="765"/>
                    <a:pt x="134" y="765"/>
                  </a:cubicBezTo>
                  <a:cubicBezTo>
                    <a:pt x="168" y="780"/>
                    <a:pt x="168" y="780"/>
                    <a:pt x="168" y="780"/>
                  </a:cubicBezTo>
                  <a:cubicBezTo>
                    <a:pt x="183" y="815"/>
                    <a:pt x="183" y="815"/>
                    <a:pt x="183" y="815"/>
                  </a:cubicBezTo>
                  <a:cubicBezTo>
                    <a:pt x="220" y="807"/>
                    <a:pt x="220" y="807"/>
                    <a:pt x="220" y="807"/>
                  </a:cubicBezTo>
                  <a:cubicBezTo>
                    <a:pt x="255" y="823"/>
                    <a:pt x="255" y="823"/>
                    <a:pt x="255" y="823"/>
                  </a:cubicBezTo>
                  <a:cubicBezTo>
                    <a:pt x="262" y="857"/>
                    <a:pt x="262" y="857"/>
                    <a:pt x="262" y="857"/>
                  </a:cubicBezTo>
                  <a:cubicBezTo>
                    <a:pt x="291" y="864"/>
                    <a:pt x="291" y="864"/>
                    <a:pt x="291" y="864"/>
                  </a:cubicBezTo>
                  <a:cubicBezTo>
                    <a:pt x="321" y="896"/>
                    <a:pt x="321" y="896"/>
                    <a:pt x="321" y="896"/>
                  </a:cubicBezTo>
                  <a:cubicBezTo>
                    <a:pt x="340" y="884"/>
                    <a:pt x="340" y="884"/>
                    <a:pt x="340" y="884"/>
                  </a:cubicBezTo>
                  <a:cubicBezTo>
                    <a:pt x="368" y="888"/>
                    <a:pt x="368" y="888"/>
                    <a:pt x="368" y="888"/>
                  </a:cubicBezTo>
                  <a:cubicBezTo>
                    <a:pt x="385" y="873"/>
                    <a:pt x="385" y="873"/>
                    <a:pt x="385" y="873"/>
                  </a:cubicBezTo>
                  <a:cubicBezTo>
                    <a:pt x="405" y="875"/>
                    <a:pt x="405" y="875"/>
                    <a:pt x="405" y="875"/>
                  </a:cubicBezTo>
                  <a:cubicBezTo>
                    <a:pt x="410" y="852"/>
                    <a:pt x="410" y="852"/>
                    <a:pt x="410" y="852"/>
                  </a:cubicBezTo>
                  <a:cubicBezTo>
                    <a:pt x="432" y="838"/>
                    <a:pt x="432" y="838"/>
                    <a:pt x="432" y="838"/>
                  </a:cubicBezTo>
                  <a:cubicBezTo>
                    <a:pt x="503" y="856"/>
                    <a:pt x="503" y="856"/>
                    <a:pt x="503" y="856"/>
                  </a:cubicBezTo>
                  <a:cubicBezTo>
                    <a:pt x="509" y="890"/>
                    <a:pt x="509" y="890"/>
                    <a:pt x="509" y="890"/>
                  </a:cubicBezTo>
                  <a:cubicBezTo>
                    <a:pt x="485" y="905"/>
                    <a:pt x="485" y="905"/>
                    <a:pt x="485" y="905"/>
                  </a:cubicBezTo>
                  <a:cubicBezTo>
                    <a:pt x="506" y="947"/>
                    <a:pt x="506" y="947"/>
                    <a:pt x="506" y="947"/>
                  </a:cubicBezTo>
                  <a:cubicBezTo>
                    <a:pt x="544" y="950"/>
                    <a:pt x="544" y="950"/>
                    <a:pt x="544" y="950"/>
                  </a:cubicBezTo>
                  <a:cubicBezTo>
                    <a:pt x="553" y="983"/>
                    <a:pt x="553" y="983"/>
                    <a:pt x="553" y="983"/>
                  </a:cubicBezTo>
                  <a:cubicBezTo>
                    <a:pt x="551" y="997"/>
                    <a:pt x="551" y="997"/>
                    <a:pt x="551" y="997"/>
                  </a:cubicBezTo>
                  <a:cubicBezTo>
                    <a:pt x="543" y="1010"/>
                    <a:pt x="543" y="1010"/>
                    <a:pt x="543" y="1010"/>
                  </a:cubicBezTo>
                  <a:cubicBezTo>
                    <a:pt x="555" y="1017"/>
                    <a:pt x="555" y="1017"/>
                    <a:pt x="555" y="1017"/>
                  </a:cubicBezTo>
                  <a:cubicBezTo>
                    <a:pt x="567" y="1033"/>
                    <a:pt x="567" y="1033"/>
                    <a:pt x="567" y="1033"/>
                  </a:cubicBezTo>
                  <a:cubicBezTo>
                    <a:pt x="567" y="1033"/>
                    <a:pt x="567" y="1033"/>
                    <a:pt x="567" y="1033"/>
                  </a:cubicBezTo>
                  <a:cubicBezTo>
                    <a:pt x="586" y="1027"/>
                    <a:pt x="586" y="1027"/>
                    <a:pt x="586" y="1027"/>
                  </a:cubicBezTo>
                  <a:cubicBezTo>
                    <a:pt x="600" y="1037"/>
                    <a:pt x="600" y="1037"/>
                    <a:pt x="600" y="1037"/>
                  </a:cubicBezTo>
                  <a:cubicBezTo>
                    <a:pt x="593" y="1047"/>
                    <a:pt x="593" y="1047"/>
                    <a:pt x="593" y="1047"/>
                  </a:cubicBezTo>
                  <a:cubicBezTo>
                    <a:pt x="596" y="1058"/>
                    <a:pt x="596" y="1058"/>
                    <a:pt x="596" y="1058"/>
                  </a:cubicBezTo>
                  <a:cubicBezTo>
                    <a:pt x="632" y="1066"/>
                    <a:pt x="632" y="1066"/>
                    <a:pt x="632" y="1066"/>
                  </a:cubicBezTo>
                  <a:cubicBezTo>
                    <a:pt x="632" y="1066"/>
                    <a:pt x="660" y="1042"/>
                    <a:pt x="671" y="1041"/>
                  </a:cubicBezTo>
                  <a:cubicBezTo>
                    <a:pt x="682" y="1039"/>
                    <a:pt x="697" y="1037"/>
                    <a:pt x="697" y="1037"/>
                  </a:cubicBezTo>
                  <a:cubicBezTo>
                    <a:pt x="708" y="999"/>
                    <a:pt x="708" y="999"/>
                    <a:pt x="708" y="999"/>
                  </a:cubicBezTo>
                  <a:cubicBezTo>
                    <a:pt x="695" y="963"/>
                    <a:pt x="695" y="963"/>
                    <a:pt x="695" y="963"/>
                  </a:cubicBezTo>
                  <a:cubicBezTo>
                    <a:pt x="695" y="963"/>
                    <a:pt x="716" y="953"/>
                    <a:pt x="717" y="952"/>
                  </a:cubicBezTo>
                  <a:cubicBezTo>
                    <a:pt x="717" y="952"/>
                    <a:pt x="710" y="918"/>
                    <a:pt x="710" y="918"/>
                  </a:cubicBezTo>
                  <a:cubicBezTo>
                    <a:pt x="728" y="909"/>
                    <a:pt x="728" y="909"/>
                    <a:pt x="728" y="909"/>
                  </a:cubicBezTo>
                  <a:cubicBezTo>
                    <a:pt x="741" y="924"/>
                    <a:pt x="741" y="924"/>
                    <a:pt x="741" y="924"/>
                  </a:cubicBezTo>
                  <a:cubicBezTo>
                    <a:pt x="763" y="899"/>
                    <a:pt x="763" y="899"/>
                    <a:pt x="763" y="899"/>
                  </a:cubicBezTo>
                  <a:cubicBezTo>
                    <a:pt x="740" y="810"/>
                    <a:pt x="740" y="810"/>
                    <a:pt x="740" y="810"/>
                  </a:cubicBezTo>
                  <a:cubicBezTo>
                    <a:pt x="770" y="744"/>
                    <a:pt x="770" y="744"/>
                    <a:pt x="770" y="744"/>
                  </a:cubicBezTo>
                  <a:cubicBezTo>
                    <a:pt x="815" y="745"/>
                    <a:pt x="815" y="745"/>
                    <a:pt x="815" y="745"/>
                  </a:cubicBezTo>
                  <a:cubicBezTo>
                    <a:pt x="833" y="694"/>
                    <a:pt x="833" y="694"/>
                    <a:pt x="833" y="694"/>
                  </a:cubicBezTo>
                  <a:cubicBezTo>
                    <a:pt x="818" y="655"/>
                    <a:pt x="818" y="655"/>
                    <a:pt x="818" y="655"/>
                  </a:cubicBezTo>
                  <a:cubicBezTo>
                    <a:pt x="855" y="621"/>
                    <a:pt x="855" y="621"/>
                    <a:pt x="855" y="621"/>
                  </a:cubicBezTo>
                  <a:lnTo>
                    <a:pt x="849" y="581"/>
                  </a:lnTo>
                  <a:close/>
                </a:path>
              </a:pathLst>
            </a:custGeom>
            <a:grpFill/>
            <a:ln>
              <a:solidFill>
                <a:srgbClr val="FFFFFF"/>
              </a:solidFill>
            </a:ln>
          </p:spPr>
          <p:txBody>
            <a:bodyPr vert="horz" wrap="square" lIns="121920" tIns="60960" rIns="121920" bIns="60960" numCol="1" anchor="t" anchorCtr="0" compatLnSpc="1">
              <a:prstTxWarp prst="textNoShape">
                <a:avLst/>
              </a:prstTxWarp>
            </a:bodyPr>
            <a:lstStyle/>
            <a:p>
              <a:pPr marL="0" marR="0" lvl="0" indent="0" defTabSz="467539"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000000"/>
                </a:solidFill>
                <a:effectLst/>
                <a:uLnTx/>
                <a:uFillTx/>
              </a:endParaRPr>
            </a:p>
          </p:txBody>
        </p:sp>
      </p:grpSp>
      <p:sp>
        <p:nvSpPr>
          <p:cNvPr id="105" name="Owal 104">
            <a:extLst>
              <a:ext uri="{FF2B5EF4-FFF2-40B4-BE49-F238E27FC236}">
                <a16:creationId xmlns:a16="http://schemas.microsoft.com/office/drawing/2014/main" id="{B392D902-1059-48ED-98F5-4C936525004D}"/>
              </a:ext>
            </a:extLst>
          </p:cNvPr>
          <p:cNvSpPr/>
          <p:nvPr/>
        </p:nvSpPr>
        <p:spPr>
          <a:xfrm>
            <a:off x="4997366" y="3296366"/>
            <a:ext cx="120001" cy="120001"/>
          </a:xfrm>
          <a:prstGeom prst="ellipse">
            <a:avLst/>
          </a:prstGeom>
          <a:solidFill>
            <a:srgbClr val="92D050"/>
          </a:solidFill>
          <a:ln w="25400" cap="flat" cmpd="sng" algn="ctr">
            <a:solidFill>
              <a:srgbClr val="3EAD92"/>
            </a:solidFill>
            <a:prstDash val="solid"/>
          </a:ln>
          <a:effectLst/>
        </p:spPr>
        <p:txBody>
          <a:bodyPr rtlCol="0" anchor="ctr"/>
          <a:lstStyle/>
          <a:p>
            <a:pPr marL="0" marR="0" lvl="0" indent="0" algn="ctr" defTabSz="467539"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FFFFFF"/>
              </a:solidFill>
              <a:effectLst/>
              <a:uLnTx/>
              <a:uFillTx/>
            </a:endParaRPr>
          </a:p>
        </p:txBody>
      </p:sp>
      <p:sp>
        <p:nvSpPr>
          <p:cNvPr id="106" name="Owal 105">
            <a:extLst>
              <a:ext uri="{FF2B5EF4-FFF2-40B4-BE49-F238E27FC236}">
                <a16:creationId xmlns:a16="http://schemas.microsoft.com/office/drawing/2014/main" id="{009D8262-7FBA-4D61-BBD9-C75B2D8E3815}"/>
              </a:ext>
            </a:extLst>
          </p:cNvPr>
          <p:cNvSpPr/>
          <p:nvPr/>
        </p:nvSpPr>
        <p:spPr>
          <a:xfrm>
            <a:off x="5200566" y="3499566"/>
            <a:ext cx="120001" cy="120001"/>
          </a:xfrm>
          <a:prstGeom prst="ellipse">
            <a:avLst/>
          </a:prstGeom>
          <a:solidFill>
            <a:srgbClr val="92D050"/>
          </a:solidFill>
          <a:ln w="25400" cap="flat" cmpd="sng" algn="ctr">
            <a:solidFill>
              <a:srgbClr val="3EAD92"/>
            </a:solidFill>
            <a:prstDash val="solid"/>
          </a:ln>
          <a:effectLst/>
        </p:spPr>
        <p:txBody>
          <a:bodyPr rtlCol="0" anchor="ctr"/>
          <a:lstStyle/>
          <a:p>
            <a:pPr marL="0" marR="0" lvl="0" indent="0" algn="ctr" defTabSz="467539"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FFFFFF"/>
              </a:solidFill>
              <a:effectLst/>
              <a:uLnTx/>
              <a:uFillTx/>
            </a:endParaRPr>
          </a:p>
        </p:txBody>
      </p:sp>
      <p:sp>
        <p:nvSpPr>
          <p:cNvPr id="107" name="Owal 106">
            <a:extLst>
              <a:ext uri="{FF2B5EF4-FFF2-40B4-BE49-F238E27FC236}">
                <a16:creationId xmlns:a16="http://schemas.microsoft.com/office/drawing/2014/main" id="{CE0523F3-E9B7-4435-BF79-D004E8A5BD6D}"/>
              </a:ext>
            </a:extLst>
          </p:cNvPr>
          <p:cNvSpPr/>
          <p:nvPr/>
        </p:nvSpPr>
        <p:spPr>
          <a:xfrm>
            <a:off x="5403766" y="3702766"/>
            <a:ext cx="120001" cy="120001"/>
          </a:xfrm>
          <a:prstGeom prst="ellipse">
            <a:avLst/>
          </a:prstGeom>
          <a:solidFill>
            <a:srgbClr val="92D050"/>
          </a:solidFill>
          <a:ln w="25400" cap="flat" cmpd="sng" algn="ctr">
            <a:solidFill>
              <a:srgbClr val="3EAD92"/>
            </a:solidFill>
            <a:prstDash val="solid"/>
          </a:ln>
          <a:effectLst/>
        </p:spPr>
        <p:txBody>
          <a:bodyPr rtlCol="0" anchor="ctr"/>
          <a:lstStyle/>
          <a:p>
            <a:pPr marL="0" marR="0" lvl="0" indent="0" algn="ctr" defTabSz="467539"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FFFFFF"/>
              </a:solidFill>
              <a:effectLst/>
              <a:uLnTx/>
              <a:uFillTx/>
            </a:endParaRPr>
          </a:p>
        </p:txBody>
      </p:sp>
      <p:sp>
        <p:nvSpPr>
          <p:cNvPr id="108" name="Owal 107">
            <a:extLst>
              <a:ext uri="{FF2B5EF4-FFF2-40B4-BE49-F238E27FC236}">
                <a16:creationId xmlns:a16="http://schemas.microsoft.com/office/drawing/2014/main" id="{F0D66CB5-413D-4AF4-B99D-1C220AA7A288}"/>
              </a:ext>
            </a:extLst>
          </p:cNvPr>
          <p:cNvSpPr/>
          <p:nvPr/>
        </p:nvSpPr>
        <p:spPr>
          <a:xfrm>
            <a:off x="5606966" y="3905966"/>
            <a:ext cx="120001" cy="120001"/>
          </a:xfrm>
          <a:prstGeom prst="ellipse">
            <a:avLst/>
          </a:prstGeom>
          <a:solidFill>
            <a:srgbClr val="92D050"/>
          </a:solidFill>
          <a:ln w="25400" cap="flat" cmpd="sng" algn="ctr">
            <a:solidFill>
              <a:srgbClr val="3EAD92"/>
            </a:solidFill>
            <a:prstDash val="solid"/>
          </a:ln>
          <a:effectLst/>
        </p:spPr>
        <p:txBody>
          <a:bodyPr rtlCol="0" anchor="ctr"/>
          <a:lstStyle/>
          <a:p>
            <a:pPr marL="0" marR="0" lvl="0" indent="0" algn="ctr" defTabSz="467539"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FFFFFF"/>
              </a:solidFill>
              <a:effectLst/>
              <a:uLnTx/>
              <a:uFillTx/>
            </a:endParaRPr>
          </a:p>
        </p:txBody>
      </p:sp>
      <p:sp>
        <p:nvSpPr>
          <p:cNvPr id="109" name="Owal 108">
            <a:extLst>
              <a:ext uri="{FF2B5EF4-FFF2-40B4-BE49-F238E27FC236}">
                <a16:creationId xmlns:a16="http://schemas.microsoft.com/office/drawing/2014/main" id="{957A8DEE-BE29-4909-8CA3-4CED8319FF98}"/>
              </a:ext>
            </a:extLst>
          </p:cNvPr>
          <p:cNvSpPr/>
          <p:nvPr/>
        </p:nvSpPr>
        <p:spPr>
          <a:xfrm>
            <a:off x="4919969" y="4045106"/>
            <a:ext cx="120001" cy="120001"/>
          </a:xfrm>
          <a:prstGeom prst="ellipse">
            <a:avLst/>
          </a:prstGeom>
          <a:solidFill>
            <a:srgbClr val="92D050"/>
          </a:solidFill>
          <a:ln w="25400" cap="flat" cmpd="sng" algn="ctr">
            <a:solidFill>
              <a:srgbClr val="3EAD92"/>
            </a:solidFill>
            <a:prstDash val="solid"/>
          </a:ln>
          <a:effectLst/>
        </p:spPr>
        <p:txBody>
          <a:bodyPr rtlCol="0" anchor="ctr"/>
          <a:lstStyle/>
          <a:p>
            <a:pPr marL="0" marR="0" lvl="0" indent="0" algn="ctr" defTabSz="467539"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FFFFFF"/>
              </a:solidFill>
              <a:effectLst/>
              <a:uLnTx/>
              <a:uFillTx/>
            </a:endParaRPr>
          </a:p>
        </p:txBody>
      </p:sp>
      <p:sp>
        <p:nvSpPr>
          <p:cNvPr id="110" name="Owal 109">
            <a:extLst>
              <a:ext uri="{FF2B5EF4-FFF2-40B4-BE49-F238E27FC236}">
                <a16:creationId xmlns:a16="http://schemas.microsoft.com/office/drawing/2014/main" id="{8806ED4A-F76A-4C16-B342-38B9DD60DD03}"/>
              </a:ext>
            </a:extLst>
          </p:cNvPr>
          <p:cNvSpPr/>
          <p:nvPr/>
        </p:nvSpPr>
        <p:spPr>
          <a:xfrm>
            <a:off x="5229605" y="4054187"/>
            <a:ext cx="120001" cy="120001"/>
          </a:xfrm>
          <a:prstGeom prst="ellipse">
            <a:avLst/>
          </a:prstGeom>
          <a:solidFill>
            <a:srgbClr val="92D050"/>
          </a:solidFill>
          <a:ln w="25400" cap="flat" cmpd="sng" algn="ctr">
            <a:solidFill>
              <a:srgbClr val="3EAD92"/>
            </a:solidFill>
            <a:prstDash val="solid"/>
          </a:ln>
          <a:effectLst/>
        </p:spPr>
        <p:txBody>
          <a:bodyPr rtlCol="0" anchor="ctr"/>
          <a:lstStyle/>
          <a:p>
            <a:pPr marL="0" marR="0" lvl="0" indent="0" algn="ctr" defTabSz="467539"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FFFFFF"/>
              </a:solidFill>
              <a:effectLst/>
              <a:uLnTx/>
              <a:uFillTx/>
            </a:endParaRPr>
          </a:p>
        </p:txBody>
      </p:sp>
      <p:sp>
        <p:nvSpPr>
          <p:cNvPr id="111" name="Owal 110">
            <a:extLst>
              <a:ext uri="{FF2B5EF4-FFF2-40B4-BE49-F238E27FC236}">
                <a16:creationId xmlns:a16="http://schemas.microsoft.com/office/drawing/2014/main" id="{D43713DD-72F0-4F41-9FEF-8C241E01C2E5}"/>
              </a:ext>
            </a:extLst>
          </p:cNvPr>
          <p:cNvSpPr/>
          <p:nvPr/>
        </p:nvSpPr>
        <p:spPr>
          <a:xfrm>
            <a:off x="4705326" y="3726975"/>
            <a:ext cx="120001" cy="120001"/>
          </a:xfrm>
          <a:prstGeom prst="ellipse">
            <a:avLst/>
          </a:prstGeom>
          <a:solidFill>
            <a:srgbClr val="92D050"/>
          </a:solidFill>
          <a:ln w="25400" cap="flat" cmpd="sng" algn="ctr">
            <a:solidFill>
              <a:srgbClr val="3EAD92"/>
            </a:solidFill>
            <a:prstDash val="solid"/>
          </a:ln>
          <a:effectLst/>
        </p:spPr>
        <p:txBody>
          <a:bodyPr rtlCol="0" anchor="ctr"/>
          <a:lstStyle/>
          <a:p>
            <a:pPr marL="0" marR="0" lvl="0" indent="0" algn="ctr" defTabSz="467539"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FFFFFF"/>
              </a:solidFill>
              <a:effectLst/>
              <a:uLnTx/>
              <a:uFillTx/>
            </a:endParaRPr>
          </a:p>
        </p:txBody>
      </p:sp>
      <p:sp>
        <p:nvSpPr>
          <p:cNvPr id="112" name="Owal 111">
            <a:extLst>
              <a:ext uri="{FF2B5EF4-FFF2-40B4-BE49-F238E27FC236}">
                <a16:creationId xmlns:a16="http://schemas.microsoft.com/office/drawing/2014/main" id="{FAE29DEF-6784-4086-843A-63FED008D7A1}"/>
              </a:ext>
            </a:extLst>
          </p:cNvPr>
          <p:cNvSpPr/>
          <p:nvPr/>
        </p:nvSpPr>
        <p:spPr>
          <a:xfrm>
            <a:off x="5289605" y="3183224"/>
            <a:ext cx="120001" cy="120001"/>
          </a:xfrm>
          <a:prstGeom prst="ellipse">
            <a:avLst/>
          </a:prstGeom>
          <a:solidFill>
            <a:srgbClr val="92D050"/>
          </a:solidFill>
          <a:ln w="25400" cap="flat" cmpd="sng" algn="ctr">
            <a:solidFill>
              <a:srgbClr val="3EAD92"/>
            </a:solidFill>
            <a:prstDash val="solid"/>
          </a:ln>
          <a:effectLst/>
        </p:spPr>
        <p:txBody>
          <a:bodyPr rtlCol="0" anchor="ctr"/>
          <a:lstStyle/>
          <a:p>
            <a:pPr marL="0" marR="0" lvl="0" indent="0" algn="ctr" defTabSz="467539"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FFFFFF"/>
              </a:solidFill>
              <a:effectLst/>
              <a:uLnTx/>
              <a:uFillTx/>
            </a:endParaRPr>
          </a:p>
        </p:txBody>
      </p:sp>
      <p:sp>
        <p:nvSpPr>
          <p:cNvPr id="113" name="Owal 112">
            <a:extLst>
              <a:ext uri="{FF2B5EF4-FFF2-40B4-BE49-F238E27FC236}">
                <a16:creationId xmlns:a16="http://schemas.microsoft.com/office/drawing/2014/main" id="{C47AA98F-C189-48D2-88EF-5C22D7B7A263}"/>
              </a:ext>
            </a:extLst>
          </p:cNvPr>
          <p:cNvSpPr/>
          <p:nvPr/>
        </p:nvSpPr>
        <p:spPr>
          <a:xfrm>
            <a:off x="4984505" y="4450003"/>
            <a:ext cx="120001" cy="120001"/>
          </a:xfrm>
          <a:prstGeom prst="ellipse">
            <a:avLst/>
          </a:prstGeom>
          <a:solidFill>
            <a:srgbClr val="92D050"/>
          </a:solidFill>
          <a:ln w="25400" cap="flat" cmpd="sng" algn="ctr">
            <a:solidFill>
              <a:srgbClr val="3EAD92"/>
            </a:solidFill>
            <a:prstDash val="solid"/>
          </a:ln>
          <a:effectLst/>
        </p:spPr>
        <p:txBody>
          <a:bodyPr rtlCol="0" anchor="ctr"/>
          <a:lstStyle/>
          <a:p>
            <a:pPr marL="0" marR="0" lvl="0" indent="0" algn="ctr" defTabSz="467539"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FFFFFF"/>
              </a:solidFill>
              <a:effectLst/>
              <a:uLnTx/>
              <a:uFillTx/>
            </a:endParaRPr>
          </a:p>
        </p:txBody>
      </p:sp>
      <p:sp>
        <p:nvSpPr>
          <p:cNvPr id="114" name="Owal 113">
            <a:extLst>
              <a:ext uri="{FF2B5EF4-FFF2-40B4-BE49-F238E27FC236}">
                <a16:creationId xmlns:a16="http://schemas.microsoft.com/office/drawing/2014/main" id="{2FFC5301-42EF-446A-9C27-201F668FC282}"/>
              </a:ext>
            </a:extLst>
          </p:cNvPr>
          <p:cNvSpPr/>
          <p:nvPr/>
        </p:nvSpPr>
        <p:spPr>
          <a:xfrm>
            <a:off x="5476930" y="4361728"/>
            <a:ext cx="120001" cy="120001"/>
          </a:xfrm>
          <a:prstGeom prst="ellipse">
            <a:avLst/>
          </a:prstGeom>
          <a:solidFill>
            <a:srgbClr val="92D050"/>
          </a:solidFill>
          <a:ln w="25400" cap="flat" cmpd="sng" algn="ctr">
            <a:solidFill>
              <a:srgbClr val="3EAD92"/>
            </a:solidFill>
            <a:prstDash val="solid"/>
          </a:ln>
          <a:effectLst/>
        </p:spPr>
        <p:txBody>
          <a:bodyPr rtlCol="0" anchor="ctr"/>
          <a:lstStyle/>
          <a:p>
            <a:pPr marL="0" marR="0" lvl="0" indent="0" algn="ctr" defTabSz="467539"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FFFFFF"/>
              </a:solidFill>
              <a:effectLst/>
              <a:uLnTx/>
              <a:uFillTx/>
            </a:endParaRPr>
          </a:p>
        </p:txBody>
      </p:sp>
      <p:sp>
        <p:nvSpPr>
          <p:cNvPr id="115" name="Owal 114">
            <a:extLst>
              <a:ext uri="{FF2B5EF4-FFF2-40B4-BE49-F238E27FC236}">
                <a16:creationId xmlns:a16="http://schemas.microsoft.com/office/drawing/2014/main" id="{FF3B6954-69CA-4CAB-A710-34E68115992E}"/>
              </a:ext>
            </a:extLst>
          </p:cNvPr>
          <p:cNvSpPr/>
          <p:nvPr/>
        </p:nvSpPr>
        <p:spPr>
          <a:xfrm>
            <a:off x="5596931" y="4620628"/>
            <a:ext cx="120001" cy="120001"/>
          </a:xfrm>
          <a:prstGeom prst="ellipse">
            <a:avLst/>
          </a:prstGeom>
          <a:solidFill>
            <a:srgbClr val="92D050"/>
          </a:solidFill>
          <a:ln w="25400" cap="flat" cmpd="sng" algn="ctr">
            <a:solidFill>
              <a:srgbClr val="3EAD92"/>
            </a:solidFill>
            <a:prstDash val="solid"/>
          </a:ln>
          <a:effectLst/>
        </p:spPr>
        <p:txBody>
          <a:bodyPr rtlCol="0" anchor="ctr"/>
          <a:lstStyle/>
          <a:p>
            <a:pPr marL="0" marR="0" lvl="0" indent="0" algn="ctr" defTabSz="467539"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FFFFFF"/>
              </a:solidFill>
              <a:effectLst/>
              <a:uLnTx/>
              <a:uFillTx/>
            </a:endParaRPr>
          </a:p>
        </p:txBody>
      </p:sp>
      <p:sp>
        <p:nvSpPr>
          <p:cNvPr id="116" name="Owal 115">
            <a:extLst>
              <a:ext uri="{FF2B5EF4-FFF2-40B4-BE49-F238E27FC236}">
                <a16:creationId xmlns:a16="http://schemas.microsoft.com/office/drawing/2014/main" id="{5BCDFF90-7CC8-4B9B-9ECD-3937F662DFBE}"/>
              </a:ext>
            </a:extLst>
          </p:cNvPr>
          <p:cNvSpPr/>
          <p:nvPr/>
        </p:nvSpPr>
        <p:spPr>
          <a:xfrm>
            <a:off x="5624719" y="3590546"/>
            <a:ext cx="120001" cy="120001"/>
          </a:xfrm>
          <a:prstGeom prst="ellipse">
            <a:avLst/>
          </a:prstGeom>
          <a:solidFill>
            <a:srgbClr val="92D050"/>
          </a:solidFill>
          <a:ln w="25400" cap="flat" cmpd="sng" algn="ctr">
            <a:solidFill>
              <a:srgbClr val="3EAD92"/>
            </a:solidFill>
            <a:prstDash val="solid"/>
          </a:ln>
          <a:effectLst/>
        </p:spPr>
        <p:txBody>
          <a:bodyPr rtlCol="0" anchor="ctr"/>
          <a:lstStyle/>
          <a:p>
            <a:pPr marL="0" marR="0" lvl="0" indent="0" algn="ctr" defTabSz="467539"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FFFFFF"/>
              </a:solidFill>
              <a:effectLst/>
              <a:uLnTx/>
              <a:uFillTx/>
            </a:endParaRPr>
          </a:p>
        </p:txBody>
      </p:sp>
      <p:sp>
        <p:nvSpPr>
          <p:cNvPr id="117" name="Owal 116">
            <a:extLst>
              <a:ext uri="{FF2B5EF4-FFF2-40B4-BE49-F238E27FC236}">
                <a16:creationId xmlns:a16="http://schemas.microsoft.com/office/drawing/2014/main" id="{085B8279-9770-4436-B1A4-9EE4BC196F7D}"/>
              </a:ext>
            </a:extLst>
          </p:cNvPr>
          <p:cNvSpPr/>
          <p:nvPr/>
        </p:nvSpPr>
        <p:spPr>
          <a:xfrm>
            <a:off x="3609387" y="2809500"/>
            <a:ext cx="120001" cy="120001"/>
          </a:xfrm>
          <a:prstGeom prst="ellipse">
            <a:avLst/>
          </a:prstGeom>
          <a:solidFill>
            <a:srgbClr val="92D050"/>
          </a:solidFill>
          <a:ln w="25400" cap="flat" cmpd="sng" algn="ctr">
            <a:solidFill>
              <a:srgbClr val="3EAD92"/>
            </a:solidFill>
            <a:prstDash val="solid"/>
          </a:ln>
          <a:effectLst/>
        </p:spPr>
        <p:txBody>
          <a:bodyPr rtlCol="0" anchor="ctr"/>
          <a:lstStyle/>
          <a:p>
            <a:pPr marL="0" marR="0" lvl="0" indent="0" algn="ctr" defTabSz="467539"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FFFFFF"/>
              </a:solidFill>
              <a:effectLst/>
              <a:uLnTx/>
              <a:uFillTx/>
            </a:endParaRPr>
          </a:p>
        </p:txBody>
      </p:sp>
      <p:sp>
        <p:nvSpPr>
          <p:cNvPr id="118" name="Owal 117">
            <a:extLst>
              <a:ext uri="{FF2B5EF4-FFF2-40B4-BE49-F238E27FC236}">
                <a16:creationId xmlns:a16="http://schemas.microsoft.com/office/drawing/2014/main" id="{CE88330D-FBA6-42A3-A484-55492591D96F}"/>
              </a:ext>
            </a:extLst>
          </p:cNvPr>
          <p:cNvSpPr/>
          <p:nvPr/>
        </p:nvSpPr>
        <p:spPr>
          <a:xfrm>
            <a:off x="3812587" y="3012700"/>
            <a:ext cx="120001" cy="120001"/>
          </a:xfrm>
          <a:prstGeom prst="ellipse">
            <a:avLst/>
          </a:prstGeom>
          <a:solidFill>
            <a:srgbClr val="92D050"/>
          </a:solidFill>
          <a:ln w="25400" cap="flat" cmpd="sng" algn="ctr">
            <a:solidFill>
              <a:srgbClr val="3EAD92"/>
            </a:solidFill>
            <a:prstDash val="solid"/>
          </a:ln>
          <a:effectLst/>
        </p:spPr>
        <p:txBody>
          <a:bodyPr rtlCol="0" anchor="ctr"/>
          <a:lstStyle/>
          <a:p>
            <a:pPr marL="0" marR="0" lvl="0" indent="0" algn="ctr" defTabSz="467539"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FFFFFF"/>
              </a:solidFill>
              <a:effectLst/>
              <a:uLnTx/>
              <a:uFillTx/>
            </a:endParaRPr>
          </a:p>
        </p:txBody>
      </p:sp>
      <p:sp>
        <p:nvSpPr>
          <p:cNvPr id="119" name="Owal 118">
            <a:extLst>
              <a:ext uri="{FF2B5EF4-FFF2-40B4-BE49-F238E27FC236}">
                <a16:creationId xmlns:a16="http://schemas.microsoft.com/office/drawing/2014/main" id="{09626E3C-1342-4F9A-9DE9-59C2B4BCB3A8}"/>
              </a:ext>
            </a:extLst>
          </p:cNvPr>
          <p:cNvSpPr/>
          <p:nvPr/>
        </p:nvSpPr>
        <p:spPr>
          <a:xfrm>
            <a:off x="4015787" y="3215900"/>
            <a:ext cx="120001" cy="120001"/>
          </a:xfrm>
          <a:prstGeom prst="ellipse">
            <a:avLst/>
          </a:prstGeom>
          <a:solidFill>
            <a:srgbClr val="92D050"/>
          </a:solidFill>
          <a:ln w="25400" cap="flat" cmpd="sng" algn="ctr">
            <a:solidFill>
              <a:srgbClr val="3EAD92"/>
            </a:solidFill>
            <a:prstDash val="solid"/>
          </a:ln>
          <a:effectLst/>
        </p:spPr>
        <p:txBody>
          <a:bodyPr rtlCol="0" anchor="ctr"/>
          <a:lstStyle/>
          <a:p>
            <a:pPr marL="0" marR="0" lvl="0" indent="0" algn="ctr" defTabSz="467539"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FFFFFF"/>
              </a:solidFill>
              <a:effectLst/>
              <a:uLnTx/>
              <a:uFillTx/>
            </a:endParaRPr>
          </a:p>
        </p:txBody>
      </p:sp>
      <p:sp>
        <p:nvSpPr>
          <p:cNvPr id="120" name="Owal 119">
            <a:extLst>
              <a:ext uri="{FF2B5EF4-FFF2-40B4-BE49-F238E27FC236}">
                <a16:creationId xmlns:a16="http://schemas.microsoft.com/office/drawing/2014/main" id="{C5AAA400-C20A-4C3D-9BA1-A14EAE513482}"/>
              </a:ext>
            </a:extLst>
          </p:cNvPr>
          <p:cNvSpPr/>
          <p:nvPr/>
        </p:nvSpPr>
        <p:spPr>
          <a:xfrm>
            <a:off x="4218987" y="3419100"/>
            <a:ext cx="120001" cy="120001"/>
          </a:xfrm>
          <a:prstGeom prst="ellipse">
            <a:avLst/>
          </a:prstGeom>
          <a:solidFill>
            <a:srgbClr val="92D050"/>
          </a:solidFill>
          <a:ln w="25400" cap="flat" cmpd="sng" algn="ctr">
            <a:solidFill>
              <a:srgbClr val="3EAD92"/>
            </a:solidFill>
            <a:prstDash val="solid"/>
          </a:ln>
          <a:effectLst/>
        </p:spPr>
        <p:txBody>
          <a:bodyPr rtlCol="0" anchor="ctr"/>
          <a:lstStyle/>
          <a:p>
            <a:pPr marL="0" marR="0" lvl="0" indent="0" algn="ctr" defTabSz="467539"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FFFFFF"/>
              </a:solidFill>
              <a:effectLst/>
              <a:uLnTx/>
              <a:uFillTx/>
            </a:endParaRPr>
          </a:p>
        </p:txBody>
      </p:sp>
      <p:sp>
        <p:nvSpPr>
          <p:cNvPr id="121" name="Owal 120">
            <a:extLst>
              <a:ext uri="{FF2B5EF4-FFF2-40B4-BE49-F238E27FC236}">
                <a16:creationId xmlns:a16="http://schemas.microsoft.com/office/drawing/2014/main" id="{C48FEDF7-7E56-49FF-8ACC-5FA3AC4F7A40}"/>
              </a:ext>
            </a:extLst>
          </p:cNvPr>
          <p:cNvSpPr/>
          <p:nvPr/>
        </p:nvSpPr>
        <p:spPr>
          <a:xfrm>
            <a:off x="4422187" y="3622300"/>
            <a:ext cx="120001" cy="120001"/>
          </a:xfrm>
          <a:prstGeom prst="ellipse">
            <a:avLst/>
          </a:prstGeom>
          <a:solidFill>
            <a:srgbClr val="92D050"/>
          </a:solidFill>
          <a:ln w="25400" cap="flat" cmpd="sng" algn="ctr">
            <a:solidFill>
              <a:srgbClr val="3EAD92"/>
            </a:solidFill>
            <a:prstDash val="solid"/>
          </a:ln>
          <a:effectLst/>
        </p:spPr>
        <p:txBody>
          <a:bodyPr rtlCol="0" anchor="ctr"/>
          <a:lstStyle/>
          <a:p>
            <a:pPr marL="0" marR="0" lvl="0" indent="0" algn="ctr" defTabSz="467539"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FFFFFF"/>
              </a:solidFill>
              <a:effectLst/>
              <a:uLnTx/>
              <a:uFillTx/>
            </a:endParaRPr>
          </a:p>
        </p:txBody>
      </p:sp>
      <p:sp>
        <p:nvSpPr>
          <p:cNvPr id="122" name="Owal 121">
            <a:extLst>
              <a:ext uri="{FF2B5EF4-FFF2-40B4-BE49-F238E27FC236}">
                <a16:creationId xmlns:a16="http://schemas.microsoft.com/office/drawing/2014/main" id="{D4847E3C-594D-4EC5-B317-31F9186813CE}"/>
              </a:ext>
            </a:extLst>
          </p:cNvPr>
          <p:cNvSpPr/>
          <p:nvPr/>
        </p:nvSpPr>
        <p:spPr>
          <a:xfrm>
            <a:off x="3531990" y="3558240"/>
            <a:ext cx="120001" cy="120001"/>
          </a:xfrm>
          <a:prstGeom prst="ellipse">
            <a:avLst/>
          </a:prstGeom>
          <a:solidFill>
            <a:srgbClr val="92D050"/>
          </a:solidFill>
          <a:ln w="25400" cap="flat" cmpd="sng" algn="ctr">
            <a:solidFill>
              <a:srgbClr val="3EAD92"/>
            </a:solidFill>
            <a:prstDash val="solid"/>
          </a:ln>
          <a:effectLst/>
        </p:spPr>
        <p:txBody>
          <a:bodyPr rtlCol="0" anchor="ctr"/>
          <a:lstStyle/>
          <a:p>
            <a:pPr marL="0" marR="0" lvl="0" indent="0" algn="ctr" defTabSz="467539"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FFFFFF"/>
              </a:solidFill>
              <a:effectLst/>
              <a:uLnTx/>
              <a:uFillTx/>
            </a:endParaRPr>
          </a:p>
        </p:txBody>
      </p:sp>
      <p:sp>
        <p:nvSpPr>
          <p:cNvPr id="123" name="Owal 122">
            <a:extLst>
              <a:ext uri="{FF2B5EF4-FFF2-40B4-BE49-F238E27FC236}">
                <a16:creationId xmlns:a16="http://schemas.microsoft.com/office/drawing/2014/main" id="{932FD5FA-17FD-48D5-B73C-3A0847DDAAE8}"/>
              </a:ext>
            </a:extLst>
          </p:cNvPr>
          <p:cNvSpPr/>
          <p:nvPr/>
        </p:nvSpPr>
        <p:spPr>
          <a:xfrm>
            <a:off x="3841626" y="3567322"/>
            <a:ext cx="120001" cy="120001"/>
          </a:xfrm>
          <a:prstGeom prst="ellipse">
            <a:avLst/>
          </a:prstGeom>
          <a:solidFill>
            <a:srgbClr val="92D050"/>
          </a:solidFill>
          <a:ln w="25400" cap="flat" cmpd="sng" algn="ctr">
            <a:solidFill>
              <a:srgbClr val="3EAD92"/>
            </a:solidFill>
            <a:prstDash val="solid"/>
          </a:ln>
          <a:effectLst/>
        </p:spPr>
        <p:txBody>
          <a:bodyPr rtlCol="0" anchor="ctr"/>
          <a:lstStyle/>
          <a:p>
            <a:pPr marL="0" marR="0" lvl="0" indent="0" algn="ctr" defTabSz="467539"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FFFFFF"/>
              </a:solidFill>
              <a:effectLst/>
              <a:uLnTx/>
              <a:uFillTx/>
            </a:endParaRPr>
          </a:p>
        </p:txBody>
      </p:sp>
      <p:sp>
        <p:nvSpPr>
          <p:cNvPr id="124" name="Owal 123">
            <a:extLst>
              <a:ext uri="{FF2B5EF4-FFF2-40B4-BE49-F238E27FC236}">
                <a16:creationId xmlns:a16="http://schemas.microsoft.com/office/drawing/2014/main" id="{DF393F7A-579A-4A83-940A-0307DA51A68F}"/>
              </a:ext>
            </a:extLst>
          </p:cNvPr>
          <p:cNvSpPr/>
          <p:nvPr/>
        </p:nvSpPr>
        <p:spPr>
          <a:xfrm>
            <a:off x="3317347" y="3240110"/>
            <a:ext cx="120001" cy="120001"/>
          </a:xfrm>
          <a:prstGeom prst="ellipse">
            <a:avLst/>
          </a:prstGeom>
          <a:solidFill>
            <a:srgbClr val="92D050"/>
          </a:solidFill>
          <a:ln w="25400" cap="flat" cmpd="sng" algn="ctr">
            <a:solidFill>
              <a:srgbClr val="3EAD92"/>
            </a:solidFill>
            <a:prstDash val="solid"/>
          </a:ln>
          <a:effectLst/>
        </p:spPr>
        <p:txBody>
          <a:bodyPr rtlCol="0" anchor="ctr"/>
          <a:lstStyle/>
          <a:p>
            <a:pPr marL="0" marR="0" lvl="0" indent="0" algn="ctr" defTabSz="467539"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FFFFFF"/>
              </a:solidFill>
              <a:effectLst/>
              <a:uLnTx/>
              <a:uFillTx/>
            </a:endParaRPr>
          </a:p>
        </p:txBody>
      </p:sp>
      <p:sp>
        <p:nvSpPr>
          <p:cNvPr id="125" name="Owal 124">
            <a:extLst>
              <a:ext uri="{FF2B5EF4-FFF2-40B4-BE49-F238E27FC236}">
                <a16:creationId xmlns:a16="http://schemas.microsoft.com/office/drawing/2014/main" id="{34677C78-7194-42F2-80F7-A31C0B27FD79}"/>
              </a:ext>
            </a:extLst>
          </p:cNvPr>
          <p:cNvSpPr/>
          <p:nvPr/>
        </p:nvSpPr>
        <p:spPr>
          <a:xfrm>
            <a:off x="3901626" y="2696359"/>
            <a:ext cx="120001" cy="120001"/>
          </a:xfrm>
          <a:prstGeom prst="ellipse">
            <a:avLst/>
          </a:prstGeom>
          <a:solidFill>
            <a:srgbClr val="92D050"/>
          </a:solidFill>
          <a:ln w="25400" cap="flat" cmpd="sng" algn="ctr">
            <a:solidFill>
              <a:srgbClr val="3EAD92"/>
            </a:solidFill>
            <a:prstDash val="solid"/>
          </a:ln>
          <a:effectLst/>
        </p:spPr>
        <p:txBody>
          <a:bodyPr rtlCol="0" anchor="ctr"/>
          <a:lstStyle/>
          <a:p>
            <a:pPr marL="0" marR="0" lvl="0" indent="0" algn="ctr" defTabSz="467539"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FFFFFF"/>
              </a:solidFill>
              <a:effectLst/>
              <a:uLnTx/>
              <a:uFillTx/>
            </a:endParaRPr>
          </a:p>
        </p:txBody>
      </p:sp>
      <p:sp>
        <p:nvSpPr>
          <p:cNvPr id="126" name="Owal 125">
            <a:extLst>
              <a:ext uri="{FF2B5EF4-FFF2-40B4-BE49-F238E27FC236}">
                <a16:creationId xmlns:a16="http://schemas.microsoft.com/office/drawing/2014/main" id="{9D90187C-3A4B-461D-9B05-678A362DDBEB}"/>
              </a:ext>
            </a:extLst>
          </p:cNvPr>
          <p:cNvSpPr/>
          <p:nvPr/>
        </p:nvSpPr>
        <p:spPr>
          <a:xfrm>
            <a:off x="3596526" y="3963138"/>
            <a:ext cx="120001" cy="120001"/>
          </a:xfrm>
          <a:prstGeom prst="ellipse">
            <a:avLst/>
          </a:prstGeom>
          <a:solidFill>
            <a:srgbClr val="92D050"/>
          </a:solidFill>
          <a:ln w="25400" cap="flat" cmpd="sng" algn="ctr">
            <a:solidFill>
              <a:srgbClr val="3EAD92"/>
            </a:solidFill>
            <a:prstDash val="solid"/>
          </a:ln>
          <a:effectLst/>
        </p:spPr>
        <p:txBody>
          <a:bodyPr rtlCol="0" anchor="ctr"/>
          <a:lstStyle/>
          <a:p>
            <a:pPr marL="0" marR="0" lvl="0" indent="0" algn="ctr" defTabSz="467539"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FFFFFF"/>
              </a:solidFill>
              <a:effectLst/>
              <a:uLnTx/>
              <a:uFillTx/>
            </a:endParaRPr>
          </a:p>
        </p:txBody>
      </p:sp>
      <p:sp>
        <p:nvSpPr>
          <p:cNvPr id="127" name="Owal 126">
            <a:extLst>
              <a:ext uri="{FF2B5EF4-FFF2-40B4-BE49-F238E27FC236}">
                <a16:creationId xmlns:a16="http://schemas.microsoft.com/office/drawing/2014/main" id="{EC7DCE89-1085-4507-B9FE-AF97D151FF0E}"/>
              </a:ext>
            </a:extLst>
          </p:cNvPr>
          <p:cNvSpPr/>
          <p:nvPr/>
        </p:nvSpPr>
        <p:spPr>
          <a:xfrm>
            <a:off x="4088951" y="3874863"/>
            <a:ext cx="120001" cy="120001"/>
          </a:xfrm>
          <a:prstGeom prst="ellipse">
            <a:avLst/>
          </a:prstGeom>
          <a:solidFill>
            <a:srgbClr val="92D050"/>
          </a:solidFill>
          <a:ln w="25400" cap="flat" cmpd="sng" algn="ctr">
            <a:solidFill>
              <a:srgbClr val="3EAD92"/>
            </a:solidFill>
            <a:prstDash val="solid"/>
          </a:ln>
          <a:effectLst/>
        </p:spPr>
        <p:txBody>
          <a:bodyPr rtlCol="0" anchor="ctr"/>
          <a:lstStyle/>
          <a:p>
            <a:pPr marL="0" marR="0" lvl="0" indent="0" algn="ctr" defTabSz="467539"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FFFFFF"/>
              </a:solidFill>
              <a:effectLst/>
              <a:uLnTx/>
              <a:uFillTx/>
            </a:endParaRPr>
          </a:p>
        </p:txBody>
      </p:sp>
      <p:sp>
        <p:nvSpPr>
          <p:cNvPr id="128" name="Owal 127">
            <a:extLst>
              <a:ext uri="{FF2B5EF4-FFF2-40B4-BE49-F238E27FC236}">
                <a16:creationId xmlns:a16="http://schemas.microsoft.com/office/drawing/2014/main" id="{BCFFB8F7-0D28-419A-838E-DE61840DC311}"/>
              </a:ext>
            </a:extLst>
          </p:cNvPr>
          <p:cNvSpPr/>
          <p:nvPr/>
        </p:nvSpPr>
        <p:spPr>
          <a:xfrm>
            <a:off x="4208953" y="4133763"/>
            <a:ext cx="120001" cy="120001"/>
          </a:xfrm>
          <a:prstGeom prst="ellipse">
            <a:avLst/>
          </a:prstGeom>
          <a:solidFill>
            <a:srgbClr val="92D050"/>
          </a:solidFill>
          <a:ln w="25400" cap="flat" cmpd="sng" algn="ctr">
            <a:solidFill>
              <a:srgbClr val="3EAD92"/>
            </a:solidFill>
            <a:prstDash val="solid"/>
          </a:ln>
          <a:effectLst/>
        </p:spPr>
        <p:txBody>
          <a:bodyPr rtlCol="0" anchor="ctr"/>
          <a:lstStyle/>
          <a:p>
            <a:pPr marL="0" marR="0" lvl="0" indent="0" algn="ctr" defTabSz="467539"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FFFFFF"/>
              </a:solidFill>
              <a:effectLst/>
              <a:uLnTx/>
              <a:uFillTx/>
            </a:endParaRPr>
          </a:p>
        </p:txBody>
      </p:sp>
      <p:sp>
        <p:nvSpPr>
          <p:cNvPr id="129" name="Owal 128">
            <a:extLst>
              <a:ext uri="{FF2B5EF4-FFF2-40B4-BE49-F238E27FC236}">
                <a16:creationId xmlns:a16="http://schemas.microsoft.com/office/drawing/2014/main" id="{D70BC350-AC5B-4FE2-A999-0D86981D522B}"/>
              </a:ext>
            </a:extLst>
          </p:cNvPr>
          <p:cNvSpPr/>
          <p:nvPr/>
        </p:nvSpPr>
        <p:spPr>
          <a:xfrm>
            <a:off x="4236741" y="3103680"/>
            <a:ext cx="120001" cy="120001"/>
          </a:xfrm>
          <a:prstGeom prst="ellipse">
            <a:avLst/>
          </a:prstGeom>
          <a:solidFill>
            <a:srgbClr val="92D050"/>
          </a:solidFill>
          <a:ln w="25400" cap="flat" cmpd="sng" algn="ctr">
            <a:solidFill>
              <a:srgbClr val="3EAD92"/>
            </a:solidFill>
            <a:prstDash val="solid"/>
          </a:ln>
          <a:effectLst/>
        </p:spPr>
        <p:txBody>
          <a:bodyPr rtlCol="0" anchor="ctr"/>
          <a:lstStyle/>
          <a:p>
            <a:pPr marL="0" marR="0" lvl="0" indent="0" algn="ctr" defTabSz="467539"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FFFFFF"/>
              </a:solidFill>
              <a:effectLst/>
              <a:uLnTx/>
              <a:uFillTx/>
            </a:endParaRPr>
          </a:p>
        </p:txBody>
      </p:sp>
      <p:sp>
        <p:nvSpPr>
          <p:cNvPr id="130" name="Owal 129">
            <a:extLst>
              <a:ext uri="{FF2B5EF4-FFF2-40B4-BE49-F238E27FC236}">
                <a16:creationId xmlns:a16="http://schemas.microsoft.com/office/drawing/2014/main" id="{8B1FDAFC-FF4A-4044-BEE3-51C6C3DFB5D3}"/>
              </a:ext>
            </a:extLst>
          </p:cNvPr>
          <p:cNvSpPr/>
          <p:nvPr/>
        </p:nvSpPr>
        <p:spPr>
          <a:xfrm>
            <a:off x="5435369" y="2487459"/>
            <a:ext cx="120001" cy="120001"/>
          </a:xfrm>
          <a:prstGeom prst="ellipse">
            <a:avLst/>
          </a:prstGeom>
          <a:solidFill>
            <a:srgbClr val="92D050"/>
          </a:solidFill>
          <a:ln w="25400" cap="flat" cmpd="sng" algn="ctr">
            <a:solidFill>
              <a:srgbClr val="3EAD92"/>
            </a:solidFill>
            <a:prstDash val="solid"/>
          </a:ln>
          <a:effectLst/>
        </p:spPr>
        <p:txBody>
          <a:bodyPr rtlCol="0" anchor="ctr"/>
          <a:lstStyle/>
          <a:p>
            <a:pPr marL="0" marR="0" lvl="0" indent="0" algn="ctr" defTabSz="467539"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FFFFFF"/>
              </a:solidFill>
              <a:effectLst/>
              <a:uLnTx/>
              <a:uFillTx/>
            </a:endParaRPr>
          </a:p>
        </p:txBody>
      </p:sp>
      <p:sp>
        <p:nvSpPr>
          <p:cNvPr id="131" name="Owal 130">
            <a:extLst>
              <a:ext uri="{FF2B5EF4-FFF2-40B4-BE49-F238E27FC236}">
                <a16:creationId xmlns:a16="http://schemas.microsoft.com/office/drawing/2014/main" id="{1DC0F0E3-B007-466D-819D-324C43C25FB0}"/>
              </a:ext>
            </a:extLst>
          </p:cNvPr>
          <p:cNvSpPr/>
          <p:nvPr/>
        </p:nvSpPr>
        <p:spPr>
          <a:xfrm>
            <a:off x="5638569" y="2690659"/>
            <a:ext cx="120001" cy="120001"/>
          </a:xfrm>
          <a:prstGeom prst="ellipse">
            <a:avLst/>
          </a:prstGeom>
          <a:solidFill>
            <a:srgbClr val="92D050"/>
          </a:solidFill>
          <a:ln w="25400" cap="flat" cmpd="sng" algn="ctr">
            <a:solidFill>
              <a:srgbClr val="3EAD92"/>
            </a:solidFill>
            <a:prstDash val="solid"/>
          </a:ln>
          <a:effectLst/>
        </p:spPr>
        <p:txBody>
          <a:bodyPr rtlCol="0" anchor="ctr"/>
          <a:lstStyle/>
          <a:p>
            <a:pPr marL="0" marR="0" lvl="0" indent="0" algn="ctr" defTabSz="467539"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FFFFFF"/>
              </a:solidFill>
              <a:effectLst/>
              <a:uLnTx/>
              <a:uFillTx/>
            </a:endParaRPr>
          </a:p>
        </p:txBody>
      </p:sp>
      <p:sp>
        <p:nvSpPr>
          <p:cNvPr id="132" name="Owal 131">
            <a:extLst>
              <a:ext uri="{FF2B5EF4-FFF2-40B4-BE49-F238E27FC236}">
                <a16:creationId xmlns:a16="http://schemas.microsoft.com/office/drawing/2014/main" id="{D2B7808C-9D63-40E6-B942-3E8F16F4A422}"/>
              </a:ext>
            </a:extLst>
          </p:cNvPr>
          <p:cNvSpPr/>
          <p:nvPr/>
        </p:nvSpPr>
        <p:spPr>
          <a:xfrm>
            <a:off x="4748371" y="2626599"/>
            <a:ext cx="120001" cy="120001"/>
          </a:xfrm>
          <a:prstGeom prst="ellipse">
            <a:avLst/>
          </a:prstGeom>
          <a:solidFill>
            <a:srgbClr val="92D050"/>
          </a:solidFill>
          <a:ln w="25400" cap="flat" cmpd="sng" algn="ctr">
            <a:solidFill>
              <a:srgbClr val="3EAD92"/>
            </a:solidFill>
            <a:prstDash val="solid"/>
          </a:ln>
          <a:effectLst/>
        </p:spPr>
        <p:txBody>
          <a:bodyPr rtlCol="0" anchor="ctr"/>
          <a:lstStyle/>
          <a:p>
            <a:pPr marL="0" marR="0" lvl="0" indent="0" algn="ctr" defTabSz="467539"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FFFFFF"/>
              </a:solidFill>
              <a:effectLst/>
              <a:uLnTx/>
              <a:uFillTx/>
            </a:endParaRPr>
          </a:p>
        </p:txBody>
      </p:sp>
      <p:sp>
        <p:nvSpPr>
          <p:cNvPr id="133" name="Owal 132">
            <a:extLst>
              <a:ext uri="{FF2B5EF4-FFF2-40B4-BE49-F238E27FC236}">
                <a16:creationId xmlns:a16="http://schemas.microsoft.com/office/drawing/2014/main" id="{700610D7-8074-4E2C-81CF-BF2390B93137}"/>
              </a:ext>
            </a:extLst>
          </p:cNvPr>
          <p:cNvSpPr/>
          <p:nvPr/>
        </p:nvSpPr>
        <p:spPr>
          <a:xfrm>
            <a:off x="5058007" y="2635680"/>
            <a:ext cx="120001" cy="120001"/>
          </a:xfrm>
          <a:prstGeom prst="ellipse">
            <a:avLst/>
          </a:prstGeom>
          <a:solidFill>
            <a:srgbClr val="92D050"/>
          </a:solidFill>
          <a:ln w="25400" cap="flat" cmpd="sng" algn="ctr">
            <a:solidFill>
              <a:srgbClr val="3EAD92"/>
            </a:solidFill>
            <a:prstDash val="solid"/>
          </a:ln>
          <a:effectLst/>
        </p:spPr>
        <p:txBody>
          <a:bodyPr rtlCol="0" anchor="ctr"/>
          <a:lstStyle/>
          <a:p>
            <a:pPr marL="0" marR="0" lvl="0" indent="0" algn="ctr" defTabSz="467539"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FFFFFF"/>
              </a:solidFill>
              <a:effectLst/>
              <a:uLnTx/>
              <a:uFillTx/>
            </a:endParaRPr>
          </a:p>
        </p:txBody>
      </p:sp>
      <p:sp>
        <p:nvSpPr>
          <p:cNvPr id="134" name="Owal 133">
            <a:extLst>
              <a:ext uri="{FF2B5EF4-FFF2-40B4-BE49-F238E27FC236}">
                <a16:creationId xmlns:a16="http://schemas.microsoft.com/office/drawing/2014/main" id="{7D94E1FF-EB2C-434A-8B5A-D0BB83D5CEA8}"/>
              </a:ext>
            </a:extLst>
          </p:cNvPr>
          <p:cNvSpPr/>
          <p:nvPr/>
        </p:nvSpPr>
        <p:spPr>
          <a:xfrm>
            <a:off x="4812907" y="3031496"/>
            <a:ext cx="120001" cy="120001"/>
          </a:xfrm>
          <a:prstGeom prst="ellipse">
            <a:avLst/>
          </a:prstGeom>
          <a:solidFill>
            <a:srgbClr val="92D050"/>
          </a:solidFill>
          <a:ln w="25400" cap="flat" cmpd="sng" algn="ctr">
            <a:solidFill>
              <a:srgbClr val="3EAD92"/>
            </a:solidFill>
            <a:prstDash val="solid"/>
          </a:ln>
          <a:effectLst/>
        </p:spPr>
        <p:txBody>
          <a:bodyPr rtlCol="0" anchor="ctr"/>
          <a:lstStyle/>
          <a:p>
            <a:pPr marL="0" marR="0" lvl="0" indent="0" algn="ctr" defTabSz="467539"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FFFFFF"/>
              </a:solidFill>
              <a:effectLst/>
              <a:uLnTx/>
              <a:uFillTx/>
            </a:endParaRPr>
          </a:p>
        </p:txBody>
      </p:sp>
      <p:sp>
        <p:nvSpPr>
          <p:cNvPr id="135" name="Owal 134">
            <a:extLst>
              <a:ext uri="{FF2B5EF4-FFF2-40B4-BE49-F238E27FC236}">
                <a16:creationId xmlns:a16="http://schemas.microsoft.com/office/drawing/2014/main" id="{CFEDB1FC-29F5-4801-B28C-628A281EE650}"/>
              </a:ext>
            </a:extLst>
          </p:cNvPr>
          <p:cNvSpPr/>
          <p:nvPr/>
        </p:nvSpPr>
        <p:spPr>
          <a:xfrm>
            <a:off x="5305333" y="2943222"/>
            <a:ext cx="120001" cy="120001"/>
          </a:xfrm>
          <a:prstGeom prst="ellipse">
            <a:avLst/>
          </a:prstGeom>
          <a:solidFill>
            <a:srgbClr val="92D050"/>
          </a:solidFill>
          <a:ln w="25400" cap="flat" cmpd="sng" algn="ctr">
            <a:solidFill>
              <a:srgbClr val="3EAD92"/>
            </a:solidFill>
            <a:prstDash val="solid"/>
          </a:ln>
          <a:effectLst/>
        </p:spPr>
        <p:txBody>
          <a:bodyPr rtlCol="0" anchor="ctr"/>
          <a:lstStyle/>
          <a:p>
            <a:pPr marL="0" marR="0" lvl="0" indent="0" algn="ctr" defTabSz="467539"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FFFFFF"/>
              </a:solidFill>
              <a:effectLst/>
              <a:uLnTx/>
              <a:uFillTx/>
            </a:endParaRPr>
          </a:p>
        </p:txBody>
      </p:sp>
      <p:sp>
        <p:nvSpPr>
          <p:cNvPr id="136" name="Owal 135">
            <a:extLst>
              <a:ext uri="{FF2B5EF4-FFF2-40B4-BE49-F238E27FC236}">
                <a16:creationId xmlns:a16="http://schemas.microsoft.com/office/drawing/2014/main" id="{30E33B72-3855-4B73-9ACA-C8880670058A}"/>
              </a:ext>
            </a:extLst>
          </p:cNvPr>
          <p:cNvSpPr/>
          <p:nvPr/>
        </p:nvSpPr>
        <p:spPr>
          <a:xfrm>
            <a:off x="5425334" y="3202122"/>
            <a:ext cx="120001" cy="120001"/>
          </a:xfrm>
          <a:prstGeom prst="ellipse">
            <a:avLst/>
          </a:prstGeom>
          <a:solidFill>
            <a:srgbClr val="92D050"/>
          </a:solidFill>
          <a:ln w="25400" cap="flat" cmpd="sng" algn="ctr">
            <a:solidFill>
              <a:srgbClr val="3EAD92"/>
            </a:solidFill>
            <a:prstDash val="solid"/>
          </a:ln>
          <a:effectLst/>
        </p:spPr>
        <p:txBody>
          <a:bodyPr rtlCol="0" anchor="ctr"/>
          <a:lstStyle/>
          <a:p>
            <a:pPr marL="0" marR="0" lvl="0" indent="0" algn="ctr" defTabSz="467539"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FFFFFF"/>
              </a:solidFill>
              <a:effectLst/>
              <a:uLnTx/>
              <a:uFillTx/>
            </a:endParaRPr>
          </a:p>
        </p:txBody>
      </p:sp>
      <p:sp>
        <p:nvSpPr>
          <p:cNvPr id="137" name="Owal 136">
            <a:extLst>
              <a:ext uri="{FF2B5EF4-FFF2-40B4-BE49-F238E27FC236}">
                <a16:creationId xmlns:a16="http://schemas.microsoft.com/office/drawing/2014/main" id="{FF8A95FC-AD16-4618-BFEC-7F0B65162EA7}"/>
              </a:ext>
            </a:extLst>
          </p:cNvPr>
          <p:cNvSpPr/>
          <p:nvPr/>
        </p:nvSpPr>
        <p:spPr>
          <a:xfrm>
            <a:off x="3917354" y="2456356"/>
            <a:ext cx="120001" cy="120001"/>
          </a:xfrm>
          <a:prstGeom prst="ellipse">
            <a:avLst/>
          </a:prstGeom>
          <a:solidFill>
            <a:srgbClr val="92D050"/>
          </a:solidFill>
          <a:ln w="25400" cap="flat" cmpd="sng" algn="ctr">
            <a:solidFill>
              <a:srgbClr val="3EAD92"/>
            </a:solidFill>
            <a:prstDash val="solid"/>
          </a:ln>
          <a:effectLst/>
        </p:spPr>
        <p:txBody>
          <a:bodyPr rtlCol="0" anchor="ctr"/>
          <a:lstStyle/>
          <a:p>
            <a:pPr marL="0" marR="0" lvl="0" indent="0" algn="ctr" defTabSz="467539"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FFFFFF"/>
              </a:solidFill>
              <a:effectLst/>
              <a:uLnTx/>
              <a:uFillTx/>
            </a:endParaRPr>
          </a:p>
        </p:txBody>
      </p:sp>
      <p:sp>
        <p:nvSpPr>
          <p:cNvPr id="138" name="Owal 137">
            <a:extLst>
              <a:ext uri="{FF2B5EF4-FFF2-40B4-BE49-F238E27FC236}">
                <a16:creationId xmlns:a16="http://schemas.microsoft.com/office/drawing/2014/main" id="{CC78FB87-ADCE-4232-96A3-46EE09410C1E}"/>
              </a:ext>
            </a:extLst>
          </p:cNvPr>
          <p:cNvSpPr/>
          <p:nvPr/>
        </p:nvSpPr>
        <p:spPr>
          <a:xfrm>
            <a:off x="4037355" y="2715256"/>
            <a:ext cx="120001" cy="120001"/>
          </a:xfrm>
          <a:prstGeom prst="ellipse">
            <a:avLst/>
          </a:prstGeom>
          <a:solidFill>
            <a:srgbClr val="92D050"/>
          </a:solidFill>
          <a:ln w="25400" cap="flat" cmpd="sng" algn="ctr">
            <a:solidFill>
              <a:srgbClr val="3EAD92"/>
            </a:solidFill>
            <a:prstDash val="solid"/>
          </a:ln>
          <a:effectLst/>
        </p:spPr>
        <p:txBody>
          <a:bodyPr rtlCol="0" anchor="ctr"/>
          <a:lstStyle/>
          <a:p>
            <a:pPr marL="0" marR="0" lvl="0" indent="0" algn="ctr" defTabSz="467539"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FFFFFF"/>
              </a:solidFill>
              <a:effectLst/>
              <a:uLnTx/>
              <a:uFillTx/>
            </a:endParaRPr>
          </a:p>
        </p:txBody>
      </p:sp>
      <p:sp>
        <p:nvSpPr>
          <p:cNvPr id="139" name="Owal 138">
            <a:extLst>
              <a:ext uri="{FF2B5EF4-FFF2-40B4-BE49-F238E27FC236}">
                <a16:creationId xmlns:a16="http://schemas.microsoft.com/office/drawing/2014/main" id="{FD29B270-3542-4CE4-8F7F-AD02EF226C32}"/>
              </a:ext>
            </a:extLst>
          </p:cNvPr>
          <p:cNvSpPr/>
          <p:nvPr/>
        </p:nvSpPr>
        <p:spPr>
          <a:xfrm>
            <a:off x="4597309" y="4162162"/>
            <a:ext cx="120001" cy="120001"/>
          </a:xfrm>
          <a:prstGeom prst="ellipse">
            <a:avLst/>
          </a:prstGeom>
          <a:solidFill>
            <a:srgbClr val="92D050"/>
          </a:solidFill>
          <a:ln w="25400" cap="flat" cmpd="sng" algn="ctr">
            <a:solidFill>
              <a:srgbClr val="3EAD92"/>
            </a:solidFill>
            <a:prstDash val="solid"/>
          </a:ln>
          <a:effectLst/>
        </p:spPr>
        <p:txBody>
          <a:bodyPr rtlCol="0" anchor="ctr"/>
          <a:lstStyle/>
          <a:p>
            <a:pPr marL="0" marR="0" lvl="0" indent="0" algn="ctr" defTabSz="467539"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FFFFFF"/>
              </a:solidFill>
              <a:effectLst/>
              <a:uLnTx/>
              <a:uFillTx/>
            </a:endParaRPr>
          </a:p>
        </p:txBody>
      </p:sp>
      <p:sp>
        <p:nvSpPr>
          <p:cNvPr id="140" name="Owal 139">
            <a:extLst>
              <a:ext uri="{FF2B5EF4-FFF2-40B4-BE49-F238E27FC236}">
                <a16:creationId xmlns:a16="http://schemas.microsoft.com/office/drawing/2014/main" id="{6B8EAC9C-7453-4434-8B1F-CD29C41E90A9}"/>
              </a:ext>
            </a:extLst>
          </p:cNvPr>
          <p:cNvSpPr/>
          <p:nvPr/>
        </p:nvSpPr>
        <p:spPr>
          <a:xfrm>
            <a:off x="4505386" y="4372132"/>
            <a:ext cx="120001" cy="120001"/>
          </a:xfrm>
          <a:prstGeom prst="ellipse">
            <a:avLst/>
          </a:prstGeom>
          <a:solidFill>
            <a:srgbClr val="92D050"/>
          </a:solidFill>
          <a:ln w="25400" cap="flat" cmpd="sng" algn="ctr">
            <a:solidFill>
              <a:srgbClr val="3EAD92"/>
            </a:solidFill>
            <a:prstDash val="solid"/>
          </a:ln>
          <a:effectLst/>
        </p:spPr>
        <p:txBody>
          <a:bodyPr rtlCol="0" anchor="ctr"/>
          <a:lstStyle/>
          <a:p>
            <a:pPr marL="0" marR="0" lvl="0" indent="0" algn="ctr" defTabSz="467539"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FFFFFF"/>
              </a:solidFill>
              <a:effectLst/>
              <a:uLnTx/>
              <a:uFillTx/>
            </a:endParaRPr>
          </a:p>
        </p:txBody>
      </p:sp>
      <p:sp>
        <p:nvSpPr>
          <p:cNvPr id="141" name="Owal 140">
            <a:extLst>
              <a:ext uri="{FF2B5EF4-FFF2-40B4-BE49-F238E27FC236}">
                <a16:creationId xmlns:a16="http://schemas.microsoft.com/office/drawing/2014/main" id="{DC2C7463-9CFA-498B-A541-254B41359033}"/>
              </a:ext>
            </a:extLst>
          </p:cNvPr>
          <p:cNvSpPr/>
          <p:nvPr/>
        </p:nvSpPr>
        <p:spPr>
          <a:xfrm>
            <a:off x="4387786" y="2943222"/>
            <a:ext cx="120001" cy="120001"/>
          </a:xfrm>
          <a:prstGeom prst="ellipse">
            <a:avLst/>
          </a:prstGeom>
          <a:solidFill>
            <a:srgbClr val="92D050"/>
          </a:solidFill>
          <a:ln w="25400" cap="flat" cmpd="sng" algn="ctr">
            <a:solidFill>
              <a:srgbClr val="3EAD92"/>
            </a:solidFill>
            <a:prstDash val="solid"/>
          </a:ln>
          <a:effectLst/>
        </p:spPr>
        <p:txBody>
          <a:bodyPr rtlCol="0" anchor="ctr"/>
          <a:lstStyle/>
          <a:p>
            <a:pPr marL="0" marR="0" lvl="0" indent="0" algn="ctr" defTabSz="467539"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FFFFFF"/>
              </a:solidFill>
              <a:effectLst/>
              <a:uLnTx/>
              <a:uFillTx/>
            </a:endParaRPr>
          </a:p>
        </p:txBody>
      </p:sp>
      <p:sp>
        <p:nvSpPr>
          <p:cNvPr id="142" name="Owal 141">
            <a:extLst>
              <a:ext uri="{FF2B5EF4-FFF2-40B4-BE49-F238E27FC236}">
                <a16:creationId xmlns:a16="http://schemas.microsoft.com/office/drawing/2014/main" id="{51498AB1-C3F7-4F52-BACC-C1043608A338}"/>
              </a:ext>
            </a:extLst>
          </p:cNvPr>
          <p:cNvSpPr/>
          <p:nvPr/>
        </p:nvSpPr>
        <p:spPr>
          <a:xfrm>
            <a:off x="4239086" y="2616287"/>
            <a:ext cx="120001" cy="120001"/>
          </a:xfrm>
          <a:prstGeom prst="ellipse">
            <a:avLst/>
          </a:prstGeom>
          <a:solidFill>
            <a:srgbClr val="92D050"/>
          </a:solidFill>
          <a:ln w="25400" cap="flat" cmpd="sng" algn="ctr">
            <a:solidFill>
              <a:srgbClr val="3EAD92"/>
            </a:solidFill>
            <a:prstDash val="solid"/>
          </a:ln>
          <a:effectLst/>
        </p:spPr>
        <p:txBody>
          <a:bodyPr rtlCol="0" anchor="ctr"/>
          <a:lstStyle/>
          <a:p>
            <a:pPr marL="0" marR="0" lvl="0" indent="0" algn="ctr" defTabSz="467539"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FFFFFF"/>
              </a:solidFill>
              <a:effectLst/>
              <a:uLnTx/>
              <a:uFillTx/>
            </a:endParaRPr>
          </a:p>
        </p:txBody>
      </p:sp>
      <p:pic>
        <p:nvPicPr>
          <p:cNvPr id="143" name="Grafika 142">
            <a:extLst>
              <a:ext uri="{FF2B5EF4-FFF2-40B4-BE49-F238E27FC236}">
                <a16:creationId xmlns:a16="http://schemas.microsoft.com/office/drawing/2014/main" id="{794B904F-109D-46F4-9AE4-98A3E5D79C56}"/>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6240958" y="2272441"/>
            <a:ext cx="1440000" cy="1440000"/>
          </a:xfrm>
          <a:prstGeom prst="rect">
            <a:avLst/>
          </a:prstGeom>
        </p:spPr>
      </p:pic>
      <p:pic>
        <p:nvPicPr>
          <p:cNvPr id="144" name="Grafika 143">
            <a:extLst>
              <a:ext uri="{FF2B5EF4-FFF2-40B4-BE49-F238E27FC236}">
                <a16:creationId xmlns:a16="http://schemas.microsoft.com/office/drawing/2014/main" id="{D89E13F3-0983-46B6-B510-1FE5BD044BEC}"/>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6427206" y="1529037"/>
            <a:ext cx="1440000" cy="1440000"/>
          </a:xfrm>
          <a:prstGeom prst="rect">
            <a:avLst/>
          </a:prstGeom>
        </p:spPr>
      </p:pic>
      <p:pic>
        <p:nvPicPr>
          <p:cNvPr id="145" name="Grafika 144">
            <a:extLst>
              <a:ext uri="{FF2B5EF4-FFF2-40B4-BE49-F238E27FC236}">
                <a16:creationId xmlns:a16="http://schemas.microsoft.com/office/drawing/2014/main" id="{9C42FF56-47E2-45B5-8982-843490B44AF0}"/>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7539682" y="1718561"/>
            <a:ext cx="1440000" cy="1440000"/>
          </a:xfrm>
          <a:prstGeom prst="rect">
            <a:avLst/>
          </a:prstGeom>
        </p:spPr>
      </p:pic>
      <p:pic>
        <p:nvPicPr>
          <p:cNvPr id="146" name="Grafika 145">
            <a:extLst>
              <a:ext uri="{FF2B5EF4-FFF2-40B4-BE49-F238E27FC236}">
                <a16:creationId xmlns:a16="http://schemas.microsoft.com/office/drawing/2014/main" id="{271AA055-F875-4777-B247-BBBE629F289E}"/>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7600504" y="2563668"/>
            <a:ext cx="1440000" cy="1440000"/>
          </a:xfrm>
          <a:prstGeom prst="rect">
            <a:avLst/>
          </a:prstGeom>
        </p:spPr>
      </p:pic>
      <p:pic>
        <p:nvPicPr>
          <p:cNvPr id="147" name="Grafika 146">
            <a:extLst>
              <a:ext uri="{FF2B5EF4-FFF2-40B4-BE49-F238E27FC236}">
                <a16:creationId xmlns:a16="http://schemas.microsoft.com/office/drawing/2014/main" id="{F8F9628F-4D80-4D13-A898-5F396277C912}"/>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6958529" y="2040862"/>
            <a:ext cx="1440000" cy="1440000"/>
          </a:xfrm>
          <a:prstGeom prst="rect">
            <a:avLst/>
          </a:prstGeom>
        </p:spPr>
      </p:pic>
      <p:pic>
        <p:nvPicPr>
          <p:cNvPr id="148" name="Grafika 147">
            <a:extLst>
              <a:ext uri="{FF2B5EF4-FFF2-40B4-BE49-F238E27FC236}">
                <a16:creationId xmlns:a16="http://schemas.microsoft.com/office/drawing/2014/main" id="{1E3BCC38-0D92-413C-99E4-D51668D210B8}"/>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6880504" y="2807444"/>
            <a:ext cx="1440000" cy="1440000"/>
          </a:xfrm>
          <a:prstGeom prst="rect">
            <a:avLst/>
          </a:prstGeom>
        </p:spPr>
      </p:pic>
      <p:sp>
        <p:nvSpPr>
          <p:cNvPr id="149" name="Prostokąt 148">
            <a:extLst>
              <a:ext uri="{FF2B5EF4-FFF2-40B4-BE49-F238E27FC236}">
                <a16:creationId xmlns:a16="http://schemas.microsoft.com/office/drawing/2014/main" id="{4E64CE12-6A3E-40E3-B099-1A534D9C35E4}"/>
              </a:ext>
            </a:extLst>
          </p:cNvPr>
          <p:cNvSpPr/>
          <p:nvPr/>
        </p:nvSpPr>
        <p:spPr>
          <a:xfrm>
            <a:off x="190957" y="1377321"/>
            <a:ext cx="2018703" cy="4624087"/>
          </a:xfrm>
          <a:prstGeom prst="rect">
            <a:avLst/>
          </a:prstGeom>
          <a:blipFill dpi="0" rotWithShape="1">
            <a:blip r:embed="rId5"/>
            <a:srcRect/>
            <a:stretch>
              <a:fillRect l="-49000" r="-69000"/>
            </a:stretch>
          </a:blip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l-PL" sz="1200" b="0" i="0" u="none" strike="noStrike" kern="0" cap="none" spc="0" normalizeH="0" baseline="0" noProof="0" dirty="0">
              <a:ln>
                <a:noFill/>
              </a:ln>
              <a:solidFill>
                <a:srgbClr val="FFFFFF"/>
              </a:solidFill>
              <a:effectLst/>
              <a:uLnTx/>
              <a:uFillTx/>
              <a:latin typeface="Trebuchet MS"/>
              <a:ea typeface="+mn-ea"/>
              <a:cs typeface="+mn-cs"/>
            </a:endParaRPr>
          </a:p>
        </p:txBody>
      </p:sp>
      <p:sp>
        <p:nvSpPr>
          <p:cNvPr id="150" name="Trójkąt równoramienny 149">
            <a:extLst>
              <a:ext uri="{FF2B5EF4-FFF2-40B4-BE49-F238E27FC236}">
                <a16:creationId xmlns:a16="http://schemas.microsoft.com/office/drawing/2014/main" id="{9AE347EC-88A3-40F9-AE2D-C21485EA2CDB}"/>
              </a:ext>
            </a:extLst>
          </p:cNvPr>
          <p:cNvSpPr/>
          <p:nvPr/>
        </p:nvSpPr>
        <p:spPr>
          <a:xfrm rot="5400000">
            <a:off x="759727" y="3405598"/>
            <a:ext cx="3754746" cy="762755"/>
          </a:xfrm>
          <a:prstGeom prst="triangle">
            <a:avLst/>
          </a:prstGeom>
          <a:solidFill>
            <a:srgbClr val="3EAD92">
              <a:lumMod val="75000"/>
            </a:srgbClr>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l-PL" sz="1200" b="0" i="0" u="none" strike="noStrike" kern="0" cap="none" spc="0" normalizeH="0" baseline="0" noProof="0" dirty="0">
              <a:ln>
                <a:noFill/>
              </a:ln>
              <a:solidFill>
                <a:srgbClr val="FFFFFF"/>
              </a:solidFill>
              <a:effectLst/>
              <a:uLnTx/>
              <a:uFillTx/>
              <a:latin typeface="Trebuchet MS"/>
              <a:ea typeface="+mn-ea"/>
              <a:cs typeface="+mn-cs"/>
            </a:endParaRPr>
          </a:p>
        </p:txBody>
      </p:sp>
      <p:sp>
        <p:nvSpPr>
          <p:cNvPr id="151" name="Dowolny kształt: kształt 150">
            <a:extLst>
              <a:ext uri="{FF2B5EF4-FFF2-40B4-BE49-F238E27FC236}">
                <a16:creationId xmlns:a16="http://schemas.microsoft.com/office/drawing/2014/main" id="{C639AB7F-519B-4B9C-BF1E-A285EA51955C}"/>
              </a:ext>
            </a:extLst>
          </p:cNvPr>
          <p:cNvSpPr/>
          <p:nvPr/>
        </p:nvSpPr>
        <p:spPr>
          <a:xfrm>
            <a:off x="8809587" y="1942766"/>
            <a:ext cx="2988838" cy="686600"/>
          </a:xfrm>
          <a:custGeom>
            <a:avLst/>
            <a:gdLst>
              <a:gd name="connsiteX0" fmla="*/ 0 w 2005560"/>
              <a:gd name="connsiteY0" fmla="*/ 0 h 1203336"/>
              <a:gd name="connsiteX1" fmla="*/ 2005560 w 2005560"/>
              <a:gd name="connsiteY1" fmla="*/ 0 h 1203336"/>
              <a:gd name="connsiteX2" fmla="*/ 2005560 w 2005560"/>
              <a:gd name="connsiteY2" fmla="*/ 1203336 h 1203336"/>
              <a:gd name="connsiteX3" fmla="*/ 0 w 2005560"/>
              <a:gd name="connsiteY3" fmla="*/ 1203336 h 1203336"/>
              <a:gd name="connsiteX4" fmla="*/ 0 w 2005560"/>
              <a:gd name="connsiteY4" fmla="*/ 0 h 1203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5560" h="1203336">
                <a:moveTo>
                  <a:pt x="0" y="0"/>
                </a:moveTo>
                <a:lnTo>
                  <a:pt x="2005560" y="0"/>
                </a:lnTo>
                <a:lnTo>
                  <a:pt x="2005560" y="1203336"/>
                </a:lnTo>
                <a:lnTo>
                  <a:pt x="0" y="1203336"/>
                </a:lnTo>
                <a:lnTo>
                  <a:pt x="0" y="0"/>
                </a:lnTo>
                <a:close/>
              </a:path>
            </a:pathLst>
          </a:custGeom>
          <a:solidFill>
            <a:srgbClr val="308470">
              <a:hueOff val="0"/>
              <a:satOff val="0"/>
              <a:lumOff val="0"/>
              <a:alphaOff val="0"/>
              <a:shade val="80000"/>
              <a:satMod val="150000"/>
            </a:srgb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p:spPr>
        <p:txBody>
          <a:bodyPr spcFirstLastPara="0" vert="horz" wrap="square" lIns="87630" tIns="87630" rIns="87630" bIns="87630" numCol="1" spcCol="1270" anchor="ctr" anchorCtr="0">
            <a:noAutofit/>
          </a:bodyPr>
          <a:lstStyle/>
          <a:p>
            <a:pPr marL="0" marR="0" lvl="0" indent="0" algn="ctr" defTabSz="1022350" eaLnBrk="1" fontAlgn="auto" latinLnBrk="0" hangingPunct="1">
              <a:lnSpc>
                <a:spcPct val="90000"/>
              </a:lnSpc>
              <a:spcBef>
                <a:spcPct val="0"/>
              </a:spcBef>
              <a:spcAft>
                <a:spcPct val="35000"/>
              </a:spcAft>
              <a:buClrTx/>
              <a:buSzTx/>
              <a:buFontTx/>
              <a:buNone/>
              <a:tabLst/>
              <a:defRPr/>
            </a:pPr>
            <a:r>
              <a:rPr kumimoji="0" lang="pl-PL" sz="2000" b="0" i="0" u="none" strike="noStrike" kern="0" cap="none" spc="0" normalizeH="0" baseline="0" noProof="0" dirty="0" err="1">
                <a:ln>
                  <a:noFill/>
                </a:ln>
                <a:solidFill>
                  <a:prstClr val="white"/>
                </a:solidFill>
                <a:effectLst/>
                <a:uLnTx/>
                <a:uFillTx/>
                <a:latin typeface="Trebuchet MS"/>
                <a:ea typeface="+mn-ea"/>
                <a:cs typeface="+mn-cs"/>
              </a:rPr>
              <a:t>Hybrid</a:t>
            </a:r>
            <a:r>
              <a:rPr kumimoji="0" lang="pl-PL" sz="2000" b="0" i="0" u="none" strike="noStrike" kern="0" cap="none" spc="0" normalizeH="0" baseline="0" noProof="0" dirty="0">
                <a:ln>
                  <a:noFill/>
                </a:ln>
                <a:solidFill>
                  <a:prstClr val="white"/>
                </a:solidFill>
                <a:effectLst/>
                <a:uLnTx/>
                <a:uFillTx/>
                <a:latin typeface="Trebuchet MS"/>
                <a:ea typeface="+mn-ea"/>
                <a:cs typeface="+mn-cs"/>
              </a:rPr>
              <a:t> </a:t>
            </a:r>
            <a:r>
              <a:rPr kumimoji="0" lang="pl-PL" sz="2000" b="0" i="0" u="none" strike="noStrike" kern="0" cap="none" spc="0" normalizeH="0" baseline="0" noProof="0" dirty="0" err="1">
                <a:ln>
                  <a:noFill/>
                </a:ln>
                <a:solidFill>
                  <a:prstClr val="white"/>
                </a:solidFill>
                <a:effectLst/>
                <a:uLnTx/>
                <a:uFillTx/>
                <a:latin typeface="Trebuchet MS"/>
                <a:ea typeface="+mn-ea"/>
                <a:cs typeface="+mn-cs"/>
              </a:rPr>
              <a:t>branch</a:t>
            </a:r>
            <a:endParaRPr kumimoji="0" lang="pl-PL" sz="2000" b="0" i="0" u="none" strike="noStrike" kern="0" cap="none" spc="0" normalizeH="0" baseline="0" noProof="0" dirty="0">
              <a:ln>
                <a:noFill/>
              </a:ln>
              <a:solidFill>
                <a:prstClr val="white"/>
              </a:solidFill>
              <a:effectLst/>
              <a:uLnTx/>
              <a:uFillTx/>
              <a:latin typeface="Trebuchet MS"/>
              <a:ea typeface="+mn-ea"/>
              <a:cs typeface="+mn-cs"/>
            </a:endParaRPr>
          </a:p>
        </p:txBody>
      </p:sp>
      <p:pic>
        <p:nvPicPr>
          <p:cNvPr id="152" name="Grafika 151">
            <a:extLst>
              <a:ext uri="{FF2B5EF4-FFF2-40B4-BE49-F238E27FC236}">
                <a16:creationId xmlns:a16="http://schemas.microsoft.com/office/drawing/2014/main" id="{3AF13516-8E93-4CE1-A92B-DA24EB25AC5E}"/>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6787701" y="3881874"/>
            <a:ext cx="1906286" cy="1906286"/>
          </a:xfrm>
          <a:prstGeom prst="rect">
            <a:avLst/>
          </a:prstGeom>
        </p:spPr>
      </p:pic>
      <p:sp>
        <p:nvSpPr>
          <p:cNvPr id="153" name="pole tekstowe 152">
            <a:extLst>
              <a:ext uri="{FF2B5EF4-FFF2-40B4-BE49-F238E27FC236}">
                <a16:creationId xmlns:a16="http://schemas.microsoft.com/office/drawing/2014/main" id="{E5862595-57DD-4D44-97EC-3E7DE9834378}"/>
              </a:ext>
            </a:extLst>
          </p:cNvPr>
          <p:cNvSpPr txBox="1"/>
          <p:nvPr/>
        </p:nvSpPr>
        <p:spPr>
          <a:xfrm>
            <a:off x="3297254" y="4805750"/>
            <a:ext cx="1742716" cy="369332"/>
          </a:xfrm>
          <a:prstGeom prst="rect">
            <a:avLst/>
          </a:prstGeom>
          <a:noFill/>
        </p:spPr>
        <p:txBody>
          <a:bodyPr wrap="square" rtlCol="0">
            <a:spAutoFit/>
          </a:bodyPr>
          <a:lstStyle/>
          <a:p>
            <a:pPr algn="ctr"/>
            <a:r>
              <a:rPr lang="pl-PL" b="1" dirty="0" err="1">
                <a:solidFill>
                  <a:srgbClr val="575757"/>
                </a:solidFill>
                <a:latin typeface="Bradley Hand ITC" panose="03070402050302030203" pitchFamily="66" charset="0"/>
              </a:rPr>
              <a:t>Branches</a:t>
            </a:r>
            <a:endParaRPr lang="pl-PL" b="1" dirty="0">
              <a:solidFill>
                <a:srgbClr val="575757"/>
              </a:solidFill>
              <a:latin typeface="Bradley Hand ITC" panose="03070402050302030203" pitchFamily="66" charset="0"/>
            </a:endParaRPr>
          </a:p>
        </p:txBody>
      </p:sp>
      <p:sp>
        <p:nvSpPr>
          <p:cNvPr id="154" name="pole tekstowe 153">
            <a:extLst>
              <a:ext uri="{FF2B5EF4-FFF2-40B4-BE49-F238E27FC236}">
                <a16:creationId xmlns:a16="http://schemas.microsoft.com/office/drawing/2014/main" id="{067E6209-4FFB-4D25-8707-D08A790B97A6}"/>
              </a:ext>
            </a:extLst>
          </p:cNvPr>
          <p:cNvSpPr txBox="1"/>
          <p:nvPr/>
        </p:nvSpPr>
        <p:spPr>
          <a:xfrm>
            <a:off x="6941262" y="5449606"/>
            <a:ext cx="1742716" cy="338554"/>
          </a:xfrm>
          <a:prstGeom prst="rect">
            <a:avLst/>
          </a:prstGeom>
          <a:noFill/>
        </p:spPr>
        <p:txBody>
          <a:bodyPr wrap="square" rtlCol="0">
            <a:spAutoFit/>
          </a:bodyPr>
          <a:lstStyle/>
          <a:p>
            <a:pPr algn="ctr"/>
            <a:r>
              <a:rPr lang="pl-PL" sz="1600" b="1" dirty="0">
                <a:solidFill>
                  <a:srgbClr val="575757"/>
                </a:solidFill>
                <a:latin typeface="Bradley Hand ITC" panose="03070402050302030203" pitchFamily="66" charset="0"/>
              </a:rPr>
              <a:t>CA24mobile</a:t>
            </a:r>
          </a:p>
        </p:txBody>
      </p:sp>
      <p:sp>
        <p:nvSpPr>
          <p:cNvPr id="155" name="pole tekstowe 154">
            <a:extLst>
              <a:ext uri="{FF2B5EF4-FFF2-40B4-BE49-F238E27FC236}">
                <a16:creationId xmlns:a16="http://schemas.microsoft.com/office/drawing/2014/main" id="{1659135D-72AF-405D-8BD0-3FE855730357}"/>
              </a:ext>
            </a:extLst>
          </p:cNvPr>
          <p:cNvSpPr txBox="1"/>
          <p:nvPr/>
        </p:nvSpPr>
        <p:spPr>
          <a:xfrm>
            <a:off x="7133413" y="1517577"/>
            <a:ext cx="1742716" cy="338554"/>
          </a:xfrm>
          <a:prstGeom prst="rect">
            <a:avLst/>
          </a:prstGeom>
          <a:noFill/>
        </p:spPr>
        <p:txBody>
          <a:bodyPr wrap="square" rtlCol="0">
            <a:spAutoFit/>
          </a:bodyPr>
          <a:lstStyle/>
          <a:p>
            <a:pPr algn="ctr"/>
            <a:r>
              <a:rPr lang="pl-PL" sz="1600" b="1" dirty="0">
                <a:solidFill>
                  <a:srgbClr val="575757"/>
                </a:solidFill>
                <a:latin typeface="Bradley Hand ITC" panose="03070402050302030203" pitchFamily="66" charset="0"/>
              </a:rPr>
              <a:t>CC </a:t>
            </a:r>
            <a:r>
              <a:rPr lang="pl-PL" sz="1600" b="1" dirty="0" err="1">
                <a:solidFill>
                  <a:srgbClr val="575757"/>
                </a:solidFill>
                <a:latin typeface="Bradley Hand ITC" panose="03070402050302030203" pitchFamily="66" charset="0"/>
              </a:rPr>
              <a:t>Advisors</a:t>
            </a:r>
            <a:endParaRPr lang="pl-PL" sz="1600" b="1" dirty="0">
              <a:solidFill>
                <a:srgbClr val="575757"/>
              </a:solidFill>
              <a:latin typeface="Bradley Hand ITC" panose="03070402050302030203" pitchFamily="66" charset="0"/>
            </a:endParaRPr>
          </a:p>
        </p:txBody>
      </p:sp>
    </p:spTree>
    <p:extLst>
      <p:ext uri="{BB962C8B-B14F-4D97-AF65-F5344CB8AC3E}">
        <p14:creationId xmlns:p14="http://schemas.microsoft.com/office/powerpoint/2010/main" val="19663045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Owal 49">
            <a:extLst>
              <a:ext uri="{FF2B5EF4-FFF2-40B4-BE49-F238E27FC236}">
                <a16:creationId xmlns:a16="http://schemas.microsoft.com/office/drawing/2014/main" id="{3B8DA5EA-CB39-4BEC-8436-DF9C6FC7410C}"/>
              </a:ext>
            </a:extLst>
          </p:cNvPr>
          <p:cNvSpPr/>
          <p:nvPr/>
        </p:nvSpPr>
        <p:spPr>
          <a:xfrm>
            <a:off x="4336031" y="2151215"/>
            <a:ext cx="3579237" cy="3579237"/>
          </a:xfrm>
          <a:prstGeom prst="ellipse">
            <a:avLst/>
          </a:prstGeom>
          <a:blipFill>
            <a:blip r:embed="rId2"/>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7539"/>
            <a:endParaRPr lang="pl-PL">
              <a:solidFill>
                <a:srgbClr val="FFFFFF"/>
              </a:solidFill>
              <a:latin typeface="Arial"/>
            </a:endParaRPr>
          </a:p>
        </p:txBody>
      </p:sp>
      <p:sp>
        <p:nvSpPr>
          <p:cNvPr id="2" name="Tytuł 1">
            <a:extLst>
              <a:ext uri="{FF2B5EF4-FFF2-40B4-BE49-F238E27FC236}">
                <a16:creationId xmlns:a16="http://schemas.microsoft.com/office/drawing/2014/main" id="{BE3E659C-9418-4A54-B892-48652EB0ADF7}"/>
              </a:ext>
            </a:extLst>
          </p:cNvPr>
          <p:cNvSpPr>
            <a:spLocks noGrp="1"/>
          </p:cNvSpPr>
          <p:nvPr>
            <p:ph type="title"/>
          </p:nvPr>
        </p:nvSpPr>
        <p:spPr>
          <a:xfrm>
            <a:off x="190067" y="-98570"/>
            <a:ext cx="11514253" cy="753532"/>
          </a:xfrm>
        </p:spPr>
        <p:txBody>
          <a:bodyPr/>
          <a:lstStyle/>
          <a:p>
            <a:r>
              <a:rPr lang="pl-PL" sz="3200" dirty="0" err="1">
                <a:latin typeface="Arial Black" panose="020B0A04020102020204" pitchFamily="34" charset="0"/>
                <a:ea typeface="Calibri" panose="020F0502020204030204" pitchFamily="34" charset="0"/>
                <a:cs typeface="Calibri" panose="020F0502020204030204" pitchFamily="34" charset="0"/>
              </a:rPr>
              <a:t>Our</a:t>
            </a:r>
            <a:r>
              <a:rPr lang="pl-PL" sz="3200" dirty="0">
                <a:latin typeface="Arial Black" panose="020B0A04020102020204" pitchFamily="34" charset="0"/>
                <a:ea typeface="Calibri" panose="020F0502020204030204" pitchFamily="34" charset="0"/>
                <a:cs typeface="Calibri" panose="020F0502020204030204" pitchFamily="34" charset="0"/>
              </a:rPr>
              <a:t> </a:t>
            </a:r>
            <a:r>
              <a:rPr lang="pl-PL" sz="3200" dirty="0" err="1">
                <a:latin typeface="Arial Black" panose="020B0A04020102020204" pitchFamily="34" charset="0"/>
                <a:ea typeface="Calibri" panose="020F0502020204030204" pitchFamily="34" charset="0"/>
                <a:cs typeface="Calibri" panose="020F0502020204030204" pitchFamily="34" charset="0"/>
              </a:rPr>
              <a:t>future</a:t>
            </a:r>
            <a:r>
              <a:rPr lang="pl-PL" sz="3200" dirty="0">
                <a:latin typeface="Arial Black" panose="020B0A04020102020204" pitchFamily="34" charset="0"/>
                <a:ea typeface="Calibri" panose="020F0502020204030204" pitchFamily="34" charset="0"/>
                <a:cs typeface="Calibri" panose="020F0502020204030204" pitchFamily="34" charset="0"/>
              </a:rPr>
              <a:t>: </a:t>
            </a:r>
            <a:r>
              <a:rPr lang="pl-PL" sz="3200" dirty="0" err="1">
                <a:latin typeface="Arial Black" panose="020B0A04020102020204" pitchFamily="34" charset="0"/>
                <a:ea typeface="Calibri" panose="020F0502020204030204" pitchFamily="34" charset="0"/>
                <a:cs typeface="Calibri" panose="020F0502020204030204" pitchFamily="34" charset="0"/>
              </a:rPr>
              <a:t>every</a:t>
            </a:r>
            <a:r>
              <a:rPr lang="pl-PL" sz="3200" dirty="0">
                <a:latin typeface="Arial Black" panose="020B0A04020102020204" pitchFamily="34" charset="0"/>
                <a:ea typeface="Calibri" panose="020F0502020204030204" pitchFamily="34" charset="0"/>
                <a:cs typeface="Calibri" panose="020F0502020204030204" pitchFamily="34" charset="0"/>
              </a:rPr>
              <a:t> </a:t>
            </a:r>
            <a:r>
              <a:rPr lang="pl-PL" sz="3200" dirty="0" err="1">
                <a:latin typeface="Arial Black" panose="020B0A04020102020204" pitchFamily="34" charset="0"/>
                <a:ea typeface="Calibri" panose="020F0502020204030204" pitchFamily="34" charset="0"/>
                <a:cs typeface="Calibri" panose="020F0502020204030204" pitchFamily="34" charset="0"/>
              </a:rPr>
              <a:t>contact</a:t>
            </a:r>
            <a:r>
              <a:rPr lang="pl-PL" sz="3200" dirty="0">
                <a:latin typeface="Arial Black" panose="020B0A04020102020204" pitchFamily="34" charset="0"/>
                <a:ea typeface="Calibri" panose="020F0502020204030204" pitchFamily="34" charset="0"/>
                <a:cs typeface="Calibri" panose="020F0502020204030204" pitchFamily="34" charset="0"/>
              </a:rPr>
              <a:t> channel, but one </a:t>
            </a:r>
            <a:r>
              <a:rPr lang="pl-PL" sz="3200" dirty="0" err="1">
                <a:latin typeface="Arial Black" panose="020B0A04020102020204" pitchFamily="34" charset="0"/>
                <a:ea typeface="Calibri" panose="020F0502020204030204" pitchFamily="34" charset="0"/>
                <a:cs typeface="Calibri" panose="020F0502020204030204" pitchFamily="34" charset="0"/>
              </a:rPr>
              <a:t>advisor</a:t>
            </a:r>
            <a:endParaRPr lang="pl-PL" sz="3200" dirty="0">
              <a:latin typeface="Arial Black" panose="020B0A04020102020204" pitchFamily="34" charset="0"/>
              <a:ea typeface="Calibri" panose="020F0502020204030204" pitchFamily="34" charset="0"/>
              <a:cs typeface="Calibri" panose="020F0502020204030204" pitchFamily="34" charset="0"/>
            </a:endParaRPr>
          </a:p>
        </p:txBody>
      </p:sp>
      <p:sp>
        <p:nvSpPr>
          <p:cNvPr id="3" name="Symbol zastępczy numeru slajdu 2">
            <a:extLst>
              <a:ext uri="{FF2B5EF4-FFF2-40B4-BE49-F238E27FC236}">
                <a16:creationId xmlns:a16="http://schemas.microsoft.com/office/drawing/2014/main" id="{BE79F1AB-F142-4E75-A9BC-2FD4CD3DA590}"/>
              </a:ext>
            </a:extLst>
          </p:cNvPr>
          <p:cNvSpPr>
            <a:spLocks noGrp="1"/>
          </p:cNvSpPr>
          <p:nvPr>
            <p:ph type="sldNum" sz="quarter" idx="10"/>
          </p:nvPr>
        </p:nvSpPr>
        <p:spPr/>
        <p:txBody>
          <a:bodyPr/>
          <a:lstStyle/>
          <a:p>
            <a:pPr defTabSz="467539"/>
            <a:fld id="{332DF002-2E43-485C-89F8-8DCEF59D6C4F}" type="slidenum">
              <a:rPr lang="pl-PL">
                <a:latin typeface="Arial"/>
              </a:rPr>
              <a:pPr defTabSz="467539"/>
              <a:t>6</a:t>
            </a:fld>
            <a:endParaRPr lang="pl-PL" dirty="0">
              <a:latin typeface="Arial"/>
            </a:endParaRPr>
          </a:p>
        </p:txBody>
      </p:sp>
      <p:sp>
        <p:nvSpPr>
          <p:cNvPr id="34" name="Freeform: Shape 40">
            <a:extLst>
              <a:ext uri="{FF2B5EF4-FFF2-40B4-BE49-F238E27FC236}">
                <a16:creationId xmlns:a16="http://schemas.microsoft.com/office/drawing/2014/main" id="{F8657E76-4153-4D3F-B7A7-92A9A5A22167}"/>
              </a:ext>
            </a:extLst>
          </p:cNvPr>
          <p:cNvSpPr/>
          <p:nvPr/>
        </p:nvSpPr>
        <p:spPr>
          <a:xfrm rot="7200000">
            <a:off x="4250500" y="3870139"/>
            <a:ext cx="1721280" cy="2420595"/>
          </a:xfrm>
          <a:custGeom>
            <a:avLst/>
            <a:gdLst>
              <a:gd name="connsiteX0" fmla="*/ 0 w 1175657"/>
              <a:gd name="connsiteY0" fmla="*/ 1653299 h 1653299"/>
              <a:gd name="connsiteX1" fmla="*/ 23917 w 1175657"/>
              <a:gd name="connsiteY1" fmla="*/ 1626734 h 1653299"/>
              <a:gd name="connsiteX2" fmla="*/ 319050 w 1175657"/>
              <a:gd name="connsiteY2" fmla="*/ 1205503 h 1653299"/>
              <a:gd name="connsiteX3" fmla="*/ 674461 w 1175657"/>
              <a:gd name="connsiteY3" fmla="*/ 3886 h 1653299"/>
              <a:gd name="connsiteX4" fmla="*/ 674286 w 1175657"/>
              <a:gd name="connsiteY4" fmla="*/ 0 h 1653299"/>
              <a:gd name="connsiteX5" fmla="*/ 782211 w 1175657"/>
              <a:gd name="connsiteY5" fmla="*/ 68947 h 1653299"/>
              <a:gd name="connsiteX6" fmla="*/ 1175657 w 1175657"/>
              <a:gd name="connsiteY6" fmla="*/ 705299 h 1653299"/>
              <a:gd name="connsiteX7" fmla="*/ 123334 w 1175657"/>
              <a:gd name="connsiteY7" fmla="*/ 1627090 h 1653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5657" h="1653299">
                <a:moveTo>
                  <a:pt x="0" y="1653299"/>
                </a:moveTo>
                <a:lnTo>
                  <a:pt x="23917" y="1626734"/>
                </a:lnTo>
                <a:cubicBezTo>
                  <a:pt x="130159" y="1501178"/>
                  <a:pt x="229839" y="1360020"/>
                  <a:pt x="319050" y="1205503"/>
                </a:cubicBezTo>
                <a:cubicBezTo>
                  <a:pt x="556945" y="793457"/>
                  <a:pt x="675345" y="364432"/>
                  <a:pt x="674461" y="3886"/>
                </a:cubicBezTo>
                <a:lnTo>
                  <a:pt x="674286" y="0"/>
                </a:lnTo>
                <a:lnTo>
                  <a:pt x="782211" y="68947"/>
                </a:lnTo>
                <a:cubicBezTo>
                  <a:pt x="1028005" y="241876"/>
                  <a:pt x="1175657" y="463576"/>
                  <a:pt x="1175657" y="705299"/>
                </a:cubicBezTo>
                <a:cubicBezTo>
                  <a:pt x="1175657" y="1119681"/>
                  <a:pt x="741740" y="1475220"/>
                  <a:pt x="123334" y="1627090"/>
                </a:cubicBezTo>
                <a:close/>
              </a:path>
            </a:pathLst>
          </a:custGeom>
          <a:solidFill>
            <a:schemeClr val="accent4"/>
          </a:solidFill>
          <a:ln w="38100">
            <a:solidFill>
              <a:schemeClr val="bg1"/>
            </a:solidFill>
          </a:ln>
          <a:scene3d>
            <a:camera prst="orthographicFront">
              <a:rot lat="0"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defRPr/>
            </a:pPr>
            <a:endParaRPr lang="en-US" dirty="0">
              <a:solidFill>
                <a:prstClr val="black"/>
              </a:solidFill>
              <a:latin typeface="Calibri"/>
            </a:endParaRPr>
          </a:p>
        </p:txBody>
      </p:sp>
      <p:sp>
        <p:nvSpPr>
          <p:cNvPr id="35" name="Freeform: Shape 37">
            <a:extLst>
              <a:ext uri="{FF2B5EF4-FFF2-40B4-BE49-F238E27FC236}">
                <a16:creationId xmlns:a16="http://schemas.microsoft.com/office/drawing/2014/main" id="{91D20EF6-4B1B-4422-BA80-E5A49CC6F83D}"/>
              </a:ext>
            </a:extLst>
          </p:cNvPr>
          <p:cNvSpPr/>
          <p:nvPr/>
        </p:nvSpPr>
        <p:spPr>
          <a:xfrm rot="3600000">
            <a:off x="5912484" y="4047803"/>
            <a:ext cx="1721283" cy="2420599"/>
          </a:xfrm>
          <a:custGeom>
            <a:avLst/>
            <a:gdLst>
              <a:gd name="connsiteX0" fmla="*/ 674288 w 1175659"/>
              <a:gd name="connsiteY0" fmla="*/ 0 h 1653301"/>
              <a:gd name="connsiteX1" fmla="*/ 782212 w 1175659"/>
              <a:gd name="connsiteY1" fmla="*/ 68948 h 1653301"/>
              <a:gd name="connsiteX2" fmla="*/ 1175659 w 1175659"/>
              <a:gd name="connsiteY2" fmla="*/ 705300 h 1653301"/>
              <a:gd name="connsiteX3" fmla="*/ 123336 w 1175659"/>
              <a:gd name="connsiteY3" fmla="*/ 1627090 h 1653301"/>
              <a:gd name="connsiteX4" fmla="*/ 0 w 1175659"/>
              <a:gd name="connsiteY4" fmla="*/ 1653301 h 1653301"/>
              <a:gd name="connsiteX5" fmla="*/ 23919 w 1175659"/>
              <a:gd name="connsiteY5" fmla="*/ 1626734 h 1653301"/>
              <a:gd name="connsiteX6" fmla="*/ 319051 w 1175659"/>
              <a:gd name="connsiteY6" fmla="*/ 1205503 h 1653301"/>
              <a:gd name="connsiteX7" fmla="*/ 674463 w 1175659"/>
              <a:gd name="connsiteY7" fmla="*/ 3886 h 1653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5659" h="1653301">
                <a:moveTo>
                  <a:pt x="674288" y="0"/>
                </a:moveTo>
                <a:lnTo>
                  <a:pt x="782212" y="68948"/>
                </a:lnTo>
                <a:cubicBezTo>
                  <a:pt x="1028007" y="241877"/>
                  <a:pt x="1175659" y="463577"/>
                  <a:pt x="1175659" y="705300"/>
                </a:cubicBezTo>
                <a:cubicBezTo>
                  <a:pt x="1175659" y="1119682"/>
                  <a:pt x="741742" y="1475221"/>
                  <a:pt x="123336" y="1627090"/>
                </a:cubicBezTo>
                <a:lnTo>
                  <a:pt x="0" y="1653301"/>
                </a:lnTo>
                <a:lnTo>
                  <a:pt x="23919" y="1626734"/>
                </a:lnTo>
                <a:cubicBezTo>
                  <a:pt x="130160" y="1501178"/>
                  <a:pt x="229840" y="1360020"/>
                  <a:pt x="319051" y="1205503"/>
                </a:cubicBezTo>
                <a:cubicBezTo>
                  <a:pt x="556946" y="793456"/>
                  <a:pt x="675346" y="364432"/>
                  <a:pt x="674463" y="3886"/>
                </a:cubicBezTo>
                <a:close/>
              </a:path>
            </a:pathLst>
          </a:custGeom>
          <a:solidFill>
            <a:schemeClr val="accent3"/>
          </a:solidFill>
          <a:ln w="38100">
            <a:solidFill>
              <a:schemeClr val="bg1"/>
            </a:solidFill>
          </a:ln>
          <a:scene3d>
            <a:camera prst="orthographicFront">
              <a:rot lat="0"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defRPr/>
            </a:pPr>
            <a:endParaRPr lang="en-US" dirty="0">
              <a:solidFill>
                <a:prstClr val="black"/>
              </a:solidFill>
              <a:latin typeface="Calibri"/>
            </a:endParaRPr>
          </a:p>
        </p:txBody>
      </p:sp>
      <p:sp>
        <p:nvSpPr>
          <p:cNvPr id="36" name="Freeform: Shape 32">
            <a:extLst>
              <a:ext uri="{FF2B5EF4-FFF2-40B4-BE49-F238E27FC236}">
                <a16:creationId xmlns:a16="http://schemas.microsoft.com/office/drawing/2014/main" id="{67025976-A9E2-42C3-A2EF-EE71795C967B}"/>
              </a:ext>
            </a:extLst>
          </p:cNvPr>
          <p:cNvSpPr/>
          <p:nvPr/>
        </p:nvSpPr>
        <p:spPr>
          <a:xfrm>
            <a:off x="3573376" y="2341982"/>
            <a:ext cx="1721281" cy="2420599"/>
          </a:xfrm>
          <a:custGeom>
            <a:avLst/>
            <a:gdLst>
              <a:gd name="connsiteX0" fmla="*/ 1175658 w 1175658"/>
              <a:gd name="connsiteY0" fmla="*/ 0 h 1653301"/>
              <a:gd name="connsiteX1" fmla="*/ 1151740 w 1175658"/>
              <a:gd name="connsiteY1" fmla="*/ 26566 h 1653301"/>
              <a:gd name="connsiteX2" fmla="*/ 856608 w 1175658"/>
              <a:gd name="connsiteY2" fmla="*/ 447798 h 1653301"/>
              <a:gd name="connsiteX3" fmla="*/ 501197 w 1175658"/>
              <a:gd name="connsiteY3" fmla="*/ 1649414 h 1653301"/>
              <a:gd name="connsiteX4" fmla="*/ 501371 w 1175658"/>
              <a:gd name="connsiteY4" fmla="*/ 1653301 h 1653301"/>
              <a:gd name="connsiteX5" fmla="*/ 393447 w 1175658"/>
              <a:gd name="connsiteY5" fmla="*/ 1584353 h 1653301"/>
              <a:gd name="connsiteX6" fmla="*/ 0 w 1175658"/>
              <a:gd name="connsiteY6" fmla="*/ 948001 h 1653301"/>
              <a:gd name="connsiteX7" fmla="*/ 1052323 w 1175658"/>
              <a:gd name="connsiteY7" fmla="*/ 26210 h 1653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5658" h="1653301">
                <a:moveTo>
                  <a:pt x="1175658" y="0"/>
                </a:moveTo>
                <a:lnTo>
                  <a:pt x="1151740" y="26566"/>
                </a:lnTo>
                <a:cubicBezTo>
                  <a:pt x="1045499" y="152122"/>
                  <a:pt x="945819" y="293280"/>
                  <a:pt x="856608" y="447798"/>
                </a:cubicBezTo>
                <a:cubicBezTo>
                  <a:pt x="618713" y="859843"/>
                  <a:pt x="500313" y="1288868"/>
                  <a:pt x="501197" y="1649414"/>
                </a:cubicBezTo>
                <a:lnTo>
                  <a:pt x="501371" y="1653301"/>
                </a:lnTo>
                <a:lnTo>
                  <a:pt x="393447" y="1584353"/>
                </a:lnTo>
                <a:cubicBezTo>
                  <a:pt x="147653" y="1411424"/>
                  <a:pt x="0" y="1189724"/>
                  <a:pt x="0" y="948001"/>
                </a:cubicBezTo>
                <a:cubicBezTo>
                  <a:pt x="0" y="533619"/>
                  <a:pt x="433917" y="178080"/>
                  <a:pt x="1052323" y="26210"/>
                </a:cubicBezTo>
                <a:close/>
              </a:path>
            </a:pathLst>
          </a:custGeom>
          <a:solidFill>
            <a:schemeClr val="accent5"/>
          </a:solidFill>
          <a:ln w="38100">
            <a:solidFill>
              <a:schemeClr val="bg1"/>
            </a:solidFill>
          </a:ln>
          <a:scene3d>
            <a:camera prst="orthographicFront">
              <a:rot lat="0"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defRPr/>
            </a:pPr>
            <a:endParaRPr lang="en-US" dirty="0">
              <a:solidFill>
                <a:prstClr val="black"/>
              </a:solidFill>
              <a:latin typeface="Calibri"/>
            </a:endParaRPr>
          </a:p>
        </p:txBody>
      </p:sp>
      <p:sp>
        <p:nvSpPr>
          <p:cNvPr id="37" name="Freeform: Shape 30">
            <a:extLst>
              <a:ext uri="{FF2B5EF4-FFF2-40B4-BE49-F238E27FC236}">
                <a16:creationId xmlns:a16="http://schemas.microsoft.com/office/drawing/2014/main" id="{CF2BE755-2FA2-4A65-B7DF-B870681854B2}"/>
              </a:ext>
            </a:extLst>
          </p:cNvPr>
          <p:cNvSpPr/>
          <p:nvPr/>
        </p:nvSpPr>
        <p:spPr>
          <a:xfrm>
            <a:off x="6897344" y="2697317"/>
            <a:ext cx="1721283" cy="2420600"/>
          </a:xfrm>
          <a:custGeom>
            <a:avLst/>
            <a:gdLst>
              <a:gd name="connsiteX0" fmla="*/ 674286 w 1175659"/>
              <a:gd name="connsiteY0" fmla="*/ 0 h 1653302"/>
              <a:gd name="connsiteX1" fmla="*/ 782212 w 1175659"/>
              <a:gd name="connsiteY1" fmla="*/ 68949 h 1653302"/>
              <a:gd name="connsiteX2" fmla="*/ 1175659 w 1175659"/>
              <a:gd name="connsiteY2" fmla="*/ 705301 h 1653302"/>
              <a:gd name="connsiteX3" fmla="*/ 123336 w 1175659"/>
              <a:gd name="connsiteY3" fmla="*/ 1627092 h 1653302"/>
              <a:gd name="connsiteX4" fmla="*/ 0 w 1175659"/>
              <a:gd name="connsiteY4" fmla="*/ 1653302 h 1653302"/>
              <a:gd name="connsiteX5" fmla="*/ 23917 w 1175659"/>
              <a:gd name="connsiteY5" fmla="*/ 1626737 h 1653302"/>
              <a:gd name="connsiteX6" fmla="*/ 319050 w 1175659"/>
              <a:gd name="connsiteY6" fmla="*/ 1205505 h 1653302"/>
              <a:gd name="connsiteX7" fmla="*/ 674461 w 1175659"/>
              <a:gd name="connsiteY7" fmla="*/ 3890 h 1653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5659" h="1653302">
                <a:moveTo>
                  <a:pt x="674286" y="0"/>
                </a:moveTo>
                <a:lnTo>
                  <a:pt x="782212" y="68949"/>
                </a:lnTo>
                <a:cubicBezTo>
                  <a:pt x="1028007" y="241878"/>
                  <a:pt x="1175659" y="463578"/>
                  <a:pt x="1175659" y="705301"/>
                </a:cubicBezTo>
                <a:cubicBezTo>
                  <a:pt x="1175659" y="1119684"/>
                  <a:pt x="741742" y="1475222"/>
                  <a:pt x="123336" y="1627092"/>
                </a:cubicBezTo>
                <a:lnTo>
                  <a:pt x="0" y="1653302"/>
                </a:lnTo>
                <a:lnTo>
                  <a:pt x="23917" y="1626737"/>
                </a:lnTo>
                <a:cubicBezTo>
                  <a:pt x="130159" y="1501181"/>
                  <a:pt x="229839" y="1360023"/>
                  <a:pt x="319050" y="1205505"/>
                </a:cubicBezTo>
                <a:cubicBezTo>
                  <a:pt x="556945" y="793460"/>
                  <a:pt x="675345" y="364435"/>
                  <a:pt x="674461" y="3890"/>
                </a:cubicBezTo>
                <a:close/>
              </a:path>
            </a:pathLst>
          </a:custGeom>
          <a:solidFill>
            <a:schemeClr val="accent2"/>
          </a:solidFill>
          <a:ln w="38100">
            <a:solidFill>
              <a:schemeClr val="bg1"/>
            </a:solidFill>
          </a:ln>
          <a:scene3d>
            <a:camera prst="orthographicFront">
              <a:rot lat="0"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defRPr/>
            </a:pPr>
            <a:endParaRPr lang="en-US" dirty="0">
              <a:solidFill>
                <a:prstClr val="black"/>
              </a:solidFill>
              <a:latin typeface="Calibri"/>
            </a:endParaRPr>
          </a:p>
        </p:txBody>
      </p:sp>
      <p:sp>
        <p:nvSpPr>
          <p:cNvPr id="38" name="Freeform: Shape 35">
            <a:extLst>
              <a:ext uri="{FF2B5EF4-FFF2-40B4-BE49-F238E27FC236}">
                <a16:creationId xmlns:a16="http://schemas.microsoft.com/office/drawing/2014/main" id="{21E275A4-C6C9-46E0-BC37-BDB01C9344E4}"/>
              </a:ext>
            </a:extLst>
          </p:cNvPr>
          <p:cNvSpPr/>
          <p:nvPr/>
        </p:nvSpPr>
        <p:spPr>
          <a:xfrm rot="3600000">
            <a:off x="4558231" y="988216"/>
            <a:ext cx="1721280" cy="2420597"/>
          </a:xfrm>
          <a:custGeom>
            <a:avLst/>
            <a:gdLst>
              <a:gd name="connsiteX0" fmla="*/ 77462 w 1175657"/>
              <a:gd name="connsiteY0" fmla="*/ 650509 h 1653300"/>
              <a:gd name="connsiteX1" fmla="*/ 1052323 w 1175657"/>
              <a:gd name="connsiteY1" fmla="*/ 26209 h 1653300"/>
              <a:gd name="connsiteX2" fmla="*/ 1175657 w 1175657"/>
              <a:gd name="connsiteY2" fmla="*/ 0 h 1653300"/>
              <a:gd name="connsiteX3" fmla="*/ 1151741 w 1175657"/>
              <a:gd name="connsiteY3" fmla="*/ 26564 h 1653300"/>
              <a:gd name="connsiteX4" fmla="*/ 856609 w 1175657"/>
              <a:gd name="connsiteY4" fmla="*/ 447795 h 1653300"/>
              <a:gd name="connsiteX5" fmla="*/ 501197 w 1175657"/>
              <a:gd name="connsiteY5" fmla="*/ 1649411 h 1653300"/>
              <a:gd name="connsiteX6" fmla="*/ 501372 w 1175657"/>
              <a:gd name="connsiteY6" fmla="*/ 1653300 h 1653300"/>
              <a:gd name="connsiteX7" fmla="*/ 393447 w 1175657"/>
              <a:gd name="connsiteY7" fmla="*/ 1584353 h 1653300"/>
              <a:gd name="connsiteX8" fmla="*/ 0 w 1175657"/>
              <a:gd name="connsiteY8" fmla="*/ 948000 h 1653300"/>
              <a:gd name="connsiteX9" fmla="*/ 77462 w 1175657"/>
              <a:gd name="connsiteY9" fmla="*/ 650509 h 1653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5657" h="1653300">
                <a:moveTo>
                  <a:pt x="77462" y="650509"/>
                </a:moveTo>
                <a:cubicBezTo>
                  <a:pt x="228489" y="368578"/>
                  <a:pt x="588518" y="140112"/>
                  <a:pt x="1052323" y="26209"/>
                </a:cubicBezTo>
                <a:lnTo>
                  <a:pt x="1175657" y="0"/>
                </a:lnTo>
                <a:lnTo>
                  <a:pt x="1151741" y="26564"/>
                </a:lnTo>
                <a:cubicBezTo>
                  <a:pt x="1045499" y="152119"/>
                  <a:pt x="945819" y="293278"/>
                  <a:pt x="856609" y="447795"/>
                </a:cubicBezTo>
                <a:cubicBezTo>
                  <a:pt x="618714" y="859840"/>
                  <a:pt x="500313" y="1288865"/>
                  <a:pt x="501197" y="1649411"/>
                </a:cubicBezTo>
                <a:lnTo>
                  <a:pt x="501372" y="1653300"/>
                </a:lnTo>
                <a:lnTo>
                  <a:pt x="393447" y="1584353"/>
                </a:lnTo>
                <a:cubicBezTo>
                  <a:pt x="147652" y="1411423"/>
                  <a:pt x="0" y="1189723"/>
                  <a:pt x="0" y="948000"/>
                </a:cubicBezTo>
                <a:cubicBezTo>
                  <a:pt x="0" y="844404"/>
                  <a:pt x="27120" y="744487"/>
                  <a:pt x="77462" y="650509"/>
                </a:cubicBezTo>
                <a:close/>
              </a:path>
            </a:pathLst>
          </a:custGeom>
          <a:solidFill>
            <a:schemeClr val="bg1">
              <a:lumMod val="50000"/>
            </a:schemeClr>
          </a:solidFill>
          <a:ln w="38100">
            <a:solidFill>
              <a:schemeClr val="bg1"/>
            </a:solidFill>
          </a:ln>
          <a:scene3d>
            <a:camera prst="orthographicFront">
              <a:rot lat="0"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defRPr/>
            </a:pPr>
            <a:endParaRPr lang="en-US" dirty="0">
              <a:solidFill>
                <a:prstClr val="black"/>
              </a:solidFill>
              <a:latin typeface="Calibri"/>
            </a:endParaRPr>
          </a:p>
        </p:txBody>
      </p:sp>
      <p:sp>
        <p:nvSpPr>
          <p:cNvPr id="39" name="Freeform: Shape 41">
            <a:extLst>
              <a:ext uri="{FF2B5EF4-FFF2-40B4-BE49-F238E27FC236}">
                <a16:creationId xmlns:a16="http://schemas.microsoft.com/office/drawing/2014/main" id="{386CABC5-40F8-4E01-9694-F19C2717B0EC}"/>
              </a:ext>
            </a:extLst>
          </p:cNvPr>
          <p:cNvSpPr/>
          <p:nvPr/>
        </p:nvSpPr>
        <p:spPr>
          <a:xfrm rot="7200000">
            <a:off x="6220214" y="1169163"/>
            <a:ext cx="1721284" cy="2420599"/>
          </a:xfrm>
          <a:custGeom>
            <a:avLst/>
            <a:gdLst>
              <a:gd name="connsiteX0" fmla="*/ 77462 w 1175660"/>
              <a:gd name="connsiteY0" fmla="*/ 1245492 h 1653302"/>
              <a:gd name="connsiteX1" fmla="*/ 0 w 1175660"/>
              <a:gd name="connsiteY1" fmla="*/ 948001 h 1653302"/>
              <a:gd name="connsiteX2" fmla="*/ 1052323 w 1175660"/>
              <a:gd name="connsiteY2" fmla="*/ 26211 h 1653302"/>
              <a:gd name="connsiteX3" fmla="*/ 1175660 w 1175660"/>
              <a:gd name="connsiteY3" fmla="*/ 0 h 1653302"/>
              <a:gd name="connsiteX4" fmla="*/ 1151742 w 1175660"/>
              <a:gd name="connsiteY4" fmla="*/ 26566 h 1653302"/>
              <a:gd name="connsiteX5" fmla="*/ 856610 w 1175660"/>
              <a:gd name="connsiteY5" fmla="*/ 447797 h 1653302"/>
              <a:gd name="connsiteX6" fmla="*/ 501198 w 1175660"/>
              <a:gd name="connsiteY6" fmla="*/ 1649413 h 1653302"/>
              <a:gd name="connsiteX7" fmla="*/ 501373 w 1175660"/>
              <a:gd name="connsiteY7" fmla="*/ 1653302 h 1653302"/>
              <a:gd name="connsiteX8" fmla="*/ 393447 w 1175660"/>
              <a:gd name="connsiteY8" fmla="*/ 1584353 h 1653302"/>
              <a:gd name="connsiteX9" fmla="*/ 77462 w 1175660"/>
              <a:gd name="connsiteY9" fmla="*/ 1245492 h 1653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5660" h="1653302">
                <a:moveTo>
                  <a:pt x="77462" y="1245492"/>
                </a:moveTo>
                <a:cubicBezTo>
                  <a:pt x="27120" y="1151514"/>
                  <a:pt x="0" y="1051597"/>
                  <a:pt x="0" y="948001"/>
                </a:cubicBezTo>
                <a:cubicBezTo>
                  <a:pt x="0" y="533619"/>
                  <a:pt x="433917" y="178080"/>
                  <a:pt x="1052323" y="26211"/>
                </a:cubicBezTo>
                <a:lnTo>
                  <a:pt x="1175660" y="0"/>
                </a:lnTo>
                <a:lnTo>
                  <a:pt x="1151742" y="26566"/>
                </a:lnTo>
                <a:cubicBezTo>
                  <a:pt x="1045501" y="152122"/>
                  <a:pt x="945820" y="293280"/>
                  <a:pt x="856610" y="447797"/>
                </a:cubicBezTo>
                <a:cubicBezTo>
                  <a:pt x="618715" y="859842"/>
                  <a:pt x="500314" y="1288867"/>
                  <a:pt x="501198" y="1649413"/>
                </a:cubicBezTo>
                <a:lnTo>
                  <a:pt x="501373" y="1653302"/>
                </a:lnTo>
                <a:lnTo>
                  <a:pt x="393447" y="1584353"/>
                </a:lnTo>
                <a:cubicBezTo>
                  <a:pt x="252993" y="1485536"/>
                  <a:pt x="144585" y="1370795"/>
                  <a:pt x="77462" y="1245492"/>
                </a:cubicBezTo>
                <a:close/>
              </a:path>
            </a:pathLst>
          </a:custGeom>
          <a:solidFill>
            <a:schemeClr val="accent1"/>
          </a:solidFill>
          <a:ln w="38100">
            <a:solidFill>
              <a:schemeClr val="bg1"/>
            </a:solidFill>
          </a:ln>
          <a:scene3d>
            <a:camera prst="orthographicFront">
              <a:rot lat="0"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defRPr/>
            </a:pPr>
            <a:endParaRPr lang="en-US" dirty="0">
              <a:solidFill>
                <a:prstClr val="black"/>
              </a:solidFill>
              <a:latin typeface="Calibri"/>
            </a:endParaRPr>
          </a:p>
        </p:txBody>
      </p:sp>
      <p:pic>
        <p:nvPicPr>
          <p:cNvPr id="6" name="Grafika 5">
            <a:extLst>
              <a:ext uri="{FF2B5EF4-FFF2-40B4-BE49-F238E27FC236}">
                <a16:creationId xmlns:a16="http://schemas.microsoft.com/office/drawing/2014/main" id="{8D6E5504-2688-4925-85D4-45C08448D478}"/>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4073200" y="4352171"/>
            <a:ext cx="1440000" cy="1440000"/>
          </a:xfrm>
          <a:prstGeom prst="rect">
            <a:avLst/>
          </a:prstGeom>
        </p:spPr>
      </p:pic>
      <p:pic>
        <p:nvPicPr>
          <p:cNvPr id="8" name="Grafika 7">
            <a:extLst>
              <a:ext uri="{FF2B5EF4-FFF2-40B4-BE49-F238E27FC236}">
                <a16:creationId xmlns:a16="http://schemas.microsoft.com/office/drawing/2014/main" id="{8AE12B79-ECA0-40F2-8FD3-8173AB12116E}"/>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4493455" y="4900373"/>
            <a:ext cx="1440000" cy="1440000"/>
          </a:xfrm>
          <a:prstGeom prst="rect">
            <a:avLst/>
          </a:prstGeom>
        </p:spPr>
      </p:pic>
      <p:pic>
        <p:nvPicPr>
          <p:cNvPr id="11" name="Grafika 10">
            <a:extLst>
              <a:ext uri="{FF2B5EF4-FFF2-40B4-BE49-F238E27FC236}">
                <a16:creationId xmlns:a16="http://schemas.microsoft.com/office/drawing/2014/main" id="{8187591B-F74B-413B-A262-33367BF9046C}"/>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3354027" y="2797344"/>
            <a:ext cx="1440000" cy="1440000"/>
          </a:xfrm>
          <a:prstGeom prst="rect">
            <a:avLst/>
          </a:prstGeom>
        </p:spPr>
      </p:pic>
      <p:pic>
        <p:nvPicPr>
          <p:cNvPr id="12" name="Grafika 11">
            <a:extLst>
              <a:ext uri="{FF2B5EF4-FFF2-40B4-BE49-F238E27FC236}">
                <a16:creationId xmlns:a16="http://schemas.microsoft.com/office/drawing/2014/main" id="{746C54C4-B8E7-46AB-8BF8-061C3D9895BC}"/>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6531207" y="1406220"/>
            <a:ext cx="1440000" cy="1408000"/>
          </a:xfrm>
          <a:prstGeom prst="rect">
            <a:avLst/>
          </a:prstGeom>
        </p:spPr>
      </p:pic>
      <p:pic>
        <p:nvPicPr>
          <p:cNvPr id="46" name="Grafika 45">
            <a:extLst>
              <a:ext uri="{FF2B5EF4-FFF2-40B4-BE49-F238E27FC236}">
                <a16:creationId xmlns:a16="http://schemas.microsoft.com/office/drawing/2014/main" id="{27CBA97A-895F-4A89-A333-1E3ED9F211C6}"/>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4434015" y="1153713"/>
            <a:ext cx="1440000" cy="1440000"/>
          </a:xfrm>
          <a:prstGeom prst="rect">
            <a:avLst/>
          </a:prstGeom>
        </p:spPr>
      </p:pic>
      <p:grpSp>
        <p:nvGrpSpPr>
          <p:cNvPr id="48" name="Grupa 47">
            <a:extLst>
              <a:ext uri="{FF2B5EF4-FFF2-40B4-BE49-F238E27FC236}">
                <a16:creationId xmlns:a16="http://schemas.microsoft.com/office/drawing/2014/main" id="{8D3135C8-64F5-4EBF-8C94-7C11D15F1BBA}"/>
              </a:ext>
            </a:extLst>
          </p:cNvPr>
          <p:cNvGrpSpPr/>
          <p:nvPr/>
        </p:nvGrpSpPr>
        <p:grpSpPr>
          <a:xfrm>
            <a:off x="6216001" y="4811289"/>
            <a:ext cx="1440000" cy="1440000"/>
            <a:chOff x="4680892" y="3770559"/>
            <a:chExt cx="1080000" cy="1080000"/>
          </a:xfrm>
        </p:grpSpPr>
        <p:pic>
          <p:nvPicPr>
            <p:cNvPr id="9" name="Grafika 8">
              <a:extLst>
                <a:ext uri="{FF2B5EF4-FFF2-40B4-BE49-F238E27FC236}">
                  <a16:creationId xmlns:a16="http://schemas.microsoft.com/office/drawing/2014/main" id="{B05F14A9-199B-44DC-B205-5F952A63B9AA}"/>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4680892" y="3770559"/>
              <a:ext cx="1080000" cy="1080000"/>
            </a:xfrm>
            <a:prstGeom prst="rect">
              <a:avLst/>
            </a:prstGeom>
          </p:spPr>
        </p:pic>
        <p:pic>
          <p:nvPicPr>
            <p:cNvPr id="47" name="Grafika 46">
              <a:extLst>
                <a:ext uri="{FF2B5EF4-FFF2-40B4-BE49-F238E27FC236}">
                  <a16:creationId xmlns:a16="http://schemas.microsoft.com/office/drawing/2014/main" id="{A175D784-4714-4637-9D96-1FFB0EECC0C6}"/>
                </a:ext>
              </a:extLst>
            </p:cNvPr>
            <p:cNvPicPr>
              <a:picLocks noChangeAspect="1"/>
            </p:cNvPicPr>
            <p:nvPr/>
          </p:nvPicPr>
          <p:blipFill>
            <a:blip r:embed="rId15">
              <a:extLst>
                <a:ext uri="{96DAC541-7B7A-43D3-8B79-37D633B846F1}">
                  <asvg:svgBlip xmlns:asvg="http://schemas.microsoft.com/office/drawing/2016/SVG/main" r:embed="rId16"/>
                </a:ext>
              </a:extLst>
            </a:blip>
            <a:srcRect/>
            <a:stretch/>
          </p:blipFill>
          <p:spPr>
            <a:xfrm>
              <a:off x="4996082" y="4075844"/>
              <a:ext cx="458391" cy="458391"/>
            </a:xfrm>
            <a:prstGeom prst="rect">
              <a:avLst/>
            </a:prstGeom>
          </p:spPr>
        </p:pic>
      </p:grpSp>
      <p:sp>
        <p:nvSpPr>
          <p:cNvPr id="51" name="pole tekstowe 50">
            <a:extLst>
              <a:ext uri="{FF2B5EF4-FFF2-40B4-BE49-F238E27FC236}">
                <a16:creationId xmlns:a16="http://schemas.microsoft.com/office/drawing/2014/main" id="{9D443A9F-A9D0-4B92-AD47-13CCF6D21817}"/>
              </a:ext>
            </a:extLst>
          </p:cNvPr>
          <p:cNvSpPr txBox="1"/>
          <p:nvPr/>
        </p:nvSpPr>
        <p:spPr>
          <a:xfrm>
            <a:off x="7915268" y="1628980"/>
            <a:ext cx="1180765" cy="369332"/>
          </a:xfrm>
          <a:prstGeom prst="rect">
            <a:avLst/>
          </a:prstGeom>
          <a:noFill/>
        </p:spPr>
        <p:txBody>
          <a:bodyPr wrap="square" rtlCol="0">
            <a:spAutoFit/>
          </a:bodyPr>
          <a:lstStyle/>
          <a:p>
            <a:pPr defTabSz="467539"/>
            <a:r>
              <a:rPr lang="pl-PL" dirty="0" err="1">
                <a:solidFill>
                  <a:srgbClr val="000000"/>
                </a:solidFill>
                <a:latin typeface="Arial"/>
              </a:rPr>
              <a:t>branch</a:t>
            </a:r>
            <a:endParaRPr lang="pl-PL" dirty="0">
              <a:solidFill>
                <a:srgbClr val="000000"/>
              </a:solidFill>
              <a:latin typeface="Arial"/>
            </a:endParaRPr>
          </a:p>
        </p:txBody>
      </p:sp>
      <p:sp>
        <p:nvSpPr>
          <p:cNvPr id="52" name="pole tekstowe 51">
            <a:extLst>
              <a:ext uri="{FF2B5EF4-FFF2-40B4-BE49-F238E27FC236}">
                <a16:creationId xmlns:a16="http://schemas.microsoft.com/office/drawing/2014/main" id="{77D5C8F2-704C-4C2C-88D2-E69FEB34A131}"/>
              </a:ext>
            </a:extLst>
          </p:cNvPr>
          <p:cNvSpPr txBox="1"/>
          <p:nvPr/>
        </p:nvSpPr>
        <p:spPr>
          <a:xfrm>
            <a:off x="8757806" y="3837235"/>
            <a:ext cx="1180765" cy="369332"/>
          </a:xfrm>
          <a:prstGeom prst="rect">
            <a:avLst/>
          </a:prstGeom>
          <a:noFill/>
        </p:spPr>
        <p:txBody>
          <a:bodyPr wrap="square" rtlCol="0">
            <a:spAutoFit/>
          </a:bodyPr>
          <a:lstStyle/>
          <a:p>
            <a:pPr defTabSz="467539"/>
            <a:r>
              <a:rPr lang="pl-PL" dirty="0">
                <a:solidFill>
                  <a:srgbClr val="000000"/>
                </a:solidFill>
                <a:latin typeface="Arial"/>
              </a:rPr>
              <a:t>email</a:t>
            </a:r>
          </a:p>
        </p:txBody>
      </p:sp>
      <p:pic>
        <p:nvPicPr>
          <p:cNvPr id="53" name="Grafika 52">
            <a:extLst>
              <a:ext uri="{FF2B5EF4-FFF2-40B4-BE49-F238E27FC236}">
                <a16:creationId xmlns:a16="http://schemas.microsoft.com/office/drawing/2014/main" id="{7D30ED37-14DE-410B-8DD9-9AA93736A422}"/>
              </a:ext>
            </a:extLst>
          </p:cNvPr>
          <p:cNvPicPr>
            <a:picLocks noChangeAspect="1"/>
          </p:cNvPicPr>
          <p:nvPr/>
        </p:nvPicPr>
        <p:blipFill>
          <a:blip r:embed="rId17">
            <a:extLst>
              <a:ext uri="{96DAC541-7B7A-43D3-8B79-37D633B846F1}">
                <asvg:svgBlip xmlns:asvg="http://schemas.microsoft.com/office/drawing/2016/SVG/main" r:embed="rId18"/>
              </a:ext>
            </a:extLst>
          </a:blip>
          <a:srcRect/>
          <a:stretch/>
        </p:blipFill>
        <p:spPr>
          <a:xfrm>
            <a:off x="7345711" y="3344065"/>
            <a:ext cx="1440000" cy="1440000"/>
          </a:xfrm>
          <a:prstGeom prst="rect">
            <a:avLst/>
          </a:prstGeom>
        </p:spPr>
      </p:pic>
      <p:sp>
        <p:nvSpPr>
          <p:cNvPr id="54" name="pole tekstowe 53">
            <a:extLst>
              <a:ext uri="{FF2B5EF4-FFF2-40B4-BE49-F238E27FC236}">
                <a16:creationId xmlns:a16="http://schemas.microsoft.com/office/drawing/2014/main" id="{8355879C-B092-4B1F-BAF8-140633D6F0C7}"/>
              </a:ext>
            </a:extLst>
          </p:cNvPr>
          <p:cNvSpPr txBox="1"/>
          <p:nvPr/>
        </p:nvSpPr>
        <p:spPr>
          <a:xfrm>
            <a:off x="7475328" y="6130364"/>
            <a:ext cx="1180765" cy="369332"/>
          </a:xfrm>
          <a:prstGeom prst="rect">
            <a:avLst/>
          </a:prstGeom>
          <a:noFill/>
        </p:spPr>
        <p:txBody>
          <a:bodyPr wrap="square" rtlCol="0">
            <a:spAutoFit/>
          </a:bodyPr>
          <a:lstStyle/>
          <a:p>
            <a:pPr defTabSz="467539"/>
            <a:r>
              <a:rPr lang="pl-PL" dirty="0">
                <a:solidFill>
                  <a:srgbClr val="000000"/>
                </a:solidFill>
                <a:latin typeface="Arial"/>
              </a:rPr>
              <a:t>video</a:t>
            </a:r>
          </a:p>
        </p:txBody>
      </p:sp>
      <p:sp>
        <p:nvSpPr>
          <p:cNvPr id="55" name="pole tekstowe 54">
            <a:extLst>
              <a:ext uri="{FF2B5EF4-FFF2-40B4-BE49-F238E27FC236}">
                <a16:creationId xmlns:a16="http://schemas.microsoft.com/office/drawing/2014/main" id="{6A3F197A-D08C-4B8B-968B-E9D1929DBD8C}"/>
              </a:ext>
            </a:extLst>
          </p:cNvPr>
          <p:cNvSpPr txBox="1"/>
          <p:nvPr/>
        </p:nvSpPr>
        <p:spPr>
          <a:xfrm>
            <a:off x="2042761" y="5619233"/>
            <a:ext cx="2528312" cy="369332"/>
          </a:xfrm>
          <a:prstGeom prst="rect">
            <a:avLst/>
          </a:prstGeom>
          <a:noFill/>
        </p:spPr>
        <p:txBody>
          <a:bodyPr wrap="square" rtlCol="0">
            <a:spAutoFit/>
          </a:bodyPr>
          <a:lstStyle/>
          <a:p>
            <a:pPr defTabSz="467539"/>
            <a:r>
              <a:rPr lang="pl-PL" dirty="0">
                <a:solidFill>
                  <a:srgbClr val="000000"/>
                </a:solidFill>
                <a:latin typeface="Arial"/>
              </a:rPr>
              <a:t>chat &amp; </a:t>
            </a:r>
            <a:r>
              <a:rPr lang="pl-PL" dirty="0" err="1">
                <a:solidFill>
                  <a:srgbClr val="000000"/>
                </a:solidFill>
                <a:latin typeface="Arial"/>
              </a:rPr>
              <a:t>social</a:t>
            </a:r>
            <a:r>
              <a:rPr lang="pl-PL" dirty="0">
                <a:solidFill>
                  <a:srgbClr val="000000"/>
                </a:solidFill>
                <a:latin typeface="Arial"/>
              </a:rPr>
              <a:t> media</a:t>
            </a:r>
          </a:p>
        </p:txBody>
      </p:sp>
      <p:sp>
        <p:nvSpPr>
          <p:cNvPr id="56" name="pole tekstowe 55">
            <a:extLst>
              <a:ext uri="{FF2B5EF4-FFF2-40B4-BE49-F238E27FC236}">
                <a16:creationId xmlns:a16="http://schemas.microsoft.com/office/drawing/2014/main" id="{E6B28EB3-F163-4D4A-8386-BFD881C7C72F}"/>
              </a:ext>
            </a:extLst>
          </p:cNvPr>
          <p:cNvSpPr txBox="1"/>
          <p:nvPr/>
        </p:nvSpPr>
        <p:spPr>
          <a:xfrm>
            <a:off x="2405260" y="3437125"/>
            <a:ext cx="1180765" cy="369332"/>
          </a:xfrm>
          <a:prstGeom prst="rect">
            <a:avLst/>
          </a:prstGeom>
          <a:noFill/>
        </p:spPr>
        <p:txBody>
          <a:bodyPr wrap="square" rtlCol="0">
            <a:spAutoFit/>
          </a:bodyPr>
          <a:lstStyle/>
          <a:p>
            <a:pPr defTabSz="467539"/>
            <a:r>
              <a:rPr lang="pl-PL" dirty="0" err="1">
                <a:solidFill>
                  <a:srgbClr val="000000"/>
                </a:solidFill>
                <a:latin typeface="Arial"/>
              </a:rPr>
              <a:t>phone</a:t>
            </a:r>
            <a:endParaRPr lang="pl-PL" dirty="0">
              <a:solidFill>
                <a:srgbClr val="000000"/>
              </a:solidFill>
              <a:latin typeface="Arial"/>
            </a:endParaRPr>
          </a:p>
        </p:txBody>
      </p:sp>
      <p:sp>
        <p:nvSpPr>
          <p:cNvPr id="57" name="pole tekstowe 56">
            <a:extLst>
              <a:ext uri="{FF2B5EF4-FFF2-40B4-BE49-F238E27FC236}">
                <a16:creationId xmlns:a16="http://schemas.microsoft.com/office/drawing/2014/main" id="{402FA2E4-A317-4069-B130-B9B6FDF043A1}"/>
              </a:ext>
            </a:extLst>
          </p:cNvPr>
          <p:cNvSpPr txBox="1"/>
          <p:nvPr/>
        </p:nvSpPr>
        <p:spPr>
          <a:xfrm>
            <a:off x="3140738" y="1372291"/>
            <a:ext cx="1518756" cy="646331"/>
          </a:xfrm>
          <a:prstGeom prst="rect">
            <a:avLst/>
          </a:prstGeom>
          <a:noFill/>
        </p:spPr>
        <p:txBody>
          <a:bodyPr wrap="square" rtlCol="0">
            <a:spAutoFit/>
          </a:bodyPr>
          <a:lstStyle/>
          <a:p>
            <a:pPr defTabSz="467539"/>
            <a:r>
              <a:rPr lang="pl-PL" dirty="0" err="1">
                <a:solidFill>
                  <a:srgbClr val="000000"/>
                </a:solidFill>
                <a:latin typeface="Arial"/>
              </a:rPr>
              <a:t>proactive</a:t>
            </a:r>
            <a:r>
              <a:rPr lang="pl-PL" dirty="0">
                <a:solidFill>
                  <a:srgbClr val="000000"/>
                </a:solidFill>
                <a:latin typeface="Arial"/>
              </a:rPr>
              <a:t> </a:t>
            </a:r>
            <a:r>
              <a:rPr lang="pl-PL" dirty="0" err="1">
                <a:solidFill>
                  <a:srgbClr val="000000"/>
                </a:solidFill>
                <a:latin typeface="Arial"/>
              </a:rPr>
              <a:t>contact</a:t>
            </a:r>
            <a:endParaRPr lang="pl-PL" dirty="0">
              <a:solidFill>
                <a:srgbClr val="000000"/>
              </a:solidFill>
              <a:latin typeface="Arial"/>
            </a:endParaRPr>
          </a:p>
        </p:txBody>
      </p:sp>
    </p:spTree>
    <p:extLst>
      <p:ext uri="{BB962C8B-B14F-4D97-AF65-F5344CB8AC3E}">
        <p14:creationId xmlns:p14="http://schemas.microsoft.com/office/powerpoint/2010/main" val="131116891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ymbol zastępczy numeru slajdu 2">
            <a:extLst>
              <a:ext uri="{FF2B5EF4-FFF2-40B4-BE49-F238E27FC236}">
                <a16:creationId xmlns:a16="http://schemas.microsoft.com/office/drawing/2014/main" id="{AA30C020-C667-4A02-80DD-CE9BCF5EE8F5}"/>
              </a:ext>
            </a:extLst>
          </p:cNvPr>
          <p:cNvSpPr>
            <a:spLocks noGrp="1"/>
          </p:cNvSpPr>
          <p:nvPr>
            <p:ph type="sldNum" sz="quarter" idx="10"/>
          </p:nvPr>
        </p:nvSpPr>
        <p:spPr>
          <a:xfrm>
            <a:off x="48673" y="6366239"/>
            <a:ext cx="943180" cy="366183"/>
          </a:xfrm>
        </p:spPr>
        <p:txBody>
          <a:bodyPr/>
          <a:lstStyle/>
          <a:p>
            <a:pPr defTabSz="467539"/>
            <a:fld id="{332DF002-2E43-485C-89F8-8DCEF59D6C4F}" type="slidenum">
              <a:rPr lang="pl-PL">
                <a:latin typeface="Arial"/>
              </a:rPr>
              <a:pPr defTabSz="467539"/>
              <a:t>7</a:t>
            </a:fld>
            <a:endParaRPr lang="pl-PL" dirty="0">
              <a:latin typeface="Arial"/>
            </a:endParaRPr>
          </a:p>
        </p:txBody>
      </p:sp>
      <p:sp>
        <p:nvSpPr>
          <p:cNvPr id="4" name="Symbol zastępczy zawartości 2">
            <a:extLst>
              <a:ext uri="{FF2B5EF4-FFF2-40B4-BE49-F238E27FC236}">
                <a16:creationId xmlns:a16="http://schemas.microsoft.com/office/drawing/2014/main" id="{7EFB1F37-155E-4D79-B3D6-39B948470E00}"/>
              </a:ext>
            </a:extLst>
          </p:cNvPr>
          <p:cNvSpPr txBox="1">
            <a:spLocks/>
          </p:cNvSpPr>
          <p:nvPr/>
        </p:nvSpPr>
        <p:spPr bwMode="gray">
          <a:xfrm>
            <a:off x="6854887" y="788971"/>
            <a:ext cx="4526227" cy="4019532"/>
          </a:xfrm>
          <a:prstGeom prst="rect">
            <a:avLst/>
          </a:prstGeom>
        </p:spPr>
        <p:txBody>
          <a:bodyPr vert="horz" lIns="0" tIns="0" rIns="0" bIns="0" numCol="1" spcCol="180000" rtlCol="0" anchor="t" anchorCtr="0">
            <a:noAutofit/>
          </a:bodyPr>
          <a:lstStyle>
            <a:lvl1pPr marL="252000" indent="-252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b="0" kern="1200" cap="none" baseline="0">
                <a:solidFill>
                  <a:schemeClr val="accent3"/>
                </a:solidFill>
                <a:latin typeface="+mn-lt"/>
                <a:ea typeface="+mn-ea"/>
                <a:cs typeface="+mn-cs"/>
              </a:defRPr>
            </a:lvl1pPr>
            <a:lvl2pPr marL="234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2pPr>
            <a:lvl3pPr marL="342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3pPr>
            <a:lvl4pPr marL="432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b="0" kern="1200" cap="none" baseline="0">
                <a:solidFill>
                  <a:schemeClr val="accent3"/>
                </a:solidFill>
                <a:latin typeface="+mn-lt"/>
                <a:ea typeface="+mn-ea"/>
                <a:cs typeface="+mn-cs"/>
              </a:defRPr>
            </a:lvl4pPr>
            <a:lvl5pPr marL="540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kern="1200" cap="none">
                <a:solidFill>
                  <a:schemeClr val="accent3"/>
                </a:solidFill>
                <a:latin typeface="+mn-lt"/>
                <a:ea typeface="+mn-ea"/>
                <a:cs typeface="+mn-cs"/>
              </a:defRPr>
            </a:lvl5pPr>
            <a:lvl6pPr marL="1885874"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3"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defTabSz="914341">
              <a:spcAft>
                <a:spcPts val="1600"/>
              </a:spcAft>
              <a:buClr>
                <a:srgbClr val="7E93A5"/>
              </a:buClr>
              <a:buNone/>
            </a:pPr>
            <a:endParaRPr lang="pl-PL" sz="1867">
              <a:solidFill>
                <a:srgbClr val="7E93A5"/>
              </a:solidFill>
              <a:latin typeface="Arial"/>
            </a:endParaRPr>
          </a:p>
        </p:txBody>
      </p:sp>
      <p:grpSp>
        <p:nvGrpSpPr>
          <p:cNvPr id="5" name="Grupa 4">
            <a:extLst>
              <a:ext uri="{FF2B5EF4-FFF2-40B4-BE49-F238E27FC236}">
                <a16:creationId xmlns:a16="http://schemas.microsoft.com/office/drawing/2014/main" id="{0C1D911E-2469-48B5-9312-65E7C77A4346}"/>
              </a:ext>
            </a:extLst>
          </p:cNvPr>
          <p:cNvGrpSpPr/>
          <p:nvPr/>
        </p:nvGrpSpPr>
        <p:grpSpPr>
          <a:xfrm>
            <a:off x="6854887" y="1261556"/>
            <a:ext cx="623744" cy="614843"/>
            <a:chOff x="5376270" y="1867583"/>
            <a:chExt cx="467808" cy="461132"/>
          </a:xfrm>
        </p:grpSpPr>
        <p:sp>
          <p:nvSpPr>
            <p:cNvPr id="6" name="Oval 17">
              <a:extLst>
                <a:ext uri="{FF2B5EF4-FFF2-40B4-BE49-F238E27FC236}">
                  <a16:creationId xmlns:a16="http://schemas.microsoft.com/office/drawing/2014/main" id="{D01F7F68-4D5D-461B-973A-CBDB2D851C05}"/>
                </a:ext>
              </a:extLst>
            </p:cNvPr>
            <p:cNvSpPr/>
            <p:nvPr/>
          </p:nvSpPr>
          <p:spPr bwMode="auto">
            <a:xfrm>
              <a:off x="5376270" y="1867583"/>
              <a:ext cx="467808" cy="461132"/>
            </a:xfrm>
            <a:prstGeom prst="ellipse">
              <a:avLst/>
            </a:prstGeom>
            <a:solidFill>
              <a:srgbClr val="81BC00"/>
            </a:solidFill>
            <a:ln w="2857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algn="ctr" defTabSz="1219170" fontAlgn="base">
                <a:spcBef>
                  <a:spcPct val="0"/>
                </a:spcBef>
                <a:spcAft>
                  <a:spcPct val="0"/>
                </a:spcAft>
              </a:pPr>
              <a:endParaRPr lang="en-US" sz="7466" dirty="0">
                <a:solidFill>
                  <a:srgbClr val="000000"/>
                </a:solidFill>
                <a:latin typeface="Calibri"/>
                <a:ea typeface="ヒラギノ角ゴ ProN W3" charset="0"/>
                <a:cs typeface="Calibri"/>
                <a:sym typeface="Gill Sans" charset="0"/>
              </a:endParaRPr>
            </a:p>
          </p:txBody>
        </p:sp>
        <p:sp>
          <p:nvSpPr>
            <p:cNvPr id="7" name="Symbol zastępczy zawartości 2">
              <a:extLst>
                <a:ext uri="{FF2B5EF4-FFF2-40B4-BE49-F238E27FC236}">
                  <a16:creationId xmlns:a16="http://schemas.microsoft.com/office/drawing/2014/main" id="{6C4B6BE3-D021-494B-8236-270564B55970}"/>
                </a:ext>
              </a:extLst>
            </p:cNvPr>
            <p:cNvSpPr txBox="1">
              <a:spLocks/>
            </p:cNvSpPr>
            <p:nvPr/>
          </p:nvSpPr>
          <p:spPr bwMode="gray">
            <a:xfrm>
              <a:off x="5376270" y="2003559"/>
              <a:ext cx="467808" cy="273589"/>
            </a:xfrm>
            <a:prstGeom prst="rect">
              <a:avLst/>
            </a:prstGeom>
          </p:spPr>
          <p:txBody>
            <a:bodyPr vert="horz" lIns="0" tIns="0" rIns="0" bIns="0" rtlCol="0" anchor="t" anchorCtr="0">
              <a:noAutofit/>
            </a:bodyPr>
            <a:lstStyle>
              <a:lvl1pPr marL="252000" indent="-252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b="0" kern="1200" cap="none" baseline="0">
                  <a:solidFill>
                    <a:schemeClr val="accent3"/>
                  </a:solidFill>
                  <a:latin typeface="+mn-lt"/>
                  <a:ea typeface="+mn-ea"/>
                  <a:cs typeface="+mn-cs"/>
                </a:defRPr>
              </a:lvl1pPr>
              <a:lvl2pPr marL="234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2pPr>
              <a:lvl3pPr marL="342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3pPr>
              <a:lvl4pPr marL="432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b="0" kern="1200" cap="none" baseline="0">
                  <a:solidFill>
                    <a:schemeClr val="accent3"/>
                  </a:solidFill>
                  <a:latin typeface="+mn-lt"/>
                  <a:ea typeface="+mn-ea"/>
                  <a:cs typeface="+mn-cs"/>
                </a:defRPr>
              </a:lvl4pPr>
              <a:lvl5pPr marL="540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kern="1200" cap="none">
                  <a:solidFill>
                    <a:schemeClr val="accent3"/>
                  </a:solidFill>
                  <a:latin typeface="+mn-lt"/>
                  <a:ea typeface="+mn-ea"/>
                  <a:cs typeface="+mn-cs"/>
                </a:defRPr>
              </a:lvl5pPr>
              <a:lvl6pPr marL="1885874"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3"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defTabSz="914341">
                <a:spcAft>
                  <a:spcPts val="1600"/>
                </a:spcAft>
                <a:buClr>
                  <a:srgbClr val="7E93A5"/>
                </a:buClr>
                <a:buNone/>
              </a:pPr>
              <a:r>
                <a:rPr lang="pl-PL" sz="1867" dirty="0">
                  <a:solidFill>
                    <a:srgbClr val="FFFFFF"/>
                  </a:solidFill>
                  <a:latin typeface="Arial"/>
                </a:rPr>
                <a:t>02</a:t>
              </a:r>
            </a:p>
          </p:txBody>
        </p:sp>
      </p:grpSp>
      <p:sp>
        <p:nvSpPr>
          <p:cNvPr id="8" name="Symbol zastępczy zawartości 2">
            <a:extLst>
              <a:ext uri="{FF2B5EF4-FFF2-40B4-BE49-F238E27FC236}">
                <a16:creationId xmlns:a16="http://schemas.microsoft.com/office/drawing/2014/main" id="{871268EE-2225-4585-A3A3-1B2EE159D270}"/>
              </a:ext>
            </a:extLst>
          </p:cNvPr>
          <p:cNvSpPr txBox="1">
            <a:spLocks/>
          </p:cNvSpPr>
          <p:nvPr/>
        </p:nvSpPr>
        <p:spPr bwMode="gray">
          <a:xfrm>
            <a:off x="954132" y="900987"/>
            <a:ext cx="3384549" cy="594760"/>
          </a:xfrm>
          <a:prstGeom prst="rect">
            <a:avLst/>
          </a:prstGeom>
        </p:spPr>
        <p:txBody>
          <a:bodyPr vert="horz" lIns="0" tIns="0" rIns="0" bIns="0" rtlCol="0" anchor="t" anchorCtr="0">
            <a:noAutofit/>
          </a:bodyPr>
          <a:lstStyle>
            <a:lvl1pPr marL="252000" indent="-252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b="0" kern="1200" cap="none" baseline="0">
                <a:solidFill>
                  <a:schemeClr val="accent3"/>
                </a:solidFill>
                <a:latin typeface="+mn-lt"/>
                <a:ea typeface="+mn-ea"/>
                <a:cs typeface="+mn-cs"/>
              </a:defRPr>
            </a:lvl1pPr>
            <a:lvl2pPr marL="234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2pPr>
            <a:lvl3pPr marL="342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3pPr>
            <a:lvl4pPr marL="432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b="0" kern="1200" cap="none" baseline="0">
                <a:solidFill>
                  <a:schemeClr val="accent3"/>
                </a:solidFill>
                <a:latin typeface="+mn-lt"/>
                <a:ea typeface="+mn-ea"/>
                <a:cs typeface="+mn-cs"/>
              </a:defRPr>
            </a:lvl4pPr>
            <a:lvl5pPr marL="540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kern="1200" cap="none">
                <a:solidFill>
                  <a:schemeClr val="accent3"/>
                </a:solidFill>
                <a:latin typeface="+mn-lt"/>
                <a:ea typeface="+mn-ea"/>
                <a:cs typeface="+mn-cs"/>
              </a:defRPr>
            </a:lvl5pPr>
            <a:lvl6pPr marL="1885874"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3"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r" defTabSz="914341">
              <a:spcAft>
                <a:spcPts val="800"/>
              </a:spcAft>
              <a:buClr>
                <a:srgbClr val="7E93A5"/>
              </a:buClr>
              <a:buNone/>
            </a:pPr>
            <a:r>
              <a:rPr lang="da-DK" sz="1867" b="1" dirty="0">
                <a:solidFill>
                  <a:srgbClr val="81BC00"/>
                </a:solidFill>
                <a:latin typeface="Arial"/>
              </a:rPr>
              <a:t>360° Financial Expert</a:t>
            </a:r>
          </a:p>
        </p:txBody>
      </p:sp>
      <p:grpSp>
        <p:nvGrpSpPr>
          <p:cNvPr id="9" name="Grupa 8">
            <a:extLst>
              <a:ext uri="{FF2B5EF4-FFF2-40B4-BE49-F238E27FC236}">
                <a16:creationId xmlns:a16="http://schemas.microsoft.com/office/drawing/2014/main" id="{E5240BED-C139-4154-A5F9-A21B72E576EC}"/>
              </a:ext>
            </a:extLst>
          </p:cNvPr>
          <p:cNvGrpSpPr/>
          <p:nvPr/>
        </p:nvGrpSpPr>
        <p:grpSpPr>
          <a:xfrm>
            <a:off x="7478631" y="2480476"/>
            <a:ext cx="623744" cy="614843"/>
            <a:chOff x="5844078" y="2781773"/>
            <a:chExt cx="467808" cy="461132"/>
          </a:xfrm>
        </p:grpSpPr>
        <p:sp>
          <p:nvSpPr>
            <p:cNvPr id="10" name="Oval 17">
              <a:extLst>
                <a:ext uri="{FF2B5EF4-FFF2-40B4-BE49-F238E27FC236}">
                  <a16:creationId xmlns:a16="http://schemas.microsoft.com/office/drawing/2014/main" id="{3242FC61-3338-4632-9530-84E18BB878E6}"/>
                </a:ext>
              </a:extLst>
            </p:cNvPr>
            <p:cNvSpPr/>
            <p:nvPr/>
          </p:nvSpPr>
          <p:spPr bwMode="auto">
            <a:xfrm>
              <a:off x="5844078" y="2781773"/>
              <a:ext cx="467808" cy="461132"/>
            </a:xfrm>
            <a:prstGeom prst="ellipse">
              <a:avLst/>
            </a:prstGeom>
            <a:solidFill>
              <a:srgbClr val="81BC00"/>
            </a:solidFill>
            <a:ln w="2857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algn="ctr" defTabSz="1219170" fontAlgn="base">
                <a:spcBef>
                  <a:spcPct val="0"/>
                </a:spcBef>
                <a:spcAft>
                  <a:spcPct val="0"/>
                </a:spcAft>
              </a:pPr>
              <a:endParaRPr lang="en-US" sz="7466" dirty="0">
                <a:solidFill>
                  <a:srgbClr val="000000"/>
                </a:solidFill>
                <a:latin typeface="Calibri"/>
                <a:ea typeface="ヒラギノ角ゴ ProN W3" charset="0"/>
                <a:cs typeface="Calibri"/>
                <a:sym typeface="Gill Sans" charset="0"/>
              </a:endParaRPr>
            </a:p>
          </p:txBody>
        </p:sp>
        <p:sp>
          <p:nvSpPr>
            <p:cNvPr id="11" name="Symbol zastępczy zawartości 2">
              <a:extLst>
                <a:ext uri="{FF2B5EF4-FFF2-40B4-BE49-F238E27FC236}">
                  <a16:creationId xmlns:a16="http://schemas.microsoft.com/office/drawing/2014/main" id="{8BAE97C1-DCF5-4F34-BB34-A4ED218220C4}"/>
                </a:ext>
              </a:extLst>
            </p:cNvPr>
            <p:cNvSpPr txBox="1">
              <a:spLocks/>
            </p:cNvSpPr>
            <p:nvPr/>
          </p:nvSpPr>
          <p:spPr bwMode="gray">
            <a:xfrm>
              <a:off x="5844078" y="2917749"/>
              <a:ext cx="467808" cy="273589"/>
            </a:xfrm>
            <a:prstGeom prst="rect">
              <a:avLst/>
            </a:prstGeom>
          </p:spPr>
          <p:txBody>
            <a:bodyPr vert="horz" lIns="0" tIns="0" rIns="0" bIns="0" rtlCol="0" anchor="t" anchorCtr="0">
              <a:noAutofit/>
            </a:bodyPr>
            <a:lstStyle>
              <a:lvl1pPr marL="252000" indent="-252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b="0" kern="1200" cap="none" baseline="0">
                  <a:solidFill>
                    <a:schemeClr val="accent3"/>
                  </a:solidFill>
                  <a:latin typeface="+mn-lt"/>
                  <a:ea typeface="+mn-ea"/>
                  <a:cs typeface="+mn-cs"/>
                </a:defRPr>
              </a:lvl1pPr>
              <a:lvl2pPr marL="234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2pPr>
              <a:lvl3pPr marL="342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3pPr>
              <a:lvl4pPr marL="432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b="0" kern="1200" cap="none" baseline="0">
                  <a:solidFill>
                    <a:schemeClr val="accent3"/>
                  </a:solidFill>
                  <a:latin typeface="+mn-lt"/>
                  <a:ea typeface="+mn-ea"/>
                  <a:cs typeface="+mn-cs"/>
                </a:defRPr>
              </a:lvl4pPr>
              <a:lvl5pPr marL="540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kern="1200" cap="none">
                  <a:solidFill>
                    <a:schemeClr val="accent3"/>
                  </a:solidFill>
                  <a:latin typeface="+mn-lt"/>
                  <a:ea typeface="+mn-ea"/>
                  <a:cs typeface="+mn-cs"/>
                </a:defRPr>
              </a:lvl5pPr>
              <a:lvl6pPr marL="1885874"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3"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defTabSz="914341">
                <a:spcAft>
                  <a:spcPts val="1600"/>
                </a:spcAft>
                <a:buClr>
                  <a:srgbClr val="7E93A5"/>
                </a:buClr>
                <a:buNone/>
              </a:pPr>
              <a:r>
                <a:rPr lang="pl-PL" sz="1867" dirty="0">
                  <a:solidFill>
                    <a:srgbClr val="FFFFFF"/>
                  </a:solidFill>
                  <a:latin typeface="Arial"/>
                </a:rPr>
                <a:t>04</a:t>
              </a:r>
            </a:p>
          </p:txBody>
        </p:sp>
      </p:grpSp>
      <p:grpSp>
        <p:nvGrpSpPr>
          <p:cNvPr id="12" name="Grupa 11">
            <a:extLst>
              <a:ext uri="{FF2B5EF4-FFF2-40B4-BE49-F238E27FC236}">
                <a16:creationId xmlns:a16="http://schemas.microsoft.com/office/drawing/2014/main" id="{DBA216F1-470E-457A-A0CF-2217702844F9}"/>
              </a:ext>
            </a:extLst>
          </p:cNvPr>
          <p:cNvGrpSpPr/>
          <p:nvPr/>
        </p:nvGrpSpPr>
        <p:grpSpPr>
          <a:xfrm>
            <a:off x="6854887" y="3699396"/>
            <a:ext cx="623744" cy="614843"/>
            <a:chOff x="5376270" y="3695963"/>
            <a:chExt cx="467808" cy="461132"/>
          </a:xfrm>
        </p:grpSpPr>
        <p:sp>
          <p:nvSpPr>
            <p:cNvPr id="13" name="Oval 17">
              <a:extLst>
                <a:ext uri="{FF2B5EF4-FFF2-40B4-BE49-F238E27FC236}">
                  <a16:creationId xmlns:a16="http://schemas.microsoft.com/office/drawing/2014/main" id="{74F7C162-E6A8-4C14-9521-8DB485D9878E}"/>
                </a:ext>
              </a:extLst>
            </p:cNvPr>
            <p:cNvSpPr/>
            <p:nvPr/>
          </p:nvSpPr>
          <p:spPr bwMode="auto">
            <a:xfrm>
              <a:off x="5376270" y="3695963"/>
              <a:ext cx="467808" cy="461132"/>
            </a:xfrm>
            <a:prstGeom prst="ellipse">
              <a:avLst/>
            </a:prstGeom>
            <a:solidFill>
              <a:srgbClr val="81BC00"/>
            </a:solidFill>
            <a:ln w="2857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algn="ctr" defTabSz="1219170" fontAlgn="base">
                <a:spcBef>
                  <a:spcPct val="0"/>
                </a:spcBef>
                <a:spcAft>
                  <a:spcPct val="0"/>
                </a:spcAft>
              </a:pPr>
              <a:endParaRPr lang="en-US" sz="7466" dirty="0">
                <a:solidFill>
                  <a:srgbClr val="000000"/>
                </a:solidFill>
                <a:latin typeface="Calibri"/>
                <a:ea typeface="ヒラギノ角ゴ ProN W3" charset="0"/>
                <a:cs typeface="Calibri"/>
                <a:sym typeface="Gill Sans" charset="0"/>
              </a:endParaRPr>
            </a:p>
          </p:txBody>
        </p:sp>
        <p:sp>
          <p:nvSpPr>
            <p:cNvPr id="14" name="Symbol zastępczy zawartości 2">
              <a:extLst>
                <a:ext uri="{FF2B5EF4-FFF2-40B4-BE49-F238E27FC236}">
                  <a16:creationId xmlns:a16="http://schemas.microsoft.com/office/drawing/2014/main" id="{F98D520B-AF78-4ECE-AE7F-E31AC8C00593}"/>
                </a:ext>
              </a:extLst>
            </p:cNvPr>
            <p:cNvSpPr txBox="1">
              <a:spLocks/>
            </p:cNvSpPr>
            <p:nvPr/>
          </p:nvSpPr>
          <p:spPr bwMode="gray">
            <a:xfrm>
              <a:off x="5376270" y="3831939"/>
              <a:ext cx="467808" cy="273589"/>
            </a:xfrm>
            <a:prstGeom prst="rect">
              <a:avLst/>
            </a:prstGeom>
          </p:spPr>
          <p:txBody>
            <a:bodyPr vert="horz" lIns="0" tIns="0" rIns="0" bIns="0" rtlCol="0" anchor="t" anchorCtr="0">
              <a:noAutofit/>
            </a:bodyPr>
            <a:lstStyle>
              <a:lvl1pPr marL="252000" indent="-252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b="0" kern="1200" cap="none" baseline="0">
                  <a:solidFill>
                    <a:schemeClr val="accent3"/>
                  </a:solidFill>
                  <a:latin typeface="+mn-lt"/>
                  <a:ea typeface="+mn-ea"/>
                  <a:cs typeface="+mn-cs"/>
                </a:defRPr>
              </a:lvl1pPr>
              <a:lvl2pPr marL="234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2pPr>
              <a:lvl3pPr marL="342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3pPr>
              <a:lvl4pPr marL="432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b="0" kern="1200" cap="none" baseline="0">
                  <a:solidFill>
                    <a:schemeClr val="accent3"/>
                  </a:solidFill>
                  <a:latin typeface="+mn-lt"/>
                  <a:ea typeface="+mn-ea"/>
                  <a:cs typeface="+mn-cs"/>
                </a:defRPr>
              </a:lvl4pPr>
              <a:lvl5pPr marL="540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kern="1200" cap="none">
                  <a:solidFill>
                    <a:schemeClr val="accent3"/>
                  </a:solidFill>
                  <a:latin typeface="+mn-lt"/>
                  <a:ea typeface="+mn-ea"/>
                  <a:cs typeface="+mn-cs"/>
                </a:defRPr>
              </a:lvl5pPr>
              <a:lvl6pPr marL="1885874"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3"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defTabSz="914341">
                <a:spcAft>
                  <a:spcPts val="1600"/>
                </a:spcAft>
                <a:buClr>
                  <a:srgbClr val="7E93A5"/>
                </a:buClr>
                <a:buNone/>
              </a:pPr>
              <a:r>
                <a:rPr lang="pl-PL" sz="1867" dirty="0">
                  <a:solidFill>
                    <a:srgbClr val="FFFFFF"/>
                  </a:solidFill>
                  <a:latin typeface="Arial"/>
                </a:rPr>
                <a:t>06</a:t>
              </a:r>
            </a:p>
          </p:txBody>
        </p:sp>
      </p:grpSp>
      <p:sp>
        <p:nvSpPr>
          <p:cNvPr id="15" name="Oval 17">
            <a:extLst>
              <a:ext uri="{FF2B5EF4-FFF2-40B4-BE49-F238E27FC236}">
                <a16:creationId xmlns:a16="http://schemas.microsoft.com/office/drawing/2014/main" id="{2CA2BAD5-46E9-4CD7-BDDB-558BAA3DDD14}"/>
              </a:ext>
            </a:extLst>
          </p:cNvPr>
          <p:cNvSpPr/>
          <p:nvPr/>
        </p:nvSpPr>
        <p:spPr bwMode="auto">
          <a:xfrm>
            <a:off x="5144569" y="2019285"/>
            <a:ext cx="1597969" cy="1575164"/>
          </a:xfrm>
          <a:prstGeom prst="ellipse">
            <a:avLst/>
          </a:prstGeom>
          <a:solidFill>
            <a:srgbClr val="81BC00"/>
          </a:solidFill>
          <a:ln w="57150"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algn="ctr" defTabSz="1219170" fontAlgn="base">
              <a:spcBef>
                <a:spcPct val="0"/>
              </a:spcBef>
              <a:spcAft>
                <a:spcPct val="0"/>
              </a:spcAft>
            </a:pPr>
            <a:endParaRPr lang="en-US" sz="7466" dirty="0">
              <a:solidFill>
                <a:srgbClr val="000000"/>
              </a:solidFill>
              <a:latin typeface="Calibri"/>
              <a:ea typeface="ヒラギノ角ゴ ProN W3" charset="0"/>
              <a:cs typeface="Calibri"/>
              <a:sym typeface="Gill Sans" charset="0"/>
            </a:endParaRPr>
          </a:p>
        </p:txBody>
      </p:sp>
      <p:grpSp>
        <p:nvGrpSpPr>
          <p:cNvPr id="16" name="Grupa 15">
            <a:extLst>
              <a:ext uri="{FF2B5EF4-FFF2-40B4-BE49-F238E27FC236}">
                <a16:creationId xmlns:a16="http://schemas.microsoft.com/office/drawing/2014/main" id="{0DECD943-32E4-484A-ABF4-E82726AB19D3}"/>
              </a:ext>
            </a:extLst>
          </p:cNvPr>
          <p:cNvGrpSpPr/>
          <p:nvPr/>
        </p:nvGrpSpPr>
        <p:grpSpPr>
          <a:xfrm>
            <a:off x="4438775" y="1261556"/>
            <a:ext cx="623744" cy="614843"/>
            <a:chOff x="3564186" y="1867583"/>
            <a:chExt cx="467808" cy="461132"/>
          </a:xfrm>
        </p:grpSpPr>
        <p:sp>
          <p:nvSpPr>
            <p:cNvPr id="17" name="Oval 17">
              <a:extLst>
                <a:ext uri="{FF2B5EF4-FFF2-40B4-BE49-F238E27FC236}">
                  <a16:creationId xmlns:a16="http://schemas.microsoft.com/office/drawing/2014/main" id="{0259D01E-8FB1-4D9A-890A-E96FDB0E8D3D}"/>
                </a:ext>
              </a:extLst>
            </p:cNvPr>
            <p:cNvSpPr/>
            <p:nvPr/>
          </p:nvSpPr>
          <p:spPr bwMode="auto">
            <a:xfrm>
              <a:off x="3564186" y="1867583"/>
              <a:ext cx="467808" cy="461132"/>
            </a:xfrm>
            <a:prstGeom prst="ellipse">
              <a:avLst/>
            </a:prstGeom>
            <a:solidFill>
              <a:srgbClr val="81BC00"/>
            </a:solidFill>
            <a:ln w="2857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algn="ctr" defTabSz="1219170" fontAlgn="base">
                <a:spcBef>
                  <a:spcPct val="0"/>
                </a:spcBef>
                <a:spcAft>
                  <a:spcPct val="0"/>
                </a:spcAft>
              </a:pPr>
              <a:endParaRPr lang="en-US" sz="7466" dirty="0">
                <a:solidFill>
                  <a:srgbClr val="000000"/>
                </a:solidFill>
                <a:latin typeface="Calibri"/>
                <a:ea typeface="ヒラギノ角ゴ ProN W3" charset="0"/>
                <a:cs typeface="Calibri"/>
                <a:sym typeface="Gill Sans" charset="0"/>
              </a:endParaRPr>
            </a:p>
          </p:txBody>
        </p:sp>
        <p:sp>
          <p:nvSpPr>
            <p:cNvPr id="18" name="Symbol zastępczy zawartości 2">
              <a:extLst>
                <a:ext uri="{FF2B5EF4-FFF2-40B4-BE49-F238E27FC236}">
                  <a16:creationId xmlns:a16="http://schemas.microsoft.com/office/drawing/2014/main" id="{8E4F4366-CA27-4D5B-A6A5-420E13076964}"/>
                </a:ext>
              </a:extLst>
            </p:cNvPr>
            <p:cNvSpPr txBox="1">
              <a:spLocks/>
            </p:cNvSpPr>
            <p:nvPr/>
          </p:nvSpPr>
          <p:spPr bwMode="gray">
            <a:xfrm>
              <a:off x="3564186" y="2003559"/>
              <a:ext cx="467808" cy="273589"/>
            </a:xfrm>
            <a:prstGeom prst="rect">
              <a:avLst/>
            </a:prstGeom>
          </p:spPr>
          <p:txBody>
            <a:bodyPr vert="horz" lIns="0" tIns="0" rIns="0" bIns="0" rtlCol="0" anchor="t" anchorCtr="0">
              <a:noAutofit/>
            </a:bodyPr>
            <a:lstStyle>
              <a:lvl1pPr marL="252000" indent="-252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b="0" kern="1200" cap="none" baseline="0">
                  <a:solidFill>
                    <a:schemeClr val="accent3"/>
                  </a:solidFill>
                  <a:latin typeface="+mn-lt"/>
                  <a:ea typeface="+mn-ea"/>
                  <a:cs typeface="+mn-cs"/>
                </a:defRPr>
              </a:lvl1pPr>
              <a:lvl2pPr marL="234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2pPr>
              <a:lvl3pPr marL="342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3pPr>
              <a:lvl4pPr marL="432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b="0" kern="1200" cap="none" baseline="0">
                  <a:solidFill>
                    <a:schemeClr val="accent3"/>
                  </a:solidFill>
                  <a:latin typeface="+mn-lt"/>
                  <a:ea typeface="+mn-ea"/>
                  <a:cs typeface="+mn-cs"/>
                </a:defRPr>
              </a:lvl4pPr>
              <a:lvl5pPr marL="540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kern="1200" cap="none">
                  <a:solidFill>
                    <a:schemeClr val="accent3"/>
                  </a:solidFill>
                  <a:latin typeface="+mn-lt"/>
                  <a:ea typeface="+mn-ea"/>
                  <a:cs typeface="+mn-cs"/>
                </a:defRPr>
              </a:lvl5pPr>
              <a:lvl6pPr marL="1885874"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3"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defTabSz="914341">
                <a:spcAft>
                  <a:spcPts val="1600"/>
                </a:spcAft>
                <a:buClr>
                  <a:srgbClr val="7E93A5"/>
                </a:buClr>
                <a:buNone/>
              </a:pPr>
              <a:r>
                <a:rPr lang="pl-PL" sz="1867" dirty="0">
                  <a:solidFill>
                    <a:srgbClr val="FFFFFF"/>
                  </a:solidFill>
                  <a:latin typeface="Arial"/>
                </a:rPr>
                <a:t>01</a:t>
              </a:r>
            </a:p>
          </p:txBody>
        </p:sp>
      </p:grpSp>
      <p:grpSp>
        <p:nvGrpSpPr>
          <p:cNvPr id="19" name="Grupa 18">
            <a:extLst>
              <a:ext uri="{FF2B5EF4-FFF2-40B4-BE49-F238E27FC236}">
                <a16:creationId xmlns:a16="http://schemas.microsoft.com/office/drawing/2014/main" id="{9E38F439-2C52-499D-96BA-4B1FEAC1B866}"/>
              </a:ext>
            </a:extLst>
          </p:cNvPr>
          <p:cNvGrpSpPr/>
          <p:nvPr/>
        </p:nvGrpSpPr>
        <p:grpSpPr>
          <a:xfrm>
            <a:off x="3632929" y="2480476"/>
            <a:ext cx="623744" cy="614843"/>
            <a:chOff x="2959802" y="2781773"/>
            <a:chExt cx="467808" cy="461132"/>
          </a:xfrm>
        </p:grpSpPr>
        <p:sp>
          <p:nvSpPr>
            <p:cNvPr id="20" name="Oval 17">
              <a:extLst>
                <a:ext uri="{FF2B5EF4-FFF2-40B4-BE49-F238E27FC236}">
                  <a16:creationId xmlns:a16="http://schemas.microsoft.com/office/drawing/2014/main" id="{3A15F1B3-9339-4A5E-A904-0CED1369F98D}"/>
                </a:ext>
              </a:extLst>
            </p:cNvPr>
            <p:cNvSpPr/>
            <p:nvPr/>
          </p:nvSpPr>
          <p:spPr bwMode="auto">
            <a:xfrm>
              <a:off x="2959802" y="2781773"/>
              <a:ext cx="467808" cy="461132"/>
            </a:xfrm>
            <a:prstGeom prst="ellipse">
              <a:avLst/>
            </a:prstGeom>
            <a:solidFill>
              <a:srgbClr val="81BC00"/>
            </a:solidFill>
            <a:ln w="2857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algn="ctr" defTabSz="1219170" fontAlgn="base">
                <a:spcBef>
                  <a:spcPct val="0"/>
                </a:spcBef>
                <a:spcAft>
                  <a:spcPct val="0"/>
                </a:spcAft>
              </a:pPr>
              <a:endParaRPr lang="en-US" sz="7466" dirty="0">
                <a:solidFill>
                  <a:srgbClr val="000000"/>
                </a:solidFill>
                <a:latin typeface="Calibri"/>
                <a:ea typeface="ヒラギノ角ゴ ProN W3" charset="0"/>
                <a:cs typeface="Calibri"/>
                <a:sym typeface="Gill Sans" charset="0"/>
              </a:endParaRPr>
            </a:p>
          </p:txBody>
        </p:sp>
        <p:sp>
          <p:nvSpPr>
            <p:cNvPr id="21" name="Symbol zastępczy zawartości 2">
              <a:extLst>
                <a:ext uri="{FF2B5EF4-FFF2-40B4-BE49-F238E27FC236}">
                  <a16:creationId xmlns:a16="http://schemas.microsoft.com/office/drawing/2014/main" id="{09DF068C-3CE9-4ADE-92C4-932A94080D69}"/>
                </a:ext>
              </a:extLst>
            </p:cNvPr>
            <p:cNvSpPr txBox="1">
              <a:spLocks/>
            </p:cNvSpPr>
            <p:nvPr/>
          </p:nvSpPr>
          <p:spPr bwMode="gray">
            <a:xfrm>
              <a:off x="2959802" y="2917749"/>
              <a:ext cx="467808" cy="273589"/>
            </a:xfrm>
            <a:prstGeom prst="rect">
              <a:avLst/>
            </a:prstGeom>
          </p:spPr>
          <p:txBody>
            <a:bodyPr vert="horz" lIns="0" tIns="0" rIns="0" bIns="0" rtlCol="0" anchor="t" anchorCtr="0">
              <a:noAutofit/>
            </a:bodyPr>
            <a:lstStyle>
              <a:lvl1pPr marL="252000" indent="-252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b="0" kern="1200" cap="none" baseline="0">
                  <a:solidFill>
                    <a:schemeClr val="accent3"/>
                  </a:solidFill>
                  <a:latin typeface="+mn-lt"/>
                  <a:ea typeface="+mn-ea"/>
                  <a:cs typeface="+mn-cs"/>
                </a:defRPr>
              </a:lvl1pPr>
              <a:lvl2pPr marL="234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2pPr>
              <a:lvl3pPr marL="342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3pPr>
              <a:lvl4pPr marL="432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b="0" kern="1200" cap="none" baseline="0">
                  <a:solidFill>
                    <a:schemeClr val="accent3"/>
                  </a:solidFill>
                  <a:latin typeface="+mn-lt"/>
                  <a:ea typeface="+mn-ea"/>
                  <a:cs typeface="+mn-cs"/>
                </a:defRPr>
              </a:lvl4pPr>
              <a:lvl5pPr marL="540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kern="1200" cap="none">
                  <a:solidFill>
                    <a:schemeClr val="accent3"/>
                  </a:solidFill>
                  <a:latin typeface="+mn-lt"/>
                  <a:ea typeface="+mn-ea"/>
                  <a:cs typeface="+mn-cs"/>
                </a:defRPr>
              </a:lvl5pPr>
              <a:lvl6pPr marL="1885874"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3"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defTabSz="914341">
                <a:spcAft>
                  <a:spcPts val="1600"/>
                </a:spcAft>
                <a:buClr>
                  <a:srgbClr val="7E93A5"/>
                </a:buClr>
                <a:buNone/>
              </a:pPr>
              <a:r>
                <a:rPr lang="pl-PL" sz="1867">
                  <a:solidFill>
                    <a:srgbClr val="FFFFFF"/>
                  </a:solidFill>
                  <a:latin typeface="Arial"/>
                </a:rPr>
                <a:t>03</a:t>
              </a:r>
            </a:p>
          </p:txBody>
        </p:sp>
      </p:grpSp>
      <p:grpSp>
        <p:nvGrpSpPr>
          <p:cNvPr id="22" name="Grupa 21">
            <a:extLst>
              <a:ext uri="{FF2B5EF4-FFF2-40B4-BE49-F238E27FC236}">
                <a16:creationId xmlns:a16="http://schemas.microsoft.com/office/drawing/2014/main" id="{05475915-4978-44BD-B6C3-380AE7FB24E8}"/>
              </a:ext>
            </a:extLst>
          </p:cNvPr>
          <p:cNvGrpSpPr/>
          <p:nvPr/>
        </p:nvGrpSpPr>
        <p:grpSpPr>
          <a:xfrm>
            <a:off x="4438775" y="3699396"/>
            <a:ext cx="623744" cy="614843"/>
            <a:chOff x="3564186" y="3695963"/>
            <a:chExt cx="467808" cy="461132"/>
          </a:xfrm>
        </p:grpSpPr>
        <p:sp>
          <p:nvSpPr>
            <p:cNvPr id="23" name="Oval 17">
              <a:extLst>
                <a:ext uri="{FF2B5EF4-FFF2-40B4-BE49-F238E27FC236}">
                  <a16:creationId xmlns:a16="http://schemas.microsoft.com/office/drawing/2014/main" id="{A5F23AF8-4476-4A5E-81ED-9B68718218EC}"/>
                </a:ext>
              </a:extLst>
            </p:cNvPr>
            <p:cNvSpPr/>
            <p:nvPr/>
          </p:nvSpPr>
          <p:spPr bwMode="auto">
            <a:xfrm>
              <a:off x="3564186" y="3695963"/>
              <a:ext cx="467808" cy="461132"/>
            </a:xfrm>
            <a:prstGeom prst="ellipse">
              <a:avLst/>
            </a:prstGeom>
            <a:solidFill>
              <a:srgbClr val="81BC00"/>
            </a:solidFill>
            <a:ln w="2857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algn="ctr" defTabSz="1219170" fontAlgn="base">
                <a:spcBef>
                  <a:spcPct val="0"/>
                </a:spcBef>
                <a:spcAft>
                  <a:spcPct val="0"/>
                </a:spcAft>
              </a:pPr>
              <a:endParaRPr lang="en-US" sz="7466" dirty="0">
                <a:solidFill>
                  <a:srgbClr val="000000"/>
                </a:solidFill>
                <a:latin typeface="Calibri"/>
                <a:ea typeface="ヒラギノ角ゴ ProN W3" charset="0"/>
                <a:cs typeface="Calibri"/>
                <a:sym typeface="Gill Sans" charset="0"/>
              </a:endParaRPr>
            </a:p>
          </p:txBody>
        </p:sp>
        <p:sp>
          <p:nvSpPr>
            <p:cNvPr id="24" name="Symbol zastępczy zawartości 2">
              <a:extLst>
                <a:ext uri="{FF2B5EF4-FFF2-40B4-BE49-F238E27FC236}">
                  <a16:creationId xmlns:a16="http://schemas.microsoft.com/office/drawing/2014/main" id="{9D015F45-3321-47F1-85C9-4208981E5BAB}"/>
                </a:ext>
              </a:extLst>
            </p:cNvPr>
            <p:cNvSpPr txBox="1">
              <a:spLocks/>
            </p:cNvSpPr>
            <p:nvPr/>
          </p:nvSpPr>
          <p:spPr bwMode="gray">
            <a:xfrm>
              <a:off x="3564186" y="3831939"/>
              <a:ext cx="467808" cy="273589"/>
            </a:xfrm>
            <a:prstGeom prst="rect">
              <a:avLst/>
            </a:prstGeom>
          </p:spPr>
          <p:txBody>
            <a:bodyPr vert="horz" lIns="0" tIns="0" rIns="0" bIns="0" rtlCol="0" anchor="t" anchorCtr="0">
              <a:noAutofit/>
            </a:bodyPr>
            <a:lstStyle>
              <a:lvl1pPr marL="252000" indent="-252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b="0" kern="1200" cap="none" baseline="0">
                  <a:solidFill>
                    <a:schemeClr val="accent3"/>
                  </a:solidFill>
                  <a:latin typeface="+mn-lt"/>
                  <a:ea typeface="+mn-ea"/>
                  <a:cs typeface="+mn-cs"/>
                </a:defRPr>
              </a:lvl1pPr>
              <a:lvl2pPr marL="234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2pPr>
              <a:lvl3pPr marL="342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3pPr>
              <a:lvl4pPr marL="432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b="0" kern="1200" cap="none" baseline="0">
                  <a:solidFill>
                    <a:schemeClr val="accent3"/>
                  </a:solidFill>
                  <a:latin typeface="+mn-lt"/>
                  <a:ea typeface="+mn-ea"/>
                  <a:cs typeface="+mn-cs"/>
                </a:defRPr>
              </a:lvl4pPr>
              <a:lvl5pPr marL="540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kern="1200" cap="none">
                  <a:solidFill>
                    <a:schemeClr val="accent3"/>
                  </a:solidFill>
                  <a:latin typeface="+mn-lt"/>
                  <a:ea typeface="+mn-ea"/>
                  <a:cs typeface="+mn-cs"/>
                </a:defRPr>
              </a:lvl5pPr>
              <a:lvl6pPr marL="1885874"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3"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defTabSz="914341">
                <a:spcAft>
                  <a:spcPts val="1600"/>
                </a:spcAft>
                <a:buClr>
                  <a:srgbClr val="7E93A5"/>
                </a:buClr>
                <a:buNone/>
              </a:pPr>
              <a:r>
                <a:rPr lang="pl-PL" sz="1867">
                  <a:solidFill>
                    <a:srgbClr val="FFFFFF"/>
                  </a:solidFill>
                  <a:latin typeface="Arial"/>
                </a:rPr>
                <a:t>05</a:t>
              </a:r>
            </a:p>
          </p:txBody>
        </p:sp>
      </p:grpSp>
      <p:sp>
        <p:nvSpPr>
          <p:cNvPr id="25" name="Symbol zastępczy zawartości 2">
            <a:extLst>
              <a:ext uri="{FF2B5EF4-FFF2-40B4-BE49-F238E27FC236}">
                <a16:creationId xmlns:a16="http://schemas.microsoft.com/office/drawing/2014/main" id="{96B5B9BF-E492-436C-B46F-B2908BBD672A}"/>
              </a:ext>
            </a:extLst>
          </p:cNvPr>
          <p:cNvSpPr txBox="1">
            <a:spLocks/>
          </p:cNvSpPr>
          <p:nvPr/>
        </p:nvSpPr>
        <p:spPr bwMode="gray">
          <a:xfrm>
            <a:off x="8411415" y="2427189"/>
            <a:ext cx="3384549" cy="594760"/>
          </a:xfrm>
          <a:prstGeom prst="rect">
            <a:avLst/>
          </a:prstGeom>
        </p:spPr>
        <p:txBody>
          <a:bodyPr vert="horz" lIns="0" tIns="0" rIns="0" bIns="0" rtlCol="0" anchor="t" anchorCtr="0">
            <a:noAutofit/>
          </a:bodyPr>
          <a:lstStyle>
            <a:lvl1pPr marL="252000" indent="-252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b="0" kern="1200" cap="none" baseline="0">
                <a:solidFill>
                  <a:schemeClr val="accent3"/>
                </a:solidFill>
                <a:latin typeface="+mn-lt"/>
                <a:ea typeface="+mn-ea"/>
                <a:cs typeface="+mn-cs"/>
              </a:defRPr>
            </a:lvl1pPr>
            <a:lvl2pPr marL="234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2pPr>
            <a:lvl3pPr marL="342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3pPr>
            <a:lvl4pPr marL="432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b="0" kern="1200" cap="none" baseline="0">
                <a:solidFill>
                  <a:schemeClr val="accent3"/>
                </a:solidFill>
                <a:latin typeface="+mn-lt"/>
                <a:ea typeface="+mn-ea"/>
                <a:cs typeface="+mn-cs"/>
              </a:defRPr>
            </a:lvl4pPr>
            <a:lvl5pPr marL="540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kern="1200" cap="none">
                <a:solidFill>
                  <a:schemeClr val="accent3"/>
                </a:solidFill>
                <a:latin typeface="+mn-lt"/>
                <a:ea typeface="+mn-ea"/>
                <a:cs typeface="+mn-cs"/>
              </a:defRPr>
            </a:lvl5pPr>
            <a:lvl6pPr marL="1885874"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3"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defTabSz="914341">
              <a:spcAft>
                <a:spcPts val="800"/>
              </a:spcAft>
              <a:buClr>
                <a:srgbClr val="7E93A5"/>
              </a:buClr>
              <a:buNone/>
            </a:pPr>
            <a:r>
              <a:rPr lang="da-DK" sz="1867" b="1" dirty="0">
                <a:solidFill>
                  <a:srgbClr val="81BC00"/>
                </a:solidFill>
                <a:latin typeface="Arial"/>
              </a:rPr>
              <a:t>CX Architect</a:t>
            </a:r>
          </a:p>
        </p:txBody>
      </p:sp>
      <p:sp>
        <p:nvSpPr>
          <p:cNvPr id="26" name="Symbol zastępczy zawartości 2">
            <a:extLst>
              <a:ext uri="{FF2B5EF4-FFF2-40B4-BE49-F238E27FC236}">
                <a16:creationId xmlns:a16="http://schemas.microsoft.com/office/drawing/2014/main" id="{EAE1FB9B-95B5-42CD-869D-0BAF44C468BE}"/>
              </a:ext>
            </a:extLst>
          </p:cNvPr>
          <p:cNvSpPr txBox="1">
            <a:spLocks/>
          </p:cNvSpPr>
          <p:nvPr/>
        </p:nvSpPr>
        <p:spPr bwMode="gray">
          <a:xfrm>
            <a:off x="7669503" y="4152695"/>
            <a:ext cx="3903079" cy="594760"/>
          </a:xfrm>
          <a:prstGeom prst="rect">
            <a:avLst/>
          </a:prstGeom>
        </p:spPr>
        <p:txBody>
          <a:bodyPr vert="horz" lIns="0" tIns="0" rIns="0" bIns="0" rtlCol="0" anchor="t" anchorCtr="0">
            <a:noAutofit/>
          </a:bodyPr>
          <a:lstStyle>
            <a:lvl1pPr marL="252000" indent="-252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b="0" kern="1200" cap="none" baseline="0">
                <a:solidFill>
                  <a:schemeClr val="accent3"/>
                </a:solidFill>
                <a:latin typeface="+mn-lt"/>
                <a:ea typeface="+mn-ea"/>
                <a:cs typeface="+mn-cs"/>
              </a:defRPr>
            </a:lvl1pPr>
            <a:lvl2pPr marL="234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2pPr>
            <a:lvl3pPr marL="342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3pPr>
            <a:lvl4pPr marL="432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b="0" kern="1200" cap="none" baseline="0">
                <a:solidFill>
                  <a:schemeClr val="accent3"/>
                </a:solidFill>
                <a:latin typeface="+mn-lt"/>
                <a:ea typeface="+mn-ea"/>
                <a:cs typeface="+mn-cs"/>
              </a:defRPr>
            </a:lvl4pPr>
            <a:lvl5pPr marL="540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kern="1200" cap="none">
                <a:solidFill>
                  <a:schemeClr val="accent3"/>
                </a:solidFill>
                <a:latin typeface="+mn-lt"/>
                <a:ea typeface="+mn-ea"/>
                <a:cs typeface="+mn-cs"/>
              </a:defRPr>
            </a:lvl5pPr>
            <a:lvl6pPr marL="1885874"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3"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defTabSz="914341">
              <a:spcAft>
                <a:spcPts val="800"/>
              </a:spcAft>
              <a:buClr>
                <a:srgbClr val="7E93A5"/>
              </a:buClr>
              <a:buNone/>
            </a:pPr>
            <a:r>
              <a:rPr lang="da-DK" sz="1867" b="1" dirty="0">
                <a:solidFill>
                  <a:srgbClr val="81BC00"/>
                </a:solidFill>
                <a:latin typeface="Arial"/>
              </a:rPr>
              <a:t>Ethical and Socially Conscious</a:t>
            </a:r>
          </a:p>
        </p:txBody>
      </p:sp>
      <p:sp>
        <p:nvSpPr>
          <p:cNvPr id="27" name="Symbol zastępczy zawartości 2">
            <a:extLst>
              <a:ext uri="{FF2B5EF4-FFF2-40B4-BE49-F238E27FC236}">
                <a16:creationId xmlns:a16="http://schemas.microsoft.com/office/drawing/2014/main" id="{CD4FE938-7B59-4C0F-83CD-02B8D7DF8ACA}"/>
              </a:ext>
            </a:extLst>
          </p:cNvPr>
          <p:cNvSpPr txBox="1">
            <a:spLocks/>
          </p:cNvSpPr>
          <p:nvPr/>
        </p:nvSpPr>
        <p:spPr bwMode="gray">
          <a:xfrm>
            <a:off x="7948311" y="893540"/>
            <a:ext cx="3384549" cy="594760"/>
          </a:xfrm>
          <a:prstGeom prst="rect">
            <a:avLst/>
          </a:prstGeom>
        </p:spPr>
        <p:txBody>
          <a:bodyPr vert="horz" lIns="0" tIns="0" rIns="0" bIns="0" rtlCol="0" anchor="t" anchorCtr="0">
            <a:noAutofit/>
          </a:bodyPr>
          <a:lstStyle>
            <a:lvl1pPr marL="252000" indent="-252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b="0" kern="1200" cap="none" baseline="0">
                <a:solidFill>
                  <a:schemeClr val="accent3"/>
                </a:solidFill>
                <a:latin typeface="+mn-lt"/>
                <a:ea typeface="+mn-ea"/>
                <a:cs typeface="+mn-cs"/>
              </a:defRPr>
            </a:lvl1pPr>
            <a:lvl2pPr marL="234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2pPr>
            <a:lvl3pPr marL="342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3pPr>
            <a:lvl4pPr marL="432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b="0" kern="1200" cap="none" baseline="0">
                <a:solidFill>
                  <a:schemeClr val="accent3"/>
                </a:solidFill>
                <a:latin typeface="+mn-lt"/>
                <a:ea typeface="+mn-ea"/>
                <a:cs typeface="+mn-cs"/>
              </a:defRPr>
            </a:lvl4pPr>
            <a:lvl5pPr marL="540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kern="1200" cap="none">
                <a:solidFill>
                  <a:schemeClr val="accent3"/>
                </a:solidFill>
                <a:latin typeface="+mn-lt"/>
                <a:ea typeface="+mn-ea"/>
                <a:cs typeface="+mn-cs"/>
              </a:defRPr>
            </a:lvl5pPr>
            <a:lvl6pPr marL="1885874"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3"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defTabSz="914341">
              <a:spcAft>
                <a:spcPts val="800"/>
              </a:spcAft>
              <a:buClr>
                <a:srgbClr val="7E93A5"/>
              </a:buClr>
              <a:buNone/>
            </a:pPr>
            <a:r>
              <a:rPr lang="da-DK" sz="1867" b="1" dirty="0">
                <a:solidFill>
                  <a:srgbClr val="81BC00"/>
                </a:solidFill>
                <a:latin typeface="Arial"/>
              </a:rPr>
              <a:t>Digital and Tech Skills</a:t>
            </a:r>
          </a:p>
        </p:txBody>
      </p:sp>
      <p:sp>
        <p:nvSpPr>
          <p:cNvPr id="28" name="Symbol zastępczy zawartości 2">
            <a:extLst>
              <a:ext uri="{FF2B5EF4-FFF2-40B4-BE49-F238E27FC236}">
                <a16:creationId xmlns:a16="http://schemas.microsoft.com/office/drawing/2014/main" id="{6778B99A-1B7F-4A60-9F6C-4266E1B8ACFA}"/>
              </a:ext>
            </a:extLst>
          </p:cNvPr>
          <p:cNvSpPr txBox="1">
            <a:spLocks/>
          </p:cNvSpPr>
          <p:nvPr/>
        </p:nvSpPr>
        <p:spPr bwMode="gray">
          <a:xfrm>
            <a:off x="866235" y="4200036"/>
            <a:ext cx="3384549" cy="594760"/>
          </a:xfrm>
          <a:prstGeom prst="rect">
            <a:avLst/>
          </a:prstGeom>
        </p:spPr>
        <p:txBody>
          <a:bodyPr vert="horz" lIns="0" tIns="0" rIns="0" bIns="0" rtlCol="0" anchor="t" anchorCtr="0">
            <a:noAutofit/>
          </a:bodyPr>
          <a:lstStyle>
            <a:lvl1pPr marL="252000" indent="-252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b="0" kern="1200" cap="none" baseline="0">
                <a:solidFill>
                  <a:schemeClr val="accent3"/>
                </a:solidFill>
                <a:latin typeface="+mn-lt"/>
                <a:ea typeface="+mn-ea"/>
                <a:cs typeface="+mn-cs"/>
              </a:defRPr>
            </a:lvl1pPr>
            <a:lvl2pPr marL="234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2pPr>
            <a:lvl3pPr marL="342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3pPr>
            <a:lvl4pPr marL="432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b="0" kern="1200" cap="none" baseline="0">
                <a:solidFill>
                  <a:schemeClr val="accent3"/>
                </a:solidFill>
                <a:latin typeface="+mn-lt"/>
                <a:ea typeface="+mn-ea"/>
                <a:cs typeface="+mn-cs"/>
              </a:defRPr>
            </a:lvl4pPr>
            <a:lvl5pPr marL="540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kern="1200" cap="none">
                <a:solidFill>
                  <a:schemeClr val="accent3"/>
                </a:solidFill>
                <a:latin typeface="+mn-lt"/>
                <a:ea typeface="+mn-ea"/>
                <a:cs typeface="+mn-cs"/>
              </a:defRPr>
            </a:lvl5pPr>
            <a:lvl6pPr marL="1885874"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3"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r" defTabSz="914341">
              <a:spcAft>
                <a:spcPts val="800"/>
              </a:spcAft>
              <a:buClr>
                <a:srgbClr val="7E93A5"/>
              </a:buClr>
              <a:buNone/>
            </a:pPr>
            <a:r>
              <a:rPr lang="da-DK" sz="1867" b="1" dirty="0">
                <a:solidFill>
                  <a:srgbClr val="81BC00"/>
                </a:solidFill>
                <a:latin typeface="Arial"/>
              </a:rPr>
              <a:t>Self-Reliant but AI-Assisted</a:t>
            </a:r>
          </a:p>
        </p:txBody>
      </p:sp>
      <p:sp>
        <p:nvSpPr>
          <p:cNvPr id="29" name="Symbol zastępczy zawartości 2">
            <a:extLst>
              <a:ext uri="{FF2B5EF4-FFF2-40B4-BE49-F238E27FC236}">
                <a16:creationId xmlns:a16="http://schemas.microsoft.com/office/drawing/2014/main" id="{05F222DE-32BD-4BF9-877C-D801DB4685BC}"/>
              </a:ext>
            </a:extLst>
          </p:cNvPr>
          <p:cNvSpPr txBox="1">
            <a:spLocks/>
          </p:cNvSpPr>
          <p:nvPr/>
        </p:nvSpPr>
        <p:spPr bwMode="gray">
          <a:xfrm>
            <a:off x="483103" y="2479166"/>
            <a:ext cx="2874647" cy="948636"/>
          </a:xfrm>
          <a:prstGeom prst="rect">
            <a:avLst/>
          </a:prstGeom>
        </p:spPr>
        <p:txBody>
          <a:bodyPr vert="horz" lIns="0" tIns="0" rIns="0" bIns="0" rtlCol="0" anchor="t" anchorCtr="0">
            <a:noAutofit/>
          </a:bodyPr>
          <a:lstStyle>
            <a:lvl1pPr marL="252000" indent="-252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b="0" kern="1200" cap="none" baseline="0">
                <a:solidFill>
                  <a:schemeClr val="accent3"/>
                </a:solidFill>
                <a:latin typeface="+mn-lt"/>
                <a:ea typeface="+mn-ea"/>
                <a:cs typeface="+mn-cs"/>
              </a:defRPr>
            </a:lvl1pPr>
            <a:lvl2pPr marL="234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2pPr>
            <a:lvl3pPr marL="342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3pPr>
            <a:lvl4pPr marL="432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b="0" kern="1200" cap="none" baseline="0">
                <a:solidFill>
                  <a:schemeClr val="accent3"/>
                </a:solidFill>
                <a:latin typeface="+mn-lt"/>
                <a:ea typeface="+mn-ea"/>
                <a:cs typeface="+mn-cs"/>
              </a:defRPr>
            </a:lvl4pPr>
            <a:lvl5pPr marL="540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kern="1200" cap="none">
                <a:solidFill>
                  <a:schemeClr val="accent3"/>
                </a:solidFill>
                <a:latin typeface="+mn-lt"/>
                <a:ea typeface="+mn-ea"/>
                <a:cs typeface="+mn-cs"/>
              </a:defRPr>
            </a:lvl5pPr>
            <a:lvl6pPr marL="1885874"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3"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r" defTabSz="914341">
              <a:spcAft>
                <a:spcPts val="800"/>
              </a:spcAft>
              <a:buClr>
                <a:srgbClr val="7E93A5"/>
              </a:buClr>
              <a:buNone/>
            </a:pPr>
            <a:r>
              <a:rPr lang="da-DK" sz="1867" b="1" dirty="0">
                <a:solidFill>
                  <a:srgbClr val="81BC00"/>
                </a:solidFill>
                <a:latin typeface="Arial"/>
              </a:rPr>
              <a:t>Relational and Empathetic Advisor</a:t>
            </a:r>
          </a:p>
        </p:txBody>
      </p:sp>
      <p:cxnSp>
        <p:nvCxnSpPr>
          <p:cNvPr id="30" name="Łącznik prosty 29">
            <a:extLst>
              <a:ext uri="{FF2B5EF4-FFF2-40B4-BE49-F238E27FC236}">
                <a16:creationId xmlns:a16="http://schemas.microsoft.com/office/drawing/2014/main" id="{263C7588-4DF3-48B2-9D9B-EA8D483E19BD}"/>
              </a:ext>
            </a:extLst>
          </p:cNvPr>
          <p:cNvCxnSpPr/>
          <p:nvPr/>
        </p:nvCxnSpPr>
        <p:spPr>
          <a:xfrm flipV="1">
            <a:off x="6502535" y="1807643"/>
            <a:ext cx="352352" cy="279216"/>
          </a:xfrm>
          <a:prstGeom prst="line">
            <a:avLst/>
          </a:prstGeom>
          <a:ln>
            <a:solidFill>
              <a:srgbClr val="009597"/>
            </a:solidFill>
            <a:headEnd type="oval"/>
          </a:ln>
        </p:spPr>
        <p:style>
          <a:lnRef idx="1">
            <a:schemeClr val="accent1"/>
          </a:lnRef>
          <a:fillRef idx="0">
            <a:schemeClr val="accent1"/>
          </a:fillRef>
          <a:effectRef idx="0">
            <a:schemeClr val="accent1"/>
          </a:effectRef>
          <a:fontRef idx="minor">
            <a:schemeClr val="tx1"/>
          </a:fontRef>
        </p:style>
      </p:cxnSp>
      <p:cxnSp>
        <p:nvCxnSpPr>
          <p:cNvPr id="31" name="Łącznik prosty 30">
            <a:extLst>
              <a:ext uri="{FF2B5EF4-FFF2-40B4-BE49-F238E27FC236}">
                <a16:creationId xmlns:a16="http://schemas.microsoft.com/office/drawing/2014/main" id="{1A3A867C-604D-40AD-ACCA-0C6C81C625D9}"/>
              </a:ext>
            </a:extLst>
          </p:cNvPr>
          <p:cNvCxnSpPr>
            <a:cxnSpLocks/>
          </p:cNvCxnSpPr>
          <p:nvPr/>
        </p:nvCxnSpPr>
        <p:spPr>
          <a:xfrm>
            <a:off x="6930731" y="2806867"/>
            <a:ext cx="472056" cy="0"/>
          </a:xfrm>
          <a:prstGeom prst="line">
            <a:avLst/>
          </a:prstGeom>
          <a:ln>
            <a:solidFill>
              <a:srgbClr val="009597"/>
            </a:solidFill>
            <a:headEnd type="oval"/>
          </a:ln>
        </p:spPr>
        <p:style>
          <a:lnRef idx="1">
            <a:schemeClr val="accent1"/>
          </a:lnRef>
          <a:fillRef idx="0">
            <a:schemeClr val="accent1"/>
          </a:fillRef>
          <a:effectRef idx="0">
            <a:schemeClr val="accent1"/>
          </a:effectRef>
          <a:fontRef idx="minor">
            <a:schemeClr val="tx1"/>
          </a:fontRef>
        </p:style>
      </p:cxnSp>
      <p:cxnSp>
        <p:nvCxnSpPr>
          <p:cNvPr id="32" name="Łącznik prosty 31">
            <a:extLst>
              <a:ext uri="{FF2B5EF4-FFF2-40B4-BE49-F238E27FC236}">
                <a16:creationId xmlns:a16="http://schemas.microsoft.com/office/drawing/2014/main" id="{D69DF436-66FF-4C5C-9E5F-D787287E6755}"/>
              </a:ext>
            </a:extLst>
          </p:cNvPr>
          <p:cNvCxnSpPr>
            <a:cxnSpLocks/>
          </p:cNvCxnSpPr>
          <p:nvPr/>
        </p:nvCxnSpPr>
        <p:spPr>
          <a:xfrm>
            <a:off x="6541413" y="3497798"/>
            <a:ext cx="352352" cy="285021"/>
          </a:xfrm>
          <a:prstGeom prst="line">
            <a:avLst/>
          </a:prstGeom>
          <a:ln>
            <a:solidFill>
              <a:srgbClr val="009597"/>
            </a:solidFill>
            <a:headEnd type="oval"/>
          </a:ln>
        </p:spPr>
        <p:style>
          <a:lnRef idx="1">
            <a:schemeClr val="accent1"/>
          </a:lnRef>
          <a:fillRef idx="0">
            <a:schemeClr val="accent1"/>
          </a:fillRef>
          <a:effectRef idx="0">
            <a:schemeClr val="accent1"/>
          </a:effectRef>
          <a:fontRef idx="minor">
            <a:schemeClr val="tx1"/>
          </a:fontRef>
        </p:style>
      </p:cxnSp>
      <p:cxnSp>
        <p:nvCxnSpPr>
          <p:cNvPr id="33" name="Łącznik prosty 32">
            <a:extLst>
              <a:ext uri="{FF2B5EF4-FFF2-40B4-BE49-F238E27FC236}">
                <a16:creationId xmlns:a16="http://schemas.microsoft.com/office/drawing/2014/main" id="{9C8F8503-FAA9-4727-8BB4-042BD9A55F98}"/>
              </a:ext>
            </a:extLst>
          </p:cNvPr>
          <p:cNvCxnSpPr>
            <a:cxnSpLocks/>
          </p:cNvCxnSpPr>
          <p:nvPr/>
        </p:nvCxnSpPr>
        <p:spPr>
          <a:xfrm flipH="1" flipV="1">
            <a:off x="4969604" y="1807643"/>
            <a:ext cx="374984" cy="314512"/>
          </a:xfrm>
          <a:prstGeom prst="line">
            <a:avLst/>
          </a:prstGeom>
          <a:ln>
            <a:solidFill>
              <a:srgbClr val="009597"/>
            </a:solidFill>
            <a:headEnd type="oval"/>
          </a:ln>
        </p:spPr>
        <p:style>
          <a:lnRef idx="1">
            <a:schemeClr val="accent1"/>
          </a:lnRef>
          <a:fillRef idx="0">
            <a:schemeClr val="accent1"/>
          </a:fillRef>
          <a:effectRef idx="0">
            <a:schemeClr val="accent1"/>
          </a:effectRef>
          <a:fontRef idx="minor">
            <a:schemeClr val="tx1"/>
          </a:fontRef>
        </p:style>
      </p:cxnSp>
      <p:cxnSp>
        <p:nvCxnSpPr>
          <p:cNvPr id="34" name="Łącznik prosty 33">
            <a:extLst>
              <a:ext uri="{FF2B5EF4-FFF2-40B4-BE49-F238E27FC236}">
                <a16:creationId xmlns:a16="http://schemas.microsoft.com/office/drawing/2014/main" id="{70F358F2-4CC9-45D8-A7A9-49D581634478}"/>
              </a:ext>
            </a:extLst>
          </p:cNvPr>
          <p:cNvCxnSpPr>
            <a:cxnSpLocks/>
          </p:cNvCxnSpPr>
          <p:nvPr/>
        </p:nvCxnSpPr>
        <p:spPr>
          <a:xfrm flipH="1">
            <a:off x="4963967" y="3427804"/>
            <a:ext cx="315091" cy="247801"/>
          </a:xfrm>
          <a:prstGeom prst="line">
            <a:avLst/>
          </a:prstGeom>
          <a:ln>
            <a:solidFill>
              <a:srgbClr val="009597"/>
            </a:solidFill>
            <a:headEnd type="oval"/>
          </a:ln>
        </p:spPr>
        <p:style>
          <a:lnRef idx="1">
            <a:schemeClr val="accent1"/>
          </a:lnRef>
          <a:fillRef idx="0">
            <a:schemeClr val="accent1"/>
          </a:fillRef>
          <a:effectRef idx="0">
            <a:schemeClr val="accent1"/>
          </a:effectRef>
          <a:fontRef idx="minor">
            <a:schemeClr val="tx1"/>
          </a:fontRef>
        </p:style>
      </p:cxnSp>
      <p:cxnSp>
        <p:nvCxnSpPr>
          <p:cNvPr id="35" name="Łącznik prosty 34">
            <a:extLst>
              <a:ext uri="{FF2B5EF4-FFF2-40B4-BE49-F238E27FC236}">
                <a16:creationId xmlns:a16="http://schemas.microsoft.com/office/drawing/2014/main" id="{4B6686A9-16EF-4054-ABBB-286675818289}"/>
              </a:ext>
            </a:extLst>
          </p:cNvPr>
          <p:cNvCxnSpPr>
            <a:cxnSpLocks/>
          </p:cNvCxnSpPr>
          <p:nvPr/>
        </p:nvCxnSpPr>
        <p:spPr>
          <a:xfrm flipH="1" flipV="1">
            <a:off x="4369023" y="2806866"/>
            <a:ext cx="600581" cy="2199"/>
          </a:xfrm>
          <a:prstGeom prst="line">
            <a:avLst/>
          </a:prstGeom>
          <a:ln>
            <a:solidFill>
              <a:srgbClr val="009597"/>
            </a:solidFill>
            <a:headEnd type="oval"/>
          </a:ln>
        </p:spPr>
        <p:style>
          <a:lnRef idx="1">
            <a:schemeClr val="accent1"/>
          </a:lnRef>
          <a:fillRef idx="0">
            <a:schemeClr val="accent1"/>
          </a:fillRef>
          <a:effectRef idx="0">
            <a:schemeClr val="accent1"/>
          </a:effectRef>
          <a:fontRef idx="minor">
            <a:schemeClr val="tx1"/>
          </a:fontRef>
        </p:style>
      </p:cxnSp>
      <p:sp>
        <p:nvSpPr>
          <p:cNvPr id="39" name="Owal 38">
            <a:extLst>
              <a:ext uri="{FF2B5EF4-FFF2-40B4-BE49-F238E27FC236}">
                <a16:creationId xmlns:a16="http://schemas.microsoft.com/office/drawing/2014/main" id="{B174DC49-30C6-4A37-9255-B4E11E96A789}"/>
              </a:ext>
            </a:extLst>
          </p:cNvPr>
          <p:cNvSpPr/>
          <p:nvPr/>
        </p:nvSpPr>
        <p:spPr>
          <a:xfrm>
            <a:off x="5210003" y="2086859"/>
            <a:ext cx="1460741" cy="1460741"/>
          </a:xfrm>
          <a:prstGeom prst="ellipse">
            <a:avLst/>
          </a:prstGeom>
          <a:blipFill>
            <a:blip r:embed="rId2"/>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7539"/>
            <a:endParaRPr lang="pl-PL">
              <a:solidFill>
                <a:srgbClr val="FFFFFF"/>
              </a:solidFill>
              <a:latin typeface="Arial"/>
            </a:endParaRPr>
          </a:p>
        </p:txBody>
      </p:sp>
      <p:grpSp>
        <p:nvGrpSpPr>
          <p:cNvPr id="40" name="Grupa 39">
            <a:extLst>
              <a:ext uri="{FF2B5EF4-FFF2-40B4-BE49-F238E27FC236}">
                <a16:creationId xmlns:a16="http://schemas.microsoft.com/office/drawing/2014/main" id="{126CE282-44B3-4085-9920-07F1B060E033}"/>
              </a:ext>
            </a:extLst>
          </p:cNvPr>
          <p:cNvGrpSpPr/>
          <p:nvPr/>
        </p:nvGrpSpPr>
        <p:grpSpPr>
          <a:xfrm>
            <a:off x="5615995" y="4200036"/>
            <a:ext cx="623744" cy="614843"/>
            <a:chOff x="5376270" y="3695963"/>
            <a:chExt cx="467808" cy="461132"/>
          </a:xfrm>
        </p:grpSpPr>
        <p:sp>
          <p:nvSpPr>
            <p:cNvPr id="41" name="Oval 17">
              <a:extLst>
                <a:ext uri="{FF2B5EF4-FFF2-40B4-BE49-F238E27FC236}">
                  <a16:creationId xmlns:a16="http://schemas.microsoft.com/office/drawing/2014/main" id="{0D269DBA-E034-48E4-8159-001614A57928}"/>
                </a:ext>
              </a:extLst>
            </p:cNvPr>
            <p:cNvSpPr/>
            <p:nvPr/>
          </p:nvSpPr>
          <p:spPr bwMode="auto">
            <a:xfrm>
              <a:off x="5376270" y="3695963"/>
              <a:ext cx="467808" cy="461132"/>
            </a:xfrm>
            <a:prstGeom prst="ellipse">
              <a:avLst/>
            </a:prstGeom>
            <a:solidFill>
              <a:srgbClr val="81BC00"/>
            </a:solidFill>
            <a:ln w="2857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algn="ctr" defTabSz="1219170" fontAlgn="base">
                <a:spcBef>
                  <a:spcPct val="0"/>
                </a:spcBef>
                <a:spcAft>
                  <a:spcPct val="0"/>
                </a:spcAft>
              </a:pPr>
              <a:endParaRPr lang="en-US" sz="7466" dirty="0">
                <a:solidFill>
                  <a:srgbClr val="000000"/>
                </a:solidFill>
                <a:latin typeface="Calibri"/>
                <a:ea typeface="ヒラギノ角ゴ ProN W3" charset="0"/>
                <a:cs typeface="Calibri"/>
                <a:sym typeface="Gill Sans" charset="0"/>
              </a:endParaRPr>
            </a:p>
          </p:txBody>
        </p:sp>
        <p:sp>
          <p:nvSpPr>
            <p:cNvPr id="42" name="Symbol zastępczy zawartości 2">
              <a:extLst>
                <a:ext uri="{FF2B5EF4-FFF2-40B4-BE49-F238E27FC236}">
                  <a16:creationId xmlns:a16="http://schemas.microsoft.com/office/drawing/2014/main" id="{C358F14E-2318-4B6A-9AE6-6924093B4669}"/>
                </a:ext>
              </a:extLst>
            </p:cNvPr>
            <p:cNvSpPr txBox="1">
              <a:spLocks/>
            </p:cNvSpPr>
            <p:nvPr/>
          </p:nvSpPr>
          <p:spPr bwMode="gray">
            <a:xfrm>
              <a:off x="5376270" y="3831939"/>
              <a:ext cx="467808" cy="273589"/>
            </a:xfrm>
            <a:prstGeom prst="rect">
              <a:avLst/>
            </a:prstGeom>
          </p:spPr>
          <p:txBody>
            <a:bodyPr vert="horz" lIns="0" tIns="0" rIns="0" bIns="0" rtlCol="0" anchor="t" anchorCtr="0">
              <a:noAutofit/>
            </a:bodyPr>
            <a:lstStyle>
              <a:lvl1pPr marL="252000" indent="-252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b="0" kern="1200" cap="none" baseline="0">
                  <a:solidFill>
                    <a:schemeClr val="accent3"/>
                  </a:solidFill>
                  <a:latin typeface="+mn-lt"/>
                  <a:ea typeface="+mn-ea"/>
                  <a:cs typeface="+mn-cs"/>
                </a:defRPr>
              </a:lvl1pPr>
              <a:lvl2pPr marL="234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2pPr>
              <a:lvl3pPr marL="342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3pPr>
              <a:lvl4pPr marL="432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b="0" kern="1200" cap="none" baseline="0">
                  <a:solidFill>
                    <a:schemeClr val="accent3"/>
                  </a:solidFill>
                  <a:latin typeface="+mn-lt"/>
                  <a:ea typeface="+mn-ea"/>
                  <a:cs typeface="+mn-cs"/>
                </a:defRPr>
              </a:lvl4pPr>
              <a:lvl5pPr marL="540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kern="1200" cap="none">
                  <a:solidFill>
                    <a:schemeClr val="accent3"/>
                  </a:solidFill>
                  <a:latin typeface="+mn-lt"/>
                  <a:ea typeface="+mn-ea"/>
                  <a:cs typeface="+mn-cs"/>
                </a:defRPr>
              </a:lvl5pPr>
              <a:lvl6pPr marL="1885874"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3"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defTabSz="914341">
                <a:spcAft>
                  <a:spcPts val="1600"/>
                </a:spcAft>
                <a:buClr>
                  <a:srgbClr val="7E93A5"/>
                </a:buClr>
                <a:buNone/>
              </a:pPr>
              <a:r>
                <a:rPr lang="pl-PL" sz="1867" dirty="0">
                  <a:solidFill>
                    <a:srgbClr val="FFFFFF"/>
                  </a:solidFill>
                  <a:latin typeface="Arial"/>
                </a:rPr>
                <a:t>07</a:t>
              </a:r>
            </a:p>
          </p:txBody>
        </p:sp>
      </p:grpSp>
      <p:sp>
        <p:nvSpPr>
          <p:cNvPr id="43" name="Symbol zastępczy zawartości 2">
            <a:extLst>
              <a:ext uri="{FF2B5EF4-FFF2-40B4-BE49-F238E27FC236}">
                <a16:creationId xmlns:a16="http://schemas.microsoft.com/office/drawing/2014/main" id="{FC2ABEE7-7E7E-4C68-8096-B41C39BD11A6}"/>
              </a:ext>
            </a:extLst>
          </p:cNvPr>
          <p:cNvSpPr txBox="1">
            <a:spLocks/>
          </p:cNvSpPr>
          <p:nvPr/>
        </p:nvSpPr>
        <p:spPr bwMode="gray">
          <a:xfrm>
            <a:off x="5013192" y="4943973"/>
            <a:ext cx="3384549" cy="594760"/>
          </a:xfrm>
          <a:prstGeom prst="rect">
            <a:avLst/>
          </a:prstGeom>
        </p:spPr>
        <p:txBody>
          <a:bodyPr vert="horz" lIns="0" tIns="0" rIns="0" bIns="0" rtlCol="0" anchor="t" anchorCtr="0">
            <a:noAutofit/>
          </a:bodyPr>
          <a:lstStyle>
            <a:lvl1pPr marL="252000" indent="-252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b="0" kern="1200" cap="none" baseline="0">
                <a:solidFill>
                  <a:schemeClr val="accent3"/>
                </a:solidFill>
                <a:latin typeface="+mn-lt"/>
                <a:ea typeface="+mn-ea"/>
                <a:cs typeface="+mn-cs"/>
              </a:defRPr>
            </a:lvl1pPr>
            <a:lvl2pPr marL="234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2pPr>
            <a:lvl3pPr marL="342000" indent="-126000" algn="l" defTabSz="685773" rtl="0" eaLnBrk="1" latinLnBrk="0" hangingPunct="1">
              <a:lnSpc>
                <a:spcPct val="95000"/>
              </a:lnSpc>
              <a:spcBef>
                <a:spcPts val="0"/>
              </a:spcBef>
              <a:spcAft>
                <a:spcPts val="1200"/>
              </a:spcAft>
              <a:buClr>
                <a:schemeClr val="accent3"/>
              </a:buClr>
              <a:buSzPct val="100000"/>
              <a:buFont typeface="Wingdings" pitchFamily="2" charset="2"/>
              <a:buChar char="§"/>
              <a:defRPr sz="1400" kern="1200" cap="none">
                <a:solidFill>
                  <a:schemeClr val="accent3"/>
                </a:solidFill>
                <a:latin typeface="+mn-lt"/>
                <a:ea typeface="+mn-ea"/>
                <a:cs typeface="+mn-cs"/>
              </a:defRPr>
            </a:lvl3pPr>
            <a:lvl4pPr marL="432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b="0" kern="1200" cap="none" baseline="0">
                <a:solidFill>
                  <a:schemeClr val="accent3"/>
                </a:solidFill>
                <a:latin typeface="+mn-lt"/>
                <a:ea typeface="+mn-ea"/>
                <a:cs typeface="+mn-cs"/>
              </a:defRPr>
            </a:lvl4pPr>
            <a:lvl5pPr marL="540000" indent="-126000" algn="l" defTabSz="685773" rtl="0" eaLnBrk="1" latinLnBrk="0" hangingPunct="1">
              <a:lnSpc>
                <a:spcPct val="95000"/>
              </a:lnSpc>
              <a:spcBef>
                <a:spcPts val="0"/>
              </a:spcBef>
              <a:spcAft>
                <a:spcPts val="1200"/>
              </a:spcAft>
              <a:buClr>
                <a:schemeClr val="accent3"/>
              </a:buClr>
              <a:buSzPct val="90000"/>
              <a:buFont typeface="Wingdings" pitchFamily="2" charset="2"/>
              <a:buChar char="§"/>
              <a:defRPr sz="1400" kern="1200" cap="none">
                <a:solidFill>
                  <a:schemeClr val="accent3"/>
                </a:solidFill>
                <a:latin typeface="+mn-lt"/>
                <a:ea typeface="+mn-ea"/>
                <a:cs typeface="+mn-cs"/>
              </a:defRPr>
            </a:lvl5pPr>
            <a:lvl6pPr marL="1885874"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3" indent="-171443" algn="l" defTabSz="68577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defTabSz="914341">
              <a:spcAft>
                <a:spcPts val="800"/>
              </a:spcAft>
              <a:buClr>
                <a:srgbClr val="7E93A5"/>
              </a:buClr>
              <a:buNone/>
            </a:pPr>
            <a:r>
              <a:rPr lang="da-DK" sz="1867" b="1" dirty="0">
                <a:solidFill>
                  <a:srgbClr val="81BC00"/>
                </a:solidFill>
                <a:latin typeface="Arial"/>
              </a:rPr>
              <a:t>Lifelong Learner</a:t>
            </a:r>
          </a:p>
        </p:txBody>
      </p:sp>
      <p:cxnSp>
        <p:nvCxnSpPr>
          <p:cNvPr id="44" name="Łącznik prosty 43">
            <a:extLst>
              <a:ext uri="{FF2B5EF4-FFF2-40B4-BE49-F238E27FC236}">
                <a16:creationId xmlns:a16="http://schemas.microsoft.com/office/drawing/2014/main" id="{D4A3E6D5-0D1D-46B6-83FD-0E15B261B60B}"/>
              </a:ext>
            </a:extLst>
          </p:cNvPr>
          <p:cNvCxnSpPr>
            <a:cxnSpLocks/>
          </p:cNvCxnSpPr>
          <p:nvPr/>
        </p:nvCxnSpPr>
        <p:spPr>
          <a:xfrm flipH="1">
            <a:off x="5956548" y="3699397"/>
            <a:ext cx="20115" cy="431884"/>
          </a:xfrm>
          <a:prstGeom prst="line">
            <a:avLst/>
          </a:prstGeom>
          <a:ln>
            <a:solidFill>
              <a:srgbClr val="009597"/>
            </a:solidFill>
            <a:headEnd type="oval"/>
          </a:ln>
        </p:spPr>
        <p:style>
          <a:lnRef idx="1">
            <a:schemeClr val="accent1"/>
          </a:lnRef>
          <a:fillRef idx="0">
            <a:schemeClr val="accent1"/>
          </a:fillRef>
          <a:effectRef idx="0">
            <a:schemeClr val="accent1"/>
          </a:effectRef>
          <a:fontRef idx="minor">
            <a:schemeClr val="tx1"/>
          </a:fontRef>
        </p:style>
      </p:cxnSp>
      <p:sp>
        <p:nvSpPr>
          <p:cNvPr id="48" name="pole tekstowe 47">
            <a:extLst>
              <a:ext uri="{FF2B5EF4-FFF2-40B4-BE49-F238E27FC236}">
                <a16:creationId xmlns:a16="http://schemas.microsoft.com/office/drawing/2014/main" id="{6E85890F-F0EE-4BDD-9AE0-BAC4B80F6388}"/>
              </a:ext>
            </a:extLst>
          </p:cNvPr>
          <p:cNvSpPr txBox="1"/>
          <p:nvPr/>
        </p:nvSpPr>
        <p:spPr>
          <a:xfrm>
            <a:off x="250873" y="1212013"/>
            <a:ext cx="4403003" cy="1200329"/>
          </a:xfrm>
          <a:prstGeom prst="rect">
            <a:avLst/>
          </a:prstGeom>
          <a:noFill/>
        </p:spPr>
        <p:txBody>
          <a:bodyPr wrap="square">
            <a:spAutoFit/>
          </a:bodyPr>
          <a:lstStyle/>
          <a:p>
            <a:pPr marL="228594" indent="-228594" defTabSz="467539">
              <a:buFont typeface="Arial" panose="020B0604020202020204" pitchFamily="34" charset="0"/>
              <a:buChar char="•"/>
            </a:pPr>
            <a:r>
              <a:rPr lang="en-US" sz="1200" dirty="0">
                <a:solidFill>
                  <a:srgbClr val="000000"/>
                </a:solidFill>
                <a:latin typeface="Arial"/>
              </a:rPr>
              <a:t>Know banking, investment, insurance &amp; retirement products</a:t>
            </a:r>
          </a:p>
          <a:p>
            <a:pPr marL="228594" indent="-228594" defTabSz="467539">
              <a:buFont typeface="Arial" panose="020B0604020202020204" pitchFamily="34" charset="0"/>
              <a:buChar char="•"/>
            </a:pPr>
            <a:r>
              <a:rPr lang="en-US" sz="1200" dirty="0">
                <a:solidFill>
                  <a:srgbClr val="000000"/>
                </a:solidFill>
                <a:latin typeface="Arial"/>
              </a:rPr>
              <a:t>Tailoring solutions to clients’ life moments</a:t>
            </a:r>
          </a:p>
          <a:p>
            <a:pPr marL="228594" indent="-228594" defTabSz="467539">
              <a:buFont typeface="Arial" panose="020B0604020202020204" pitchFamily="34" charset="0"/>
              <a:buChar char="•"/>
            </a:pPr>
            <a:r>
              <a:rPr lang="en-US" sz="1200" dirty="0">
                <a:solidFill>
                  <a:srgbClr val="000000"/>
                </a:solidFill>
                <a:latin typeface="Arial"/>
              </a:rPr>
              <a:t>Conducting financial planning based on data</a:t>
            </a:r>
          </a:p>
          <a:p>
            <a:pPr marL="228594" indent="-228594" defTabSz="467539">
              <a:buFont typeface="Arial" panose="020B0604020202020204" pitchFamily="34" charset="0"/>
              <a:buChar char="•"/>
            </a:pPr>
            <a:r>
              <a:rPr lang="en-US" sz="1200" dirty="0">
                <a:solidFill>
                  <a:srgbClr val="000000"/>
                </a:solidFill>
                <a:latin typeface="Arial"/>
              </a:rPr>
              <a:t>Keeping up with trends: ESG, digital assets, gig/shared economy</a:t>
            </a:r>
          </a:p>
        </p:txBody>
      </p:sp>
      <p:sp>
        <p:nvSpPr>
          <p:cNvPr id="50" name="pole tekstowe 49">
            <a:extLst>
              <a:ext uri="{FF2B5EF4-FFF2-40B4-BE49-F238E27FC236}">
                <a16:creationId xmlns:a16="http://schemas.microsoft.com/office/drawing/2014/main" id="{8AE94FA8-3CA6-49D5-AABF-3F8B0D863EEF}"/>
              </a:ext>
            </a:extLst>
          </p:cNvPr>
          <p:cNvSpPr txBox="1"/>
          <p:nvPr/>
        </p:nvSpPr>
        <p:spPr>
          <a:xfrm>
            <a:off x="7620761" y="1214141"/>
            <a:ext cx="4638576" cy="1015663"/>
          </a:xfrm>
          <a:prstGeom prst="rect">
            <a:avLst/>
          </a:prstGeom>
          <a:noFill/>
        </p:spPr>
        <p:txBody>
          <a:bodyPr wrap="square">
            <a:spAutoFit/>
          </a:bodyPr>
          <a:lstStyle/>
          <a:p>
            <a:pPr marL="228594" indent="-228594" defTabSz="467539">
              <a:buFont typeface="Arial" panose="020B0604020202020204" pitchFamily="34" charset="0"/>
              <a:buChar char="•"/>
            </a:pPr>
            <a:r>
              <a:rPr lang="pl-PL" sz="1200" dirty="0" err="1">
                <a:solidFill>
                  <a:srgbClr val="000000"/>
                </a:solidFill>
                <a:latin typeface="Arial"/>
              </a:rPr>
              <a:t>Proficient</a:t>
            </a:r>
            <a:r>
              <a:rPr lang="pl-PL" sz="1200" dirty="0">
                <a:solidFill>
                  <a:srgbClr val="000000"/>
                </a:solidFill>
                <a:latin typeface="Arial"/>
              </a:rPr>
              <a:t> in CRM, AI </a:t>
            </a:r>
            <a:r>
              <a:rPr lang="pl-PL" sz="1200" dirty="0" err="1">
                <a:solidFill>
                  <a:srgbClr val="000000"/>
                </a:solidFill>
                <a:latin typeface="Arial"/>
              </a:rPr>
              <a:t>assistants</a:t>
            </a:r>
            <a:r>
              <a:rPr lang="pl-PL" sz="1200" dirty="0">
                <a:solidFill>
                  <a:srgbClr val="000000"/>
                </a:solidFill>
                <a:latin typeface="Arial"/>
              </a:rPr>
              <a:t>, and </a:t>
            </a:r>
            <a:r>
              <a:rPr lang="pl-PL" sz="1200" dirty="0" err="1">
                <a:solidFill>
                  <a:srgbClr val="000000"/>
                </a:solidFill>
                <a:latin typeface="Arial"/>
              </a:rPr>
              <a:t>financial</a:t>
            </a:r>
            <a:r>
              <a:rPr lang="pl-PL" sz="1200" dirty="0">
                <a:solidFill>
                  <a:srgbClr val="000000"/>
                </a:solidFill>
                <a:latin typeface="Arial"/>
              </a:rPr>
              <a:t> </a:t>
            </a:r>
            <a:r>
              <a:rPr lang="pl-PL" sz="1200" dirty="0" err="1">
                <a:solidFill>
                  <a:srgbClr val="000000"/>
                </a:solidFill>
                <a:latin typeface="Arial"/>
              </a:rPr>
              <a:t>planning</a:t>
            </a:r>
            <a:r>
              <a:rPr lang="pl-PL" sz="1200" dirty="0">
                <a:solidFill>
                  <a:srgbClr val="000000"/>
                </a:solidFill>
                <a:latin typeface="Arial"/>
              </a:rPr>
              <a:t> </a:t>
            </a:r>
            <a:r>
              <a:rPr lang="pl-PL" sz="1200" dirty="0" err="1">
                <a:solidFill>
                  <a:srgbClr val="000000"/>
                </a:solidFill>
                <a:latin typeface="Arial"/>
              </a:rPr>
              <a:t>tools</a:t>
            </a:r>
            <a:endParaRPr lang="pl-PL" sz="1200" dirty="0">
              <a:solidFill>
                <a:srgbClr val="000000"/>
              </a:solidFill>
              <a:latin typeface="Arial"/>
            </a:endParaRPr>
          </a:p>
          <a:p>
            <a:pPr marL="228594" indent="-228594" defTabSz="467539">
              <a:buFont typeface="Arial" panose="020B0604020202020204" pitchFamily="34" charset="0"/>
              <a:buChar char="•"/>
            </a:pPr>
            <a:r>
              <a:rPr lang="pl-PL" sz="1200" dirty="0" err="1">
                <a:solidFill>
                  <a:srgbClr val="000000"/>
                </a:solidFill>
                <a:latin typeface="Arial"/>
              </a:rPr>
              <a:t>Uses</a:t>
            </a:r>
            <a:r>
              <a:rPr lang="pl-PL" sz="1200" dirty="0">
                <a:solidFill>
                  <a:srgbClr val="000000"/>
                </a:solidFill>
                <a:latin typeface="Arial"/>
              </a:rPr>
              <a:t> </a:t>
            </a:r>
            <a:r>
              <a:rPr lang="pl-PL" sz="1200" dirty="0" err="1">
                <a:solidFill>
                  <a:srgbClr val="000000"/>
                </a:solidFill>
                <a:latin typeface="Arial"/>
              </a:rPr>
              <a:t>behavioral</a:t>
            </a:r>
            <a:r>
              <a:rPr lang="pl-PL" sz="1200" dirty="0">
                <a:solidFill>
                  <a:srgbClr val="000000"/>
                </a:solidFill>
                <a:latin typeface="Arial"/>
              </a:rPr>
              <a:t> </a:t>
            </a:r>
            <a:r>
              <a:rPr lang="pl-PL" sz="1200" dirty="0" err="1">
                <a:solidFill>
                  <a:srgbClr val="000000"/>
                </a:solidFill>
                <a:latin typeface="Arial"/>
              </a:rPr>
              <a:t>scoring</a:t>
            </a:r>
            <a:r>
              <a:rPr lang="pl-PL" sz="1200" dirty="0">
                <a:solidFill>
                  <a:srgbClr val="000000"/>
                </a:solidFill>
                <a:latin typeface="Arial"/>
              </a:rPr>
              <a:t> and </a:t>
            </a:r>
            <a:r>
              <a:rPr lang="pl-PL" sz="1200" dirty="0" err="1">
                <a:solidFill>
                  <a:srgbClr val="000000"/>
                </a:solidFill>
                <a:latin typeface="Arial"/>
              </a:rPr>
              <a:t>cash-flow</a:t>
            </a:r>
            <a:r>
              <a:rPr lang="pl-PL" sz="1200" dirty="0">
                <a:solidFill>
                  <a:srgbClr val="000000"/>
                </a:solidFill>
                <a:latin typeface="Arial"/>
              </a:rPr>
              <a:t> </a:t>
            </a:r>
            <a:r>
              <a:rPr lang="pl-PL" sz="1200" dirty="0" err="1">
                <a:solidFill>
                  <a:srgbClr val="000000"/>
                </a:solidFill>
                <a:latin typeface="Arial"/>
              </a:rPr>
              <a:t>analysis</a:t>
            </a:r>
            <a:endParaRPr lang="pl-PL" sz="1200" dirty="0">
              <a:solidFill>
                <a:srgbClr val="000000"/>
              </a:solidFill>
              <a:latin typeface="Arial"/>
            </a:endParaRPr>
          </a:p>
          <a:p>
            <a:pPr marL="228594" indent="-228594" defTabSz="467539">
              <a:buFont typeface="Arial" panose="020B0604020202020204" pitchFamily="34" charset="0"/>
              <a:buChar char="•"/>
            </a:pPr>
            <a:r>
              <a:rPr lang="pl-PL" sz="1200" dirty="0" err="1">
                <a:solidFill>
                  <a:srgbClr val="000000"/>
                </a:solidFill>
                <a:latin typeface="Arial"/>
              </a:rPr>
              <a:t>Operates</a:t>
            </a:r>
            <a:r>
              <a:rPr lang="pl-PL" sz="1200" dirty="0">
                <a:solidFill>
                  <a:srgbClr val="000000"/>
                </a:solidFill>
                <a:latin typeface="Arial"/>
              </a:rPr>
              <a:t> </a:t>
            </a:r>
            <a:r>
              <a:rPr lang="pl-PL" sz="1200" dirty="0" err="1">
                <a:solidFill>
                  <a:srgbClr val="000000"/>
                </a:solidFill>
                <a:latin typeface="Arial"/>
              </a:rPr>
              <a:t>fluently</a:t>
            </a:r>
            <a:r>
              <a:rPr lang="pl-PL" sz="1200" dirty="0">
                <a:solidFill>
                  <a:srgbClr val="000000"/>
                </a:solidFill>
                <a:latin typeface="Arial"/>
              </a:rPr>
              <a:t> </a:t>
            </a:r>
            <a:r>
              <a:rPr lang="pl-PL" sz="1200" dirty="0" err="1">
                <a:solidFill>
                  <a:srgbClr val="000000"/>
                </a:solidFill>
                <a:latin typeface="Arial"/>
              </a:rPr>
              <a:t>across</a:t>
            </a:r>
            <a:r>
              <a:rPr lang="pl-PL" sz="1200" dirty="0">
                <a:solidFill>
                  <a:srgbClr val="000000"/>
                </a:solidFill>
                <a:latin typeface="Arial"/>
              </a:rPr>
              <a:t> </a:t>
            </a:r>
            <a:r>
              <a:rPr lang="pl-PL" sz="1200" dirty="0" err="1">
                <a:solidFill>
                  <a:srgbClr val="000000"/>
                </a:solidFill>
                <a:latin typeface="Arial"/>
              </a:rPr>
              <a:t>channels</a:t>
            </a:r>
            <a:r>
              <a:rPr lang="pl-PL" sz="1200" dirty="0">
                <a:solidFill>
                  <a:srgbClr val="000000"/>
                </a:solidFill>
                <a:latin typeface="Arial"/>
              </a:rPr>
              <a:t>: video, mobile, </a:t>
            </a:r>
            <a:r>
              <a:rPr lang="pl-PL" sz="1200" dirty="0" err="1">
                <a:solidFill>
                  <a:srgbClr val="000000"/>
                </a:solidFill>
                <a:latin typeface="Arial"/>
              </a:rPr>
              <a:t>social</a:t>
            </a:r>
            <a:r>
              <a:rPr lang="pl-PL" sz="1200" dirty="0">
                <a:solidFill>
                  <a:srgbClr val="000000"/>
                </a:solidFill>
                <a:latin typeface="Arial"/>
              </a:rPr>
              <a:t> media, </a:t>
            </a:r>
            <a:r>
              <a:rPr lang="pl-PL" sz="1200" dirty="0" err="1">
                <a:solidFill>
                  <a:srgbClr val="000000"/>
                </a:solidFill>
                <a:latin typeface="Arial"/>
              </a:rPr>
              <a:t>branches</a:t>
            </a:r>
            <a:endParaRPr lang="pl-PL" sz="1200" dirty="0">
              <a:solidFill>
                <a:srgbClr val="000000"/>
              </a:solidFill>
              <a:latin typeface="Arial"/>
            </a:endParaRPr>
          </a:p>
          <a:p>
            <a:pPr marL="228594" indent="-228594" defTabSz="467539">
              <a:buFont typeface="Arial" panose="020B0604020202020204" pitchFamily="34" charset="0"/>
              <a:buChar char="•"/>
            </a:pPr>
            <a:r>
              <a:rPr lang="pl-PL" sz="1200" dirty="0" err="1">
                <a:solidFill>
                  <a:srgbClr val="000000"/>
                </a:solidFill>
                <a:latin typeface="Arial"/>
              </a:rPr>
              <a:t>Supports</a:t>
            </a:r>
            <a:r>
              <a:rPr lang="pl-PL" sz="1200" dirty="0">
                <a:solidFill>
                  <a:srgbClr val="000000"/>
                </a:solidFill>
                <a:latin typeface="Arial"/>
              </a:rPr>
              <a:t> </a:t>
            </a:r>
            <a:r>
              <a:rPr lang="pl-PL" sz="1200" dirty="0" err="1">
                <a:solidFill>
                  <a:srgbClr val="000000"/>
                </a:solidFill>
                <a:latin typeface="Arial"/>
              </a:rPr>
              <a:t>customers</a:t>
            </a:r>
            <a:r>
              <a:rPr lang="pl-PL" sz="1200" dirty="0">
                <a:solidFill>
                  <a:srgbClr val="000000"/>
                </a:solidFill>
                <a:latin typeface="Arial"/>
              </a:rPr>
              <a:t> in </a:t>
            </a:r>
            <a:r>
              <a:rPr lang="pl-PL" sz="1200" dirty="0" err="1">
                <a:solidFill>
                  <a:srgbClr val="000000"/>
                </a:solidFill>
                <a:latin typeface="Arial"/>
              </a:rPr>
              <a:t>navigating</a:t>
            </a:r>
            <a:r>
              <a:rPr lang="pl-PL" sz="1200" dirty="0">
                <a:solidFill>
                  <a:srgbClr val="000000"/>
                </a:solidFill>
                <a:latin typeface="Arial"/>
              </a:rPr>
              <a:t> </a:t>
            </a:r>
            <a:r>
              <a:rPr lang="pl-PL" sz="1200" dirty="0" err="1">
                <a:solidFill>
                  <a:srgbClr val="000000"/>
                </a:solidFill>
                <a:latin typeface="Arial"/>
              </a:rPr>
              <a:t>digital</a:t>
            </a:r>
            <a:r>
              <a:rPr lang="pl-PL" sz="1200" dirty="0">
                <a:solidFill>
                  <a:srgbClr val="000000"/>
                </a:solidFill>
                <a:latin typeface="Arial"/>
              </a:rPr>
              <a:t> banking </a:t>
            </a:r>
            <a:r>
              <a:rPr lang="pl-PL" sz="1200" dirty="0" err="1">
                <a:solidFill>
                  <a:srgbClr val="000000"/>
                </a:solidFill>
                <a:latin typeface="Arial"/>
              </a:rPr>
              <a:t>ecosystems</a:t>
            </a:r>
            <a:endParaRPr lang="pl-PL" sz="1200" dirty="0">
              <a:solidFill>
                <a:srgbClr val="000000"/>
              </a:solidFill>
              <a:latin typeface="Arial"/>
            </a:endParaRPr>
          </a:p>
        </p:txBody>
      </p:sp>
      <p:sp>
        <p:nvSpPr>
          <p:cNvPr id="51" name="pole tekstowe 50">
            <a:extLst>
              <a:ext uri="{FF2B5EF4-FFF2-40B4-BE49-F238E27FC236}">
                <a16:creationId xmlns:a16="http://schemas.microsoft.com/office/drawing/2014/main" id="{9BD1AFF6-6E4C-4D5D-ABE4-C51134D1549D}"/>
              </a:ext>
            </a:extLst>
          </p:cNvPr>
          <p:cNvSpPr txBox="1"/>
          <p:nvPr/>
        </p:nvSpPr>
        <p:spPr>
          <a:xfrm>
            <a:off x="55116" y="3097037"/>
            <a:ext cx="4773795" cy="1015663"/>
          </a:xfrm>
          <a:prstGeom prst="rect">
            <a:avLst/>
          </a:prstGeom>
          <a:noFill/>
        </p:spPr>
        <p:txBody>
          <a:bodyPr wrap="square">
            <a:spAutoFit/>
          </a:bodyPr>
          <a:lstStyle/>
          <a:p>
            <a:pPr marL="228594" indent="-228594" defTabSz="467539">
              <a:buFont typeface="Arial" panose="020B0604020202020204" pitchFamily="34" charset="0"/>
              <a:buChar char="•"/>
            </a:pPr>
            <a:r>
              <a:rPr lang="en-US" sz="1200" dirty="0">
                <a:solidFill>
                  <a:srgbClr val="000000"/>
                </a:solidFill>
                <a:latin typeface="Arial"/>
              </a:rPr>
              <a:t>Practices active listening and trust-building</a:t>
            </a:r>
          </a:p>
          <a:p>
            <a:pPr marL="228594" indent="-228594" defTabSz="467539">
              <a:buFont typeface="Arial" panose="020B0604020202020204" pitchFamily="34" charset="0"/>
              <a:buChar char="•"/>
            </a:pPr>
            <a:r>
              <a:rPr lang="en-US" sz="1200" dirty="0">
                <a:solidFill>
                  <a:srgbClr val="000000"/>
                </a:solidFill>
                <a:latin typeface="Arial"/>
              </a:rPr>
              <a:t>Understands customer emotions and adjusts communication</a:t>
            </a:r>
          </a:p>
          <a:p>
            <a:pPr marL="228594" indent="-228594" defTabSz="467539">
              <a:buFont typeface="Arial" panose="020B0604020202020204" pitchFamily="34" charset="0"/>
              <a:buChar char="•"/>
            </a:pPr>
            <a:r>
              <a:rPr lang="en-US" sz="1200" dirty="0">
                <a:solidFill>
                  <a:srgbClr val="000000"/>
                </a:solidFill>
                <a:latin typeface="Arial"/>
              </a:rPr>
              <a:t>Prioritizes “customer-first” over “product-first”</a:t>
            </a:r>
          </a:p>
          <a:p>
            <a:pPr marL="228594" indent="-228594" defTabSz="467539">
              <a:buFont typeface="Arial" panose="020B0604020202020204" pitchFamily="34" charset="0"/>
              <a:buChar char="•"/>
            </a:pPr>
            <a:r>
              <a:rPr lang="en-US" sz="1200" dirty="0">
                <a:solidFill>
                  <a:srgbClr val="000000"/>
                </a:solidFill>
                <a:latin typeface="Arial"/>
              </a:rPr>
              <a:t>Focuses on long-term relationships rather than single transactions</a:t>
            </a:r>
          </a:p>
        </p:txBody>
      </p:sp>
      <p:sp>
        <p:nvSpPr>
          <p:cNvPr id="54" name="pole tekstowe 53">
            <a:extLst>
              <a:ext uri="{FF2B5EF4-FFF2-40B4-BE49-F238E27FC236}">
                <a16:creationId xmlns:a16="http://schemas.microsoft.com/office/drawing/2014/main" id="{DA1FF8AB-FD72-49FE-841D-C5381EDB684B}"/>
              </a:ext>
            </a:extLst>
          </p:cNvPr>
          <p:cNvSpPr txBox="1"/>
          <p:nvPr/>
        </p:nvSpPr>
        <p:spPr>
          <a:xfrm>
            <a:off x="8091927" y="2689832"/>
            <a:ext cx="4200877" cy="1384995"/>
          </a:xfrm>
          <a:prstGeom prst="rect">
            <a:avLst/>
          </a:prstGeom>
          <a:noFill/>
        </p:spPr>
        <p:txBody>
          <a:bodyPr wrap="square">
            <a:spAutoFit/>
          </a:bodyPr>
          <a:lstStyle/>
          <a:p>
            <a:pPr marL="228594" indent="-228594" defTabSz="467539">
              <a:buFont typeface="Arial" panose="020B0604020202020204" pitchFamily="34" charset="0"/>
              <a:buChar char="•"/>
            </a:pPr>
            <a:r>
              <a:rPr lang="en-US" sz="1200" dirty="0">
                <a:solidFill>
                  <a:srgbClr val="000000"/>
                </a:solidFill>
                <a:latin typeface="Arial"/>
              </a:rPr>
              <a:t>Understands customer journey across all channels</a:t>
            </a:r>
          </a:p>
          <a:p>
            <a:pPr marL="228594" indent="-228594" defTabSz="467539">
              <a:buFont typeface="Arial" panose="020B0604020202020204" pitchFamily="34" charset="0"/>
              <a:buChar char="•"/>
            </a:pPr>
            <a:r>
              <a:rPr lang="en-US" sz="1200" dirty="0">
                <a:solidFill>
                  <a:srgbClr val="000000"/>
                </a:solidFill>
                <a:latin typeface="Arial"/>
              </a:rPr>
              <a:t>Ensures consistent experience regardless of contact point</a:t>
            </a:r>
          </a:p>
          <a:p>
            <a:pPr marL="228594" indent="-228594" defTabSz="467539">
              <a:buFont typeface="Arial" panose="020B0604020202020204" pitchFamily="34" charset="0"/>
              <a:buChar char="•"/>
            </a:pPr>
            <a:r>
              <a:rPr lang="en-US" sz="1200" dirty="0">
                <a:solidFill>
                  <a:srgbClr val="000000"/>
                </a:solidFill>
                <a:latin typeface="Arial"/>
              </a:rPr>
              <a:t>Supports customers in automated processes (e.g., online onboarding)</a:t>
            </a:r>
          </a:p>
          <a:p>
            <a:pPr marL="228594" indent="-228594" defTabSz="467539">
              <a:buFont typeface="Arial" panose="020B0604020202020204" pitchFamily="34" charset="0"/>
              <a:buChar char="•"/>
            </a:pPr>
            <a:r>
              <a:rPr lang="en-US" sz="1200" dirty="0">
                <a:solidFill>
                  <a:srgbClr val="000000"/>
                </a:solidFill>
                <a:latin typeface="Arial"/>
              </a:rPr>
              <a:t>Follows the principle: Be where the client wants to meet you</a:t>
            </a:r>
          </a:p>
        </p:txBody>
      </p:sp>
      <p:sp>
        <p:nvSpPr>
          <p:cNvPr id="56" name="pole tekstowe 55">
            <a:extLst>
              <a:ext uri="{FF2B5EF4-FFF2-40B4-BE49-F238E27FC236}">
                <a16:creationId xmlns:a16="http://schemas.microsoft.com/office/drawing/2014/main" id="{8DD95325-75EF-4D60-BC6F-15E90B5ED2F1}"/>
              </a:ext>
            </a:extLst>
          </p:cNvPr>
          <p:cNvSpPr txBox="1"/>
          <p:nvPr/>
        </p:nvSpPr>
        <p:spPr>
          <a:xfrm>
            <a:off x="445076" y="4507458"/>
            <a:ext cx="3923947" cy="830997"/>
          </a:xfrm>
          <a:prstGeom prst="rect">
            <a:avLst/>
          </a:prstGeom>
          <a:noFill/>
        </p:spPr>
        <p:txBody>
          <a:bodyPr wrap="square">
            <a:spAutoFit/>
          </a:bodyPr>
          <a:lstStyle/>
          <a:p>
            <a:pPr marL="228594" indent="-228594" defTabSz="467539">
              <a:buFont typeface="Arial" panose="020B0604020202020204" pitchFamily="34" charset="0"/>
              <a:buChar char="•"/>
            </a:pPr>
            <a:r>
              <a:rPr lang="en-US" sz="1200" dirty="0">
                <a:solidFill>
                  <a:srgbClr val="000000"/>
                </a:solidFill>
                <a:latin typeface="Arial"/>
              </a:rPr>
              <a:t>Makes decisions based on data and AI suggestions</a:t>
            </a:r>
          </a:p>
          <a:p>
            <a:pPr marL="228594" indent="-228594" defTabSz="467539">
              <a:buFont typeface="Arial" panose="020B0604020202020204" pitchFamily="34" charset="0"/>
              <a:buChar char="•"/>
            </a:pPr>
            <a:r>
              <a:rPr lang="en-US" sz="1200" dirty="0">
                <a:solidFill>
                  <a:srgbClr val="000000"/>
                </a:solidFill>
                <a:latin typeface="Arial"/>
              </a:rPr>
              <a:t>Interprets machine-generated recommendations critically</a:t>
            </a:r>
          </a:p>
          <a:p>
            <a:pPr marL="228594" indent="-228594" defTabSz="467539">
              <a:buFont typeface="Arial" panose="020B0604020202020204" pitchFamily="34" charset="0"/>
              <a:buChar char="•"/>
            </a:pPr>
            <a:r>
              <a:rPr lang="en-US" sz="1200" dirty="0">
                <a:solidFill>
                  <a:srgbClr val="000000"/>
                </a:solidFill>
                <a:latin typeface="Arial"/>
              </a:rPr>
              <a:t>Embraces machine learning in daily work</a:t>
            </a:r>
          </a:p>
        </p:txBody>
      </p:sp>
      <p:sp>
        <p:nvSpPr>
          <p:cNvPr id="58" name="pole tekstowe 57">
            <a:extLst>
              <a:ext uri="{FF2B5EF4-FFF2-40B4-BE49-F238E27FC236}">
                <a16:creationId xmlns:a16="http://schemas.microsoft.com/office/drawing/2014/main" id="{4ADFB5F5-1B02-4D79-8FCE-26CD49D0A4C8}"/>
              </a:ext>
            </a:extLst>
          </p:cNvPr>
          <p:cNvSpPr txBox="1"/>
          <p:nvPr/>
        </p:nvSpPr>
        <p:spPr>
          <a:xfrm>
            <a:off x="7523931" y="4497417"/>
            <a:ext cx="4526227" cy="1015663"/>
          </a:xfrm>
          <a:prstGeom prst="rect">
            <a:avLst/>
          </a:prstGeom>
          <a:noFill/>
        </p:spPr>
        <p:txBody>
          <a:bodyPr wrap="square">
            <a:spAutoFit/>
          </a:bodyPr>
          <a:lstStyle/>
          <a:p>
            <a:pPr marL="228594" indent="-228594" defTabSz="467539">
              <a:buFont typeface="Arial" panose="020B0604020202020204" pitchFamily="34" charset="0"/>
              <a:buChar char="•"/>
            </a:pPr>
            <a:r>
              <a:rPr lang="en-US" sz="1200" dirty="0">
                <a:solidFill>
                  <a:srgbClr val="000000"/>
                </a:solidFill>
                <a:latin typeface="Arial"/>
              </a:rPr>
              <a:t>Committed to fair advice, avoids </a:t>
            </a:r>
            <a:r>
              <a:rPr lang="en-US" sz="1200" dirty="0" err="1">
                <a:solidFill>
                  <a:srgbClr val="000000"/>
                </a:solidFill>
                <a:latin typeface="Arial"/>
              </a:rPr>
              <a:t>misselling</a:t>
            </a:r>
            <a:endParaRPr lang="en-US" sz="1200" dirty="0">
              <a:solidFill>
                <a:srgbClr val="000000"/>
              </a:solidFill>
              <a:latin typeface="Arial"/>
            </a:endParaRPr>
          </a:p>
          <a:p>
            <a:pPr marL="228594" indent="-228594" defTabSz="467539">
              <a:buFont typeface="Arial" panose="020B0604020202020204" pitchFamily="34" charset="0"/>
              <a:buChar char="•"/>
            </a:pPr>
            <a:r>
              <a:rPr lang="en-US" sz="1200" dirty="0">
                <a:solidFill>
                  <a:srgbClr val="000000"/>
                </a:solidFill>
                <a:latin typeface="Arial"/>
              </a:rPr>
              <a:t>Aligns financial solutions with clients' values (e.g., sustainability)</a:t>
            </a:r>
          </a:p>
          <a:p>
            <a:pPr marL="228594" indent="-228594" defTabSz="467539">
              <a:buFont typeface="Arial" panose="020B0604020202020204" pitchFamily="34" charset="0"/>
              <a:buChar char="•"/>
            </a:pPr>
            <a:r>
              <a:rPr lang="en-US" sz="1200" dirty="0">
                <a:solidFill>
                  <a:srgbClr val="000000"/>
                </a:solidFill>
                <a:latin typeface="Arial"/>
              </a:rPr>
              <a:t>Keeps up with regulations on consumer protection and data privacy</a:t>
            </a:r>
          </a:p>
        </p:txBody>
      </p:sp>
      <p:sp>
        <p:nvSpPr>
          <p:cNvPr id="60" name="pole tekstowe 59">
            <a:extLst>
              <a:ext uri="{FF2B5EF4-FFF2-40B4-BE49-F238E27FC236}">
                <a16:creationId xmlns:a16="http://schemas.microsoft.com/office/drawing/2014/main" id="{8754D82B-6223-4AA7-9820-09F678E18CC5}"/>
              </a:ext>
            </a:extLst>
          </p:cNvPr>
          <p:cNvSpPr txBox="1"/>
          <p:nvPr/>
        </p:nvSpPr>
        <p:spPr>
          <a:xfrm>
            <a:off x="4094740" y="5302859"/>
            <a:ext cx="4036573" cy="1200329"/>
          </a:xfrm>
          <a:prstGeom prst="rect">
            <a:avLst/>
          </a:prstGeom>
          <a:noFill/>
        </p:spPr>
        <p:txBody>
          <a:bodyPr wrap="square">
            <a:spAutoFit/>
          </a:bodyPr>
          <a:lstStyle/>
          <a:p>
            <a:pPr marL="228594" indent="-228594" defTabSz="467539">
              <a:buFont typeface="Arial" panose="020B0604020202020204" pitchFamily="34" charset="0"/>
              <a:buChar char="•"/>
            </a:pPr>
            <a:r>
              <a:rPr lang="en-US" sz="1200" dirty="0">
                <a:solidFill>
                  <a:srgbClr val="000000"/>
                </a:solidFill>
                <a:latin typeface="Arial"/>
              </a:rPr>
              <a:t>Continuously learns and earns certifications (including </a:t>
            </a:r>
            <a:r>
              <a:rPr lang="en-US" sz="1200" dirty="0" err="1">
                <a:solidFill>
                  <a:srgbClr val="000000"/>
                </a:solidFill>
                <a:latin typeface="Arial"/>
              </a:rPr>
              <a:t>microcredentials</a:t>
            </a:r>
            <a:r>
              <a:rPr lang="en-US" sz="1200" dirty="0">
                <a:solidFill>
                  <a:srgbClr val="000000"/>
                </a:solidFill>
                <a:latin typeface="Arial"/>
              </a:rPr>
              <a:t>)</a:t>
            </a:r>
          </a:p>
          <a:p>
            <a:pPr marL="228594" indent="-228594" defTabSz="467539">
              <a:buFont typeface="Arial" panose="020B0604020202020204" pitchFamily="34" charset="0"/>
              <a:buChar char="•"/>
            </a:pPr>
            <a:r>
              <a:rPr lang="en-US" sz="1200" dirty="0">
                <a:solidFill>
                  <a:srgbClr val="000000"/>
                </a:solidFill>
                <a:latin typeface="Arial"/>
              </a:rPr>
              <a:t>Adapts to new models of work, technology, and client generations (Gen Z, Alpha)</a:t>
            </a:r>
          </a:p>
          <a:p>
            <a:pPr marL="228594" indent="-228594" defTabSz="467539">
              <a:buFont typeface="Arial" panose="020B0604020202020204" pitchFamily="34" charset="0"/>
              <a:buChar char="•"/>
            </a:pPr>
            <a:r>
              <a:rPr lang="en-US" sz="1200" dirty="0">
                <a:solidFill>
                  <a:srgbClr val="000000"/>
                </a:solidFill>
                <a:latin typeface="Arial"/>
              </a:rPr>
              <a:t>Applies knowledge practically – not just knowing products, but solving problems</a:t>
            </a:r>
          </a:p>
        </p:txBody>
      </p:sp>
      <p:sp>
        <p:nvSpPr>
          <p:cNvPr id="49" name="Tytuł 1">
            <a:extLst>
              <a:ext uri="{FF2B5EF4-FFF2-40B4-BE49-F238E27FC236}">
                <a16:creationId xmlns:a16="http://schemas.microsoft.com/office/drawing/2014/main" id="{3BF9F851-854C-4D17-A5AF-20ABECEDDC9E}"/>
              </a:ext>
            </a:extLst>
          </p:cNvPr>
          <p:cNvSpPr>
            <a:spLocks noGrp="1"/>
          </p:cNvSpPr>
          <p:nvPr>
            <p:ph type="title"/>
          </p:nvPr>
        </p:nvSpPr>
        <p:spPr>
          <a:xfrm>
            <a:off x="215936" y="-120453"/>
            <a:ext cx="10824633" cy="753532"/>
          </a:xfrm>
        </p:spPr>
        <p:txBody>
          <a:bodyPr/>
          <a:lstStyle/>
          <a:p>
            <a:r>
              <a:rPr lang="pl-PL" sz="3200" dirty="0">
                <a:latin typeface="Arial Black" panose="020B0A04020102020204" pitchFamily="34" charset="0"/>
                <a:ea typeface="Calibri" panose="020F0502020204030204" pitchFamily="34" charset="0"/>
                <a:cs typeface="Calibri" panose="020F0502020204030204" pitchFamily="34" charset="0"/>
              </a:rPr>
              <a:t>Advisor of the </a:t>
            </a:r>
            <a:r>
              <a:rPr lang="pl-PL" sz="3200" dirty="0" err="1">
                <a:latin typeface="Arial Black" panose="020B0A04020102020204" pitchFamily="34" charset="0"/>
                <a:ea typeface="Calibri" panose="020F0502020204030204" pitchFamily="34" charset="0"/>
                <a:cs typeface="Calibri" panose="020F0502020204030204" pitchFamily="34" charset="0"/>
              </a:rPr>
              <a:t>future</a:t>
            </a:r>
            <a:endParaRPr lang="pl-PL" sz="3200" dirty="0">
              <a:latin typeface="Arial Black" panose="020B0A0402010202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4091514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10CDE89C-7F3A-1A4A-B8BF-270A74B456C1}"/>
              </a:ext>
            </a:extLst>
          </p:cNvPr>
          <p:cNvSpPr>
            <a:spLocks noGrp="1"/>
          </p:cNvSpPr>
          <p:nvPr>
            <p:ph type="title"/>
          </p:nvPr>
        </p:nvSpPr>
        <p:spPr>
          <a:xfrm>
            <a:off x="335936" y="-29568"/>
            <a:ext cx="10824633" cy="753532"/>
          </a:xfrm>
        </p:spPr>
        <p:txBody>
          <a:bodyPr/>
          <a:lstStyle/>
          <a:p>
            <a:r>
              <a:rPr lang="pl-PL" sz="3200" dirty="0" err="1">
                <a:latin typeface="Arial Black" panose="020B0A04020102020204" pitchFamily="34" charset="0"/>
                <a:ea typeface="Calibri" panose="020F0502020204030204" pitchFamily="34" charset="0"/>
                <a:cs typeface="Calibri" panose="020F0502020204030204" pitchFamily="34" charset="0"/>
              </a:rPr>
              <a:t>Which</a:t>
            </a:r>
            <a:r>
              <a:rPr lang="pl-PL" sz="3200" dirty="0">
                <a:latin typeface="Arial Black" panose="020B0A04020102020204" pitchFamily="34" charset="0"/>
                <a:ea typeface="Calibri" panose="020F0502020204030204" pitchFamily="34" charset="0"/>
                <a:cs typeface="Calibri" panose="020F0502020204030204" pitchFamily="34" charset="0"/>
              </a:rPr>
              <a:t> </a:t>
            </a:r>
            <a:r>
              <a:rPr lang="pl-PL" sz="3200" dirty="0" err="1">
                <a:latin typeface="Arial Black" panose="020B0A04020102020204" pitchFamily="34" charset="0"/>
                <a:ea typeface="Calibri" panose="020F0502020204030204" pitchFamily="34" charset="0"/>
                <a:cs typeface="Calibri" panose="020F0502020204030204" pitchFamily="34" charset="0"/>
              </a:rPr>
              <a:t>type</a:t>
            </a:r>
            <a:r>
              <a:rPr lang="pl-PL" sz="3200" dirty="0">
                <a:latin typeface="Arial Black" panose="020B0A04020102020204" pitchFamily="34" charset="0"/>
                <a:ea typeface="Calibri" panose="020F0502020204030204" pitchFamily="34" charset="0"/>
                <a:cs typeface="Calibri" panose="020F0502020204030204" pitchFamily="34" charset="0"/>
              </a:rPr>
              <a:t> of </a:t>
            </a:r>
            <a:r>
              <a:rPr lang="pl-PL" sz="3200" dirty="0" err="1">
                <a:latin typeface="Arial Black" panose="020B0A04020102020204" pitchFamily="34" charset="0"/>
                <a:ea typeface="Calibri" panose="020F0502020204030204" pitchFamily="34" charset="0"/>
                <a:cs typeface="Calibri" panose="020F0502020204030204" pitchFamily="34" charset="0"/>
              </a:rPr>
              <a:t>advisors</a:t>
            </a:r>
            <a:r>
              <a:rPr lang="pl-PL" sz="3200" dirty="0">
                <a:latin typeface="Arial Black" panose="020B0A04020102020204" pitchFamily="34" charset="0"/>
                <a:ea typeface="Calibri" panose="020F0502020204030204" pitchFamily="34" charset="0"/>
                <a:cs typeface="Calibri" panose="020F0502020204030204" pitchFamily="34" charset="0"/>
              </a:rPr>
              <a:t> do we </a:t>
            </a:r>
            <a:r>
              <a:rPr lang="pl-PL" sz="3200" dirty="0" err="1">
                <a:latin typeface="Arial Black" panose="020B0A04020102020204" pitchFamily="34" charset="0"/>
                <a:ea typeface="Calibri" panose="020F0502020204030204" pitchFamily="34" charset="0"/>
                <a:cs typeface="Calibri" panose="020F0502020204030204" pitchFamily="34" charset="0"/>
              </a:rPr>
              <a:t>need</a:t>
            </a:r>
            <a:r>
              <a:rPr lang="pl-PL" sz="3200" dirty="0">
                <a:latin typeface="Arial Black" panose="020B0A04020102020204" pitchFamily="34" charset="0"/>
                <a:ea typeface="Calibri" panose="020F0502020204030204" pitchFamily="34" charset="0"/>
                <a:cs typeface="Calibri" panose="020F0502020204030204" pitchFamily="34" charset="0"/>
              </a:rPr>
              <a:t>?</a:t>
            </a:r>
          </a:p>
        </p:txBody>
      </p:sp>
      <p:sp>
        <p:nvSpPr>
          <p:cNvPr id="3" name="Symbol zastępczy numeru slajdu 2">
            <a:extLst>
              <a:ext uri="{FF2B5EF4-FFF2-40B4-BE49-F238E27FC236}">
                <a16:creationId xmlns:a16="http://schemas.microsoft.com/office/drawing/2014/main" id="{7BFEC89C-D8C0-1B31-0834-124CBE1CB4C2}"/>
              </a:ext>
            </a:extLst>
          </p:cNvPr>
          <p:cNvSpPr>
            <a:spLocks noGrp="1"/>
          </p:cNvSpPr>
          <p:nvPr>
            <p:ph type="sldNum" sz="quarter" idx="10"/>
          </p:nvPr>
        </p:nvSpPr>
        <p:spPr/>
        <p:txBody>
          <a:bodyPr/>
          <a:lstStyle/>
          <a:p>
            <a:pPr defTabSz="467539"/>
            <a:fld id="{332DF002-2E43-485C-89F8-8DCEF59D6C4F}" type="slidenum">
              <a:rPr lang="pl-PL">
                <a:latin typeface="Arial"/>
              </a:rPr>
              <a:pPr defTabSz="467539"/>
              <a:t>8</a:t>
            </a:fld>
            <a:endParaRPr lang="pl-PL" dirty="0">
              <a:latin typeface="Arial"/>
            </a:endParaRPr>
          </a:p>
        </p:txBody>
      </p:sp>
      <p:graphicFrame>
        <p:nvGraphicFramePr>
          <p:cNvPr id="9" name="Tabela 8">
            <a:extLst>
              <a:ext uri="{FF2B5EF4-FFF2-40B4-BE49-F238E27FC236}">
                <a16:creationId xmlns:a16="http://schemas.microsoft.com/office/drawing/2014/main" id="{6BBE450D-CAF0-4A0D-9348-4009982BE35F}"/>
              </a:ext>
            </a:extLst>
          </p:cNvPr>
          <p:cNvGraphicFramePr>
            <a:graphicFrameLocks noGrp="1"/>
          </p:cNvGraphicFramePr>
          <p:nvPr>
            <p:extLst>
              <p:ext uri="{D42A27DB-BD31-4B8C-83A1-F6EECF244321}">
                <p14:modId xmlns:p14="http://schemas.microsoft.com/office/powerpoint/2010/main" val="702436788"/>
              </p:ext>
            </p:extLst>
          </p:nvPr>
        </p:nvGraphicFramePr>
        <p:xfrm>
          <a:off x="335936" y="1800271"/>
          <a:ext cx="11400128" cy="4468568"/>
        </p:xfrm>
        <a:graphic>
          <a:graphicData uri="http://schemas.openxmlformats.org/drawingml/2006/table">
            <a:tbl>
              <a:tblPr firstRow="1" firstCol="1" bandRow="1">
                <a:tableStyleId>{91EBBBCC-DAD2-459C-BE2E-F6DE35CF9A28}</a:tableStyleId>
              </a:tblPr>
              <a:tblGrid>
                <a:gridCol w="2455704">
                  <a:extLst>
                    <a:ext uri="{9D8B030D-6E8A-4147-A177-3AD203B41FA5}">
                      <a16:colId xmlns:a16="http://schemas.microsoft.com/office/drawing/2014/main" val="3740795167"/>
                    </a:ext>
                  </a:extLst>
                </a:gridCol>
                <a:gridCol w="2824355">
                  <a:extLst>
                    <a:ext uri="{9D8B030D-6E8A-4147-A177-3AD203B41FA5}">
                      <a16:colId xmlns:a16="http://schemas.microsoft.com/office/drawing/2014/main" val="317974439"/>
                    </a:ext>
                  </a:extLst>
                </a:gridCol>
                <a:gridCol w="3000033">
                  <a:extLst>
                    <a:ext uri="{9D8B030D-6E8A-4147-A177-3AD203B41FA5}">
                      <a16:colId xmlns:a16="http://schemas.microsoft.com/office/drawing/2014/main" val="2462551748"/>
                    </a:ext>
                  </a:extLst>
                </a:gridCol>
                <a:gridCol w="3120036">
                  <a:extLst>
                    <a:ext uri="{9D8B030D-6E8A-4147-A177-3AD203B41FA5}">
                      <a16:colId xmlns:a16="http://schemas.microsoft.com/office/drawing/2014/main" val="1778666215"/>
                    </a:ext>
                  </a:extLst>
                </a:gridCol>
              </a:tblGrid>
              <a:tr h="499471">
                <a:tc>
                  <a:txBody>
                    <a:bodyPr/>
                    <a:lstStyle/>
                    <a:p>
                      <a:pPr algn="ctr"/>
                      <a:r>
                        <a:rPr lang="pl-PL" sz="1200" dirty="0">
                          <a:effectLst/>
                          <a:latin typeface="Calibri" panose="020F0502020204030204" pitchFamily="34" charset="0"/>
                          <a:ea typeface="Calibri" panose="020F0502020204030204" pitchFamily="34" charset="0"/>
                          <a:cs typeface="Calibri" panose="020F0502020204030204" pitchFamily="34" charset="0"/>
                        </a:rPr>
                        <a:t>Contact Channel</a:t>
                      </a:r>
                    </a:p>
                  </a:txBody>
                  <a:tcPr marL="10317" marR="10317" marT="10317" marB="10317" anchor="ctr"/>
                </a:tc>
                <a:tc>
                  <a:txBody>
                    <a:bodyPr/>
                    <a:lstStyle/>
                    <a:p>
                      <a:pPr algn="ctr"/>
                      <a:r>
                        <a:rPr lang="pl-PL" sz="1600" dirty="0" err="1">
                          <a:effectLst/>
                          <a:latin typeface="Calibri" panose="020F0502020204030204" pitchFamily="34" charset="0"/>
                          <a:ea typeface="Calibri" panose="020F0502020204030204" pitchFamily="34" charset="0"/>
                          <a:cs typeface="Calibri" panose="020F0502020204030204" pitchFamily="34" charset="0"/>
                        </a:rPr>
                        <a:t>Individual</a:t>
                      </a:r>
                      <a:r>
                        <a:rPr lang="pl-PL" sz="1600" dirty="0">
                          <a:effectLst/>
                          <a:latin typeface="Calibri" panose="020F0502020204030204" pitchFamily="34" charset="0"/>
                          <a:ea typeface="Calibri" panose="020F0502020204030204" pitchFamily="34" charset="0"/>
                          <a:cs typeface="Calibri" panose="020F0502020204030204" pitchFamily="34" charset="0"/>
                        </a:rPr>
                        <a:t> Advisor (Retail)</a:t>
                      </a:r>
                    </a:p>
                  </a:txBody>
                  <a:tcPr marL="10317" marR="10317" marT="10317" marB="10317" anchor="ctr">
                    <a:solidFill>
                      <a:schemeClr val="accent5"/>
                    </a:solidFill>
                  </a:tcPr>
                </a:tc>
                <a:tc>
                  <a:txBody>
                    <a:bodyPr/>
                    <a:lstStyle/>
                    <a:p>
                      <a:pPr algn="ctr"/>
                      <a:r>
                        <a:rPr lang="pl-PL" sz="1600" dirty="0">
                          <a:effectLst/>
                          <a:latin typeface="Calibri" panose="020F0502020204030204" pitchFamily="34" charset="0"/>
                          <a:ea typeface="Calibri" panose="020F0502020204030204" pitchFamily="34" charset="0"/>
                          <a:cs typeface="Calibri" panose="020F0502020204030204" pitchFamily="34" charset="0"/>
                        </a:rPr>
                        <a:t>Premium Advisor</a:t>
                      </a:r>
                    </a:p>
                  </a:txBody>
                  <a:tcPr marL="10317" marR="10317" marT="10317" marB="10317" anchor="ctr">
                    <a:solidFill>
                      <a:schemeClr val="accent1"/>
                    </a:solidFill>
                  </a:tcPr>
                </a:tc>
                <a:tc>
                  <a:txBody>
                    <a:bodyPr/>
                    <a:lstStyle/>
                    <a:p>
                      <a:pPr algn="ctr"/>
                      <a:r>
                        <a:rPr lang="pl-PL" sz="1600" dirty="0">
                          <a:effectLst/>
                          <a:latin typeface="Calibri" panose="020F0502020204030204" pitchFamily="34" charset="0"/>
                          <a:ea typeface="Calibri" panose="020F0502020204030204" pitchFamily="34" charset="0"/>
                          <a:cs typeface="Calibri" panose="020F0502020204030204" pitchFamily="34" charset="0"/>
                        </a:rPr>
                        <a:t>SME Advisor (Business </a:t>
                      </a:r>
                      <a:r>
                        <a:rPr lang="pl-PL" sz="1600" dirty="0" err="1">
                          <a:effectLst/>
                          <a:latin typeface="Calibri" panose="020F0502020204030204" pitchFamily="34" charset="0"/>
                          <a:ea typeface="Calibri" panose="020F0502020204030204" pitchFamily="34" charset="0"/>
                          <a:cs typeface="Calibri" panose="020F0502020204030204" pitchFamily="34" charset="0"/>
                        </a:rPr>
                        <a:t>Clients</a:t>
                      </a:r>
                      <a:r>
                        <a:rPr lang="pl-PL" sz="1600" dirty="0">
                          <a:effectLst/>
                          <a:latin typeface="Calibri" panose="020F0502020204030204" pitchFamily="34" charset="0"/>
                          <a:ea typeface="Calibri" panose="020F0502020204030204" pitchFamily="34" charset="0"/>
                          <a:cs typeface="Calibri" panose="020F0502020204030204" pitchFamily="34" charset="0"/>
                        </a:rPr>
                        <a:t>)</a:t>
                      </a:r>
                    </a:p>
                  </a:txBody>
                  <a:tcPr marL="10317" marR="10317" marT="10317" marB="10317" anchor="ctr">
                    <a:solidFill>
                      <a:schemeClr val="bg1">
                        <a:lumMod val="50000"/>
                      </a:schemeClr>
                    </a:solidFill>
                  </a:tcPr>
                </a:tc>
                <a:extLst>
                  <a:ext uri="{0D108BD9-81ED-4DB2-BD59-A6C34878D82A}">
                    <a16:rowId xmlns:a16="http://schemas.microsoft.com/office/drawing/2014/main" val="297298907"/>
                  </a:ext>
                </a:extLst>
              </a:tr>
              <a:tr h="735871">
                <a:tc>
                  <a:txBody>
                    <a:bodyPr/>
                    <a:lstStyle/>
                    <a:p>
                      <a:pPr algn="ctr"/>
                      <a:r>
                        <a:rPr lang="pl-PL" sz="1400" dirty="0" err="1">
                          <a:effectLst/>
                          <a:latin typeface="Calibri" panose="020F0502020204030204" pitchFamily="34" charset="0"/>
                          <a:ea typeface="Calibri" panose="020F0502020204030204" pitchFamily="34" charset="0"/>
                          <a:cs typeface="Calibri" panose="020F0502020204030204" pitchFamily="34" charset="0"/>
                        </a:rPr>
                        <a:t>Branch</a:t>
                      </a:r>
                      <a:r>
                        <a:rPr lang="pl-PL" sz="1400" dirty="0">
                          <a:effectLst/>
                          <a:latin typeface="Calibri" panose="020F0502020204030204" pitchFamily="34" charset="0"/>
                          <a:ea typeface="Calibri" panose="020F0502020204030204" pitchFamily="34" charset="0"/>
                          <a:cs typeface="Calibri" panose="020F0502020204030204" pitchFamily="34" charset="0"/>
                        </a:rPr>
                        <a:t> / In-person</a:t>
                      </a:r>
                    </a:p>
                  </a:txBody>
                  <a:tcPr marL="10317" marR="10317" marT="10317" marB="10317" anchor="ctr"/>
                </a:tc>
                <a:tc>
                  <a:txBody>
                    <a:bodyPr/>
                    <a:lstStyle/>
                    <a:p>
                      <a:r>
                        <a:rPr lang="pl-PL" sz="1400" dirty="0">
                          <a:effectLst/>
                          <a:latin typeface="Calibri" panose="020F0502020204030204" pitchFamily="34" charset="0"/>
                          <a:ea typeface="Calibri" panose="020F0502020204030204" pitchFamily="34" charset="0"/>
                          <a:cs typeface="Calibri" panose="020F0502020204030204" pitchFamily="34" charset="0"/>
                        </a:rPr>
                        <a:t>Basic service, </a:t>
                      </a:r>
                      <a:r>
                        <a:rPr lang="pl-PL" sz="1400" dirty="0" err="1">
                          <a:effectLst/>
                          <a:latin typeface="Calibri" panose="020F0502020204030204" pitchFamily="34" charset="0"/>
                          <a:ea typeface="Calibri" panose="020F0502020204030204" pitchFamily="34" charset="0"/>
                          <a:cs typeface="Calibri" panose="020F0502020204030204" pitchFamily="34" charset="0"/>
                        </a:rPr>
                        <a:t>onboarding</a:t>
                      </a:r>
                      <a:r>
                        <a:rPr lang="pl-PL" sz="1400" dirty="0">
                          <a:effectLst/>
                          <a:latin typeface="Calibri" panose="020F0502020204030204" pitchFamily="34" charset="0"/>
                          <a:ea typeface="Calibri" panose="020F0502020204030204" pitchFamily="34" charset="0"/>
                          <a:cs typeface="Calibri" panose="020F0502020204030204" pitchFamily="34" charset="0"/>
                        </a:rPr>
                        <a:t>, </a:t>
                      </a:r>
                      <a:r>
                        <a:rPr lang="pl-PL" sz="1400" dirty="0" err="1">
                          <a:effectLst/>
                          <a:latin typeface="Calibri" panose="020F0502020204030204" pitchFamily="34" charset="0"/>
                          <a:ea typeface="Calibri" panose="020F0502020204030204" pitchFamily="34" charset="0"/>
                          <a:cs typeface="Calibri" panose="020F0502020204030204" pitchFamily="34" charset="0"/>
                        </a:rPr>
                        <a:t>transactional</a:t>
                      </a:r>
                      <a:r>
                        <a:rPr lang="pl-PL" sz="1400" dirty="0">
                          <a:effectLst/>
                          <a:latin typeface="Calibri" panose="020F0502020204030204" pitchFamily="34" charset="0"/>
                          <a:ea typeface="Calibri" panose="020F0502020204030204" pitchFamily="34" charset="0"/>
                          <a:cs typeface="Calibri" panose="020F0502020204030204" pitchFamily="34" charset="0"/>
                        </a:rPr>
                        <a:t> </a:t>
                      </a:r>
                      <a:r>
                        <a:rPr lang="pl-PL" sz="1400" dirty="0" err="1">
                          <a:effectLst/>
                          <a:latin typeface="Calibri" panose="020F0502020204030204" pitchFamily="34" charset="0"/>
                          <a:ea typeface="Calibri" panose="020F0502020204030204" pitchFamily="34" charset="0"/>
                          <a:cs typeface="Calibri" panose="020F0502020204030204" pitchFamily="34" charset="0"/>
                        </a:rPr>
                        <a:t>support</a:t>
                      </a:r>
                      <a:endParaRPr lang="pl-PL" sz="1400" dirty="0">
                        <a:effectLst/>
                        <a:latin typeface="Calibri" panose="020F0502020204030204" pitchFamily="34" charset="0"/>
                        <a:ea typeface="Calibri" panose="020F0502020204030204" pitchFamily="34" charset="0"/>
                        <a:cs typeface="Calibri" panose="020F0502020204030204" pitchFamily="34" charset="0"/>
                      </a:endParaRPr>
                    </a:p>
                  </a:txBody>
                  <a:tcPr marL="10317" marR="10317" marT="10317" marB="10317" anchor="ctr"/>
                </a:tc>
                <a:tc>
                  <a:txBody>
                    <a:bodyPr/>
                    <a:lstStyle/>
                    <a:p>
                      <a:r>
                        <a:rPr lang="pl-PL" sz="1400" dirty="0">
                          <a:effectLst/>
                          <a:latin typeface="Calibri" panose="020F0502020204030204" pitchFamily="34" charset="0"/>
                          <a:ea typeface="Calibri" panose="020F0502020204030204" pitchFamily="34" charset="0"/>
                          <a:cs typeface="Calibri" panose="020F0502020204030204" pitchFamily="34" charset="0"/>
                        </a:rPr>
                        <a:t>Strategic </a:t>
                      </a:r>
                      <a:r>
                        <a:rPr lang="pl-PL" sz="1400" dirty="0" err="1">
                          <a:effectLst/>
                          <a:latin typeface="Calibri" panose="020F0502020204030204" pitchFamily="34" charset="0"/>
                          <a:ea typeface="Calibri" panose="020F0502020204030204" pitchFamily="34" charset="0"/>
                          <a:cs typeface="Calibri" panose="020F0502020204030204" pitchFamily="34" charset="0"/>
                        </a:rPr>
                        <a:t>sessions</a:t>
                      </a:r>
                      <a:r>
                        <a:rPr lang="pl-PL" sz="1400" dirty="0">
                          <a:effectLst/>
                          <a:latin typeface="Calibri" panose="020F0502020204030204" pitchFamily="34" charset="0"/>
                          <a:ea typeface="Calibri" panose="020F0502020204030204" pitchFamily="34" charset="0"/>
                          <a:cs typeface="Calibri" panose="020F0502020204030204" pitchFamily="34" charset="0"/>
                        </a:rPr>
                        <a:t>, </a:t>
                      </a:r>
                      <a:r>
                        <a:rPr lang="pl-PL" sz="1400" dirty="0" err="1">
                          <a:effectLst/>
                          <a:latin typeface="Calibri" panose="020F0502020204030204" pitchFamily="34" charset="0"/>
                          <a:ea typeface="Calibri" panose="020F0502020204030204" pitchFamily="34" charset="0"/>
                          <a:cs typeface="Calibri" panose="020F0502020204030204" pitchFamily="34" charset="0"/>
                        </a:rPr>
                        <a:t>wealth</a:t>
                      </a:r>
                      <a:r>
                        <a:rPr lang="pl-PL" sz="1400" dirty="0">
                          <a:effectLst/>
                          <a:latin typeface="Calibri" panose="020F0502020204030204" pitchFamily="34" charset="0"/>
                          <a:ea typeface="Calibri" panose="020F0502020204030204" pitchFamily="34" charset="0"/>
                          <a:cs typeface="Calibri" panose="020F0502020204030204" pitchFamily="34" charset="0"/>
                        </a:rPr>
                        <a:t> </a:t>
                      </a:r>
                      <a:r>
                        <a:rPr lang="pl-PL" sz="1400" dirty="0" err="1">
                          <a:effectLst/>
                          <a:latin typeface="Calibri" panose="020F0502020204030204" pitchFamily="34" charset="0"/>
                          <a:ea typeface="Calibri" panose="020F0502020204030204" pitchFamily="34" charset="0"/>
                          <a:cs typeface="Calibri" panose="020F0502020204030204" pitchFamily="34" charset="0"/>
                        </a:rPr>
                        <a:t>planning</a:t>
                      </a:r>
                      <a:r>
                        <a:rPr lang="pl-PL" sz="1400" dirty="0">
                          <a:effectLst/>
                          <a:latin typeface="Calibri" panose="020F0502020204030204" pitchFamily="34" charset="0"/>
                          <a:ea typeface="Calibri" panose="020F0502020204030204" pitchFamily="34" charset="0"/>
                          <a:cs typeface="Calibri" panose="020F0502020204030204" pitchFamily="34" charset="0"/>
                        </a:rPr>
                        <a:t>, trust-</a:t>
                      </a:r>
                      <a:r>
                        <a:rPr lang="pl-PL" sz="1400" dirty="0" err="1">
                          <a:effectLst/>
                          <a:latin typeface="Calibri" panose="020F0502020204030204" pitchFamily="34" charset="0"/>
                          <a:ea typeface="Calibri" panose="020F0502020204030204" pitchFamily="34" charset="0"/>
                          <a:cs typeface="Calibri" panose="020F0502020204030204" pitchFamily="34" charset="0"/>
                        </a:rPr>
                        <a:t>building</a:t>
                      </a:r>
                      <a:endParaRPr lang="pl-PL" sz="1400" dirty="0">
                        <a:effectLst/>
                        <a:latin typeface="Calibri" panose="020F0502020204030204" pitchFamily="34" charset="0"/>
                        <a:ea typeface="Calibri" panose="020F0502020204030204" pitchFamily="34" charset="0"/>
                        <a:cs typeface="Calibri" panose="020F0502020204030204" pitchFamily="34" charset="0"/>
                      </a:endParaRPr>
                    </a:p>
                  </a:txBody>
                  <a:tcPr marL="10317" marR="10317" marT="10317" marB="10317" anchor="ctr"/>
                </a:tc>
                <a:tc>
                  <a:txBody>
                    <a:bodyPr/>
                    <a:lstStyle/>
                    <a:p>
                      <a:r>
                        <a:rPr lang="pl-PL" sz="1400" dirty="0">
                          <a:effectLst/>
                          <a:latin typeface="Calibri" panose="020F0502020204030204" pitchFamily="34" charset="0"/>
                          <a:ea typeface="Calibri" panose="020F0502020204030204" pitchFamily="34" charset="0"/>
                          <a:cs typeface="Calibri" panose="020F0502020204030204" pitchFamily="34" charset="0"/>
                        </a:rPr>
                        <a:t>Business consulting, </a:t>
                      </a:r>
                      <a:r>
                        <a:rPr lang="pl-PL" sz="1400" dirty="0" err="1">
                          <a:effectLst/>
                          <a:latin typeface="Calibri" panose="020F0502020204030204" pitchFamily="34" charset="0"/>
                          <a:ea typeface="Calibri" panose="020F0502020204030204" pitchFamily="34" charset="0"/>
                          <a:cs typeface="Calibri" panose="020F0502020204030204" pitchFamily="34" charset="0"/>
                        </a:rPr>
                        <a:t>credit</a:t>
                      </a:r>
                      <a:r>
                        <a:rPr lang="pl-PL" sz="1400" dirty="0">
                          <a:effectLst/>
                          <a:latin typeface="Calibri" panose="020F0502020204030204" pitchFamily="34" charset="0"/>
                          <a:ea typeface="Calibri" panose="020F0502020204030204" pitchFamily="34" charset="0"/>
                          <a:cs typeface="Calibri" panose="020F0502020204030204" pitchFamily="34" charset="0"/>
                        </a:rPr>
                        <a:t> </a:t>
                      </a:r>
                      <a:r>
                        <a:rPr lang="pl-PL" sz="1400" dirty="0" err="1">
                          <a:effectLst/>
                          <a:latin typeface="Calibri" panose="020F0502020204030204" pitchFamily="34" charset="0"/>
                          <a:ea typeface="Calibri" panose="020F0502020204030204" pitchFamily="34" charset="0"/>
                          <a:cs typeface="Calibri" panose="020F0502020204030204" pitchFamily="34" charset="0"/>
                        </a:rPr>
                        <a:t>decisions</a:t>
                      </a:r>
                      <a:r>
                        <a:rPr lang="pl-PL" sz="1400" dirty="0">
                          <a:effectLst/>
                          <a:latin typeface="Calibri" panose="020F0502020204030204" pitchFamily="34" charset="0"/>
                          <a:ea typeface="Calibri" panose="020F0502020204030204" pitchFamily="34" charset="0"/>
                          <a:cs typeface="Calibri" panose="020F0502020204030204" pitchFamily="34" charset="0"/>
                        </a:rPr>
                        <a:t>, in-</a:t>
                      </a:r>
                      <a:r>
                        <a:rPr lang="pl-PL" sz="1400" dirty="0" err="1">
                          <a:effectLst/>
                          <a:latin typeface="Calibri" panose="020F0502020204030204" pitchFamily="34" charset="0"/>
                          <a:ea typeface="Calibri" panose="020F0502020204030204" pitchFamily="34" charset="0"/>
                          <a:cs typeface="Calibri" panose="020F0502020204030204" pitchFamily="34" charset="0"/>
                        </a:rPr>
                        <a:t>depth</a:t>
                      </a:r>
                      <a:r>
                        <a:rPr lang="pl-PL" sz="1400" dirty="0">
                          <a:effectLst/>
                          <a:latin typeface="Calibri" panose="020F0502020204030204" pitchFamily="34" charset="0"/>
                          <a:ea typeface="Calibri" panose="020F0502020204030204" pitchFamily="34" charset="0"/>
                          <a:cs typeface="Calibri" panose="020F0502020204030204" pitchFamily="34" charset="0"/>
                        </a:rPr>
                        <a:t> </a:t>
                      </a:r>
                      <a:r>
                        <a:rPr lang="pl-PL" sz="1400" dirty="0" err="1">
                          <a:effectLst/>
                          <a:latin typeface="Calibri" panose="020F0502020204030204" pitchFamily="34" charset="0"/>
                          <a:ea typeface="Calibri" panose="020F0502020204030204" pitchFamily="34" charset="0"/>
                          <a:cs typeface="Calibri" panose="020F0502020204030204" pitchFamily="34" charset="0"/>
                        </a:rPr>
                        <a:t>financial</a:t>
                      </a:r>
                      <a:r>
                        <a:rPr lang="pl-PL" sz="1400" dirty="0">
                          <a:effectLst/>
                          <a:latin typeface="Calibri" panose="020F0502020204030204" pitchFamily="34" charset="0"/>
                          <a:ea typeface="Calibri" panose="020F0502020204030204" pitchFamily="34" charset="0"/>
                          <a:cs typeface="Calibri" panose="020F0502020204030204" pitchFamily="34" charset="0"/>
                        </a:rPr>
                        <a:t> </a:t>
                      </a:r>
                      <a:r>
                        <a:rPr lang="pl-PL" sz="1400" dirty="0" err="1">
                          <a:effectLst/>
                          <a:latin typeface="Calibri" panose="020F0502020204030204" pitchFamily="34" charset="0"/>
                          <a:ea typeface="Calibri" panose="020F0502020204030204" pitchFamily="34" charset="0"/>
                          <a:cs typeface="Calibri" panose="020F0502020204030204" pitchFamily="34" charset="0"/>
                        </a:rPr>
                        <a:t>needs</a:t>
                      </a:r>
                      <a:endParaRPr lang="pl-PL" sz="1400" dirty="0">
                        <a:effectLst/>
                        <a:latin typeface="Calibri" panose="020F0502020204030204" pitchFamily="34" charset="0"/>
                        <a:ea typeface="Calibri" panose="020F0502020204030204" pitchFamily="34" charset="0"/>
                        <a:cs typeface="Calibri" panose="020F0502020204030204" pitchFamily="34" charset="0"/>
                      </a:endParaRPr>
                    </a:p>
                  </a:txBody>
                  <a:tcPr marL="10317" marR="10317" marT="10317" marB="10317" anchor="ctr"/>
                </a:tc>
                <a:extLst>
                  <a:ext uri="{0D108BD9-81ED-4DB2-BD59-A6C34878D82A}">
                    <a16:rowId xmlns:a16="http://schemas.microsoft.com/office/drawing/2014/main" val="277885016"/>
                  </a:ext>
                </a:extLst>
              </a:tr>
              <a:tr h="735871">
                <a:tc>
                  <a:txBody>
                    <a:bodyPr/>
                    <a:lstStyle/>
                    <a:p>
                      <a:pPr algn="ctr"/>
                      <a:r>
                        <a:rPr lang="pl-PL" sz="1400">
                          <a:effectLst/>
                          <a:latin typeface="Calibri" panose="020F0502020204030204" pitchFamily="34" charset="0"/>
                          <a:ea typeface="Calibri" panose="020F0502020204030204" pitchFamily="34" charset="0"/>
                          <a:cs typeface="Calibri" panose="020F0502020204030204" pitchFamily="34" charset="0"/>
                        </a:rPr>
                        <a:t>Video meetings</a:t>
                      </a:r>
                    </a:p>
                  </a:txBody>
                  <a:tcPr marL="10317" marR="10317" marT="10317" marB="10317" anchor="ctr"/>
                </a:tc>
                <a:tc>
                  <a:txBody>
                    <a:bodyPr/>
                    <a:lstStyle/>
                    <a:p>
                      <a:r>
                        <a:rPr lang="pl-PL" sz="1400">
                          <a:effectLst/>
                          <a:latin typeface="Calibri" panose="020F0502020204030204" pitchFamily="34" charset="0"/>
                          <a:ea typeface="Calibri" panose="020F0502020204030204" pitchFamily="34" charset="0"/>
                          <a:cs typeface="Calibri" panose="020F0502020204030204" pitchFamily="34" charset="0"/>
                        </a:rPr>
                        <a:t>Cost-effective alternative to branch visits</a:t>
                      </a:r>
                    </a:p>
                  </a:txBody>
                  <a:tcPr marL="10317" marR="10317" marT="10317" marB="10317" anchor="ctr"/>
                </a:tc>
                <a:tc>
                  <a:txBody>
                    <a:bodyPr/>
                    <a:lstStyle/>
                    <a:p>
                      <a:r>
                        <a:rPr lang="pl-PL" sz="1400" dirty="0" err="1">
                          <a:effectLst/>
                          <a:latin typeface="Calibri" panose="020F0502020204030204" pitchFamily="34" charset="0"/>
                          <a:ea typeface="Calibri" panose="020F0502020204030204" pitchFamily="34" charset="0"/>
                          <a:cs typeface="Calibri" panose="020F0502020204030204" pitchFamily="34" charset="0"/>
                        </a:rPr>
                        <a:t>Primary</a:t>
                      </a:r>
                      <a:r>
                        <a:rPr lang="pl-PL" sz="1400" dirty="0">
                          <a:effectLst/>
                          <a:latin typeface="Calibri" panose="020F0502020204030204" pitchFamily="34" charset="0"/>
                          <a:ea typeface="Calibri" panose="020F0502020204030204" pitchFamily="34" charset="0"/>
                          <a:cs typeface="Calibri" panose="020F0502020204030204" pitchFamily="34" charset="0"/>
                        </a:rPr>
                        <a:t> </a:t>
                      </a:r>
                      <a:r>
                        <a:rPr lang="pl-PL" sz="1400" dirty="0" err="1">
                          <a:effectLst/>
                          <a:latin typeface="Calibri" panose="020F0502020204030204" pitchFamily="34" charset="0"/>
                          <a:ea typeface="Calibri" panose="020F0502020204030204" pitchFamily="34" charset="0"/>
                          <a:cs typeface="Calibri" panose="020F0502020204030204" pitchFamily="34" charset="0"/>
                        </a:rPr>
                        <a:t>advisory</a:t>
                      </a:r>
                      <a:r>
                        <a:rPr lang="pl-PL" sz="1400" dirty="0">
                          <a:effectLst/>
                          <a:latin typeface="Calibri" panose="020F0502020204030204" pitchFamily="34" charset="0"/>
                          <a:ea typeface="Calibri" panose="020F0502020204030204" pitchFamily="34" charset="0"/>
                          <a:cs typeface="Calibri" panose="020F0502020204030204" pitchFamily="34" charset="0"/>
                        </a:rPr>
                        <a:t> channel for </a:t>
                      </a:r>
                      <a:r>
                        <a:rPr lang="pl-PL" sz="1400" dirty="0" err="1">
                          <a:effectLst/>
                          <a:latin typeface="Calibri" panose="020F0502020204030204" pitchFamily="34" charset="0"/>
                          <a:ea typeface="Calibri" panose="020F0502020204030204" pitchFamily="34" charset="0"/>
                          <a:cs typeface="Calibri" panose="020F0502020204030204" pitchFamily="34" charset="0"/>
                        </a:rPr>
                        <a:t>convenience</a:t>
                      </a:r>
                      <a:r>
                        <a:rPr lang="pl-PL" sz="1400" dirty="0">
                          <a:effectLst/>
                          <a:latin typeface="Calibri" panose="020F0502020204030204" pitchFamily="34" charset="0"/>
                          <a:ea typeface="Calibri" panose="020F0502020204030204" pitchFamily="34" charset="0"/>
                          <a:cs typeface="Calibri" panose="020F0502020204030204" pitchFamily="34" charset="0"/>
                        </a:rPr>
                        <a:t> and </a:t>
                      </a:r>
                      <a:r>
                        <a:rPr lang="pl-PL" sz="1400" dirty="0" err="1">
                          <a:effectLst/>
                          <a:latin typeface="Calibri" panose="020F0502020204030204" pitchFamily="34" charset="0"/>
                          <a:ea typeface="Calibri" panose="020F0502020204030204" pitchFamily="34" charset="0"/>
                          <a:cs typeface="Calibri" panose="020F0502020204030204" pitchFamily="34" charset="0"/>
                        </a:rPr>
                        <a:t>discretion</a:t>
                      </a:r>
                      <a:endParaRPr lang="pl-PL" sz="1400" dirty="0">
                        <a:effectLst/>
                        <a:latin typeface="Calibri" panose="020F0502020204030204" pitchFamily="34" charset="0"/>
                        <a:ea typeface="Calibri" panose="020F0502020204030204" pitchFamily="34" charset="0"/>
                        <a:cs typeface="Calibri" panose="020F0502020204030204" pitchFamily="34" charset="0"/>
                      </a:endParaRPr>
                    </a:p>
                  </a:txBody>
                  <a:tcPr marL="10317" marR="10317" marT="10317" marB="10317" anchor="ctr"/>
                </a:tc>
                <a:tc>
                  <a:txBody>
                    <a:bodyPr/>
                    <a:lstStyle/>
                    <a:p>
                      <a:r>
                        <a:rPr lang="pl-PL" sz="1400">
                          <a:effectLst/>
                          <a:latin typeface="Calibri" panose="020F0502020204030204" pitchFamily="34" charset="0"/>
                          <a:ea typeface="Calibri" panose="020F0502020204030204" pitchFamily="34" charset="0"/>
                          <a:cs typeface="Calibri" panose="020F0502020204030204" pitchFamily="34" charset="0"/>
                        </a:rPr>
                        <a:t>Regular check-ins, remote business reviews</a:t>
                      </a:r>
                    </a:p>
                  </a:txBody>
                  <a:tcPr marL="10317" marR="10317" marT="10317" marB="10317" anchor="ctr"/>
                </a:tc>
                <a:extLst>
                  <a:ext uri="{0D108BD9-81ED-4DB2-BD59-A6C34878D82A}">
                    <a16:rowId xmlns:a16="http://schemas.microsoft.com/office/drawing/2014/main" val="2531833588"/>
                  </a:ext>
                </a:extLst>
              </a:tr>
              <a:tr h="499471">
                <a:tc>
                  <a:txBody>
                    <a:bodyPr/>
                    <a:lstStyle/>
                    <a:p>
                      <a:pPr algn="ctr"/>
                      <a:r>
                        <a:rPr lang="pl-PL" sz="1400" dirty="0">
                          <a:effectLst/>
                          <a:latin typeface="Calibri" panose="020F0502020204030204" pitchFamily="34" charset="0"/>
                          <a:ea typeface="Calibri" panose="020F0502020204030204" pitchFamily="34" charset="0"/>
                          <a:cs typeface="Calibri" panose="020F0502020204030204" pitchFamily="34" charset="0"/>
                        </a:rPr>
                        <a:t>Chat</a:t>
                      </a:r>
                    </a:p>
                  </a:txBody>
                  <a:tcPr marL="10317" marR="10317" marT="10317" marB="10317" anchor="ctr"/>
                </a:tc>
                <a:tc>
                  <a:txBody>
                    <a:bodyPr/>
                    <a:lstStyle/>
                    <a:p>
                      <a:r>
                        <a:rPr lang="pl-PL" sz="1400" dirty="0">
                          <a:effectLst/>
                          <a:latin typeface="Calibri" panose="020F0502020204030204" pitchFamily="34" charset="0"/>
                          <a:ea typeface="Calibri" panose="020F0502020204030204" pitchFamily="34" charset="0"/>
                          <a:cs typeface="Calibri" panose="020F0502020204030204" pitchFamily="34" charset="0"/>
                        </a:rPr>
                        <a:t>Digital-</a:t>
                      </a:r>
                      <a:r>
                        <a:rPr lang="pl-PL" sz="1400" dirty="0" err="1">
                          <a:effectLst/>
                          <a:latin typeface="Calibri" panose="020F0502020204030204" pitchFamily="34" charset="0"/>
                          <a:ea typeface="Calibri" panose="020F0502020204030204" pitchFamily="34" charset="0"/>
                          <a:cs typeface="Calibri" panose="020F0502020204030204" pitchFamily="34" charset="0"/>
                        </a:rPr>
                        <a:t>first</a:t>
                      </a:r>
                      <a:r>
                        <a:rPr lang="pl-PL" sz="1400" dirty="0">
                          <a:effectLst/>
                          <a:latin typeface="Calibri" panose="020F0502020204030204" pitchFamily="34" charset="0"/>
                          <a:ea typeface="Calibri" panose="020F0502020204030204" pitchFamily="34" charset="0"/>
                          <a:cs typeface="Calibri" panose="020F0502020204030204" pitchFamily="34" charset="0"/>
                        </a:rPr>
                        <a:t> service, AI/</a:t>
                      </a:r>
                      <a:r>
                        <a:rPr lang="pl-PL" sz="1400" dirty="0" err="1">
                          <a:effectLst/>
                          <a:latin typeface="Calibri" panose="020F0502020204030204" pitchFamily="34" charset="0"/>
                          <a:ea typeface="Calibri" panose="020F0502020204030204" pitchFamily="34" charset="0"/>
                          <a:cs typeface="Calibri" panose="020F0502020204030204" pitchFamily="34" charset="0"/>
                        </a:rPr>
                        <a:t>chatbot</a:t>
                      </a:r>
                      <a:r>
                        <a:rPr lang="pl-PL" sz="1400" dirty="0">
                          <a:effectLst/>
                          <a:latin typeface="Calibri" panose="020F0502020204030204" pitchFamily="34" charset="0"/>
                          <a:ea typeface="Calibri" panose="020F0502020204030204" pitchFamily="34" charset="0"/>
                          <a:cs typeface="Calibri" panose="020F0502020204030204" pitchFamily="34" charset="0"/>
                        </a:rPr>
                        <a:t> </a:t>
                      </a:r>
                      <a:r>
                        <a:rPr lang="pl-PL" sz="1400" dirty="0" err="1">
                          <a:effectLst/>
                          <a:latin typeface="Calibri" panose="020F0502020204030204" pitchFamily="34" charset="0"/>
                          <a:ea typeface="Calibri" panose="020F0502020204030204" pitchFamily="34" charset="0"/>
                          <a:cs typeface="Calibri" panose="020F0502020204030204" pitchFamily="34" charset="0"/>
                        </a:rPr>
                        <a:t>assisted</a:t>
                      </a:r>
                      <a:endParaRPr lang="pl-PL" sz="1400" dirty="0">
                        <a:effectLst/>
                        <a:latin typeface="Calibri" panose="020F0502020204030204" pitchFamily="34" charset="0"/>
                        <a:ea typeface="Calibri" panose="020F0502020204030204" pitchFamily="34" charset="0"/>
                        <a:cs typeface="Calibri" panose="020F0502020204030204" pitchFamily="34" charset="0"/>
                      </a:endParaRPr>
                    </a:p>
                  </a:txBody>
                  <a:tcPr marL="10317" marR="10317" marT="10317" marB="10317" anchor="ctr"/>
                </a:tc>
                <a:tc>
                  <a:txBody>
                    <a:bodyPr/>
                    <a:lstStyle/>
                    <a:p>
                      <a:pPr marL="0" marR="0" lvl="0" indent="0" algn="l" defTabSz="685773" rtl="0" eaLnBrk="1" fontAlgn="auto" latinLnBrk="0" hangingPunct="1">
                        <a:lnSpc>
                          <a:spcPct val="100000"/>
                        </a:lnSpc>
                        <a:spcBef>
                          <a:spcPts val="0"/>
                        </a:spcBef>
                        <a:spcAft>
                          <a:spcPts val="0"/>
                        </a:spcAft>
                        <a:buClrTx/>
                        <a:buSzTx/>
                        <a:buFontTx/>
                        <a:buNone/>
                        <a:tabLst/>
                        <a:defRPr/>
                      </a:pPr>
                      <a:r>
                        <a:rPr lang="pl-PL" sz="1400" dirty="0">
                          <a:effectLst/>
                          <a:latin typeface="Calibri" panose="020F0502020204030204" pitchFamily="34" charset="0"/>
                          <a:ea typeface="Calibri" panose="020F0502020204030204" pitchFamily="34" charset="0"/>
                          <a:cs typeface="Calibri" panose="020F0502020204030204" pitchFamily="34" charset="0"/>
                        </a:rPr>
                        <a:t>Digital-</a:t>
                      </a:r>
                      <a:r>
                        <a:rPr lang="pl-PL" sz="1400" dirty="0" err="1">
                          <a:effectLst/>
                          <a:latin typeface="Calibri" panose="020F0502020204030204" pitchFamily="34" charset="0"/>
                          <a:ea typeface="Calibri" panose="020F0502020204030204" pitchFamily="34" charset="0"/>
                          <a:cs typeface="Calibri" panose="020F0502020204030204" pitchFamily="34" charset="0"/>
                        </a:rPr>
                        <a:t>first</a:t>
                      </a:r>
                      <a:r>
                        <a:rPr lang="pl-PL" sz="1400" dirty="0">
                          <a:effectLst/>
                          <a:latin typeface="Calibri" panose="020F0502020204030204" pitchFamily="34" charset="0"/>
                          <a:ea typeface="Calibri" panose="020F0502020204030204" pitchFamily="34" charset="0"/>
                          <a:cs typeface="Calibri" panose="020F0502020204030204" pitchFamily="34" charset="0"/>
                        </a:rPr>
                        <a:t> service, AI/</a:t>
                      </a:r>
                      <a:r>
                        <a:rPr lang="pl-PL" sz="1400" dirty="0" err="1">
                          <a:effectLst/>
                          <a:latin typeface="Calibri" panose="020F0502020204030204" pitchFamily="34" charset="0"/>
                          <a:ea typeface="Calibri" panose="020F0502020204030204" pitchFamily="34" charset="0"/>
                          <a:cs typeface="Calibri" panose="020F0502020204030204" pitchFamily="34" charset="0"/>
                        </a:rPr>
                        <a:t>chatbot</a:t>
                      </a:r>
                      <a:r>
                        <a:rPr lang="pl-PL" sz="1400" dirty="0">
                          <a:effectLst/>
                          <a:latin typeface="Calibri" panose="020F0502020204030204" pitchFamily="34" charset="0"/>
                          <a:ea typeface="Calibri" panose="020F0502020204030204" pitchFamily="34" charset="0"/>
                          <a:cs typeface="Calibri" panose="020F0502020204030204" pitchFamily="34" charset="0"/>
                        </a:rPr>
                        <a:t> </a:t>
                      </a:r>
                      <a:r>
                        <a:rPr lang="pl-PL" sz="1400" dirty="0" err="1">
                          <a:effectLst/>
                          <a:latin typeface="Calibri" panose="020F0502020204030204" pitchFamily="34" charset="0"/>
                          <a:ea typeface="Calibri" panose="020F0502020204030204" pitchFamily="34" charset="0"/>
                          <a:cs typeface="Calibri" panose="020F0502020204030204" pitchFamily="34" charset="0"/>
                        </a:rPr>
                        <a:t>assisted</a:t>
                      </a:r>
                      <a:endParaRPr lang="pl-PL" sz="1400" dirty="0">
                        <a:effectLst/>
                        <a:latin typeface="Calibri" panose="020F0502020204030204" pitchFamily="34" charset="0"/>
                        <a:ea typeface="Calibri" panose="020F0502020204030204" pitchFamily="34" charset="0"/>
                        <a:cs typeface="Calibri" panose="020F0502020204030204" pitchFamily="34" charset="0"/>
                      </a:endParaRPr>
                    </a:p>
                  </a:txBody>
                  <a:tcPr marL="10317" marR="10317" marT="10317" marB="10317" anchor="ctr"/>
                </a:tc>
                <a:tc>
                  <a:txBody>
                    <a:bodyPr/>
                    <a:lstStyle/>
                    <a:p>
                      <a:pPr marL="0" marR="0" lvl="0" indent="0" algn="l" defTabSz="685773" rtl="0" eaLnBrk="1" fontAlgn="auto" latinLnBrk="0" hangingPunct="1">
                        <a:lnSpc>
                          <a:spcPct val="100000"/>
                        </a:lnSpc>
                        <a:spcBef>
                          <a:spcPts val="0"/>
                        </a:spcBef>
                        <a:spcAft>
                          <a:spcPts val="0"/>
                        </a:spcAft>
                        <a:buClrTx/>
                        <a:buSzTx/>
                        <a:buFontTx/>
                        <a:buNone/>
                        <a:tabLst/>
                        <a:defRPr/>
                      </a:pPr>
                      <a:r>
                        <a:rPr lang="pl-PL" sz="1400" dirty="0">
                          <a:effectLst/>
                          <a:latin typeface="Calibri" panose="020F0502020204030204" pitchFamily="34" charset="0"/>
                          <a:ea typeface="Calibri" panose="020F0502020204030204" pitchFamily="34" charset="0"/>
                          <a:cs typeface="Calibri" panose="020F0502020204030204" pitchFamily="34" charset="0"/>
                        </a:rPr>
                        <a:t>Digital-</a:t>
                      </a:r>
                      <a:r>
                        <a:rPr lang="pl-PL" sz="1400" dirty="0" err="1">
                          <a:effectLst/>
                          <a:latin typeface="Calibri" panose="020F0502020204030204" pitchFamily="34" charset="0"/>
                          <a:ea typeface="Calibri" panose="020F0502020204030204" pitchFamily="34" charset="0"/>
                          <a:cs typeface="Calibri" panose="020F0502020204030204" pitchFamily="34" charset="0"/>
                        </a:rPr>
                        <a:t>first</a:t>
                      </a:r>
                      <a:r>
                        <a:rPr lang="pl-PL" sz="1400" dirty="0">
                          <a:effectLst/>
                          <a:latin typeface="Calibri" panose="020F0502020204030204" pitchFamily="34" charset="0"/>
                          <a:ea typeface="Calibri" panose="020F0502020204030204" pitchFamily="34" charset="0"/>
                          <a:cs typeface="Calibri" panose="020F0502020204030204" pitchFamily="34" charset="0"/>
                        </a:rPr>
                        <a:t> service, AI/</a:t>
                      </a:r>
                      <a:r>
                        <a:rPr lang="pl-PL" sz="1400" dirty="0" err="1">
                          <a:effectLst/>
                          <a:latin typeface="Calibri" panose="020F0502020204030204" pitchFamily="34" charset="0"/>
                          <a:ea typeface="Calibri" panose="020F0502020204030204" pitchFamily="34" charset="0"/>
                          <a:cs typeface="Calibri" panose="020F0502020204030204" pitchFamily="34" charset="0"/>
                        </a:rPr>
                        <a:t>chatbot</a:t>
                      </a:r>
                      <a:r>
                        <a:rPr lang="pl-PL" sz="1400" dirty="0">
                          <a:effectLst/>
                          <a:latin typeface="Calibri" panose="020F0502020204030204" pitchFamily="34" charset="0"/>
                          <a:ea typeface="Calibri" panose="020F0502020204030204" pitchFamily="34" charset="0"/>
                          <a:cs typeface="Calibri" panose="020F0502020204030204" pitchFamily="34" charset="0"/>
                        </a:rPr>
                        <a:t> </a:t>
                      </a:r>
                      <a:r>
                        <a:rPr lang="pl-PL" sz="1400" dirty="0" err="1">
                          <a:effectLst/>
                          <a:latin typeface="Calibri" panose="020F0502020204030204" pitchFamily="34" charset="0"/>
                          <a:ea typeface="Calibri" panose="020F0502020204030204" pitchFamily="34" charset="0"/>
                          <a:cs typeface="Calibri" panose="020F0502020204030204" pitchFamily="34" charset="0"/>
                        </a:rPr>
                        <a:t>assisted</a:t>
                      </a:r>
                      <a:endParaRPr lang="pl-PL" sz="1400" dirty="0">
                        <a:effectLst/>
                        <a:latin typeface="Calibri" panose="020F0502020204030204" pitchFamily="34" charset="0"/>
                        <a:ea typeface="Calibri" panose="020F0502020204030204" pitchFamily="34" charset="0"/>
                        <a:cs typeface="Calibri" panose="020F0502020204030204" pitchFamily="34" charset="0"/>
                      </a:endParaRPr>
                    </a:p>
                  </a:txBody>
                  <a:tcPr marL="10317" marR="10317" marT="10317" marB="10317" anchor="ctr"/>
                </a:tc>
                <a:extLst>
                  <a:ext uri="{0D108BD9-81ED-4DB2-BD59-A6C34878D82A}">
                    <a16:rowId xmlns:a16="http://schemas.microsoft.com/office/drawing/2014/main" val="1665443749"/>
                  </a:ext>
                </a:extLst>
              </a:tr>
              <a:tr h="499471">
                <a:tc>
                  <a:txBody>
                    <a:bodyPr/>
                    <a:lstStyle/>
                    <a:p>
                      <a:pPr algn="ctr"/>
                      <a:r>
                        <a:rPr lang="pl-PL" sz="1400">
                          <a:effectLst/>
                          <a:latin typeface="Calibri" panose="020F0502020204030204" pitchFamily="34" charset="0"/>
                          <a:ea typeface="Calibri" panose="020F0502020204030204" pitchFamily="34" charset="0"/>
                          <a:cs typeface="Calibri" panose="020F0502020204030204" pitchFamily="34" charset="0"/>
                        </a:rPr>
                        <a:t>Phone (Call center)</a:t>
                      </a:r>
                    </a:p>
                  </a:txBody>
                  <a:tcPr marL="10317" marR="10317" marT="10317" marB="10317" anchor="ctr"/>
                </a:tc>
                <a:tc>
                  <a:txBody>
                    <a:bodyPr/>
                    <a:lstStyle/>
                    <a:p>
                      <a:r>
                        <a:rPr lang="pl-PL" sz="1400">
                          <a:effectLst/>
                          <a:latin typeface="Calibri" panose="020F0502020204030204" pitchFamily="34" charset="0"/>
                          <a:ea typeface="Calibri" panose="020F0502020204030204" pitchFamily="34" charset="0"/>
                          <a:cs typeface="Calibri" panose="020F0502020204030204" pitchFamily="34" charset="0"/>
                        </a:rPr>
                        <a:t>Standard inquiries and issue resolution</a:t>
                      </a:r>
                    </a:p>
                  </a:txBody>
                  <a:tcPr marL="10317" marR="10317" marT="10317" marB="10317" anchor="ctr"/>
                </a:tc>
                <a:tc>
                  <a:txBody>
                    <a:bodyPr/>
                    <a:lstStyle/>
                    <a:p>
                      <a:r>
                        <a:rPr lang="pl-PL" sz="1400" dirty="0" err="1">
                          <a:effectLst/>
                          <a:latin typeface="Calibri" panose="020F0502020204030204" pitchFamily="34" charset="0"/>
                          <a:ea typeface="Calibri" panose="020F0502020204030204" pitchFamily="34" charset="0"/>
                          <a:cs typeface="Calibri" panose="020F0502020204030204" pitchFamily="34" charset="0"/>
                        </a:rPr>
                        <a:t>Dedicated</a:t>
                      </a:r>
                      <a:r>
                        <a:rPr lang="pl-PL" sz="1400" dirty="0">
                          <a:effectLst/>
                          <a:latin typeface="Calibri" panose="020F0502020204030204" pitchFamily="34" charset="0"/>
                          <a:ea typeface="Calibri" panose="020F0502020204030204" pitchFamily="34" charset="0"/>
                          <a:cs typeface="Calibri" panose="020F0502020204030204" pitchFamily="34" charset="0"/>
                        </a:rPr>
                        <a:t> </a:t>
                      </a:r>
                      <a:r>
                        <a:rPr lang="pl-PL" sz="1400" dirty="0" err="1">
                          <a:effectLst/>
                          <a:latin typeface="Calibri" panose="020F0502020204030204" pitchFamily="34" charset="0"/>
                          <a:ea typeface="Calibri" panose="020F0502020204030204" pitchFamily="34" charset="0"/>
                          <a:cs typeface="Calibri" panose="020F0502020204030204" pitchFamily="34" charset="0"/>
                        </a:rPr>
                        <a:t>hotline</a:t>
                      </a:r>
                      <a:r>
                        <a:rPr lang="pl-PL" sz="1400" dirty="0">
                          <a:effectLst/>
                          <a:latin typeface="Calibri" panose="020F0502020204030204" pitchFamily="34" charset="0"/>
                          <a:ea typeface="Calibri" panose="020F0502020204030204" pitchFamily="34" charset="0"/>
                          <a:cs typeface="Calibri" panose="020F0502020204030204" pitchFamily="34" charset="0"/>
                        </a:rPr>
                        <a:t> </a:t>
                      </a:r>
                      <a:r>
                        <a:rPr lang="pl-PL" sz="1400" dirty="0" err="1">
                          <a:effectLst/>
                          <a:latin typeface="Calibri" panose="020F0502020204030204" pitchFamily="34" charset="0"/>
                          <a:ea typeface="Calibri" panose="020F0502020204030204" pitchFamily="34" charset="0"/>
                          <a:cs typeface="Calibri" panose="020F0502020204030204" pitchFamily="34" charset="0"/>
                        </a:rPr>
                        <a:t>or</a:t>
                      </a:r>
                      <a:r>
                        <a:rPr lang="pl-PL" sz="1400" dirty="0">
                          <a:effectLst/>
                          <a:latin typeface="Calibri" panose="020F0502020204030204" pitchFamily="34" charset="0"/>
                          <a:ea typeface="Calibri" panose="020F0502020204030204" pitchFamily="34" charset="0"/>
                          <a:cs typeface="Calibri" panose="020F0502020204030204" pitchFamily="34" charset="0"/>
                        </a:rPr>
                        <a:t> </a:t>
                      </a:r>
                      <a:r>
                        <a:rPr lang="pl-PL" sz="1400" dirty="0" err="1">
                          <a:effectLst/>
                          <a:latin typeface="Calibri" panose="020F0502020204030204" pitchFamily="34" charset="0"/>
                          <a:ea typeface="Calibri" panose="020F0502020204030204" pitchFamily="34" charset="0"/>
                          <a:cs typeface="Calibri" panose="020F0502020204030204" pitchFamily="34" charset="0"/>
                        </a:rPr>
                        <a:t>priority</a:t>
                      </a:r>
                      <a:r>
                        <a:rPr lang="pl-PL" sz="1400" dirty="0">
                          <a:effectLst/>
                          <a:latin typeface="Calibri" panose="020F0502020204030204" pitchFamily="34" charset="0"/>
                          <a:ea typeface="Calibri" panose="020F0502020204030204" pitchFamily="34" charset="0"/>
                          <a:cs typeface="Calibri" panose="020F0502020204030204" pitchFamily="34" charset="0"/>
                        </a:rPr>
                        <a:t> routing</a:t>
                      </a:r>
                    </a:p>
                  </a:txBody>
                  <a:tcPr marL="10317" marR="10317" marT="10317" marB="10317" anchor="ctr"/>
                </a:tc>
                <a:tc>
                  <a:txBody>
                    <a:bodyPr/>
                    <a:lstStyle/>
                    <a:p>
                      <a:r>
                        <a:rPr lang="pl-PL" sz="1400" dirty="0" err="1">
                          <a:effectLst/>
                          <a:latin typeface="Calibri" panose="020F0502020204030204" pitchFamily="34" charset="0"/>
                          <a:ea typeface="Calibri" panose="020F0502020204030204" pitchFamily="34" charset="0"/>
                          <a:cs typeface="Calibri" panose="020F0502020204030204" pitchFamily="34" charset="0"/>
                        </a:rPr>
                        <a:t>Account</a:t>
                      </a:r>
                      <a:r>
                        <a:rPr lang="pl-PL" sz="1400" dirty="0">
                          <a:effectLst/>
                          <a:latin typeface="Calibri" panose="020F0502020204030204" pitchFamily="34" charset="0"/>
                          <a:ea typeface="Calibri" panose="020F0502020204030204" pitchFamily="34" charset="0"/>
                          <a:cs typeface="Calibri" panose="020F0502020204030204" pitchFamily="34" charset="0"/>
                        </a:rPr>
                        <a:t> manager </a:t>
                      </a:r>
                      <a:r>
                        <a:rPr lang="pl-PL" sz="1400" dirty="0" err="1">
                          <a:effectLst/>
                          <a:latin typeface="Calibri" panose="020F0502020204030204" pitchFamily="34" charset="0"/>
                          <a:ea typeface="Calibri" panose="020F0502020204030204" pitchFamily="34" charset="0"/>
                          <a:cs typeface="Calibri" panose="020F0502020204030204" pitchFamily="34" charset="0"/>
                        </a:rPr>
                        <a:t>access</a:t>
                      </a:r>
                      <a:r>
                        <a:rPr lang="pl-PL" sz="1400" dirty="0">
                          <a:effectLst/>
                          <a:latin typeface="Calibri" panose="020F0502020204030204" pitchFamily="34" charset="0"/>
                          <a:ea typeface="Calibri" panose="020F0502020204030204" pitchFamily="34" charset="0"/>
                          <a:cs typeface="Calibri" panose="020F0502020204030204" pitchFamily="34" charset="0"/>
                        </a:rPr>
                        <a:t>, immediate </a:t>
                      </a:r>
                      <a:r>
                        <a:rPr lang="pl-PL" sz="1400" dirty="0" err="1">
                          <a:effectLst/>
                          <a:latin typeface="Calibri" panose="020F0502020204030204" pitchFamily="34" charset="0"/>
                          <a:ea typeface="Calibri" panose="020F0502020204030204" pitchFamily="34" charset="0"/>
                          <a:cs typeface="Calibri" panose="020F0502020204030204" pitchFamily="34" charset="0"/>
                        </a:rPr>
                        <a:t>issue</a:t>
                      </a:r>
                      <a:r>
                        <a:rPr lang="pl-PL" sz="1400" dirty="0">
                          <a:effectLst/>
                          <a:latin typeface="Calibri" panose="020F0502020204030204" pitchFamily="34" charset="0"/>
                          <a:ea typeface="Calibri" panose="020F0502020204030204" pitchFamily="34" charset="0"/>
                          <a:cs typeface="Calibri" panose="020F0502020204030204" pitchFamily="34" charset="0"/>
                        </a:rPr>
                        <a:t> </a:t>
                      </a:r>
                      <a:r>
                        <a:rPr lang="pl-PL" sz="1400" dirty="0" err="1">
                          <a:effectLst/>
                          <a:latin typeface="Calibri" panose="020F0502020204030204" pitchFamily="34" charset="0"/>
                          <a:ea typeface="Calibri" panose="020F0502020204030204" pitchFamily="34" charset="0"/>
                          <a:cs typeface="Calibri" panose="020F0502020204030204" pitchFamily="34" charset="0"/>
                        </a:rPr>
                        <a:t>escalation</a:t>
                      </a:r>
                      <a:endParaRPr lang="pl-PL" sz="1400" dirty="0">
                        <a:effectLst/>
                        <a:latin typeface="Calibri" panose="020F0502020204030204" pitchFamily="34" charset="0"/>
                        <a:ea typeface="Calibri" panose="020F0502020204030204" pitchFamily="34" charset="0"/>
                        <a:cs typeface="Calibri" panose="020F0502020204030204" pitchFamily="34" charset="0"/>
                      </a:endParaRPr>
                    </a:p>
                  </a:txBody>
                  <a:tcPr marL="10317" marR="10317" marT="10317" marB="10317" anchor="ctr"/>
                </a:tc>
                <a:extLst>
                  <a:ext uri="{0D108BD9-81ED-4DB2-BD59-A6C34878D82A}">
                    <a16:rowId xmlns:a16="http://schemas.microsoft.com/office/drawing/2014/main" val="1990904632"/>
                  </a:ext>
                </a:extLst>
              </a:tr>
              <a:tr h="499471">
                <a:tc>
                  <a:txBody>
                    <a:bodyPr/>
                    <a:lstStyle/>
                    <a:p>
                      <a:pPr algn="ctr"/>
                      <a:r>
                        <a:rPr lang="pl-PL" sz="1400">
                          <a:effectLst/>
                          <a:latin typeface="Calibri" panose="020F0502020204030204" pitchFamily="34" charset="0"/>
                          <a:ea typeface="Calibri" panose="020F0502020204030204" pitchFamily="34" charset="0"/>
                          <a:cs typeface="Calibri" panose="020F0502020204030204" pitchFamily="34" charset="0"/>
                        </a:rPr>
                        <a:t>Email / Secure messaging</a:t>
                      </a:r>
                    </a:p>
                  </a:txBody>
                  <a:tcPr marL="10317" marR="10317" marT="10317" marB="10317" anchor="ctr"/>
                </a:tc>
                <a:tc>
                  <a:txBody>
                    <a:bodyPr/>
                    <a:lstStyle/>
                    <a:p>
                      <a:r>
                        <a:rPr lang="pl-PL" sz="1400" dirty="0" err="1">
                          <a:effectLst/>
                          <a:latin typeface="Calibri" panose="020F0502020204030204" pitchFamily="34" charset="0"/>
                          <a:ea typeface="Calibri" panose="020F0502020204030204" pitchFamily="34" charset="0"/>
                          <a:cs typeface="Calibri" panose="020F0502020204030204" pitchFamily="34" charset="0"/>
                        </a:rPr>
                        <a:t>Follow-ups</a:t>
                      </a:r>
                      <a:r>
                        <a:rPr lang="pl-PL" sz="1400" dirty="0">
                          <a:effectLst/>
                          <a:latin typeface="Calibri" panose="020F0502020204030204" pitchFamily="34" charset="0"/>
                          <a:ea typeface="Calibri" panose="020F0502020204030204" pitchFamily="34" charset="0"/>
                          <a:cs typeface="Calibri" panose="020F0502020204030204" pitchFamily="34" charset="0"/>
                        </a:rPr>
                        <a:t>, </a:t>
                      </a:r>
                      <a:r>
                        <a:rPr lang="pl-PL" sz="1400" dirty="0" err="1">
                          <a:effectLst/>
                          <a:latin typeface="Calibri" panose="020F0502020204030204" pitchFamily="34" charset="0"/>
                          <a:ea typeface="Calibri" panose="020F0502020204030204" pitchFamily="34" charset="0"/>
                          <a:cs typeface="Calibri" panose="020F0502020204030204" pitchFamily="34" charset="0"/>
                        </a:rPr>
                        <a:t>formal</a:t>
                      </a:r>
                      <a:r>
                        <a:rPr lang="pl-PL" sz="1400" dirty="0">
                          <a:effectLst/>
                          <a:latin typeface="Calibri" panose="020F0502020204030204" pitchFamily="34" charset="0"/>
                          <a:ea typeface="Calibri" panose="020F0502020204030204" pitchFamily="34" charset="0"/>
                          <a:cs typeface="Calibri" panose="020F0502020204030204" pitchFamily="34" charset="0"/>
                        </a:rPr>
                        <a:t> </a:t>
                      </a:r>
                      <a:r>
                        <a:rPr lang="pl-PL" sz="1400" dirty="0" err="1">
                          <a:effectLst/>
                          <a:latin typeface="Calibri" panose="020F0502020204030204" pitchFamily="34" charset="0"/>
                          <a:ea typeface="Calibri" panose="020F0502020204030204" pitchFamily="34" charset="0"/>
                          <a:cs typeface="Calibri" panose="020F0502020204030204" pitchFamily="34" charset="0"/>
                        </a:rPr>
                        <a:t>offers</a:t>
                      </a:r>
                      <a:r>
                        <a:rPr lang="pl-PL" sz="1400" dirty="0">
                          <a:effectLst/>
                          <a:latin typeface="Calibri" panose="020F0502020204030204" pitchFamily="34" charset="0"/>
                          <a:ea typeface="Calibri" panose="020F0502020204030204" pitchFamily="34" charset="0"/>
                          <a:cs typeface="Calibri" panose="020F0502020204030204" pitchFamily="34" charset="0"/>
                        </a:rPr>
                        <a:t>, and </a:t>
                      </a:r>
                      <a:r>
                        <a:rPr lang="pl-PL" sz="1400" dirty="0" err="1">
                          <a:effectLst/>
                          <a:latin typeface="Calibri" panose="020F0502020204030204" pitchFamily="34" charset="0"/>
                          <a:ea typeface="Calibri" panose="020F0502020204030204" pitchFamily="34" charset="0"/>
                          <a:cs typeface="Calibri" panose="020F0502020204030204" pitchFamily="34" charset="0"/>
                        </a:rPr>
                        <a:t>documentation</a:t>
                      </a:r>
                      <a:endParaRPr lang="pl-PL" sz="1400" dirty="0">
                        <a:effectLst/>
                        <a:latin typeface="Calibri" panose="020F0502020204030204" pitchFamily="34" charset="0"/>
                        <a:ea typeface="Calibri" panose="020F0502020204030204" pitchFamily="34" charset="0"/>
                        <a:cs typeface="Calibri" panose="020F0502020204030204" pitchFamily="34" charset="0"/>
                      </a:endParaRPr>
                    </a:p>
                  </a:txBody>
                  <a:tcPr marL="10317" marR="10317" marT="10317" marB="10317" anchor="ctr"/>
                </a:tc>
                <a:tc>
                  <a:txBody>
                    <a:bodyPr/>
                    <a:lstStyle/>
                    <a:p>
                      <a:r>
                        <a:rPr lang="pl-PL" sz="1400">
                          <a:effectLst/>
                          <a:latin typeface="Calibri" panose="020F0502020204030204" pitchFamily="34" charset="0"/>
                          <a:ea typeface="Calibri" panose="020F0502020204030204" pitchFamily="34" charset="0"/>
                          <a:cs typeface="Calibri" panose="020F0502020204030204" pitchFamily="34" charset="0"/>
                        </a:rPr>
                        <a:t>Financial plans, investment proposals</a:t>
                      </a:r>
                    </a:p>
                  </a:txBody>
                  <a:tcPr marL="10317" marR="10317" marT="10317" marB="10317" anchor="ctr"/>
                </a:tc>
                <a:tc>
                  <a:txBody>
                    <a:bodyPr/>
                    <a:lstStyle/>
                    <a:p>
                      <a:r>
                        <a:rPr lang="pl-PL" sz="1400" dirty="0" err="1">
                          <a:effectLst/>
                          <a:latin typeface="Calibri" panose="020F0502020204030204" pitchFamily="34" charset="0"/>
                          <a:ea typeface="Calibri" panose="020F0502020204030204" pitchFamily="34" charset="0"/>
                          <a:cs typeface="Calibri" panose="020F0502020204030204" pitchFamily="34" charset="0"/>
                        </a:rPr>
                        <a:t>Contracts</a:t>
                      </a:r>
                      <a:r>
                        <a:rPr lang="pl-PL" sz="1400" dirty="0">
                          <a:effectLst/>
                          <a:latin typeface="Calibri" panose="020F0502020204030204" pitchFamily="34" charset="0"/>
                          <a:ea typeface="Calibri" panose="020F0502020204030204" pitchFamily="34" charset="0"/>
                          <a:cs typeface="Calibri" panose="020F0502020204030204" pitchFamily="34" charset="0"/>
                        </a:rPr>
                        <a:t>, </a:t>
                      </a:r>
                      <a:r>
                        <a:rPr lang="pl-PL" sz="1400" dirty="0" err="1">
                          <a:effectLst/>
                          <a:latin typeface="Calibri" panose="020F0502020204030204" pitchFamily="34" charset="0"/>
                          <a:ea typeface="Calibri" panose="020F0502020204030204" pitchFamily="34" charset="0"/>
                          <a:cs typeface="Calibri" panose="020F0502020204030204" pitchFamily="34" charset="0"/>
                        </a:rPr>
                        <a:t>payment</a:t>
                      </a:r>
                      <a:r>
                        <a:rPr lang="pl-PL" sz="1400" dirty="0">
                          <a:effectLst/>
                          <a:latin typeface="Calibri" panose="020F0502020204030204" pitchFamily="34" charset="0"/>
                          <a:ea typeface="Calibri" panose="020F0502020204030204" pitchFamily="34" charset="0"/>
                          <a:cs typeface="Calibri" panose="020F0502020204030204" pitchFamily="34" charset="0"/>
                        </a:rPr>
                        <a:t> </a:t>
                      </a:r>
                      <a:r>
                        <a:rPr lang="pl-PL" sz="1400" dirty="0" err="1">
                          <a:effectLst/>
                          <a:latin typeface="Calibri" panose="020F0502020204030204" pitchFamily="34" charset="0"/>
                          <a:ea typeface="Calibri" panose="020F0502020204030204" pitchFamily="34" charset="0"/>
                          <a:cs typeface="Calibri" panose="020F0502020204030204" pitchFamily="34" charset="0"/>
                        </a:rPr>
                        <a:t>terms</a:t>
                      </a:r>
                      <a:r>
                        <a:rPr lang="pl-PL" sz="1400" dirty="0">
                          <a:effectLst/>
                          <a:latin typeface="Calibri" panose="020F0502020204030204" pitchFamily="34" charset="0"/>
                          <a:ea typeface="Calibri" panose="020F0502020204030204" pitchFamily="34" charset="0"/>
                          <a:cs typeface="Calibri" panose="020F0502020204030204" pitchFamily="34" charset="0"/>
                        </a:rPr>
                        <a:t>, </a:t>
                      </a:r>
                      <a:r>
                        <a:rPr lang="pl-PL" sz="1400" dirty="0" err="1">
                          <a:effectLst/>
                          <a:latin typeface="Calibri" panose="020F0502020204030204" pitchFamily="34" charset="0"/>
                          <a:ea typeface="Calibri" panose="020F0502020204030204" pitchFamily="34" charset="0"/>
                          <a:cs typeface="Calibri" panose="020F0502020204030204" pitchFamily="34" charset="0"/>
                        </a:rPr>
                        <a:t>credit</a:t>
                      </a:r>
                      <a:r>
                        <a:rPr lang="pl-PL" sz="1400" dirty="0">
                          <a:effectLst/>
                          <a:latin typeface="Calibri" panose="020F0502020204030204" pitchFamily="34" charset="0"/>
                          <a:ea typeface="Calibri" panose="020F0502020204030204" pitchFamily="34" charset="0"/>
                          <a:cs typeface="Calibri" panose="020F0502020204030204" pitchFamily="34" charset="0"/>
                        </a:rPr>
                        <a:t> </a:t>
                      </a:r>
                      <a:r>
                        <a:rPr lang="pl-PL" sz="1400" dirty="0" err="1">
                          <a:effectLst/>
                          <a:latin typeface="Calibri" panose="020F0502020204030204" pitchFamily="34" charset="0"/>
                          <a:ea typeface="Calibri" panose="020F0502020204030204" pitchFamily="34" charset="0"/>
                          <a:cs typeface="Calibri" panose="020F0502020204030204" pitchFamily="34" charset="0"/>
                        </a:rPr>
                        <a:t>documentation</a:t>
                      </a:r>
                      <a:endParaRPr lang="pl-PL" sz="1400" dirty="0">
                        <a:effectLst/>
                        <a:latin typeface="Calibri" panose="020F0502020204030204" pitchFamily="34" charset="0"/>
                        <a:ea typeface="Calibri" panose="020F0502020204030204" pitchFamily="34" charset="0"/>
                        <a:cs typeface="Calibri" panose="020F0502020204030204" pitchFamily="34" charset="0"/>
                      </a:endParaRPr>
                    </a:p>
                  </a:txBody>
                  <a:tcPr marL="10317" marR="10317" marT="10317" marB="10317" anchor="ctr"/>
                </a:tc>
                <a:extLst>
                  <a:ext uri="{0D108BD9-81ED-4DB2-BD59-A6C34878D82A}">
                    <a16:rowId xmlns:a16="http://schemas.microsoft.com/office/drawing/2014/main" val="2863585241"/>
                  </a:ext>
                </a:extLst>
              </a:tr>
              <a:tr h="499471">
                <a:tc>
                  <a:txBody>
                    <a:bodyPr/>
                    <a:lstStyle/>
                    <a:p>
                      <a:pPr algn="ctr"/>
                      <a:r>
                        <a:rPr lang="pl-PL" sz="1400" dirty="0" err="1">
                          <a:effectLst/>
                          <a:latin typeface="Calibri" panose="020F0502020204030204" pitchFamily="34" charset="0"/>
                          <a:ea typeface="Calibri" panose="020F0502020204030204" pitchFamily="34" charset="0"/>
                          <a:cs typeface="Calibri" panose="020F0502020204030204" pitchFamily="34" charset="0"/>
                        </a:rPr>
                        <a:t>Social</a:t>
                      </a:r>
                      <a:r>
                        <a:rPr lang="pl-PL" sz="1400" dirty="0">
                          <a:effectLst/>
                          <a:latin typeface="Calibri" panose="020F0502020204030204" pitchFamily="34" charset="0"/>
                          <a:ea typeface="Calibri" panose="020F0502020204030204" pitchFamily="34" charset="0"/>
                          <a:cs typeface="Calibri" panose="020F0502020204030204" pitchFamily="34" charset="0"/>
                        </a:rPr>
                        <a:t> media</a:t>
                      </a:r>
                    </a:p>
                  </a:txBody>
                  <a:tcPr marL="10317" marR="10317" marT="10317" marB="10317" anchor="ctr"/>
                </a:tc>
                <a:tc>
                  <a:txBody>
                    <a:bodyPr/>
                    <a:lstStyle/>
                    <a:p>
                      <a:r>
                        <a:rPr lang="pl-PL" sz="1400">
                          <a:effectLst/>
                          <a:latin typeface="Calibri" panose="020F0502020204030204" pitchFamily="34" charset="0"/>
                          <a:ea typeface="Calibri" panose="020F0502020204030204" pitchFamily="34" charset="0"/>
                          <a:cs typeface="Calibri" panose="020F0502020204030204" pitchFamily="34" charset="0"/>
                        </a:rPr>
                        <a:t>Financial education, basic engagement</a:t>
                      </a:r>
                    </a:p>
                  </a:txBody>
                  <a:tcPr marL="10317" marR="10317" marT="10317" marB="10317" anchor="ctr"/>
                </a:tc>
                <a:tc>
                  <a:txBody>
                    <a:bodyPr/>
                    <a:lstStyle/>
                    <a:p>
                      <a:r>
                        <a:rPr lang="pl-PL" sz="1400">
                          <a:effectLst/>
                          <a:latin typeface="Calibri" panose="020F0502020204030204" pitchFamily="34" charset="0"/>
                          <a:ea typeface="Calibri" panose="020F0502020204030204" pitchFamily="34" charset="0"/>
                          <a:cs typeface="Calibri" panose="020F0502020204030204" pitchFamily="34" charset="0"/>
                        </a:rPr>
                        <a:t>Brand interaction, digital personal brand of advisor</a:t>
                      </a:r>
                    </a:p>
                  </a:txBody>
                  <a:tcPr marL="10317" marR="10317" marT="10317" marB="10317" anchor="ctr"/>
                </a:tc>
                <a:tc>
                  <a:txBody>
                    <a:bodyPr/>
                    <a:lstStyle/>
                    <a:p>
                      <a:r>
                        <a:rPr lang="pl-PL" sz="1400" dirty="0" err="1">
                          <a:effectLst/>
                          <a:latin typeface="Calibri" panose="020F0502020204030204" pitchFamily="34" charset="0"/>
                          <a:ea typeface="Calibri" panose="020F0502020204030204" pitchFamily="34" charset="0"/>
                          <a:cs typeface="Calibri" panose="020F0502020204030204" pitchFamily="34" charset="0"/>
                        </a:rPr>
                        <a:t>Thought</a:t>
                      </a:r>
                      <a:r>
                        <a:rPr lang="pl-PL" sz="1400" dirty="0">
                          <a:effectLst/>
                          <a:latin typeface="Calibri" panose="020F0502020204030204" pitchFamily="34" charset="0"/>
                          <a:ea typeface="Calibri" panose="020F0502020204030204" pitchFamily="34" charset="0"/>
                          <a:cs typeface="Calibri" panose="020F0502020204030204" pitchFamily="34" charset="0"/>
                        </a:rPr>
                        <a:t> </a:t>
                      </a:r>
                      <a:r>
                        <a:rPr lang="pl-PL" sz="1400" dirty="0" err="1">
                          <a:effectLst/>
                          <a:latin typeface="Calibri" panose="020F0502020204030204" pitchFamily="34" charset="0"/>
                          <a:ea typeface="Calibri" panose="020F0502020204030204" pitchFamily="34" charset="0"/>
                          <a:cs typeface="Calibri" panose="020F0502020204030204" pitchFamily="34" charset="0"/>
                        </a:rPr>
                        <a:t>leadership</a:t>
                      </a:r>
                      <a:r>
                        <a:rPr lang="pl-PL" sz="1400" dirty="0">
                          <a:effectLst/>
                          <a:latin typeface="Calibri" panose="020F0502020204030204" pitchFamily="34" charset="0"/>
                          <a:ea typeface="Calibri" panose="020F0502020204030204" pitchFamily="34" charset="0"/>
                          <a:cs typeface="Calibri" panose="020F0502020204030204" pitchFamily="34" charset="0"/>
                        </a:rPr>
                        <a:t>, B2B </a:t>
                      </a:r>
                      <a:r>
                        <a:rPr lang="pl-PL" sz="1400" dirty="0" err="1">
                          <a:effectLst/>
                          <a:latin typeface="Calibri" panose="020F0502020204030204" pitchFamily="34" charset="0"/>
                          <a:ea typeface="Calibri" panose="020F0502020204030204" pitchFamily="34" charset="0"/>
                          <a:cs typeface="Calibri" panose="020F0502020204030204" pitchFamily="34" charset="0"/>
                        </a:rPr>
                        <a:t>community</a:t>
                      </a:r>
                      <a:r>
                        <a:rPr lang="pl-PL" sz="1400" dirty="0">
                          <a:effectLst/>
                          <a:latin typeface="Calibri" panose="020F0502020204030204" pitchFamily="34" charset="0"/>
                          <a:ea typeface="Calibri" panose="020F0502020204030204" pitchFamily="34" charset="0"/>
                          <a:cs typeface="Calibri" panose="020F0502020204030204" pitchFamily="34" charset="0"/>
                        </a:rPr>
                        <a:t> </a:t>
                      </a:r>
                      <a:r>
                        <a:rPr lang="pl-PL" sz="1400" dirty="0" err="1">
                          <a:effectLst/>
                          <a:latin typeface="Calibri" panose="020F0502020204030204" pitchFamily="34" charset="0"/>
                          <a:ea typeface="Calibri" panose="020F0502020204030204" pitchFamily="34" charset="0"/>
                          <a:cs typeface="Calibri" panose="020F0502020204030204" pitchFamily="34" charset="0"/>
                        </a:rPr>
                        <a:t>presence</a:t>
                      </a:r>
                      <a:endParaRPr lang="pl-PL" sz="1400" dirty="0">
                        <a:effectLst/>
                        <a:latin typeface="Calibri" panose="020F0502020204030204" pitchFamily="34" charset="0"/>
                        <a:ea typeface="Calibri" panose="020F0502020204030204" pitchFamily="34" charset="0"/>
                        <a:cs typeface="Calibri" panose="020F0502020204030204" pitchFamily="34" charset="0"/>
                      </a:endParaRPr>
                    </a:p>
                  </a:txBody>
                  <a:tcPr marL="10317" marR="10317" marT="10317" marB="10317" anchor="ctr"/>
                </a:tc>
                <a:extLst>
                  <a:ext uri="{0D108BD9-81ED-4DB2-BD59-A6C34878D82A}">
                    <a16:rowId xmlns:a16="http://schemas.microsoft.com/office/drawing/2014/main" val="2719536534"/>
                  </a:ext>
                </a:extLst>
              </a:tr>
              <a:tr h="499471">
                <a:tc>
                  <a:txBody>
                    <a:bodyPr/>
                    <a:lstStyle/>
                    <a:p>
                      <a:pPr algn="ctr"/>
                      <a:r>
                        <a:rPr lang="pl-PL" sz="1400" dirty="0" err="1">
                          <a:effectLst/>
                          <a:latin typeface="Calibri" panose="020F0502020204030204" pitchFamily="34" charset="0"/>
                          <a:ea typeface="Calibri" panose="020F0502020204030204" pitchFamily="34" charset="0"/>
                          <a:cs typeface="Calibri" panose="020F0502020204030204" pitchFamily="34" charset="0"/>
                        </a:rPr>
                        <a:t>Proactive</a:t>
                      </a:r>
                      <a:r>
                        <a:rPr lang="pl-PL" sz="1400" dirty="0">
                          <a:effectLst/>
                          <a:latin typeface="Calibri" panose="020F0502020204030204" pitchFamily="34" charset="0"/>
                          <a:ea typeface="Calibri" panose="020F0502020204030204" pitchFamily="34" charset="0"/>
                          <a:cs typeface="Calibri" panose="020F0502020204030204" pitchFamily="34" charset="0"/>
                        </a:rPr>
                        <a:t> </a:t>
                      </a:r>
                      <a:r>
                        <a:rPr lang="pl-PL" sz="1400" dirty="0" err="1">
                          <a:effectLst/>
                          <a:latin typeface="Calibri" panose="020F0502020204030204" pitchFamily="34" charset="0"/>
                          <a:ea typeface="Calibri" panose="020F0502020204030204" pitchFamily="34" charset="0"/>
                          <a:cs typeface="Calibri" panose="020F0502020204030204" pitchFamily="34" charset="0"/>
                        </a:rPr>
                        <a:t>contact</a:t>
                      </a:r>
                      <a:endParaRPr lang="pl-PL" sz="1400" dirty="0">
                        <a:effectLst/>
                        <a:latin typeface="Calibri" panose="020F0502020204030204" pitchFamily="34" charset="0"/>
                        <a:ea typeface="Calibri" panose="020F0502020204030204" pitchFamily="34" charset="0"/>
                        <a:cs typeface="Calibri" panose="020F0502020204030204" pitchFamily="34" charset="0"/>
                      </a:endParaRPr>
                    </a:p>
                  </a:txBody>
                  <a:tcPr marL="10317" marR="10317" marT="10317" marB="10317" anchor="ctr"/>
                </a:tc>
                <a:tc>
                  <a:txBody>
                    <a:bodyPr/>
                    <a:lstStyle/>
                    <a:p>
                      <a:r>
                        <a:rPr lang="pl-PL" sz="1400" dirty="0" err="1">
                          <a:effectLst/>
                          <a:latin typeface="Calibri" panose="020F0502020204030204" pitchFamily="34" charset="0"/>
                          <a:ea typeface="Calibri" panose="020F0502020204030204" pitchFamily="34" charset="0"/>
                          <a:cs typeface="Calibri" panose="020F0502020204030204" pitchFamily="34" charset="0"/>
                        </a:rPr>
                        <a:t>Trigger-based</a:t>
                      </a:r>
                      <a:r>
                        <a:rPr lang="pl-PL" sz="1400" dirty="0">
                          <a:effectLst/>
                          <a:latin typeface="Calibri" panose="020F0502020204030204" pitchFamily="34" charset="0"/>
                          <a:ea typeface="Calibri" panose="020F0502020204030204" pitchFamily="34" charset="0"/>
                          <a:cs typeface="Calibri" panose="020F0502020204030204" pitchFamily="34" charset="0"/>
                        </a:rPr>
                        <a:t> (</a:t>
                      </a:r>
                      <a:r>
                        <a:rPr lang="pl-PL" sz="1400" dirty="0" err="1">
                          <a:effectLst/>
                          <a:latin typeface="Calibri" panose="020F0502020204030204" pitchFamily="34" charset="0"/>
                          <a:ea typeface="Calibri" panose="020F0502020204030204" pitchFamily="34" charset="0"/>
                          <a:cs typeface="Calibri" panose="020F0502020204030204" pitchFamily="34" charset="0"/>
                        </a:rPr>
                        <a:t>e.g</a:t>
                      </a:r>
                      <a:r>
                        <a:rPr lang="pl-PL" sz="1400" dirty="0">
                          <a:effectLst/>
                          <a:latin typeface="Calibri" panose="020F0502020204030204" pitchFamily="34" charset="0"/>
                          <a:ea typeface="Calibri" panose="020F0502020204030204" pitchFamily="34" charset="0"/>
                          <a:cs typeface="Calibri" panose="020F0502020204030204" pitchFamily="34" charset="0"/>
                        </a:rPr>
                        <a:t>., </a:t>
                      </a:r>
                      <a:r>
                        <a:rPr lang="pl-PL" sz="1400" dirty="0" err="1">
                          <a:effectLst/>
                          <a:latin typeface="Calibri" panose="020F0502020204030204" pitchFamily="34" charset="0"/>
                          <a:ea typeface="Calibri" panose="020F0502020204030204" pitchFamily="34" charset="0"/>
                          <a:cs typeface="Calibri" panose="020F0502020204030204" pitchFamily="34" charset="0"/>
                        </a:rPr>
                        <a:t>salary</a:t>
                      </a:r>
                      <a:r>
                        <a:rPr lang="pl-PL" sz="1400" dirty="0">
                          <a:effectLst/>
                          <a:latin typeface="Calibri" panose="020F0502020204030204" pitchFamily="34" charset="0"/>
                          <a:ea typeface="Calibri" panose="020F0502020204030204" pitchFamily="34" charset="0"/>
                          <a:cs typeface="Calibri" panose="020F0502020204030204" pitchFamily="34" charset="0"/>
                        </a:rPr>
                        <a:t> </a:t>
                      </a:r>
                      <a:r>
                        <a:rPr lang="pl-PL" sz="1400" dirty="0" err="1">
                          <a:effectLst/>
                          <a:latin typeface="Calibri" panose="020F0502020204030204" pitchFamily="34" charset="0"/>
                          <a:ea typeface="Calibri" panose="020F0502020204030204" pitchFamily="34" charset="0"/>
                          <a:cs typeface="Calibri" panose="020F0502020204030204" pitchFamily="34" charset="0"/>
                        </a:rPr>
                        <a:t>deposit</a:t>
                      </a:r>
                      <a:r>
                        <a:rPr lang="pl-PL" sz="1400" dirty="0">
                          <a:effectLst/>
                          <a:latin typeface="Calibri" panose="020F0502020204030204" pitchFamily="34" charset="0"/>
                          <a:ea typeface="Calibri" panose="020F0502020204030204" pitchFamily="34" charset="0"/>
                          <a:cs typeface="Calibri" panose="020F0502020204030204" pitchFamily="34" charset="0"/>
                        </a:rPr>
                        <a:t>, </a:t>
                      </a:r>
                      <a:r>
                        <a:rPr lang="pl-PL" sz="1400" dirty="0" err="1">
                          <a:effectLst/>
                          <a:latin typeface="Calibri" panose="020F0502020204030204" pitchFamily="34" charset="0"/>
                          <a:ea typeface="Calibri" panose="020F0502020204030204" pitchFamily="34" charset="0"/>
                          <a:cs typeface="Calibri" panose="020F0502020204030204" pitchFamily="34" charset="0"/>
                        </a:rPr>
                        <a:t>product</a:t>
                      </a:r>
                      <a:r>
                        <a:rPr lang="pl-PL" sz="1400" dirty="0">
                          <a:effectLst/>
                          <a:latin typeface="Calibri" panose="020F0502020204030204" pitchFamily="34" charset="0"/>
                          <a:ea typeface="Calibri" panose="020F0502020204030204" pitchFamily="34" charset="0"/>
                          <a:cs typeface="Calibri" panose="020F0502020204030204" pitchFamily="34" charset="0"/>
                        </a:rPr>
                        <a:t> </a:t>
                      </a:r>
                      <a:r>
                        <a:rPr lang="pl-PL" sz="1400" dirty="0" err="1">
                          <a:effectLst/>
                          <a:latin typeface="Calibri" panose="020F0502020204030204" pitchFamily="34" charset="0"/>
                          <a:ea typeface="Calibri" panose="020F0502020204030204" pitchFamily="34" charset="0"/>
                          <a:cs typeface="Calibri" panose="020F0502020204030204" pitchFamily="34" charset="0"/>
                        </a:rPr>
                        <a:t>renewal</a:t>
                      </a:r>
                      <a:r>
                        <a:rPr lang="pl-PL" sz="1400" dirty="0">
                          <a:effectLst/>
                          <a:latin typeface="Calibri" panose="020F0502020204030204" pitchFamily="34" charset="0"/>
                          <a:ea typeface="Calibri" panose="020F0502020204030204" pitchFamily="34" charset="0"/>
                          <a:cs typeface="Calibri" panose="020F0502020204030204" pitchFamily="34" charset="0"/>
                        </a:rPr>
                        <a:t>)</a:t>
                      </a:r>
                    </a:p>
                  </a:txBody>
                  <a:tcPr marL="10317" marR="10317" marT="10317" marB="10317" anchor="ctr"/>
                </a:tc>
                <a:tc>
                  <a:txBody>
                    <a:bodyPr/>
                    <a:lstStyle/>
                    <a:p>
                      <a:r>
                        <a:rPr lang="pl-PL" sz="1400" dirty="0">
                          <a:effectLst/>
                          <a:latin typeface="Calibri" panose="020F0502020204030204" pitchFamily="34" charset="0"/>
                          <a:ea typeface="Calibri" panose="020F0502020204030204" pitchFamily="34" charset="0"/>
                          <a:cs typeface="Calibri" panose="020F0502020204030204" pitchFamily="34" charset="0"/>
                        </a:rPr>
                        <a:t>Life event-</a:t>
                      </a:r>
                      <a:r>
                        <a:rPr lang="pl-PL" sz="1400" dirty="0" err="1">
                          <a:effectLst/>
                          <a:latin typeface="Calibri" panose="020F0502020204030204" pitchFamily="34" charset="0"/>
                          <a:ea typeface="Calibri" panose="020F0502020204030204" pitchFamily="34" charset="0"/>
                          <a:cs typeface="Calibri" panose="020F0502020204030204" pitchFamily="34" charset="0"/>
                        </a:rPr>
                        <a:t>based</a:t>
                      </a:r>
                      <a:r>
                        <a:rPr lang="pl-PL" sz="1400" dirty="0">
                          <a:effectLst/>
                          <a:latin typeface="Calibri" panose="020F0502020204030204" pitchFamily="34" charset="0"/>
                          <a:ea typeface="Calibri" panose="020F0502020204030204" pitchFamily="34" charset="0"/>
                          <a:cs typeface="Calibri" panose="020F0502020204030204" pitchFamily="34" charset="0"/>
                        </a:rPr>
                        <a:t>, investment </a:t>
                      </a:r>
                      <a:r>
                        <a:rPr lang="pl-PL" sz="1400" dirty="0" err="1">
                          <a:effectLst/>
                          <a:latin typeface="Calibri" panose="020F0502020204030204" pitchFamily="34" charset="0"/>
                          <a:ea typeface="Calibri" panose="020F0502020204030204" pitchFamily="34" charset="0"/>
                          <a:cs typeface="Calibri" panose="020F0502020204030204" pitchFamily="34" charset="0"/>
                        </a:rPr>
                        <a:t>opportunities</a:t>
                      </a:r>
                      <a:endParaRPr lang="pl-PL" sz="1400" dirty="0">
                        <a:effectLst/>
                        <a:latin typeface="Calibri" panose="020F0502020204030204" pitchFamily="34" charset="0"/>
                        <a:ea typeface="Calibri" panose="020F0502020204030204" pitchFamily="34" charset="0"/>
                        <a:cs typeface="Calibri" panose="020F0502020204030204" pitchFamily="34" charset="0"/>
                      </a:endParaRPr>
                    </a:p>
                  </a:txBody>
                  <a:tcPr marL="10317" marR="10317" marT="10317" marB="10317" anchor="ctr"/>
                </a:tc>
                <a:tc>
                  <a:txBody>
                    <a:bodyPr/>
                    <a:lstStyle/>
                    <a:p>
                      <a:r>
                        <a:rPr lang="pl-PL" sz="1400" dirty="0" err="1">
                          <a:effectLst/>
                          <a:latin typeface="Calibri" panose="020F0502020204030204" pitchFamily="34" charset="0"/>
                          <a:ea typeface="Calibri" panose="020F0502020204030204" pitchFamily="34" charset="0"/>
                          <a:cs typeface="Calibri" panose="020F0502020204030204" pitchFamily="34" charset="0"/>
                        </a:rPr>
                        <a:t>Based</a:t>
                      </a:r>
                      <a:r>
                        <a:rPr lang="pl-PL" sz="1400" dirty="0">
                          <a:effectLst/>
                          <a:latin typeface="Calibri" panose="020F0502020204030204" pitchFamily="34" charset="0"/>
                          <a:ea typeface="Calibri" panose="020F0502020204030204" pitchFamily="34" charset="0"/>
                          <a:cs typeface="Calibri" panose="020F0502020204030204" pitchFamily="34" charset="0"/>
                        </a:rPr>
                        <a:t> on business </a:t>
                      </a:r>
                      <a:r>
                        <a:rPr lang="pl-PL" sz="1400" dirty="0" err="1">
                          <a:effectLst/>
                          <a:latin typeface="Calibri" panose="020F0502020204030204" pitchFamily="34" charset="0"/>
                          <a:ea typeface="Calibri" panose="020F0502020204030204" pitchFamily="34" charset="0"/>
                          <a:cs typeface="Calibri" panose="020F0502020204030204" pitchFamily="34" charset="0"/>
                        </a:rPr>
                        <a:t>cycles</a:t>
                      </a:r>
                      <a:r>
                        <a:rPr lang="pl-PL" sz="1400" dirty="0">
                          <a:effectLst/>
                          <a:latin typeface="Calibri" panose="020F0502020204030204" pitchFamily="34" charset="0"/>
                          <a:ea typeface="Calibri" panose="020F0502020204030204" pitchFamily="34" charset="0"/>
                          <a:cs typeface="Calibri" panose="020F0502020204030204" pitchFamily="34" charset="0"/>
                        </a:rPr>
                        <a:t>, </a:t>
                      </a:r>
                      <a:r>
                        <a:rPr lang="pl-PL" sz="1400" dirty="0" err="1">
                          <a:effectLst/>
                          <a:latin typeface="Calibri" panose="020F0502020204030204" pitchFamily="34" charset="0"/>
                          <a:ea typeface="Calibri" panose="020F0502020204030204" pitchFamily="34" charset="0"/>
                          <a:cs typeface="Calibri" panose="020F0502020204030204" pitchFamily="34" charset="0"/>
                        </a:rPr>
                        <a:t>cash-flow</a:t>
                      </a:r>
                      <a:r>
                        <a:rPr lang="pl-PL" sz="1400" dirty="0">
                          <a:effectLst/>
                          <a:latin typeface="Calibri" panose="020F0502020204030204" pitchFamily="34" charset="0"/>
                          <a:ea typeface="Calibri" panose="020F0502020204030204" pitchFamily="34" charset="0"/>
                          <a:cs typeface="Calibri" panose="020F0502020204030204" pitchFamily="34" charset="0"/>
                        </a:rPr>
                        <a:t> </a:t>
                      </a:r>
                      <a:r>
                        <a:rPr lang="pl-PL" sz="1400" dirty="0" err="1">
                          <a:effectLst/>
                          <a:latin typeface="Calibri" panose="020F0502020204030204" pitchFamily="34" charset="0"/>
                          <a:ea typeface="Calibri" panose="020F0502020204030204" pitchFamily="34" charset="0"/>
                          <a:cs typeface="Calibri" panose="020F0502020204030204" pitchFamily="34" charset="0"/>
                        </a:rPr>
                        <a:t>patterns</a:t>
                      </a:r>
                      <a:endParaRPr lang="pl-PL" sz="1400" dirty="0">
                        <a:effectLst/>
                        <a:latin typeface="Calibri" panose="020F0502020204030204" pitchFamily="34" charset="0"/>
                        <a:ea typeface="Calibri" panose="020F0502020204030204" pitchFamily="34" charset="0"/>
                        <a:cs typeface="Calibri" panose="020F0502020204030204" pitchFamily="34" charset="0"/>
                      </a:endParaRPr>
                    </a:p>
                  </a:txBody>
                  <a:tcPr marL="10317" marR="10317" marT="10317" marB="10317" anchor="ctr"/>
                </a:tc>
                <a:extLst>
                  <a:ext uri="{0D108BD9-81ED-4DB2-BD59-A6C34878D82A}">
                    <a16:rowId xmlns:a16="http://schemas.microsoft.com/office/drawing/2014/main" val="2433029394"/>
                  </a:ext>
                </a:extLst>
              </a:tr>
            </a:tbl>
          </a:graphicData>
        </a:graphic>
      </p:graphicFrame>
      <p:pic>
        <p:nvPicPr>
          <p:cNvPr id="7" name="Grafika 6">
            <a:extLst>
              <a:ext uri="{FF2B5EF4-FFF2-40B4-BE49-F238E27FC236}">
                <a16:creationId xmlns:a16="http://schemas.microsoft.com/office/drawing/2014/main" id="{D65D5222-8501-4219-9536-1B2A19173168}"/>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3651463" y="639608"/>
            <a:ext cx="1247796" cy="1247796"/>
          </a:xfrm>
          <a:prstGeom prst="rect">
            <a:avLst/>
          </a:prstGeom>
        </p:spPr>
      </p:pic>
      <p:pic>
        <p:nvPicPr>
          <p:cNvPr id="8" name="Grafika 7">
            <a:extLst>
              <a:ext uri="{FF2B5EF4-FFF2-40B4-BE49-F238E27FC236}">
                <a16:creationId xmlns:a16="http://schemas.microsoft.com/office/drawing/2014/main" id="{A2881EB5-47E0-44E3-B8FC-8295D5A90B5C}"/>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6613763" y="639608"/>
            <a:ext cx="1247796" cy="1247796"/>
          </a:xfrm>
          <a:prstGeom prst="rect">
            <a:avLst/>
          </a:prstGeom>
        </p:spPr>
      </p:pic>
      <p:pic>
        <p:nvPicPr>
          <p:cNvPr id="11" name="Grafika 10">
            <a:extLst>
              <a:ext uri="{FF2B5EF4-FFF2-40B4-BE49-F238E27FC236}">
                <a16:creationId xmlns:a16="http://schemas.microsoft.com/office/drawing/2014/main" id="{0E24DFF9-1F70-4364-ACE6-77D02FFA19E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632959" y="639608"/>
            <a:ext cx="1247796" cy="1247796"/>
          </a:xfrm>
          <a:prstGeom prst="rect">
            <a:avLst/>
          </a:prstGeom>
        </p:spPr>
      </p:pic>
    </p:spTree>
    <p:extLst>
      <p:ext uri="{BB962C8B-B14F-4D97-AF65-F5344CB8AC3E}">
        <p14:creationId xmlns:p14="http://schemas.microsoft.com/office/powerpoint/2010/main" val="297639415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6DBD6562-A281-4C00-B51E-B5B2010F63C0}"/>
              </a:ext>
            </a:extLst>
          </p:cNvPr>
          <p:cNvSpPr>
            <a:spLocks noGrp="1"/>
          </p:cNvSpPr>
          <p:nvPr>
            <p:ph type="title"/>
          </p:nvPr>
        </p:nvSpPr>
        <p:spPr>
          <a:xfrm>
            <a:off x="1054686" y="2015248"/>
            <a:ext cx="7816499" cy="2395896"/>
          </a:xfrm>
        </p:spPr>
        <p:txBody>
          <a:bodyPr/>
          <a:lstStyle/>
          <a:p>
            <a:r>
              <a:rPr lang="pl-PL" dirty="0"/>
              <a:t>ORGANISATIONAL CHANGES</a:t>
            </a:r>
            <a:br>
              <a:rPr lang="pl-PL" dirty="0"/>
            </a:br>
            <a:r>
              <a:rPr lang="pl-PL" dirty="0"/>
              <a:t>&amp; </a:t>
            </a:r>
            <a:r>
              <a:rPr lang="pl-PL" dirty="0" err="1"/>
              <a:t>results</a:t>
            </a:r>
            <a:br>
              <a:rPr lang="pl-PL" dirty="0"/>
            </a:br>
            <a:br>
              <a:rPr lang="pl-PL" dirty="0"/>
            </a:br>
            <a:r>
              <a:rPr lang="pl-PL" sz="3200" dirty="0">
                <a:latin typeface="Bradley Hand ITC" panose="03070402050302030203" pitchFamily="66" charset="0"/>
              </a:rPr>
              <a:t>FROM CONTACT CENTER TO OMNICHANNEL CENTER</a:t>
            </a:r>
            <a:endParaRPr lang="pl-PL" dirty="0">
              <a:latin typeface="Bradley Hand ITC" panose="03070402050302030203" pitchFamily="66" charset="0"/>
            </a:endParaRPr>
          </a:p>
        </p:txBody>
      </p:sp>
      <p:sp>
        <p:nvSpPr>
          <p:cNvPr id="3" name="Owal 2">
            <a:extLst>
              <a:ext uri="{FF2B5EF4-FFF2-40B4-BE49-F238E27FC236}">
                <a16:creationId xmlns:a16="http://schemas.microsoft.com/office/drawing/2014/main" id="{CE819F64-F92F-48CE-8CBE-63AF32EDC570}"/>
              </a:ext>
            </a:extLst>
          </p:cNvPr>
          <p:cNvSpPr/>
          <p:nvPr/>
        </p:nvSpPr>
        <p:spPr>
          <a:xfrm>
            <a:off x="6656941" y="3571253"/>
            <a:ext cx="2674465" cy="2674465"/>
          </a:xfrm>
          <a:prstGeom prst="ellipse">
            <a:avLst/>
          </a:prstGeom>
          <a:blipFill dpi="0" rotWithShape="1">
            <a:blip r:embed="rId2">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rcRect/>
            <a:stretch>
              <a:fillRect/>
            </a:stretch>
          </a:blipFill>
          <a:ln w="28575" cap="rnd" cmpd="sng" algn="ctr">
            <a:solidFill>
              <a:schemeClr val="bg1">
                <a:lumMod val="85000"/>
              </a:schemeClr>
            </a:solidFill>
            <a:prstDash val="solid"/>
            <a:round/>
            <a:headEnd type="none" w="med" len="med"/>
            <a:tailEnd type="none" w="med" len="med"/>
          </a:ln>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4" name="Owal 3">
            <a:extLst>
              <a:ext uri="{FF2B5EF4-FFF2-40B4-BE49-F238E27FC236}">
                <a16:creationId xmlns:a16="http://schemas.microsoft.com/office/drawing/2014/main" id="{A0E8C99A-2AEC-4582-885B-39B7BA2EB436}"/>
              </a:ext>
            </a:extLst>
          </p:cNvPr>
          <p:cNvSpPr/>
          <p:nvPr/>
        </p:nvSpPr>
        <p:spPr>
          <a:xfrm>
            <a:off x="8291632" y="2015248"/>
            <a:ext cx="2674465" cy="2674465"/>
          </a:xfrm>
          <a:prstGeom prst="ellipse">
            <a:avLst/>
          </a:prstGeom>
          <a:blipFill dpi="0" rotWithShape="1">
            <a:blip r:embed="rId4"/>
            <a:srcRect/>
            <a:stretch>
              <a:fillRect l="-28000" r="-26000"/>
            </a:stretch>
          </a:blipFill>
          <a:ln w="28575" cap="rnd" cmpd="sng" algn="ctr">
            <a:solidFill>
              <a:schemeClr val="bg1">
                <a:lumMod val="85000"/>
              </a:schemeClr>
            </a:solidFill>
            <a:prstDash val="solid"/>
            <a:round/>
            <a:headEnd type="none" w="med" len="med"/>
            <a:tailEnd type="none" w="med" len="med"/>
          </a:ln>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200" b="0" i="0" u="none" strike="noStrike" kern="1200" cap="none" spc="0" normalizeH="0" baseline="0" noProof="0" dirty="0">
              <a:ln>
                <a:noFill/>
              </a:ln>
              <a:solidFill>
                <a:srgbClr val="FFFFFF"/>
              </a:solidFill>
              <a:effectLst/>
              <a:uLnTx/>
              <a:uFillTx/>
              <a:latin typeface="Trebuchet MS"/>
              <a:ea typeface="+mn-ea"/>
              <a:cs typeface="+mn-cs"/>
            </a:endParaRPr>
          </a:p>
        </p:txBody>
      </p:sp>
    </p:spTree>
    <p:extLst>
      <p:ext uri="{BB962C8B-B14F-4D97-AF65-F5344CB8AC3E}">
        <p14:creationId xmlns:p14="http://schemas.microsoft.com/office/powerpoint/2010/main" val="358076244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11.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12.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13.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1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2.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35.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36.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40.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6.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80.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85.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86.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87.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91.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92.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22.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242.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243.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244.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24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260.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0.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40.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5.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54.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55.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56.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61.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70.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90.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8_CABP Grid 16:9 - 22200">
  <a:themeElements>
    <a:clrScheme name="CABP">
      <a:dk1>
        <a:srgbClr val="575757"/>
      </a:dk1>
      <a:lt1>
        <a:sysClr val="window" lastClr="FFFFFF"/>
      </a:lt1>
      <a:dk2>
        <a:srgbClr val="3EAD92"/>
      </a:dk2>
      <a:lt2>
        <a:srgbClr val="F2F2F2"/>
      </a:lt2>
      <a:accent1>
        <a:srgbClr val="006645"/>
      </a:accent1>
      <a:accent2>
        <a:srgbClr val="308470"/>
      </a:accent2>
      <a:accent3>
        <a:srgbClr val="D4DF33"/>
      </a:accent3>
      <a:accent4>
        <a:srgbClr val="7ED0BC"/>
      </a:accent4>
      <a:accent5>
        <a:srgbClr val="9A9A9A"/>
      </a:accent5>
      <a:accent6>
        <a:srgbClr val="295E7E"/>
      </a:accent6>
      <a:hlink>
        <a:srgbClr val="0070C0"/>
      </a:hlink>
      <a:folHlink>
        <a:srgbClr val="A2EBC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ln>
        <a:effectLst/>
        <a:extLst>
          <a:ext uri="{91240B29-F687-4F45-9708-019B960494DF}">
            <a14:hiddenLine xmlns:a14="http://schemas.microsoft.com/office/drawing/2010/main" w="9525" cap="rnd">
              <a:solidFill>
                <a:srgbClr val="575757"/>
              </a:solidFill>
              <a:prstDash val="solid"/>
            </a14:hiddenLine>
          </a:ext>
        </a:extLst>
      </a:spPr>
      <a:bodyPr vert="horz" wrap="square" lIns="36576" tIns="36576" rIns="36576" bIns="36576" rtlCol="0" anchor="ctr">
        <a:noAutofit/>
      </a:bodyPr>
      <a:lstStyle>
        <a:defPPr algn="ctr">
          <a:lnSpc>
            <a:spcPct val="90000"/>
          </a:lnSpc>
          <a:spcAft>
            <a:spcPts val="600"/>
          </a:spcAft>
          <a:defRPr dirty="0" smtClean="0">
            <a:solidFill>
              <a:srgbClr val="575757"/>
            </a:solidFill>
            <a:sym typeface="Trebuchet MS" panose="020B0603020202020204" pitchFamily="34" charset="0"/>
          </a:defRPr>
        </a:defPPr>
      </a:lst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Theme1" id="{1BBFE907-2FA6-2C4E-B62B-DD05810490D9}" vid="{B17DE0FA-21F0-B044-96BE-DBF19473D056}"/>
    </a:ext>
  </a:extLst>
</a:theme>
</file>

<file path=ppt/theme/theme2.xml><?xml version="1.0" encoding="utf-8"?>
<a:theme xmlns:a="http://schemas.openxmlformats.org/drawingml/2006/main" name="3_CABP Grid 16:9 - 22200">
  <a:themeElements>
    <a:clrScheme name="CABP">
      <a:dk1>
        <a:srgbClr val="575757"/>
      </a:dk1>
      <a:lt1>
        <a:sysClr val="window" lastClr="FFFFFF"/>
      </a:lt1>
      <a:dk2>
        <a:srgbClr val="3EAD92"/>
      </a:dk2>
      <a:lt2>
        <a:srgbClr val="F2F2F2"/>
      </a:lt2>
      <a:accent1>
        <a:srgbClr val="006645"/>
      </a:accent1>
      <a:accent2>
        <a:srgbClr val="308470"/>
      </a:accent2>
      <a:accent3>
        <a:srgbClr val="D4DF33"/>
      </a:accent3>
      <a:accent4>
        <a:srgbClr val="7ED0BC"/>
      </a:accent4>
      <a:accent5>
        <a:srgbClr val="9A9A9A"/>
      </a:accent5>
      <a:accent6>
        <a:srgbClr val="295E7E"/>
      </a:accent6>
      <a:hlink>
        <a:srgbClr val="0070C0"/>
      </a:hlink>
      <a:folHlink>
        <a:srgbClr val="A2EBC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ln>
        <a:effectLst/>
        <a:extLst>
          <a:ext uri="{91240B29-F687-4F45-9708-019B960494DF}">
            <a14:hiddenLine xmlns:a14="http://schemas.microsoft.com/office/drawing/2010/main" w="9525" cap="rnd">
              <a:solidFill>
                <a:srgbClr val="575757"/>
              </a:solidFill>
              <a:prstDash val="solid"/>
            </a14:hiddenLine>
          </a:ext>
        </a:extLst>
      </a:spPr>
      <a:bodyPr vert="horz" wrap="square" lIns="36576" tIns="36576" rIns="36576" bIns="36576" rtlCol="0" anchor="ctr">
        <a:noAutofit/>
      </a:bodyPr>
      <a:lstStyle>
        <a:defPPr algn="ctr">
          <a:lnSpc>
            <a:spcPct val="90000"/>
          </a:lnSpc>
          <a:spcAft>
            <a:spcPts val="600"/>
          </a:spcAft>
          <a:defRPr dirty="0" smtClean="0">
            <a:solidFill>
              <a:srgbClr val="575757"/>
            </a:solidFill>
            <a:sym typeface="Trebuchet MS" panose="020B0603020202020204" pitchFamily="34" charset="0"/>
          </a:defRPr>
        </a:defPPr>
      </a:lst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Theme1" id="{1BBFE907-2FA6-2C4E-B62B-DD05810490D9}" vid="{B17DE0FA-21F0-B044-96BE-DBF19473D056}"/>
    </a:ext>
  </a:extLst>
</a:theme>
</file>

<file path=ppt/theme/theme3.xml><?xml version="1.0" encoding="utf-8"?>
<a:theme xmlns:a="http://schemas.openxmlformats.org/drawingml/2006/main" name="2_Credit Agricole motyw 16x9">
  <a:themeElements>
    <a:clrScheme name="Niestandardowy 1">
      <a:dk1>
        <a:srgbClr val="000000"/>
      </a:dk1>
      <a:lt1>
        <a:srgbClr val="FFFFFF"/>
      </a:lt1>
      <a:dk2>
        <a:srgbClr val="ED1B2F"/>
      </a:dk2>
      <a:lt2>
        <a:srgbClr val="81BC00"/>
      </a:lt2>
      <a:accent1>
        <a:srgbClr val="009597"/>
      </a:accent1>
      <a:accent2>
        <a:srgbClr val="BEC9D3"/>
      </a:accent2>
      <a:accent3>
        <a:srgbClr val="7E93A5"/>
      </a:accent3>
      <a:accent4>
        <a:srgbClr val="81BC00"/>
      </a:accent4>
      <a:accent5>
        <a:srgbClr val="70A300"/>
      </a:accent5>
      <a:accent6>
        <a:srgbClr val="ED1B2F"/>
      </a:accent6>
      <a:hlink>
        <a:srgbClr val="000000"/>
      </a:hlink>
      <a:folHlink>
        <a:srgbClr val="000000"/>
      </a:folHlink>
    </a:clrScheme>
    <a:fontScheme name="ARIAL -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Motyw CA 2017" id="{A540E9FD-BE66-4743-B2B5-62DB9A71CE29}" vid="{EC7551C2-7E9D-E644-9EE6-357AB5371BA9}"/>
    </a:ext>
  </a:extLst>
</a:theme>
</file>

<file path=ppt/theme/theme4.xml><?xml version="1.0" encoding="utf-8"?>
<a:theme xmlns:a="http://schemas.openxmlformats.org/drawingml/2006/main" name="3_Credit Agricole motyw 16x9">
  <a:themeElements>
    <a:clrScheme name="Niestandardowy 1">
      <a:dk1>
        <a:srgbClr val="000000"/>
      </a:dk1>
      <a:lt1>
        <a:srgbClr val="FFFFFF"/>
      </a:lt1>
      <a:dk2>
        <a:srgbClr val="ED1B2F"/>
      </a:dk2>
      <a:lt2>
        <a:srgbClr val="81BC00"/>
      </a:lt2>
      <a:accent1>
        <a:srgbClr val="009597"/>
      </a:accent1>
      <a:accent2>
        <a:srgbClr val="BEC9D3"/>
      </a:accent2>
      <a:accent3>
        <a:srgbClr val="7E93A5"/>
      </a:accent3>
      <a:accent4>
        <a:srgbClr val="81BC00"/>
      </a:accent4>
      <a:accent5>
        <a:srgbClr val="70A300"/>
      </a:accent5>
      <a:accent6>
        <a:srgbClr val="ED1B2F"/>
      </a:accent6>
      <a:hlink>
        <a:srgbClr val="000000"/>
      </a:hlink>
      <a:folHlink>
        <a:srgbClr val="000000"/>
      </a:folHlink>
    </a:clrScheme>
    <a:fontScheme name="ARIAL -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Motyw CA 2017" id="{A540E9FD-BE66-4743-B2B5-62DB9A71CE29}" vid="{EC7551C2-7E9D-E644-9EE6-357AB5371BA9}"/>
    </a:ext>
  </a:extLst>
</a:theme>
</file>

<file path=ppt/theme/theme5.xml><?xml version="1.0" encoding="utf-8"?>
<a:theme xmlns:a="http://schemas.openxmlformats.org/drawingml/2006/main" name="Motyw pakietu Office">
  <a:themeElements>
    <a:clrScheme name="Pakiet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Pakiet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Pakiet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Pakiet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Pakiet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Pakiet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Pakiet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Pakiet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Pakiet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Pakiet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Pakiet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Pakiet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Pakiet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Pakiet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Pakiet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Pakiet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Pakiet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Pakiet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Pakiet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Pakiet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Pakiet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2F290305BCA1F64B876FE524D0984BE1" ma:contentTypeVersion="3" ma:contentTypeDescription="Utwórz nowy dokument." ma:contentTypeScope="" ma:versionID="ad77dd8190bf8748dff8ff367591354b">
  <xsd:schema xmlns:xsd="http://www.w3.org/2001/XMLSchema" xmlns:xs="http://www.w3.org/2001/XMLSchema" xmlns:p="http://schemas.microsoft.com/office/2006/metadata/properties" xmlns:ns2="0fa5dd19-a8f1-4756-a893-13bcb25a4c77" xmlns:ns3="ae1eeea2-582f-404c-809b-12483f0738e5" targetNamespace="http://schemas.microsoft.com/office/2006/metadata/properties" ma:root="true" ma:fieldsID="9cf74cba64ceccb1960e50223496ca18" ns2:_="" ns3:_="">
    <xsd:import namespace="0fa5dd19-a8f1-4756-a893-13bcb25a4c77"/>
    <xsd:import namespace="ae1eeea2-582f-404c-809b-12483f0738e5"/>
    <xsd:element name="properties">
      <xsd:complexType>
        <xsd:sequence>
          <xsd:element name="documentManagement">
            <xsd:complexType>
              <xsd:all>
                <xsd:element ref="ns2:Nr_x0020_dokumentu_x0020_GW"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fa5dd19-a8f1-4756-a893-13bcb25a4c77" elementFormDefault="qualified">
    <xsd:import namespace="http://schemas.microsoft.com/office/2006/documentManagement/types"/>
    <xsd:import namespace="http://schemas.microsoft.com/office/infopath/2007/PartnerControls"/>
    <xsd:element name="Nr_x0020_dokumentu_x0020_GW" ma:index="8" nillable="true" ma:displayName="Nr dokumentu GW" ma:decimals="0" ma:internalName="Nr_x0020_dokumentu_x0020_GW">
      <xsd:simpleType>
        <xsd:restriction base="dms:Number"/>
      </xsd:simpleType>
    </xsd:element>
  </xsd:schema>
  <xsd:schema xmlns:xsd="http://www.w3.org/2001/XMLSchema" xmlns:xs="http://www.w3.org/2001/XMLSchema" xmlns:dms="http://schemas.microsoft.com/office/2006/documentManagement/types" xmlns:pc="http://schemas.microsoft.com/office/infopath/2007/PartnerControls" targetNamespace="ae1eeea2-582f-404c-809b-12483f0738e5" elementFormDefault="qualified">
    <xsd:import namespace="http://schemas.microsoft.com/office/2006/documentManagement/types"/>
    <xsd:import namespace="http://schemas.microsoft.com/office/infopath/2007/PartnerControls"/>
    <xsd:element name="SharedWithUsers" ma:index="9" nillable="true" ma:displayName="Udostępniani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0" nillable="true" ma:displayName="Udostępnione dla — szczegóły"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 zawartości"/>
        <xsd:element ref="dc:title" minOccurs="0" maxOccurs="1" ma:displayName="Tytuł"/>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Nr_x0020_dokumentu_x0020_GW xmlns="0fa5dd19-a8f1-4756-a893-13bcb25a4c77" xsi:nil="true"/>
    <SharedWithUsers xmlns="ae1eeea2-582f-404c-809b-12483f0738e5">
      <UserInfo>
        <DisplayName>Magdalena Peciak</DisplayName>
        <AccountId>2770</AccountId>
        <AccountType/>
      </UserInfo>
    </SharedWithUsers>
  </documentManagement>
</p:properties>
</file>

<file path=customXml/itemProps1.xml><?xml version="1.0" encoding="utf-8"?>
<ds:datastoreItem xmlns:ds="http://schemas.openxmlformats.org/officeDocument/2006/customXml" ds:itemID="{7DA973EB-C28F-40E0-8A35-E74B3404DB7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fa5dd19-a8f1-4756-a893-13bcb25a4c77"/>
    <ds:schemaRef ds:uri="ae1eeea2-582f-404c-809b-12483f0738e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7F1FFA2-3872-4959-8B62-BFAAE4419020}">
  <ds:schemaRefs>
    <ds:schemaRef ds:uri="http://schemas.microsoft.com/sharepoint/v3/contenttype/forms"/>
  </ds:schemaRefs>
</ds:datastoreItem>
</file>

<file path=customXml/itemProps3.xml><?xml version="1.0" encoding="utf-8"?>
<ds:datastoreItem xmlns:ds="http://schemas.openxmlformats.org/officeDocument/2006/customXml" ds:itemID="{2E794ED3-B626-4944-88F8-CB586DE51AAD}">
  <ds:schemaRefs>
    <ds:schemaRef ds:uri="http://schemas.openxmlformats.org/package/2006/metadata/core-properties"/>
    <ds:schemaRef ds:uri="http://www.w3.org/XML/1998/namespace"/>
    <ds:schemaRef ds:uri="http://schemas.microsoft.com/office/infopath/2007/PartnerControls"/>
    <ds:schemaRef ds:uri="http://schemas.microsoft.com/office/2006/documentManagement/types"/>
    <ds:schemaRef ds:uri="http://schemas.microsoft.com/office/2006/metadata/properties"/>
    <ds:schemaRef ds:uri="ae1eeea2-582f-404c-809b-12483f0738e5"/>
    <ds:schemaRef ds:uri="http://purl.org/dc/terms/"/>
    <ds:schemaRef ds:uri="http://purl.org/dc/dcmitype/"/>
    <ds:schemaRef ds:uri="http://purl.org/dc/elements/1.1/"/>
    <ds:schemaRef ds:uri="0fa5dd19-a8f1-4756-a893-13bcb25a4c77"/>
  </ds:schemaRefs>
</ds:datastoreItem>
</file>

<file path=docProps/app.xml><?xml version="1.0" encoding="utf-8"?>
<Properties xmlns="http://schemas.openxmlformats.org/officeDocument/2006/extended-properties" xmlns:vt="http://schemas.openxmlformats.org/officeDocument/2006/docPropsVTypes">
  <TotalTime>10396</TotalTime>
  <Words>3984</Words>
  <Application>Microsoft Office PowerPoint</Application>
  <PresentationFormat>Panoramiczny</PresentationFormat>
  <Paragraphs>1016</Paragraphs>
  <Slides>34</Slides>
  <Notes>7</Notes>
  <HiddenSlides>0</HiddenSlides>
  <MMClips>0</MMClips>
  <ScaleCrop>false</ScaleCrop>
  <HeadingPairs>
    <vt:vector size="8" baseType="variant">
      <vt:variant>
        <vt:lpstr>Używane czcionki</vt:lpstr>
      </vt:variant>
      <vt:variant>
        <vt:i4>11</vt:i4>
      </vt:variant>
      <vt:variant>
        <vt:lpstr>Motyw</vt:lpstr>
      </vt:variant>
      <vt:variant>
        <vt:i4>4</vt:i4>
      </vt:variant>
      <vt:variant>
        <vt:lpstr>Osadzone serwery OLE</vt:lpstr>
      </vt:variant>
      <vt:variant>
        <vt:i4>1</vt:i4>
      </vt:variant>
      <vt:variant>
        <vt:lpstr>Tytuły slajdów</vt:lpstr>
      </vt:variant>
      <vt:variant>
        <vt:i4>34</vt:i4>
      </vt:variant>
    </vt:vector>
  </HeadingPairs>
  <TitlesOfParts>
    <vt:vector size="50" baseType="lpstr">
      <vt:lpstr>Arial</vt:lpstr>
      <vt:lpstr>Arial Black</vt:lpstr>
      <vt:lpstr>Bradley Hand ITC</vt:lpstr>
      <vt:lpstr>Calibri</vt:lpstr>
      <vt:lpstr>Calibri Light</vt:lpstr>
      <vt:lpstr>Canva Sans</vt:lpstr>
      <vt:lpstr>Helvetica</vt:lpstr>
      <vt:lpstr>Helvetica Oblique</vt:lpstr>
      <vt:lpstr>Open Sans Light</vt:lpstr>
      <vt:lpstr>Trebuchet MS</vt:lpstr>
      <vt:lpstr>Wingdings</vt:lpstr>
      <vt:lpstr>8_CABP Grid 16:9 - 22200</vt:lpstr>
      <vt:lpstr>3_CABP Grid 16:9 - 22200</vt:lpstr>
      <vt:lpstr>2_Credit Agricole motyw 16x9</vt:lpstr>
      <vt:lpstr>3_Credit Agricole motyw 16x9</vt:lpstr>
      <vt:lpstr>think-cell Slide</vt:lpstr>
      <vt:lpstr> Omnichannel FOCUS    </vt:lpstr>
      <vt:lpstr>CONTACT CHANNELS STRATEGY   </vt:lpstr>
      <vt:lpstr>Prezentacja programu PowerPoint</vt:lpstr>
      <vt:lpstr>Prezentacja programu PowerPoint</vt:lpstr>
      <vt:lpstr>Prezentacja programu PowerPoint</vt:lpstr>
      <vt:lpstr>Our future: every contact channel, but one advisor</vt:lpstr>
      <vt:lpstr>Advisor of the future</vt:lpstr>
      <vt:lpstr>Which type of advisors do we need?</vt:lpstr>
      <vt:lpstr>ORGANISATIONAL CHANGES &amp; results  FROM CONTACT CENTER TO OMNICHANNEL CENTER</vt:lpstr>
      <vt:lpstr>Contact Center our structure before 2025</vt:lpstr>
      <vt:lpstr>New structure – phase 1 start January 2025 </vt:lpstr>
      <vt:lpstr>New structure – phase 2 start October 2025 </vt:lpstr>
      <vt:lpstr>New structure – phase 3 start February 2026 </vt:lpstr>
      <vt:lpstr>Prezentacja programu PowerPoint</vt:lpstr>
      <vt:lpstr>CRI result</vt:lpstr>
      <vt:lpstr>Incoming calls (2025)</vt:lpstr>
      <vt:lpstr>Incoming non voice (2025)</vt:lpstr>
      <vt:lpstr>Outbound calls (2025)</vt:lpstr>
      <vt:lpstr>Pain points</vt:lpstr>
      <vt:lpstr> soho remote advisors  rafał trojanowski soho remote sales netowrk    </vt:lpstr>
      <vt:lpstr>Why do we want to further develop the SOHO remote advisor model?</vt:lpstr>
      <vt:lpstr>Main projects and development activities</vt:lpstr>
      <vt:lpstr>Remote Advisors ACQUISITION  SALE OF SOHO ACCOUNTS</vt:lpstr>
      <vt:lpstr>Prezentacja programu PowerPoint</vt:lpstr>
      <vt:lpstr>Prezentacja programu PowerPoint</vt:lpstr>
      <vt:lpstr>CRM  </vt:lpstr>
      <vt:lpstr>Prezentacja programu PowerPoint</vt:lpstr>
      <vt:lpstr>Classic CRM SME</vt:lpstr>
      <vt:lpstr>Classic CRM - events</vt:lpstr>
      <vt:lpstr>DIGITAL CHANNELS DEVELOPMENT</vt:lpstr>
      <vt:lpstr>Prezentacja programu PowerPoint</vt:lpstr>
      <vt:lpstr>Holistic aproach to marketing communication with SOHO/AGRO customers Business case - communication about changes in the invoicing system for KSEF </vt:lpstr>
      <vt:lpstr>Digital channels development for SOHO – 2026 roadmap</vt:lpstr>
      <vt:lpstr>Credit process development for SOHO and SME – 2026 Roadmap</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zentacja programu PowerPoint</dc:title>
  <dc:creator>Barbara Krzesinska-De Burghgraeve</dc:creator>
  <cp:lastModifiedBy>Filip Kaczmarek</cp:lastModifiedBy>
  <cp:revision>221</cp:revision>
  <dcterms:created xsi:type="dcterms:W3CDTF">2025-02-27T09:13:54Z</dcterms:created>
  <dcterms:modified xsi:type="dcterms:W3CDTF">2026-03-09T18:34: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F290305BCA1F64B876FE524D0984BE1</vt:lpwstr>
  </property>
  <property fmtid="{D5CDD505-2E9C-101B-9397-08002B2CF9AE}" pid="3" name="MSIP_Label_4cad6431-53ea-4466-8111-3fefa470bcb9_Enabled">
    <vt:lpwstr>true</vt:lpwstr>
  </property>
  <property fmtid="{D5CDD505-2E9C-101B-9397-08002B2CF9AE}" pid="4" name="MSIP_Label_4cad6431-53ea-4466-8111-3fefa470bcb9_SetDate">
    <vt:lpwstr>2025-03-18T10:48:57Z</vt:lpwstr>
  </property>
  <property fmtid="{D5CDD505-2E9C-101B-9397-08002B2CF9AE}" pid="5" name="MSIP_Label_4cad6431-53ea-4466-8111-3fefa470bcb9_Method">
    <vt:lpwstr>Privileged</vt:lpwstr>
  </property>
  <property fmtid="{D5CDD505-2E9C-101B-9397-08002B2CF9AE}" pid="6" name="MSIP_Label_4cad6431-53ea-4466-8111-3fefa470bcb9_Name">
    <vt:lpwstr>Usage Interne</vt:lpwstr>
  </property>
  <property fmtid="{D5CDD505-2E9C-101B-9397-08002B2CF9AE}" pid="7" name="MSIP_Label_4cad6431-53ea-4466-8111-3fefa470bcb9_SiteId">
    <vt:lpwstr>fb3baf17-c313-474c-8d5d-577a3ec97a32</vt:lpwstr>
  </property>
  <property fmtid="{D5CDD505-2E9C-101B-9397-08002B2CF9AE}" pid="8" name="MSIP_Label_4cad6431-53ea-4466-8111-3fefa470bcb9_ActionId">
    <vt:lpwstr>803ddf01-043b-4d0f-a189-5326c6b2aa7a</vt:lpwstr>
  </property>
  <property fmtid="{D5CDD505-2E9C-101B-9397-08002B2CF9AE}" pid="9" name="MSIP_Label_4cad6431-53ea-4466-8111-3fefa470bcb9_ContentBits">
    <vt:lpwstr>0</vt:lpwstr>
  </property>
</Properties>
</file>